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harts/chart1.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2.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rts/chart8.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charts/chart9.xml" ContentType="application/vnd.openxmlformats-officedocument.drawingml.chart+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27.xml" ContentType="application/vnd.openxmlformats-officedocument.presentationml.tags+xml"/>
  <Override PartName="/ppt/notesSlides/notesSlide3.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4.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notesSlides/notesSlide5.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39"/>
  </p:notesMasterIdLst>
  <p:handoutMasterIdLst>
    <p:handoutMasterId r:id="rId40"/>
  </p:handoutMasterIdLst>
  <p:sldIdLst>
    <p:sldId id="264" r:id="rId2"/>
    <p:sldId id="2989" r:id="rId3"/>
    <p:sldId id="3049" r:id="rId4"/>
    <p:sldId id="3045" r:id="rId5"/>
    <p:sldId id="3064" r:id="rId6"/>
    <p:sldId id="3046" r:id="rId7"/>
    <p:sldId id="3056" r:id="rId8"/>
    <p:sldId id="3073" r:id="rId9"/>
    <p:sldId id="3075" r:id="rId10"/>
    <p:sldId id="3092" r:id="rId11"/>
    <p:sldId id="274" r:id="rId12"/>
    <p:sldId id="2985" r:id="rId13"/>
    <p:sldId id="2990" r:id="rId14"/>
    <p:sldId id="3079" r:id="rId15"/>
    <p:sldId id="2984" r:id="rId16"/>
    <p:sldId id="3089" r:id="rId17"/>
    <p:sldId id="277" r:id="rId18"/>
    <p:sldId id="3086" r:id="rId19"/>
    <p:sldId id="3078" r:id="rId20"/>
    <p:sldId id="3087" r:id="rId21"/>
    <p:sldId id="3040" r:id="rId22"/>
    <p:sldId id="3090" r:id="rId23"/>
    <p:sldId id="3072" r:id="rId24"/>
    <p:sldId id="3058" r:id="rId25"/>
    <p:sldId id="3059" r:id="rId26"/>
    <p:sldId id="3060" r:id="rId27"/>
    <p:sldId id="3061" r:id="rId28"/>
    <p:sldId id="3067" r:id="rId29"/>
    <p:sldId id="3068" r:id="rId30"/>
    <p:sldId id="3069" r:id="rId31"/>
    <p:sldId id="3070" r:id="rId32"/>
    <p:sldId id="3071" r:id="rId33"/>
    <p:sldId id="3091" r:id="rId34"/>
    <p:sldId id="3054" r:id="rId35"/>
    <p:sldId id="2245" r:id="rId36"/>
    <p:sldId id="3080" r:id="rId37"/>
    <p:sldId id="2902" r:id="rId38"/>
  </p:sldIdLst>
  <p:sldSz cx="12192000" cy="6858000"/>
  <p:notesSz cx="6797675" cy="9874250"/>
  <p:embeddedFontLst>
    <p:embeddedFont>
      <p:font typeface="Calibri" panose="020F0502020204030204" pitchFamily="34" charset="0"/>
      <p:regular r:id="rId41"/>
      <p:bold r:id="rId42"/>
      <p:italic r:id="rId43"/>
      <p:boldItalic r:id="rId44"/>
    </p:embeddedFont>
    <p:embeddedFont>
      <p:font typeface="Corbel" panose="020B0503020204020204" pitchFamily="34" charset="0"/>
      <p:regular r:id="rId45"/>
      <p:bold r:id="rId46"/>
      <p:italic r:id="rId47"/>
      <p:boldItalic r:id="rId48"/>
    </p:embeddedFont>
  </p:embeddedFontLst>
  <p:custDataLst>
    <p:tags r:id="rId49"/>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ndy Higgins" initials="WH" lastIdx="5" clrIdx="0"/>
  <p:cmAuthor id="2" name="Kees van der Meeren" initials="KvdM" lastIdx="1" clrIdx="1">
    <p:extLst>
      <p:ext uri="{19B8F6BF-5375-455C-9EA6-DF929625EA0E}">
        <p15:presenceInfo xmlns:p15="http://schemas.microsoft.com/office/powerpoint/2012/main" userId="9f3381916005cb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08080"/>
    <a:srgbClr val="59943A"/>
    <a:srgbClr val="8C8C8C"/>
    <a:srgbClr val="17722B"/>
    <a:srgbClr val="F2F2F2"/>
    <a:srgbClr val="FFE8BA"/>
    <a:srgbClr val="FFBD42"/>
    <a:srgbClr val="EC6224"/>
    <a:srgbClr val="BF21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125" autoAdjust="0"/>
  </p:normalViewPr>
  <p:slideViewPr>
    <p:cSldViewPr snapToGrid="0">
      <p:cViewPr varScale="1">
        <p:scale>
          <a:sx n="110" d="100"/>
          <a:sy n="110" d="100"/>
        </p:scale>
        <p:origin x="492" y="10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4.fntdata"/><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3.fntdata"/><Relationship Id="rId48" Type="http://schemas.openxmlformats.org/officeDocument/2006/relationships/font" Target="fonts/font8.fntdata"/><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6.fntdata"/><Relationship Id="rId20" Type="http://schemas.openxmlformats.org/officeDocument/2006/relationships/slide" Target="slides/slide19.xml"/><Relationship Id="rId41" Type="http://schemas.openxmlformats.org/officeDocument/2006/relationships/font" Target="fonts/font1.fntdata"/><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6090534979424E-2"/>
          <c:y val="2.3518769787426504E-2"/>
          <c:w val="0.96707818930041156"/>
          <c:h val="0.95296246042514698"/>
        </c:manualLayout>
      </c:layout>
      <c:barChart>
        <c:barDir val="col"/>
        <c:grouping val="stacked"/>
        <c:varyColors val="0"/>
        <c:ser>
          <c:idx val="0"/>
          <c:order val="0"/>
          <c:spPr>
            <a:solidFill>
              <a:schemeClr val="accent1"/>
            </a:solidFill>
            <a:ln w="9525" algn="ctr">
              <a:solidFill>
                <a:schemeClr val="accent6"/>
              </a:solidFill>
              <a:prstDash val="solid"/>
            </a:ln>
          </c:spPr>
          <c:invertIfNegative val="0"/>
          <c:dLbls>
            <c:dLbl>
              <c:idx val="1"/>
              <c:layout>
                <c:manualLayout>
                  <c:x val="0"/>
                  <c:y val="-1.3568521031207597E-3"/>
                </c:manualLayout>
              </c:layout>
              <c:numFmt formatCode="#,##0.0;&quot;-&quot;#,##0.0" sourceLinked="0"/>
              <c:spPr>
                <a:noFill/>
                <a:ln>
                  <a:noFill/>
                </a:ln>
              </c:spPr>
              <c:txPr>
                <a:bodyPr wrap="none"/>
                <a:lstStyle/>
                <a:p>
                  <a:pPr>
                    <a:defRPr sz="1400" b="1">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2C-4EC2-B059-4F408AB7C2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c:v>
                </c:pt>
                <c:pt idx="1">
                  <c:v>0.1</c:v>
                </c:pt>
                <c:pt idx="2">
                  <c:v>1</c:v>
                </c:pt>
                <c:pt idx="3">
                  <c:v>1.35</c:v>
                </c:pt>
                <c:pt idx="4">
                  <c:v>1.3</c:v>
                </c:pt>
              </c:numCache>
            </c:numRef>
          </c:val>
          <c:extLst>
            <c:ext xmlns:c16="http://schemas.microsoft.com/office/drawing/2014/chart" uri="{C3380CC4-5D6E-409C-BE32-E72D297353CC}">
              <c16:uniqueId val="{00000001-9E2C-4EC2-B059-4F408AB7C2B7}"/>
            </c:ext>
          </c:extLst>
        </c:ser>
        <c:ser>
          <c:idx val="1"/>
          <c:order val="1"/>
          <c:spPr>
            <a:solidFill>
              <a:schemeClr val="accent5"/>
            </a:solidFill>
            <a:ln w="9525" algn="ctr">
              <a:solidFill>
                <a:schemeClr val="accent6"/>
              </a:solidFill>
              <a:prstDash val="solid"/>
            </a:ln>
          </c:spPr>
          <c:invertIfNegative val="0"/>
          <c:dLbls>
            <c:dLbl>
              <c:idx val="4"/>
              <c:layout>
                <c:manualLayout>
                  <c:x val="0"/>
                  <c:y val="-1.3568521031207597E-3"/>
                </c:manualLayout>
              </c:layout>
              <c:numFmt formatCode="#,##0.0;&quot;-&quot;#,##0.0" sourceLinked="0"/>
              <c:spPr>
                <a:noFill/>
                <a:ln>
                  <a:noFill/>
                </a:ln>
              </c:spPr>
              <c:txPr>
                <a:bodyPr wrap="none"/>
                <a:lstStyle/>
                <a:p>
                  <a:pPr>
                    <a:defRPr sz="14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2C-4EC2-B059-4F408AB7C2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4">
                  <c:v>0.40000000000000013</c:v>
                </c:pt>
              </c:numCache>
            </c:numRef>
          </c:val>
          <c:extLst>
            <c:ext xmlns:c16="http://schemas.microsoft.com/office/drawing/2014/chart" uri="{C3380CC4-5D6E-409C-BE32-E72D297353CC}">
              <c16:uniqueId val="{00000003-9E2C-4EC2-B059-4F408AB7C2B7}"/>
            </c:ext>
          </c:extLst>
        </c:ser>
        <c:dLbls>
          <c:showLegendKey val="0"/>
          <c:showVal val="0"/>
          <c:showCatName val="0"/>
          <c:showSerName val="0"/>
          <c:showPercent val="0"/>
          <c:showBubbleSize val="0"/>
        </c:dLbls>
        <c:gapWidth val="80"/>
        <c:overlap val="100"/>
        <c:axId val="2007075551"/>
        <c:axId val="1"/>
      </c:barChart>
      <c:catAx>
        <c:axId val="20070755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000000000000002"/>
          <c:min val="0"/>
        </c:scaling>
        <c:delete val="1"/>
        <c:axPos val="l"/>
        <c:numFmt formatCode="General" sourceLinked="1"/>
        <c:majorTickMark val="out"/>
        <c:minorTickMark val="none"/>
        <c:tickLblPos val="nextTo"/>
        <c:crossAx val="200707555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69254419677171E-2"/>
          <c:y val="3.0267753201396973E-2"/>
          <c:w val="0.92006149116064562"/>
          <c:h val="0.93946449359720607"/>
        </c:manualLayout>
      </c:layout>
      <c:barChart>
        <c:barDir val="bar"/>
        <c:grouping val="stacked"/>
        <c:varyColors val="0"/>
        <c:ser>
          <c:idx val="0"/>
          <c:order val="0"/>
          <c:spPr>
            <a:solidFill>
              <a:schemeClr val="accent1"/>
            </a:solidFill>
            <a:ln>
              <a:noFill/>
            </a:ln>
          </c:spPr>
          <c:invertIfNegative val="0"/>
          <c:val>
            <c:numRef>
              <c:f>Sheet1!$A$1:$G$1</c:f>
              <c:numCache>
                <c:formatCode>General</c:formatCode>
                <c:ptCount val="7"/>
                <c:pt idx="0">
                  <c:v>49.224777639796201</c:v>
                </c:pt>
                <c:pt idx="1">
                  <c:v>33.711965606434077</c:v>
                </c:pt>
                <c:pt idx="2">
                  <c:v>31.705843681220603</c:v>
                </c:pt>
                <c:pt idx="3">
                  <c:v>28.977879812393414</c:v>
                </c:pt>
                <c:pt idx="4">
                  <c:v>24.669850050331064</c:v>
                </c:pt>
                <c:pt idx="5">
                  <c:v>32.146141994124022</c:v>
                </c:pt>
                <c:pt idx="6">
                  <c:v>38.726735291935846</c:v>
                </c:pt>
              </c:numCache>
            </c:numRef>
          </c:val>
          <c:extLst>
            <c:ext xmlns:c16="http://schemas.microsoft.com/office/drawing/2014/chart" uri="{C3380CC4-5D6E-409C-BE32-E72D297353CC}">
              <c16:uniqueId val="{00000000-4436-4DA7-B97A-3B03F02A3F33}"/>
            </c:ext>
          </c:extLst>
        </c:ser>
        <c:dLbls>
          <c:showLegendKey val="0"/>
          <c:showVal val="0"/>
          <c:showCatName val="0"/>
          <c:showSerName val="0"/>
          <c:showPercent val="0"/>
          <c:showBubbleSize val="0"/>
        </c:dLbls>
        <c:gapWidth val="80"/>
        <c:overlap val="100"/>
        <c:axId val="267243776"/>
        <c:axId val="1"/>
      </c:barChart>
      <c:catAx>
        <c:axId val="26724377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224777639796201"/>
          <c:min val="0"/>
        </c:scaling>
        <c:delete val="1"/>
        <c:axPos val="t"/>
        <c:numFmt formatCode="General" sourceLinked="1"/>
        <c:majorTickMark val="out"/>
        <c:minorTickMark val="none"/>
        <c:tickLblPos val="nextTo"/>
        <c:crossAx val="26724377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6936154136758"/>
          <c:y val="2.8453418999541073E-2"/>
          <c:w val="0.81299584435209671"/>
          <c:h val="0.88985773290500225"/>
        </c:manualLayout>
      </c:layout>
      <c:scatterChart>
        <c:scatterStyle val="lineMarker"/>
        <c:varyColors val="0"/>
        <c:ser>
          <c:idx val="0"/>
          <c:order val="0"/>
          <c:spPr>
            <a:ln>
              <a:noFill/>
            </a:ln>
          </c:spPr>
          <c:marker>
            <c:symbol val="circle"/>
            <c:size val="5"/>
            <c:spPr>
              <a:solidFill>
                <a:srgbClr val="EC6224"/>
              </a:solidFill>
              <a:ln w="9525" algn="ctr">
                <a:solidFill>
                  <a:srgbClr val="EC6224"/>
                </a:solidFill>
                <a:prstDash val="solid"/>
              </a:ln>
            </c:spPr>
          </c:marker>
          <c:xVal>
            <c:numRef>
              <c:f>Sheet1!$A$1:$A$351</c:f>
              <c:numCache>
                <c:formatCode>General</c:formatCode>
                <c:ptCount val="351"/>
                <c:pt idx="0">
                  <c:v>1381.0933070240264</c:v>
                </c:pt>
                <c:pt idx="1">
                  <c:v>1058.1711418275743</c:v>
                </c:pt>
                <c:pt idx="2">
                  <c:v>1406.8156473128217</c:v>
                </c:pt>
                <c:pt idx="3">
                  <c:v>1681.5031873152768</c:v>
                </c:pt>
                <c:pt idx="4">
                  <c:v>1106.775623832043</c:v>
                </c:pt>
                <c:pt idx="5">
                  <c:v>1455.5176398444528</c:v>
                </c:pt>
                <c:pt idx="6">
                  <c:v>1711.919825365587</c:v>
                </c:pt>
                <c:pt idx="7">
                  <c:v>864.14069423626961</c:v>
                </c:pt>
                <c:pt idx="8">
                  <c:v>798.88341555103034</c:v>
                </c:pt>
                <c:pt idx="9">
                  <c:v>1179.5838664982482</c:v>
                </c:pt>
                <c:pt idx="10">
                  <c:v>1250.9623143555843</c:v>
                </c:pt>
                <c:pt idx="11">
                  <c:v>933.55758162701989</c:v>
                </c:pt>
                <c:pt idx="12">
                  <c:v>1098.3480208749797</c:v>
                </c:pt>
                <c:pt idx="13">
                  <c:v>884.05104710694275</c:v>
                </c:pt>
                <c:pt idx="14">
                  <c:v>1049.3326341690456</c:v>
                </c:pt>
                <c:pt idx="15">
                  <c:v>830.5851801200248</c:v>
                </c:pt>
                <c:pt idx="16">
                  <c:v>520.08802215462367</c:v>
                </c:pt>
                <c:pt idx="17">
                  <c:v>791.8130888056196</c:v>
                </c:pt>
                <c:pt idx="18">
                  <c:v>1418.4232980124912</c:v>
                </c:pt>
                <c:pt idx="19">
                  <c:v>868.44008405959744</c:v>
                </c:pt>
                <c:pt idx="20">
                  <c:v>1400.6007160341753</c:v>
                </c:pt>
                <c:pt idx="21">
                  <c:v>1092.2098500550244</c:v>
                </c:pt>
                <c:pt idx="22">
                  <c:v>981.35534236202045</c:v>
                </c:pt>
                <c:pt idx="23">
                  <c:v>1638.2732377494069</c:v>
                </c:pt>
                <c:pt idx="24">
                  <c:v>776.74489656717731</c:v>
                </c:pt>
                <c:pt idx="25">
                  <c:v>1169.6772426849573</c:v>
                </c:pt>
                <c:pt idx="26">
                  <c:v>1149.0848600565764</c:v>
                </c:pt>
                <c:pt idx="27">
                  <c:v>1433.1003143997186</c:v>
                </c:pt>
                <c:pt idx="28">
                  <c:v>962.8288190755643</c:v>
                </c:pt>
                <c:pt idx="29">
                  <c:v>1240.5052598922493</c:v>
                </c:pt>
                <c:pt idx="30">
                  <c:v>917.08762509788585</c:v>
                </c:pt>
                <c:pt idx="31">
                  <c:v>1457.7383684997537</c:v>
                </c:pt>
                <c:pt idx="32">
                  <c:v>1662.6035090840992</c:v>
                </c:pt>
                <c:pt idx="33">
                  <c:v>1205.7766104745892</c:v>
                </c:pt>
                <c:pt idx="34">
                  <c:v>1540.6899258155495</c:v>
                </c:pt>
                <c:pt idx="35">
                  <c:v>1794.9906417063751</c:v>
                </c:pt>
                <c:pt idx="36">
                  <c:v>723.68770068529966</c:v>
                </c:pt>
                <c:pt idx="37">
                  <c:v>1528.8631163114328</c:v>
                </c:pt>
                <c:pt idx="38">
                  <c:v>1527.093183783837</c:v>
                </c:pt>
                <c:pt idx="39">
                  <c:v>1002.0650681158912</c:v>
                </c:pt>
                <c:pt idx="40">
                  <c:v>1531.738791424041</c:v>
                </c:pt>
                <c:pt idx="41">
                  <c:v>877.10749052622828</c:v>
                </c:pt>
                <c:pt idx="42">
                  <c:v>1158.0727555983383</c:v>
                </c:pt>
                <c:pt idx="43">
                  <c:v>968.80424866777662</c:v>
                </c:pt>
                <c:pt idx="44">
                  <c:v>726.75291833301196</c:v>
                </c:pt>
                <c:pt idx="45">
                  <c:v>1094.8372628481848</c:v>
                </c:pt>
                <c:pt idx="46">
                  <c:v>793.89758504201006</c:v>
                </c:pt>
                <c:pt idx="47">
                  <c:v>1062.4322242033911</c:v>
                </c:pt>
                <c:pt idx="48">
                  <c:v>662.85284672827174</c:v>
                </c:pt>
                <c:pt idx="49">
                  <c:v>1049.5595355050448</c:v>
                </c:pt>
                <c:pt idx="50">
                  <c:v>1211.3036356257537</c:v>
                </c:pt>
                <c:pt idx="51">
                  <c:v>773.04446734019098</c:v>
                </c:pt>
                <c:pt idx="52">
                  <c:v>1228.2811294303822</c:v>
                </c:pt>
                <c:pt idx="53">
                  <c:v>705.40223577760742</c:v>
                </c:pt>
                <c:pt idx="54">
                  <c:v>1577.479042266941</c:v>
                </c:pt>
                <c:pt idx="55">
                  <c:v>1349.8839829127057</c:v>
                </c:pt>
                <c:pt idx="56">
                  <c:v>852.41056557442994</c:v>
                </c:pt>
                <c:pt idx="57">
                  <c:v>1625.8195276478764</c:v>
                </c:pt>
                <c:pt idx="58">
                  <c:v>959.73666422458382</c:v>
                </c:pt>
                <c:pt idx="59">
                  <c:v>738.93677031547008</c:v>
                </c:pt>
                <c:pt idx="60">
                  <c:v>651.62098742641183</c:v>
                </c:pt>
                <c:pt idx="61">
                  <c:v>1249.6882095298206</c:v>
                </c:pt>
                <c:pt idx="62">
                  <c:v>1135.4989156584702</c:v>
                </c:pt>
                <c:pt idx="63">
                  <c:v>1290.9130142559106</c:v>
                </c:pt>
                <c:pt idx="64">
                  <c:v>1522.7518012576418</c:v>
                </c:pt>
                <c:pt idx="65">
                  <c:v>1384.0889657889368</c:v>
                </c:pt>
                <c:pt idx="66">
                  <c:v>1030.9156026017497</c:v>
                </c:pt>
                <c:pt idx="67">
                  <c:v>1049.1066336926831</c:v>
                </c:pt>
                <c:pt idx="68">
                  <c:v>1238.4318516355308</c:v>
                </c:pt>
                <c:pt idx="69">
                  <c:v>1284.1245502151253</c:v>
                </c:pt>
                <c:pt idx="70">
                  <c:v>1466.9749929774791</c:v>
                </c:pt>
                <c:pt idx="71">
                  <c:v>732.28346987187638</c:v>
                </c:pt>
                <c:pt idx="72">
                  <c:v>641.91099803863096</c:v>
                </c:pt>
                <c:pt idx="73">
                  <c:v>742.58821704509978</c:v>
                </c:pt>
                <c:pt idx="74">
                  <c:v>766.25277032612439</c:v>
                </c:pt>
                <c:pt idx="75">
                  <c:v>1320.4953120667531</c:v>
                </c:pt>
                <c:pt idx="76">
                  <c:v>1571.8625624648619</c:v>
                </c:pt>
                <c:pt idx="77">
                  <c:v>1249.430621763011</c:v>
                </c:pt>
                <c:pt idx="78">
                  <c:v>883.71344688307261</c:v>
                </c:pt>
                <c:pt idx="79">
                  <c:v>1238.7767175054548</c:v>
                </c:pt>
                <c:pt idx="80">
                  <c:v>873.62324550157803</c:v>
                </c:pt>
                <c:pt idx="81">
                  <c:v>1007.2844327659825</c:v>
                </c:pt>
                <c:pt idx="82">
                  <c:v>1170.1889824092432</c:v>
                </c:pt>
                <c:pt idx="83">
                  <c:v>1058.3049861090794</c:v>
                </c:pt>
                <c:pt idx="84">
                  <c:v>1381.8387262944589</c:v>
                </c:pt>
              </c:numCache>
            </c:numRef>
          </c:xVal>
          <c:yVal>
            <c:numRef>
              <c:f>Sheet1!$B$1:$B$351</c:f>
              <c:numCache>
                <c:formatCode>General</c:formatCode>
                <c:ptCount val="351"/>
                <c:pt idx="0">
                  <c:v>43.973079811196151</c:v>
                </c:pt>
                <c:pt idx="1">
                  <c:v>31.22038165999389</c:v>
                </c:pt>
                <c:pt idx="2">
                  <c:v>31.693204223439235</c:v>
                </c:pt>
                <c:pt idx="3">
                  <c:v>43.481837534609966</c:v>
                </c:pt>
                <c:pt idx="4">
                  <c:v>39.498116416703688</c:v>
                </c:pt>
                <c:pt idx="5">
                  <c:v>41.191399823157248</c:v>
                </c:pt>
                <c:pt idx="6">
                  <c:v>34.59409606975035</c:v>
                </c:pt>
                <c:pt idx="7">
                  <c:v>40.714779794166631</c:v>
                </c:pt>
                <c:pt idx="8">
                  <c:v>30.510512518447229</c:v>
                </c:pt>
                <c:pt idx="9">
                  <c:v>35.794436322433334</c:v>
                </c:pt>
                <c:pt idx="10">
                  <c:v>33.672585667157847</c:v>
                </c:pt>
                <c:pt idx="11">
                  <c:v>33.050236996518002</c:v>
                </c:pt>
                <c:pt idx="12">
                  <c:v>38.827474151450652</c:v>
                </c:pt>
                <c:pt idx="13">
                  <c:v>33.679046720433149</c:v>
                </c:pt>
                <c:pt idx="14">
                  <c:v>37.052488555698268</c:v>
                </c:pt>
                <c:pt idx="15">
                  <c:v>30.81098517779872</c:v>
                </c:pt>
                <c:pt idx="16">
                  <c:v>33.999087211216697</c:v>
                </c:pt>
                <c:pt idx="17">
                  <c:v>35.416417399360746</c:v>
                </c:pt>
                <c:pt idx="18">
                  <c:v>33.10785764778187</c:v>
                </c:pt>
                <c:pt idx="19">
                  <c:v>42.557195410580597</c:v>
                </c:pt>
                <c:pt idx="20">
                  <c:v>32.070353445992609</c:v>
                </c:pt>
                <c:pt idx="21">
                  <c:v>35.199515815688777</c:v>
                </c:pt>
                <c:pt idx="22">
                  <c:v>39.313052769060789</c:v>
                </c:pt>
                <c:pt idx="23">
                  <c:v>34.09447426260801</c:v>
                </c:pt>
                <c:pt idx="24">
                  <c:v>40.132902576868076</c:v>
                </c:pt>
                <c:pt idx="25">
                  <c:v>38.622390848705187</c:v>
                </c:pt>
                <c:pt idx="26">
                  <c:v>37.664019244607708</c:v>
                </c:pt>
                <c:pt idx="27">
                  <c:v>42.524076744628836</c:v>
                </c:pt>
                <c:pt idx="28">
                  <c:v>34.984958625060905</c:v>
                </c:pt>
                <c:pt idx="29">
                  <c:v>39.52254262557922</c:v>
                </c:pt>
                <c:pt idx="30">
                  <c:v>41.034757690688075</c:v>
                </c:pt>
                <c:pt idx="31">
                  <c:v>35.674474738278036</c:v>
                </c:pt>
                <c:pt idx="32">
                  <c:v>35.552048334198041</c:v>
                </c:pt>
                <c:pt idx="33">
                  <c:v>44.262662384540889</c:v>
                </c:pt>
                <c:pt idx="34">
                  <c:v>34.031028435895436</c:v>
                </c:pt>
                <c:pt idx="35">
                  <c:v>40.294460941346003</c:v>
                </c:pt>
                <c:pt idx="36">
                  <c:v>38.272912028953726</c:v>
                </c:pt>
                <c:pt idx="37">
                  <c:v>44.727023042633569</c:v>
                </c:pt>
                <c:pt idx="38">
                  <c:v>35.478848104698606</c:v>
                </c:pt>
                <c:pt idx="39">
                  <c:v>30.76458216419627</c:v>
                </c:pt>
                <c:pt idx="40">
                  <c:v>44.885281151091341</c:v>
                </c:pt>
                <c:pt idx="41">
                  <c:v>32.323226909245903</c:v>
                </c:pt>
                <c:pt idx="42">
                  <c:v>43.759134722419432</c:v>
                </c:pt>
                <c:pt idx="43">
                  <c:v>36.557147020092813</c:v>
                </c:pt>
                <c:pt idx="44">
                  <c:v>34.4578710911643</c:v>
                </c:pt>
                <c:pt idx="45">
                  <c:v>31.043068859065464</c:v>
                </c:pt>
                <c:pt idx="46">
                  <c:v>42.23704283986558</c:v>
                </c:pt>
                <c:pt idx="47">
                  <c:v>43.678065696005092</c:v>
                </c:pt>
                <c:pt idx="48">
                  <c:v>32.123159156015305</c:v>
                </c:pt>
                <c:pt idx="49">
                  <c:v>43.799968945351125</c:v>
                </c:pt>
                <c:pt idx="50">
                  <c:v>33.935474583445782</c:v>
                </c:pt>
                <c:pt idx="51">
                  <c:v>30.984049210817261</c:v>
                </c:pt>
                <c:pt idx="52">
                  <c:v>35.793992906919982</c:v>
                </c:pt>
                <c:pt idx="53">
                  <c:v>43.231900474913147</c:v>
                </c:pt>
                <c:pt idx="54">
                  <c:v>41.006329334327603</c:v>
                </c:pt>
                <c:pt idx="55">
                  <c:v>31.984157567008591</c:v>
                </c:pt>
                <c:pt idx="56">
                  <c:v>33.047004129911265</c:v>
                </c:pt>
                <c:pt idx="57">
                  <c:v>36.814733068682905</c:v>
                </c:pt>
                <c:pt idx="58">
                  <c:v>38.561856883650492</c:v>
                </c:pt>
                <c:pt idx="59">
                  <c:v>35.452663615857176</c:v>
                </c:pt>
                <c:pt idx="60">
                  <c:v>31.067264702570647</c:v>
                </c:pt>
                <c:pt idx="61">
                  <c:v>42.332693381367861</c:v>
                </c:pt>
                <c:pt idx="62">
                  <c:v>32.454481229427095</c:v>
                </c:pt>
                <c:pt idx="63">
                  <c:v>37.199152146234852</c:v>
                </c:pt>
                <c:pt idx="64">
                  <c:v>33.632717903917317</c:v>
                </c:pt>
                <c:pt idx="65">
                  <c:v>39.617745247545564</c:v>
                </c:pt>
                <c:pt idx="66">
                  <c:v>36.246370842891054</c:v>
                </c:pt>
                <c:pt idx="67">
                  <c:v>37.984060467736597</c:v>
                </c:pt>
                <c:pt idx="68">
                  <c:v>39.803006941928295</c:v>
                </c:pt>
                <c:pt idx="69">
                  <c:v>32.958654470301283</c:v>
                </c:pt>
                <c:pt idx="70">
                  <c:v>38.933042078605681</c:v>
                </c:pt>
                <c:pt idx="71">
                  <c:v>40.85582277128006</c:v>
                </c:pt>
                <c:pt idx="72">
                  <c:v>38.902089261611245</c:v>
                </c:pt>
                <c:pt idx="73">
                  <c:v>37.094140111989468</c:v>
                </c:pt>
                <c:pt idx="74">
                  <c:v>40.154103105041642</c:v>
                </c:pt>
                <c:pt idx="75">
                  <c:v>33.197049646320295</c:v>
                </c:pt>
                <c:pt idx="76">
                  <c:v>40.90766672173946</c:v>
                </c:pt>
                <c:pt idx="77">
                  <c:v>40.202978271192784</c:v>
                </c:pt>
                <c:pt idx="78">
                  <c:v>31.18944724685479</c:v>
                </c:pt>
                <c:pt idx="79">
                  <c:v>42.904707788408473</c:v>
                </c:pt>
                <c:pt idx="80">
                  <c:v>34.844248624617016</c:v>
                </c:pt>
                <c:pt idx="81">
                  <c:v>31.363832737573034</c:v>
                </c:pt>
                <c:pt idx="82">
                  <c:v>30.349272011307445</c:v>
                </c:pt>
                <c:pt idx="83">
                  <c:v>35.314441319688257</c:v>
                </c:pt>
                <c:pt idx="84">
                  <c:v>44.141627010979775</c:v>
                </c:pt>
              </c:numCache>
            </c:numRef>
          </c:yVal>
          <c:smooth val="0"/>
          <c:extLst>
            <c:ext xmlns:c16="http://schemas.microsoft.com/office/drawing/2014/chart" uri="{C3380CC4-5D6E-409C-BE32-E72D297353CC}">
              <c16:uniqueId val="{00000000-0E12-4F59-AE16-AFC926ABB3F8}"/>
            </c:ext>
          </c:extLst>
        </c:ser>
        <c:ser>
          <c:idx val="1"/>
          <c:order val="1"/>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85">
                  <c:v>641.33683349804494</c:v>
                </c:pt>
                <c:pt idx="86">
                  <c:v>678.7223552913124</c:v>
                </c:pt>
                <c:pt idx="87">
                  <c:v>1251.2224461199773</c:v>
                </c:pt>
                <c:pt idx="88">
                  <c:v>1275.8685488871881</c:v>
                </c:pt>
                <c:pt idx="89">
                  <c:v>956.39623934962015</c:v>
                </c:pt>
                <c:pt idx="90">
                  <c:v>1043.4234458815479</c:v>
                </c:pt>
                <c:pt idx="91">
                  <c:v>552.1805196075419</c:v>
                </c:pt>
                <c:pt idx="92">
                  <c:v>1010.968074357545</c:v>
                </c:pt>
                <c:pt idx="93">
                  <c:v>1139.3905880026791</c:v>
                </c:pt>
                <c:pt idx="94">
                  <c:v>843.1221737709127</c:v>
                </c:pt>
                <c:pt idx="95">
                  <c:v>750.60859345240033</c:v>
                </c:pt>
                <c:pt idx="96">
                  <c:v>913.61224633730171</c:v>
                </c:pt>
                <c:pt idx="97">
                  <c:v>1073.4631049694935</c:v>
                </c:pt>
                <c:pt idx="98">
                  <c:v>609.68173107520568</c:v>
                </c:pt>
                <c:pt idx="99">
                  <c:v>1174.508302096996</c:v>
                </c:pt>
                <c:pt idx="100">
                  <c:v>1130.8012030943323</c:v>
                </c:pt>
                <c:pt idx="101">
                  <c:v>1231.4423980510599</c:v>
                </c:pt>
                <c:pt idx="102">
                  <c:v>897.37778369116768</c:v>
                </c:pt>
                <c:pt idx="103">
                  <c:v>1227.7451914715225</c:v>
                </c:pt>
                <c:pt idx="104">
                  <c:v>2223.8467010617096</c:v>
                </c:pt>
                <c:pt idx="105">
                  <c:v>1012.1615909972646</c:v>
                </c:pt>
                <c:pt idx="106">
                  <c:v>1075.4598608895828</c:v>
                </c:pt>
                <c:pt idx="107">
                  <c:v>868.71702559375808</c:v>
                </c:pt>
                <c:pt idx="108">
                  <c:v>1898.6991659636949</c:v>
                </c:pt>
                <c:pt idx="109">
                  <c:v>567.90987221587886</c:v>
                </c:pt>
                <c:pt idx="110">
                  <c:v>1360.0119881972007</c:v>
                </c:pt>
                <c:pt idx="111">
                  <c:v>1107.5342453087853</c:v>
                </c:pt>
                <c:pt idx="112">
                  <c:v>1744.1361178084935</c:v>
                </c:pt>
                <c:pt idx="113">
                  <c:v>1359.923110572463</c:v>
                </c:pt>
                <c:pt idx="114">
                  <c:v>980.46325273824607</c:v>
                </c:pt>
                <c:pt idx="115">
                  <c:v>952.61020978763236</c:v>
                </c:pt>
                <c:pt idx="116">
                  <c:v>1143.5077024442305</c:v>
                </c:pt>
                <c:pt idx="117">
                  <c:v>931.60919161465608</c:v>
                </c:pt>
                <c:pt idx="118">
                  <c:v>785.13950992746618</c:v>
                </c:pt>
                <c:pt idx="119">
                  <c:v>1306.5640830584007</c:v>
                </c:pt>
                <c:pt idx="120">
                  <c:v>1934.0298024280021</c:v>
                </c:pt>
                <c:pt idx="121">
                  <c:v>1061.8506189257293</c:v>
                </c:pt>
                <c:pt idx="122">
                  <c:v>917.90323425582244</c:v>
                </c:pt>
                <c:pt idx="123">
                  <c:v>1489.3791058053519</c:v>
                </c:pt>
                <c:pt idx="124">
                  <c:v>1204.1444683722029</c:v>
                </c:pt>
                <c:pt idx="125">
                  <c:v>691.90280740381604</c:v>
                </c:pt>
                <c:pt idx="126">
                  <c:v>1042.1049080955179</c:v>
                </c:pt>
                <c:pt idx="127">
                  <c:v>948.88062458382842</c:v>
                </c:pt>
                <c:pt idx="128">
                  <c:v>1078.3656295602934</c:v>
                </c:pt>
                <c:pt idx="129">
                  <c:v>1275.2231879407018</c:v>
                </c:pt>
                <c:pt idx="130">
                  <c:v>1263.4274816885263</c:v>
                </c:pt>
                <c:pt idx="131">
                  <c:v>1150.3393607167882</c:v>
                </c:pt>
                <c:pt idx="132">
                  <c:v>2076.2143110564366</c:v>
                </c:pt>
                <c:pt idx="133">
                  <c:v>745.21930734832256</c:v>
                </c:pt>
                <c:pt idx="134">
                  <c:v>1036.1927546707993</c:v>
                </c:pt>
                <c:pt idx="135">
                  <c:v>1086.1358102145534</c:v>
                </c:pt>
                <c:pt idx="136">
                  <c:v>924.69041506693179</c:v>
                </c:pt>
                <c:pt idx="137">
                  <c:v>859.94125606694854</c:v>
                </c:pt>
                <c:pt idx="138">
                  <c:v>1032.3308087092612</c:v>
                </c:pt>
                <c:pt idx="139">
                  <c:v>621.35745690042597</c:v>
                </c:pt>
                <c:pt idx="140">
                  <c:v>1333.9767172261136</c:v>
                </c:pt>
                <c:pt idx="141">
                  <c:v>888.21379434089624</c:v>
                </c:pt>
              </c:numCache>
            </c:numRef>
          </c:xVal>
          <c:yVal>
            <c:numRef>
              <c:f>Sheet1!$C$1:$C$351</c:f>
              <c:numCache>
                <c:formatCode>General</c:formatCode>
                <c:ptCount val="351"/>
                <c:pt idx="85">
                  <c:v>55.973856748936832</c:v>
                </c:pt>
                <c:pt idx="86">
                  <c:v>51.310427173364623</c:v>
                </c:pt>
                <c:pt idx="87">
                  <c:v>51.427372309733464</c:v>
                </c:pt>
                <c:pt idx="88">
                  <c:v>47.3497981744434</c:v>
                </c:pt>
                <c:pt idx="89">
                  <c:v>45.624294470283751</c:v>
                </c:pt>
                <c:pt idx="90">
                  <c:v>51.373225553261769</c:v>
                </c:pt>
                <c:pt idx="91">
                  <c:v>49.619373162813417</c:v>
                </c:pt>
                <c:pt idx="92">
                  <c:v>49.120143755122413</c:v>
                </c:pt>
                <c:pt idx="93">
                  <c:v>59.664381191406449</c:v>
                </c:pt>
                <c:pt idx="94">
                  <c:v>50.384361687098512</c:v>
                </c:pt>
                <c:pt idx="95">
                  <c:v>45.576783794194142</c:v>
                </c:pt>
                <c:pt idx="96">
                  <c:v>53.996129682498861</c:v>
                </c:pt>
                <c:pt idx="97">
                  <c:v>46.098248817169655</c:v>
                </c:pt>
                <c:pt idx="98">
                  <c:v>49.717558511996856</c:v>
                </c:pt>
                <c:pt idx="99">
                  <c:v>48.936561265090724</c:v>
                </c:pt>
                <c:pt idx="100">
                  <c:v>49.466802513725945</c:v>
                </c:pt>
                <c:pt idx="101">
                  <c:v>47.938320973482682</c:v>
                </c:pt>
                <c:pt idx="102">
                  <c:v>52.329291745497699</c:v>
                </c:pt>
                <c:pt idx="103">
                  <c:v>47.678383921728226</c:v>
                </c:pt>
                <c:pt idx="104">
                  <c:v>48.16942761527833</c:v>
                </c:pt>
                <c:pt idx="105">
                  <c:v>59.344926884329553</c:v>
                </c:pt>
                <c:pt idx="106">
                  <c:v>59.610995478177273</c:v>
                </c:pt>
                <c:pt idx="107">
                  <c:v>48.087349435331959</c:v>
                </c:pt>
                <c:pt idx="108">
                  <c:v>53.114402599857833</c:v>
                </c:pt>
                <c:pt idx="109">
                  <c:v>59.866120197579079</c:v>
                </c:pt>
                <c:pt idx="110">
                  <c:v>51.509227541822014</c:v>
                </c:pt>
                <c:pt idx="111">
                  <c:v>47.069759608850873</c:v>
                </c:pt>
                <c:pt idx="112">
                  <c:v>45.776449880425645</c:v>
                </c:pt>
                <c:pt idx="113">
                  <c:v>51.313768161030957</c:v>
                </c:pt>
                <c:pt idx="114">
                  <c:v>46.131864080288906</c:v>
                </c:pt>
                <c:pt idx="115">
                  <c:v>48.473473385811694</c:v>
                </c:pt>
                <c:pt idx="116">
                  <c:v>54.770426413721133</c:v>
                </c:pt>
                <c:pt idx="117">
                  <c:v>49.775139584316655</c:v>
                </c:pt>
                <c:pt idx="118">
                  <c:v>46.182437603050936</c:v>
                </c:pt>
                <c:pt idx="119">
                  <c:v>45.467176348363481</c:v>
                </c:pt>
                <c:pt idx="120">
                  <c:v>51.572474758341556</c:v>
                </c:pt>
                <c:pt idx="121">
                  <c:v>50.010095136867783</c:v>
                </c:pt>
                <c:pt idx="122">
                  <c:v>49.445868799325986</c:v>
                </c:pt>
                <c:pt idx="123">
                  <c:v>49.943741561693088</c:v>
                </c:pt>
                <c:pt idx="124">
                  <c:v>50.029858806227082</c:v>
                </c:pt>
                <c:pt idx="125">
                  <c:v>45.172846175913826</c:v>
                </c:pt>
                <c:pt idx="126">
                  <c:v>58.32857015666719</c:v>
                </c:pt>
                <c:pt idx="127">
                  <c:v>50.704587457403882</c:v>
                </c:pt>
                <c:pt idx="128">
                  <c:v>53.205141632763741</c:v>
                </c:pt>
                <c:pt idx="129">
                  <c:v>47.113163554733561</c:v>
                </c:pt>
                <c:pt idx="130">
                  <c:v>57.348197276310067</c:v>
                </c:pt>
                <c:pt idx="131">
                  <c:v>52.054651947411379</c:v>
                </c:pt>
                <c:pt idx="132">
                  <c:v>58.31979849843907</c:v>
                </c:pt>
                <c:pt idx="133">
                  <c:v>47.183343103094799</c:v>
                </c:pt>
                <c:pt idx="134">
                  <c:v>48.691284757369772</c:v>
                </c:pt>
                <c:pt idx="135">
                  <c:v>46.470170922847188</c:v>
                </c:pt>
                <c:pt idx="136">
                  <c:v>46.308505214105296</c:v>
                </c:pt>
                <c:pt idx="137">
                  <c:v>51.65687892219141</c:v>
                </c:pt>
                <c:pt idx="138">
                  <c:v>53.945244064731654</c:v>
                </c:pt>
                <c:pt idx="139">
                  <c:v>56.182188346033413</c:v>
                </c:pt>
                <c:pt idx="140">
                  <c:v>45.155099262643361</c:v>
                </c:pt>
                <c:pt idx="141">
                  <c:v>47.937782135847719</c:v>
                </c:pt>
              </c:numCache>
            </c:numRef>
          </c:yVal>
          <c:smooth val="0"/>
          <c:extLst>
            <c:ext xmlns:c16="http://schemas.microsoft.com/office/drawing/2014/chart" uri="{C3380CC4-5D6E-409C-BE32-E72D297353CC}">
              <c16:uniqueId val="{00000001-0E12-4F59-AE16-AFC926ABB3F8}"/>
            </c:ext>
          </c:extLst>
        </c:ser>
        <c:ser>
          <c:idx val="2"/>
          <c:order val="2"/>
          <c:spPr>
            <a:ln>
              <a:noFill/>
            </a:ln>
          </c:spPr>
          <c:marker>
            <c:symbol val="circle"/>
            <c:size val="5"/>
            <c:spPr>
              <a:solidFill>
                <a:srgbClr val="FFE8BA"/>
              </a:solidFill>
              <a:ln w="9525" algn="ctr">
                <a:solidFill>
                  <a:srgbClr val="FFE8BA"/>
                </a:solidFill>
                <a:prstDash val="solid"/>
              </a:ln>
            </c:spPr>
          </c:marker>
          <c:xVal>
            <c:numRef>
              <c:f>Sheet1!$A$1:$A$351</c:f>
              <c:numCache>
                <c:formatCode>General</c:formatCode>
                <c:ptCount val="351"/>
                <c:pt idx="142">
                  <c:v>1586.7350831604747</c:v>
                </c:pt>
                <c:pt idx="143">
                  <c:v>1138.3241641315742</c:v>
                </c:pt>
                <c:pt idx="144">
                  <c:v>744.67879671883577</c:v>
                </c:pt>
                <c:pt idx="145">
                  <c:v>1446.7205706022216</c:v>
                </c:pt>
                <c:pt idx="146">
                  <c:v>918.68975273401372</c:v>
                </c:pt>
                <c:pt idx="147">
                  <c:v>1202.4058456073103</c:v>
                </c:pt>
                <c:pt idx="148">
                  <c:v>857.47402451201663</c:v>
                </c:pt>
                <c:pt idx="149">
                  <c:v>1300.4933290598849</c:v>
                </c:pt>
                <c:pt idx="150">
                  <c:v>921.60634036443946</c:v>
                </c:pt>
                <c:pt idx="151">
                  <c:v>1197.4227351395548</c:v>
                </c:pt>
                <c:pt idx="152">
                  <c:v>1938.5050741105285</c:v>
                </c:pt>
                <c:pt idx="153">
                  <c:v>1192.1839107979156</c:v>
                </c:pt>
                <c:pt idx="154">
                  <c:v>1016.0703281587716</c:v>
                </c:pt>
                <c:pt idx="155">
                  <c:v>1577.4491335712703</c:v>
                </c:pt>
                <c:pt idx="156">
                  <c:v>1151.748846743795</c:v>
                </c:pt>
                <c:pt idx="157">
                  <c:v>1340.6686735486344</c:v>
                </c:pt>
                <c:pt idx="158">
                  <c:v>1419.1313192017055</c:v>
                </c:pt>
                <c:pt idx="159">
                  <c:v>1742.4219406041425</c:v>
                </c:pt>
                <c:pt idx="160">
                  <c:v>1737.1296672377628</c:v>
                </c:pt>
                <c:pt idx="161">
                  <c:v>1074.0278189729138</c:v>
                </c:pt>
                <c:pt idx="162">
                  <c:v>1141.2553203121513</c:v>
                </c:pt>
                <c:pt idx="163">
                  <c:v>1022.1188648339288</c:v>
                </c:pt>
                <c:pt idx="164">
                  <c:v>1150.3091212580946</c:v>
                </c:pt>
                <c:pt idx="165">
                  <c:v>1317.1789199749537</c:v>
                </c:pt>
                <c:pt idx="166">
                  <c:v>1277.2453755064657</c:v>
                </c:pt>
                <c:pt idx="167">
                  <c:v>1379.1013521715633</c:v>
                </c:pt>
                <c:pt idx="168">
                  <c:v>1068.2251780708891</c:v>
                </c:pt>
                <c:pt idx="169">
                  <c:v>933.03725013564599</c:v>
                </c:pt>
                <c:pt idx="170">
                  <c:v>944.0685593494411</c:v>
                </c:pt>
                <c:pt idx="171">
                  <c:v>1100.2521580130269</c:v>
                </c:pt>
                <c:pt idx="172">
                  <c:v>603.40785193874183</c:v>
                </c:pt>
                <c:pt idx="173">
                  <c:v>1150.9962729682172</c:v>
                </c:pt>
                <c:pt idx="174">
                  <c:v>841.56689410000615</c:v>
                </c:pt>
                <c:pt idx="175">
                  <c:v>1251.590612234186</c:v>
                </c:pt>
                <c:pt idx="176">
                  <c:v>933.09625667386626</c:v>
                </c:pt>
                <c:pt idx="177">
                  <c:v>986.05761991490431</c:v>
                </c:pt>
                <c:pt idx="178">
                  <c:v>869.15451718348049</c:v>
                </c:pt>
                <c:pt idx="179">
                  <c:v>1028.4938054486643</c:v>
                </c:pt>
                <c:pt idx="180">
                  <c:v>2098.910019732255</c:v>
                </c:pt>
                <c:pt idx="181">
                  <c:v>972.57012699416157</c:v>
                </c:pt>
                <c:pt idx="182">
                  <c:v>1378.7381741972285</c:v>
                </c:pt>
                <c:pt idx="183">
                  <c:v>868.53348769913759</c:v>
                </c:pt>
                <c:pt idx="184">
                  <c:v>1215.5328600039766</c:v>
                </c:pt>
                <c:pt idx="185">
                  <c:v>1261.6245340907121</c:v>
                </c:pt>
                <c:pt idx="186">
                  <c:v>1206.4208141791974</c:v>
                </c:pt>
                <c:pt idx="187">
                  <c:v>903.24359688107791</c:v>
                </c:pt>
                <c:pt idx="188">
                  <c:v>1409.3276669378006</c:v>
                </c:pt>
                <c:pt idx="189">
                  <c:v>745.10777513140431</c:v>
                </c:pt>
                <c:pt idx="190">
                  <c:v>1404.2803521218968</c:v>
                </c:pt>
                <c:pt idx="191">
                  <c:v>1106.4696473105632</c:v>
                </c:pt>
                <c:pt idx="192">
                  <c:v>891.47237845711095</c:v>
                </c:pt>
                <c:pt idx="193">
                  <c:v>1277.2879552057416</c:v>
                </c:pt>
                <c:pt idx="194">
                  <c:v>1152.2305758092004</c:v>
                </c:pt>
                <c:pt idx="195">
                  <c:v>866.53753560618179</c:v>
                </c:pt>
                <c:pt idx="196">
                  <c:v>1291.769256944965</c:v>
                </c:pt>
                <c:pt idx="197">
                  <c:v>1150.643048669474</c:v>
                </c:pt>
                <c:pt idx="198">
                  <c:v>1171.8139476283859</c:v>
                </c:pt>
                <c:pt idx="199">
                  <c:v>1185.6587755532089</c:v>
                </c:pt>
                <c:pt idx="200">
                  <c:v>1107.9088981869922</c:v>
                </c:pt>
                <c:pt idx="201">
                  <c:v>833.45172920209097</c:v>
                </c:pt>
                <c:pt idx="202">
                  <c:v>1021.0763841500647</c:v>
                </c:pt>
                <c:pt idx="203">
                  <c:v>1134.7595249974399</c:v>
                </c:pt>
                <c:pt idx="204">
                  <c:v>1373.0042105364048</c:v>
                </c:pt>
                <c:pt idx="205">
                  <c:v>1397.3003578285475</c:v>
                </c:pt>
              </c:numCache>
            </c:numRef>
          </c:xVal>
          <c:yVal>
            <c:numRef>
              <c:f>Sheet1!$D$1:$D$351</c:f>
              <c:numCache>
                <c:formatCode>General</c:formatCode>
                <c:ptCount val="351"/>
                <c:pt idx="142">
                  <c:v>13.359435724052894</c:v>
                </c:pt>
                <c:pt idx="143">
                  <c:v>3.747592629645677</c:v>
                </c:pt>
                <c:pt idx="144">
                  <c:v>5.5025445991802666</c:v>
                </c:pt>
                <c:pt idx="145">
                  <c:v>11.425772089662054</c:v>
                </c:pt>
                <c:pt idx="146">
                  <c:v>14.563004487651082</c:v>
                </c:pt>
                <c:pt idx="147">
                  <c:v>2.8194517667141197</c:v>
                </c:pt>
                <c:pt idx="148">
                  <c:v>9.3397913485337742</c:v>
                </c:pt>
                <c:pt idx="149">
                  <c:v>8.4916190779321994</c:v>
                </c:pt>
                <c:pt idx="150">
                  <c:v>8.0611388320723414</c:v>
                </c:pt>
                <c:pt idx="151">
                  <c:v>3.2347989306813716</c:v>
                </c:pt>
                <c:pt idx="152">
                  <c:v>14.797654553077862</c:v>
                </c:pt>
                <c:pt idx="153">
                  <c:v>3.1574055929933329</c:v>
                </c:pt>
                <c:pt idx="154">
                  <c:v>14.908388182972962</c:v>
                </c:pt>
                <c:pt idx="155">
                  <c:v>8.3823158904174377</c:v>
                </c:pt>
                <c:pt idx="156">
                  <c:v>10.527890798063124</c:v>
                </c:pt>
                <c:pt idx="157">
                  <c:v>9.2242554895988906</c:v>
                </c:pt>
                <c:pt idx="158">
                  <c:v>4.8603284086285674</c:v>
                </c:pt>
                <c:pt idx="159">
                  <c:v>14.139815254318874</c:v>
                </c:pt>
                <c:pt idx="160">
                  <c:v>14.183250368179786</c:v>
                </c:pt>
                <c:pt idx="161">
                  <c:v>3.9386709128625887</c:v>
                </c:pt>
                <c:pt idx="162">
                  <c:v>5.2934393678551031</c:v>
                </c:pt>
                <c:pt idx="163">
                  <c:v>4.5819179877839771</c:v>
                </c:pt>
                <c:pt idx="164">
                  <c:v>8.5197602312702738</c:v>
                </c:pt>
                <c:pt idx="165">
                  <c:v>13.518491744992486</c:v>
                </c:pt>
                <c:pt idx="166">
                  <c:v>7.7106948451120081</c:v>
                </c:pt>
                <c:pt idx="167">
                  <c:v>11.559166538477397</c:v>
                </c:pt>
                <c:pt idx="168">
                  <c:v>14.4046241768926</c:v>
                </c:pt>
                <c:pt idx="169">
                  <c:v>10.845553275736567</c:v>
                </c:pt>
                <c:pt idx="170">
                  <c:v>0.49252864568532706</c:v>
                </c:pt>
                <c:pt idx="171">
                  <c:v>14.135483749998883</c:v>
                </c:pt>
                <c:pt idx="172">
                  <c:v>11.792658528229499</c:v>
                </c:pt>
                <c:pt idx="173">
                  <c:v>7.0328941060288388</c:v>
                </c:pt>
                <c:pt idx="174">
                  <c:v>7.668293796726303</c:v>
                </c:pt>
                <c:pt idx="175">
                  <c:v>12.535153843167118</c:v>
                </c:pt>
                <c:pt idx="176">
                  <c:v>14.860561602008291</c:v>
                </c:pt>
                <c:pt idx="177">
                  <c:v>13.729351674175879</c:v>
                </c:pt>
                <c:pt idx="178">
                  <c:v>7.6173258059779663</c:v>
                </c:pt>
                <c:pt idx="179">
                  <c:v>14.967394307683628</c:v>
                </c:pt>
                <c:pt idx="180">
                  <c:v>5.143206807293998</c:v>
                </c:pt>
                <c:pt idx="181">
                  <c:v>14.380659198681805</c:v>
                </c:pt>
                <c:pt idx="182">
                  <c:v>14.349407102741726</c:v>
                </c:pt>
                <c:pt idx="183">
                  <c:v>13.569729031586316</c:v>
                </c:pt>
                <c:pt idx="184">
                  <c:v>6.8821777217611828</c:v>
                </c:pt>
                <c:pt idx="185">
                  <c:v>8.7318995205476906</c:v>
                </c:pt>
                <c:pt idx="186">
                  <c:v>5.0842905238813003</c:v>
                </c:pt>
                <c:pt idx="187">
                  <c:v>9.253673617812824</c:v>
                </c:pt>
                <c:pt idx="188">
                  <c:v>9.5024889896145446</c:v>
                </c:pt>
                <c:pt idx="189">
                  <c:v>3.9194023136849889</c:v>
                </c:pt>
                <c:pt idx="190">
                  <c:v>12.782167698757481</c:v>
                </c:pt>
                <c:pt idx="191">
                  <c:v>10.203416029137962</c:v>
                </c:pt>
                <c:pt idx="192">
                  <c:v>4.3288239814887737</c:v>
                </c:pt>
                <c:pt idx="193">
                  <c:v>14.592533708134962</c:v>
                </c:pt>
                <c:pt idx="194">
                  <c:v>14.641638326420969</c:v>
                </c:pt>
                <c:pt idx="195">
                  <c:v>12.748492070248934</c:v>
                </c:pt>
                <c:pt idx="196">
                  <c:v>11.349064339068985</c:v>
                </c:pt>
                <c:pt idx="197">
                  <c:v>10.096182855986832</c:v>
                </c:pt>
                <c:pt idx="198">
                  <c:v>9.9435730022129718</c:v>
                </c:pt>
                <c:pt idx="199">
                  <c:v>13.778549002636076</c:v>
                </c:pt>
                <c:pt idx="200">
                  <c:v>5.843303180006556</c:v>
                </c:pt>
                <c:pt idx="201">
                  <c:v>14.373445377461442</c:v>
                </c:pt>
                <c:pt idx="202">
                  <c:v>7.5543985199861972</c:v>
                </c:pt>
                <c:pt idx="203">
                  <c:v>10.173685906322104</c:v>
                </c:pt>
                <c:pt idx="204">
                  <c:v>10.465013905333711</c:v>
                </c:pt>
                <c:pt idx="205">
                  <c:v>9.5166526520321266</c:v>
                </c:pt>
              </c:numCache>
            </c:numRef>
          </c:yVal>
          <c:smooth val="0"/>
          <c:extLst>
            <c:ext xmlns:c16="http://schemas.microsoft.com/office/drawing/2014/chart" uri="{C3380CC4-5D6E-409C-BE32-E72D297353CC}">
              <c16:uniqueId val="{00000002-0E12-4F59-AE16-AFC926ABB3F8}"/>
            </c:ext>
          </c:extLst>
        </c:ser>
        <c:ser>
          <c:idx val="3"/>
          <c:order val="3"/>
          <c:spPr>
            <a:ln>
              <a:noFill/>
            </a:ln>
          </c:spPr>
          <c:marker>
            <c:symbol val="circle"/>
            <c:size val="5"/>
            <c:spPr>
              <a:solidFill>
                <a:srgbClr val="FFBD42"/>
              </a:solidFill>
              <a:ln w="9525" algn="ctr">
                <a:solidFill>
                  <a:srgbClr val="FFBD42"/>
                </a:solidFill>
                <a:prstDash val="solid"/>
              </a:ln>
            </c:spPr>
          </c:marker>
          <c:xVal>
            <c:numRef>
              <c:f>Sheet1!$A$1:$A$351</c:f>
              <c:numCache>
                <c:formatCode>General</c:formatCode>
                <c:ptCount val="351"/>
                <c:pt idx="206">
                  <c:v>1184.4180216172908</c:v>
                </c:pt>
                <c:pt idx="207">
                  <c:v>1197.0388797363212</c:v>
                </c:pt>
                <c:pt idx="208">
                  <c:v>1438.4885015636328</c:v>
                </c:pt>
                <c:pt idx="209">
                  <c:v>1680.825583809255</c:v>
                </c:pt>
                <c:pt idx="210">
                  <c:v>1231.3828936930954</c:v>
                </c:pt>
                <c:pt idx="211">
                  <c:v>1274.6636665896194</c:v>
                </c:pt>
                <c:pt idx="212">
                  <c:v>918.65843184523658</c:v>
                </c:pt>
                <c:pt idx="213">
                  <c:v>1388.7965995578943</c:v>
                </c:pt>
                <c:pt idx="214">
                  <c:v>985.01174253435113</c:v>
                </c:pt>
                <c:pt idx="215">
                  <c:v>1986.4680173048139</c:v>
                </c:pt>
                <c:pt idx="216">
                  <c:v>1184.4714761612984</c:v>
                </c:pt>
                <c:pt idx="217">
                  <c:v>781.66348199763729</c:v>
                </c:pt>
                <c:pt idx="218">
                  <c:v>808.57551595091513</c:v>
                </c:pt>
                <c:pt idx="219">
                  <c:v>980.8752007127373</c:v>
                </c:pt>
                <c:pt idx="220">
                  <c:v>1328.2795734548126</c:v>
                </c:pt>
                <c:pt idx="221">
                  <c:v>1484.2192309438194</c:v>
                </c:pt>
                <c:pt idx="222">
                  <c:v>1357.0382773533952</c:v>
                </c:pt>
                <c:pt idx="223">
                  <c:v>1453.6877768281929</c:v>
                </c:pt>
                <c:pt idx="224">
                  <c:v>965.60303781128698</c:v>
                </c:pt>
                <c:pt idx="225">
                  <c:v>874.18167854577621</c:v>
                </c:pt>
                <c:pt idx="226">
                  <c:v>1235.8450568965634</c:v>
                </c:pt>
                <c:pt idx="227">
                  <c:v>1216.0859264049909</c:v>
                </c:pt>
                <c:pt idx="228">
                  <c:v>2122.8934275340625</c:v>
                </c:pt>
                <c:pt idx="229">
                  <c:v>998.9145953942085</c:v>
                </c:pt>
                <c:pt idx="230">
                  <c:v>706.60827875079951</c:v>
                </c:pt>
                <c:pt idx="231">
                  <c:v>1295.0632541495372</c:v>
                </c:pt>
                <c:pt idx="232">
                  <c:v>1736.8404998753456</c:v>
                </c:pt>
                <c:pt idx="233">
                  <c:v>1119.9906544319067</c:v>
                </c:pt>
                <c:pt idx="234">
                  <c:v>959.00147916420974</c:v>
                </c:pt>
                <c:pt idx="235">
                  <c:v>1170.6460445527848</c:v>
                </c:pt>
                <c:pt idx="236">
                  <c:v>732.95182105741333</c:v>
                </c:pt>
                <c:pt idx="237">
                  <c:v>768.80527865107206</c:v>
                </c:pt>
                <c:pt idx="238">
                  <c:v>1430.7001170375836</c:v>
                </c:pt>
                <c:pt idx="239">
                  <c:v>1580.3967813772749</c:v>
                </c:pt>
                <c:pt idx="240">
                  <c:v>892.18910264970896</c:v>
                </c:pt>
                <c:pt idx="241">
                  <c:v>1016.751454672596</c:v>
                </c:pt>
                <c:pt idx="242">
                  <c:v>1033.181241646291</c:v>
                </c:pt>
                <c:pt idx="243">
                  <c:v>1408.1437549539141</c:v>
                </c:pt>
                <c:pt idx="244">
                  <c:v>976.0174032996398</c:v>
                </c:pt>
                <c:pt idx="245">
                  <c:v>776.03656293547976</c:v>
                </c:pt>
                <c:pt idx="246">
                  <c:v>1165.9655119697275</c:v>
                </c:pt>
                <c:pt idx="247">
                  <c:v>921.2658196565518</c:v>
                </c:pt>
                <c:pt idx="248">
                  <c:v>1166.8039186611647</c:v>
                </c:pt>
                <c:pt idx="249">
                  <c:v>723.21927374376651</c:v>
                </c:pt>
                <c:pt idx="250">
                  <c:v>1071.2443941223707</c:v>
                </c:pt>
                <c:pt idx="251">
                  <c:v>1759.2849128748844</c:v>
                </c:pt>
                <c:pt idx="252">
                  <c:v>1246.0107794482819</c:v>
                </c:pt>
                <c:pt idx="253">
                  <c:v>940.87751611140584</c:v>
                </c:pt>
                <c:pt idx="254">
                  <c:v>884.56529784992881</c:v>
                </c:pt>
                <c:pt idx="255">
                  <c:v>1036.6648566334452</c:v>
                </c:pt>
                <c:pt idx="256">
                  <c:v>1374.2362566712679</c:v>
                </c:pt>
                <c:pt idx="257">
                  <c:v>892.79964035117712</c:v>
                </c:pt>
                <c:pt idx="258">
                  <c:v>1072.8945045401267</c:v>
                </c:pt>
                <c:pt idx="259">
                  <c:v>1422.4951346200589</c:v>
                </c:pt>
                <c:pt idx="260">
                  <c:v>1337.7270838734655</c:v>
                </c:pt>
                <c:pt idx="261">
                  <c:v>1828.8553923495299</c:v>
                </c:pt>
                <c:pt idx="262">
                  <c:v>1094.2957078707152</c:v>
                </c:pt>
                <c:pt idx="263">
                  <c:v>1157.5606331415097</c:v>
                </c:pt>
                <c:pt idx="264">
                  <c:v>1213.000892528572</c:v>
                </c:pt>
                <c:pt idx="265">
                  <c:v>648.91591543800359</c:v>
                </c:pt>
                <c:pt idx="266">
                  <c:v>1603.0189088465663</c:v>
                </c:pt>
                <c:pt idx="267">
                  <c:v>1396.5228654506104</c:v>
                </c:pt>
                <c:pt idx="268">
                  <c:v>1191.2580154969189</c:v>
                </c:pt>
                <c:pt idx="269">
                  <c:v>2189.3353323968186</c:v>
                </c:pt>
                <c:pt idx="270">
                  <c:v>1127.6880008846995</c:v>
                </c:pt>
                <c:pt idx="271">
                  <c:v>1167.6539337200138</c:v>
                </c:pt>
                <c:pt idx="272">
                  <c:v>1056.5976610884416</c:v>
                </c:pt>
                <c:pt idx="273">
                  <c:v>1725.0160514367253</c:v>
                </c:pt>
                <c:pt idx="274">
                  <c:v>1407.6877477555392</c:v>
                </c:pt>
                <c:pt idx="275">
                  <c:v>992.64803729163191</c:v>
                </c:pt>
                <c:pt idx="276">
                  <c:v>1351.0423694285532</c:v>
                </c:pt>
                <c:pt idx="277">
                  <c:v>1018.2542749288253</c:v>
                </c:pt>
                <c:pt idx="278">
                  <c:v>991.84263631831311</c:v>
                </c:pt>
                <c:pt idx="279">
                  <c:v>944.94601039203201</c:v>
                </c:pt>
                <c:pt idx="280">
                  <c:v>1028.0636603972923</c:v>
                </c:pt>
                <c:pt idx="281">
                  <c:v>1086.5075880940874</c:v>
                </c:pt>
                <c:pt idx="282">
                  <c:v>1627.4813964238685</c:v>
                </c:pt>
                <c:pt idx="283">
                  <c:v>1869.2286406317605</c:v>
                </c:pt>
                <c:pt idx="284">
                  <c:v>1001.80236419789</c:v>
                </c:pt>
                <c:pt idx="285">
                  <c:v>1933.1889823614413</c:v>
                </c:pt>
                <c:pt idx="286">
                  <c:v>908.48649174764796</c:v>
                </c:pt>
                <c:pt idx="287">
                  <c:v>2093.1378208843098</c:v>
                </c:pt>
                <c:pt idx="288">
                  <c:v>815.05095623675265</c:v>
                </c:pt>
                <c:pt idx="289">
                  <c:v>1161.9177459627126</c:v>
                </c:pt>
                <c:pt idx="290">
                  <c:v>827.76691834075598</c:v>
                </c:pt>
                <c:pt idx="291">
                  <c:v>805.57951672396518</c:v>
                </c:pt>
                <c:pt idx="292">
                  <c:v>1345.1622884366009</c:v>
                </c:pt>
                <c:pt idx="293">
                  <c:v>1198.1360046466827</c:v>
                </c:pt>
                <c:pt idx="294">
                  <c:v>810.25945845119634</c:v>
                </c:pt>
                <c:pt idx="295">
                  <c:v>975.53179070653084</c:v>
                </c:pt>
                <c:pt idx="296">
                  <c:v>1234.7967597028842</c:v>
                </c:pt>
                <c:pt idx="297">
                  <c:v>1300.3185877612766</c:v>
                </c:pt>
                <c:pt idx="298">
                  <c:v>1232.1401300693447</c:v>
                </c:pt>
                <c:pt idx="299">
                  <c:v>1241.9937264206073</c:v>
                </c:pt>
                <c:pt idx="300">
                  <c:v>1427.8337309434683</c:v>
                </c:pt>
                <c:pt idx="301">
                  <c:v>1135.8945945050061</c:v>
                </c:pt>
                <c:pt idx="302">
                  <c:v>1102.8723320370489</c:v>
                </c:pt>
                <c:pt idx="303">
                  <c:v>884.94128354051395</c:v>
                </c:pt>
                <c:pt idx="304">
                  <c:v>1882.9365583831207</c:v>
                </c:pt>
                <c:pt idx="305">
                  <c:v>1305.1676238558073</c:v>
                </c:pt>
                <c:pt idx="306">
                  <c:v>1099.6745728124847</c:v>
                </c:pt>
                <c:pt idx="307">
                  <c:v>968.88887962014007</c:v>
                </c:pt>
                <c:pt idx="308">
                  <c:v>1555.5024669091706</c:v>
                </c:pt>
                <c:pt idx="309">
                  <c:v>1097.7152456182855</c:v>
                </c:pt>
                <c:pt idx="310">
                  <c:v>851.73690633368733</c:v>
                </c:pt>
                <c:pt idx="311">
                  <c:v>969.86230904260776</c:v>
                </c:pt>
                <c:pt idx="312">
                  <c:v>1011.1118062037608</c:v>
                </c:pt>
                <c:pt idx="313">
                  <c:v>1334.7092797052496</c:v>
                </c:pt>
                <c:pt idx="314">
                  <c:v>1022.3608351436866</c:v>
                </c:pt>
                <c:pt idx="315">
                  <c:v>1776.4618666486513</c:v>
                </c:pt>
                <c:pt idx="316">
                  <c:v>1434.1151507701329</c:v>
                </c:pt>
              </c:numCache>
            </c:numRef>
          </c:xVal>
          <c:yVal>
            <c:numRef>
              <c:f>Sheet1!$E$1:$E$351</c:f>
              <c:numCache>
                <c:formatCode>General</c:formatCode>
                <c:ptCount val="351"/>
                <c:pt idx="206">
                  <c:v>18.322805067055356</c:v>
                </c:pt>
                <c:pt idx="207">
                  <c:v>15.804012714014132</c:v>
                </c:pt>
                <c:pt idx="208">
                  <c:v>26.873214125123461</c:v>
                </c:pt>
                <c:pt idx="209">
                  <c:v>16.257086903566094</c:v>
                </c:pt>
                <c:pt idx="210">
                  <c:v>15.741774561570439</c:v>
                </c:pt>
                <c:pt idx="211">
                  <c:v>26.366059091772332</c:v>
                </c:pt>
                <c:pt idx="212">
                  <c:v>24.902634685891069</c:v>
                </c:pt>
                <c:pt idx="213">
                  <c:v>17.824766177215214</c:v>
                </c:pt>
                <c:pt idx="214">
                  <c:v>23.727932146774084</c:v>
                </c:pt>
                <c:pt idx="215">
                  <c:v>18.825055874944926</c:v>
                </c:pt>
                <c:pt idx="216">
                  <c:v>29.077517783341904</c:v>
                </c:pt>
                <c:pt idx="217">
                  <c:v>19.243544476029143</c:v>
                </c:pt>
                <c:pt idx="218">
                  <c:v>15.907327627799814</c:v>
                </c:pt>
                <c:pt idx="219">
                  <c:v>25.797218754861117</c:v>
                </c:pt>
                <c:pt idx="220">
                  <c:v>20.539410824892762</c:v>
                </c:pt>
                <c:pt idx="221">
                  <c:v>25.092472534591725</c:v>
                </c:pt>
                <c:pt idx="222">
                  <c:v>20.884253350904878</c:v>
                </c:pt>
                <c:pt idx="223">
                  <c:v>29.948371211353169</c:v>
                </c:pt>
                <c:pt idx="224">
                  <c:v>21.54650855419224</c:v>
                </c:pt>
                <c:pt idx="225">
                  <c:v>29.958719145809948</c:v>
                </c:pt>
                <c:pt idx="226">
                  <c:v>21.208312070110981</c:v>
                </c:pt>
                <c:pt idx="227">
                  <c:v>24.463641902442472</c:v>
                </c:pt>
                <c:pt idx="228">
                  <c:v>22.343871141641877</c:v>
                </c:pt>
                <c:pt idx="229">
                  <c:v>27.913687056958537</c:v>
                </c:pt>
                <c:pt idx="230">
                  <c:v>27.424295436174084</c:v>
                </c:pt>
                <c:pt idx="231">
                  <c:v>23.556310903435303</c:v>
                </c:pt>
                <c:pt idx="232">
                  <c:v>26.942596974657835</c:v>
                </c:pt>
                <c:pt idx="233">
                  <c:v>20.124127977972826</c:v>
                </c:pt>
                <c:pt idx="234">
                  <c:v>16.798181494663741</c:v>
                </c:pt>
                <c:pt idx="235">
                  <c:v>25.857649799965323</c:v>
                </c:pt>
                <c:pt idx="236">
                  <c:v>19.965288362216093</c:v>
                </c:pt>
                <c:pt idx="237">
                  <c:v>27.149421111773115</c:v>
                </c:pt>
                <c:pt idx="238">
                  <c:v>25.991407194005468</c:v>
                </c:pt>
                <c:pt idx="239">
                  <c:v>15.391751542165135</c:v>
                </c:pt>
                <c:pt idx="240">
                  <c:v>16.709384427656399</c:v>
                </c:pt>
                <c:pt idx="241">
                  <c:v>17.057756864035582</c:v>
                </c:pt>
                <c:pt idx="242">
                  <c:v>17.500380978095851</c:v>
                </c:pt>
                <c:pt idx="243">
                  <c:v>15.986442340473833</c:v>
                </c:pt>
                <c:pt idx="244">
                  <c:v>18.934065696960424</c:v>
                </c:pt>
                <c:pt idx="245">
                  <c:v>25.00172544644786</c:v>
                </c:pt>
                <c:pt idx="246">
                  <c:v>19.463670160945135</c:v>
                </c:pt>
                <c:pt idx="247">
                  <c:v>18.760357198486126</c:v>
                </c:pt>
                <c:pt idx="248">
                  <c:v>21.127037996136046</c:v>
                </c:pt>
                <c:pt idx="249">
                  <c:v>26.746349313307295</c:v>
                </c:pt>
                <c:pt idx="250">
                  <c:v>23.91781572135087</c:v>
                </c:pt>
                <c:pt idx="251">
                  <c:v>16.620870338287823</c:v>
                </c:pt>
                <c:pt idx="252">
                  <c:v>18.371640460719536</c:v>
                </c:pt>
                <c:pt idx="253">
                  <c:v>24.854748034423032</c:v>
                </c:pt>
                <c:pt idx="254">
                  <c:v>26.882594927138541</c:v>
                </c:pt>
                <c:pt idx="255">
                  <c:v>25.08733921011374</c:v>
                </c:pt>
                <c:pt idx="256">
                  <c:v>19.656074424573699</c:v>
                </c:pt>
                <c:pt idx="257">
                  <c:v>26.883989876960772</c:v>
                </c:pt>
                <c:pt idx="258">
                  <c:v>16.627480487168981</c:v>
                </c:pt>
                <c:pt idx="259">
                  <c:v>20.331914988374937</c:v>
                </c:pt>
                <c:pt idx="260">
                  <c:v>22.05668951409865</c:v>
                </c:pt>
                <c:pt idx="261">
                  <c:v>22.133590911608657</c:v>
                </c:pt>
                <c:pt idx="262">
                  <c:v>21.541444666314668</c:v>
                </c:pt>
                <c:pt idx="263">
                  <c:v>26.286009812209638</c:v>
                </c:pt>
                <c:pt idx="264">
                  <c:v>29.094069490386502</c:v>
                </c:pt>
                <c:pt idx="265">
                  <c:v>21.124465060439494</c:v>
                </c:pt>
                <c:pt idx="266">
                  <c:v>25.204778763803255</c:v>
                </c:pt>
                <c:pt idx="267">
                  <c:v>24.442351227668386</c:v>
                </c:pt>
                <c:pt idx="268">
                  <c:v>27.993943298761103</c:v>
                </c:pt>
                <c:pt idx="269">
                  <c:v>25.663616702600972</c:v>
                </c:pt>
                <c:pt idx="270">
                  <c:v>29.262767766540698</c:v>
                </c:pt>
                <c:pt idx="271">
                  <c:v>22.387164425850774</c:v>
                </c:pt>
                <c:pt idx="272">
                  <c:v>16.161271406478495</c:v>
                </c:pt>
                <c:pt idx="273">
                  <c:v>29.322881481596557</c:v>
                </c:pt>
                <c:pt idx="274">
                  <c:v>28.54898187422349</c:v>
                </c:pt>
                <c:pt idx="275">
                  <c:v>24.697997076373003</c:v>
                </c:pt>
                <c:pt idx="276">
                  <c:v>18.715161815792751</c:v>
                </c:pt>
                <c:pt idx="277">
                  <c:v>23.122598632593402</c:v>
                </c:pt>
                <c:pt idx="278">
                  <c:v>15.313040562161328</c:v>
                </c:pt>
                <c:pt idx="279">
                  <c:v>22.690754458599319</c:v>
                </c:pt>
                <c:pt idx="280">
                  <c:v>24.41807976541369</c:v>
                </c:pt>
                <c:pt idx="281">
                  <c:v>21.974138084924071</c:v>
                </c:pt>
                <c:pt idx="282">
                  <c:v>15.125680323759759</c:v>
                </c:pt>
                <c:pt idx="283">
                  <c:v>17.853693414831053</c:v>
                </c:pt>
                <c:pt idx="284">
                  <c:v>21.378980840306962</c:v>
                </c:pt>
                <c:pt idx="285">
                  <c:v>29.07279103874686</c:v>
                </c:pt>
                <c:pt idx="286">
                  <c:v>29.093718342683459</c:v>
                </c:pt>
                <c:pt idx="287">
                  <c:v>22.054602421177965</c:v>
                </c:pt>
                <c:pt idx="288">
                  <c:v>29.257573916764461</c:v>
                </c:pt>
                <c:pt idx="289">
                  <c:v>26.97780372404489</c:v>
                </c:pt>
                <c:pt idx="290">
                  <c:v>27.36249593331387</c:v>
                </c:pt>
                <c:pt idx="291">
                  <c:v>28.220605709050687</c:v>
                </c:pt>
                <c:pt idx="292">
                  <c:v>15.7452087067946</c:v>
                </c:pt>
                <c:pt idx="293">
                  <c:v>18.684361665395262</c:v>
                </c:pt>
                <c:pt idx="294">
                  <c:v>19.393128658166951</c:v>
                </c:pt>
                <c:pt idx="295">
                  <c:v>25.557798120372187</c:v>
                </c:pt>
                <c:pt idx="296">
                  <c:v>16.624641669775812</c:v>
                </c:pt>
                <c:pt idx="297">
                  <c:v>25.869530719248857</c:v>
                </c:pt>
                <c:pt idx="298">
                  <c:v>21.269473734095083</c:v>
                </c:pt>
                <c:pt idx="299">
                  <c:v>29.559733745740274</c:v>
                </c:pt>
                <c:pt idx="300">
                  <c:v>25.254612167289419</c:v>
                </c:pt>
                <c:pt idx="301">
                  <c:v>15.458352530445174</c:v>
                </c:pt>
                <c:pt idx="302">
                  <c:v>18.162635454074618</c:v>
                </c:pt>
                <c:pt idx="303">
                  <c:v>25.836097186554252</c:v>
                </c:pt>
                <c:pt idx="304">
                  <c:v>25.106279470486026</c:v>
                </c:pt>
                <c:pt idx="305">
                  <c:v>20.89701805602806</c:v>
                </c:pt>
                <c:pt idx="306">
                  <c:v>24.962729380868652</c:v>
                </c:pt>
                <c:pt idx="307">
                  <c:v>19.311723471962164</c:v>
                </c:pt>
                <c:pt idx="308">
                  <c:v>28.42370645652106</c:v>
                </c:pt>
                <c:pt idx="309">
                  <c:v>25.088543900063602</c:v>
                </c:pt>
                <c:pt idx="310">
                  <c:v>26.698001850438491</c:v>
                </c:pt>
                <c:pt idx="311">
                  <c:v>25.536638168160753</c:v>
                </c:pt>
                <c:pt idx="312">
                  <c:v>15.362354951718613</c:v>
                </c:pt>
                <c:pt idx="313">
                  <c:v>26.204685777618643</c:v>
                </c:pt>
                <c:pt idx="314">
                  <c:v>24.852196416803285</c:v>
                </c:pt>
                <c:pt idx="315">
                  <c:v>28.471499080234615</c:v>
                </c:pt>
                <c:pt idx="316">
                  <c:v>28.155022704841048</c:v>
                </c:pt>
              </c:numCache>
            </c:numRef>
          </c:yVal>
          <c:smooth val="0"/>
          <c:extLst>
            <c:ext xmlns:c16="http://schemas.microsoft.com/office/drawing/2014/chart" uri="{C3380CC4-5D6E-409C-BE32-E72D297353CC}">
              <c16:uniqueId val="{00000003-0E12-4F59-AE16-AFC926ABB3F8}"/>
            </c:ext>
          </c:extLst>
        </c:ser>
        <c:ser>
          <c:idx val="4"/>
          <c:order val="4"/>
          <c:spPr>
            <a:ln>
              <a:noFill/>
            </a:ln>
          </c:spPr>
          <c:marker>
            <c:symbol val="circle"/>
            <c:size val="5"/>
            <c:spPr>
              <a:solidFill>
                <a:srgbClr val="17722B"/>
              </a:solidFill>
              <a:ln w="9525" algn="ctr">
                <a:solidFill>
                  <a:srgbClr val="17722B"/>
                </a:solidFill>
                <a:prstDash val="solid"/>
              </a:ln>
            </c:spPr>
          </c:marker>
          <c:xVal>
            <c:numRef>
              <c:f>Sheet1!$A$1:$A$351</c:f>
              <c:numCache>
                <c:formatCode>General</c:formatCode>
                <c:ptCount val="351"/>
                <c:pt idx="317">
                  <c:v>954.27560189272879</c:v>
                </c:pt>
                <c:pt idx="318">
                  <c:v>1054.0302949584063</c:v>
                </c:pt>
                <c:pt idx="319">
                  <c:v>981.68951463462656</c:v>
                </c:pt>
                <c:pt idx="320">
                  <c:v>1074.1117724674496</c:v>
                </c:pt>
              </c:numCache>
            </c:numRef>
          </c:xVal>
          <c:yVal>
            <c:numRef>
              <c:f>Sheet1!$F$1:$F$351</c:f>
              <c:numCache>
                <c:formatCode>General</c:formatCode>
                <c:ptCount val="351"/>
                <c:pt idx="317">
                  <c:v>-26.070357920406479</c:v>
                </c:pt>
                <c:pt idx="318">
                  <c:v>-15.075715320832378</c:v>
                </c:pt>
                <c:pt idx="319">
                  <c:v>-18.706516881726277</c:v>
                </c:pt>
                <c:pt idx="320">
                  <c:v>-22.387199227606654</c:v>
                </c:pt>
              </c:numCache>
            </c:numRef>
          </c:yVal>
          <c:smooth val="0"/>
          <c:extLst>
            <c:ext xmlns:c16="http://schemas.microsoft.com/office/drawing/2014/chart" uri="{C3380CC4-5D6E-409C-BE32-E72D297353CC}">
              <c16:uniqueId val="{00000004-0E12-4F59-AE16-AFC926ABB3F8}"/>
            </c:ext>
          </c:extLst>
        </c:ser>
        <c:ser>
          <c:idx val="5"/>
          <c:order val="5"/>
          <c:spPr>
            <a:ln>
              <a:noFill/>
            </a:ln>
          </c:spPr>
          <c:marker>
            <c:symbol val="circle"/>
            <c:size val="5"/>
            <c:spPr>
              <a:solidFill>
                <a:srgbClr val="59943A"/>
              </a:solidFill>
              <a:ln w="9525" algn="ctr">
                <a:solidFill>
                  <a:srgbClr val="59943A"/>
                </a:solidFill>
                <a:prstDash val="solid"/>
              </a:ln>
            </c:spPr>
          </c:marker>
          <c:xVal>
            <c:numRef>
              <c:f>Sheet1!$A$1:$A$351</c:f>
              <c:numCache>
                <c:formatCode>General</c:formatCode>
                <c:ptCount val="351"/>
                <c:pt idx="321">
                  <c:v>1032.8344704337499</c:v>
                </c:pt>
                <c:pt idx="322">
                  <c:v>904.04333533392037</c:v>
                </c:pt>
                <c:pt idx="323">
                  <c:v>1442.322483582944</c:v>
                </c:pt>
                <c:pt idx="324">
                  <c:v>987.03038758485377</c:v>
                </c:pt>
                <c:pt idx="325">
                  <c:v>1137.2686064707048</c:v>
                </c:pt>
                <c:pt idx="326">
                  <c:v>757.89321525872197</c:v>
                </c:pt>
                <c:pt idx="327">
                  <c:v>1210.4482025867321</c:v>
                </c:pt>
                <c:pt idx="328">
                  <c:v>1022.6679495311438</c:v>
                </c:pt>
                <c:pt idx="329">
                  <c:v>1635.4501732837925</c:v>
                </c:pt>
                <c:pt idx="330">
                  <c:v>1403.8497307257833</c:v>
                </c:pt>
                <c:pt idx="331">
                  <c:v>1004.6706383931427</c:v>
                </c:pt>
                <c:pt idx="332">
                  <c:v>1242.2417143553182</c:v>
                </c:pt>
                <c:pt idx="333">
                  <c:v>1409.9290479091474</c:v>
                </c:pt>
              </c:numCache>
            </c:numRef>
          </c:xVal>
          <c:yVal>
            <c:numRef>
              <c:f>Sheet1!$G$1:$G$351</c:f>
              <c:numCache>
                <c:formatCode>General</c:formatCode>
                <c:ptCount val="351"/>
                <c:pt idx="321">
                  <c:v>-3.1078566986078573</c:v>
                </c:pt>
                <c:pt idx="322">
                  <c:v>-2.3239708963187367</c:v>
                </c:pt>
                <c:pt idx="323">
                  <c:v>-3.3093000845634357</c:v>
                </c:pt>
                <c:pt idx="324">
                  <c:v>-11.280049111942487</c:v>
                </c:pt>
                <c:pt idx="325">
                  <c:v>-6.1093905270628772</c:v>
                </c:pt>
                <c:pt idx="326">
                  <c:v>-4.7563789574470539</c:v>
                </c:pt>
                <c:pt idx="327">
                  <c:v>-0.71045999116543912</c:v>
                </c:pt>
                <c:pt idx="328">
                  <c:v>-7.1223133753032783</c:v>
                </c:pt>
                <c:pt idx="329">
                  <c:v>-4.7735474111245795</c:v>
                </c:pt>
                <c:pt idx="330">
                  <c:v>-1.2583221694213937</c:v>
                </c:pt>
                <c:pt idx="331">
                  <c:v>-9.1436445152098837</c:v>
                </c:pt>
                <c:pt idx="332">
                  <c:v>-3.2238240112966188</c:v>
                </c:pt>
                <c:pt idx="333">
                  <c:v>-6.8885159671363212</c:v>
                </c:pt>
              </c:numCache>
            </c:numRef>
          </c:yVal>
          <c:smooth val="0"/>
          <c:extLst>
            <c:ext xmlns:c16="http://schemas.microsoft.com/office/drawing/2014/chart" uri="{C3380CC4-5D6E-409C-BE32-E72D297353CC}">
              <c16:uniqueId val="{00000005-0E12-4F59-AE16-AFC926ABB3F8}"/>
            </c:ext>
          </c:extLst>
        </c:ser>
        <c:ser>
          <c:idx val="6"/>
          <c:order val="6"/>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334">
                  <c:v>741.47689229774301</c:v>
                </c:pt>
                <c:pt idx="335">
                  <c:v>1241.7687879755586</c:v>
                </c:pt>
              </c:numCache>
            </c:numRef>
          </c:xVal>
          <c:yVal>
            <c:numRef>
              <c:f>Sheet1!$H$1:$H$351</c:f>
              <c:numCache>
                <c:formatCode>General</c:formatCode>
                <c:ptCount val="351"/>
                <c:pt idx="334">
                  <c:v>94.463606397100847</c:v>
                </c:pt>
                <c:pt idx="335">
                  <c:v>102.82263066490161</c:v>
                </c:pt>
              </c:numCache>
            </c:numRef>
          </c:yVal>
          <c:smooth val="0"/>
          <c:extLst>
            <c:ext xmlns:c16="http://schemas.microsoft.com/office/drawing/2014/chart" uri="{C3380CC4-5D6E-409C-BE32-E72D297353CC}">
              <c16:uniqueId val="{00000006-0E12-4F59-AE16-AFC926ABB3F8}"/>
            </c:ext>
          </c:extLst>
        </c:ser>
        <c:ser>
          <c:idx val="7"/>
          <c:order val="7"/>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336">
                  <c:v>1006.4095258162336</c:v>
                </c:pt>
                <c:pt idx="337">
                  <c:v>563.87212944447003</c:v>
                </c:pt>
                <c:pt idx="338">
                  <c:v>1281.5022732773928</c:v>
                </c:pt>
                <c:pt idx="339">
                  <c:v>961.57400268636252</c:v>
                </c:pt>
              </c:numCache>
            </c:numRef>
          </c:xVal>
          <c:yVal>
            <c:numRef>
              <c:f>Sheet1!$I$1:$I$351</c:f>
              <c:numCache>
                <c:formatCode>General</c:formatCode>
                <c:ptCount val="351"/>
                <c:pt idx="336">
                  <c:v>76.448708797470545</c:v>
                </c:pt>
                <c:pt idx="337">
                  <c:v>76.70205660257821</c:v>
                </c:pt>
                <c:pt idx="338">
                  <c:v>78.781341008029031</c:v>
                </c:pt>
                <c:pt idx="339">
                  <c:v>76.339604614486362</c:v>
                </c:pt>
              </c:numCache>
            </c:numRef>
          </c:yVal>
          <c:smooth val="0"/>
          <c:extLst>
            <c:ext xmlns:c16="http://schemas.microsoft.com/office/drawing/2014/chart" uri="{C3380CC4-5D6E-409C-BE32-E72D297353CC}">
              <c16:uniqueId val="{00000007-0E12-4F59-AE16-AFC926ABB3F8}"/>
            </c:ext>
          </c:extLst>
        </c:ser>
        <c:ser>
          <c:idx val="8"/>
          <c:order val="8"/>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340">
                  <c:v>918.89429335924524</c:v>
                </c:pt>
                <c:pt idx="341">
                  <c:v>818.81672832082722</c:v>
                </c:pt>
                <c:pt idx="342">
                  <c:v>895.40758014600806</c:v>
                </c:pt>
                <c:pt idx="343">
                  <c:v>1071.3669044825522</c:v>
                </c:pt>
                <c:pt idx="344">
                  <c:v>1121.3354528813354</c:v>
                </c:pt>
                <c:pt idx="345">
                  <c:v>797.44951828394085</c:v>
                </c:pt>
                <c:pt idx="346">
                  <c:v>1376.3421830675984</c:v>
                </c:pt>
                <c:pt idx="347">
                  <c:v>629.98863321611509</c:v>
                </c:pt>
                <c:pt idx="348">
                  <c:v>1043.6796686933121</c:v>
                </c:pt>
              </c:numCache>
            </c:numRef>
          </c:xVal>
          <c:yVal>
            <c:numRef>
              <c:f>Sheet1!$J$1:$J$351</c:f>
              <c:numCache>
                <c:formatCode>General</c:formatCode>
                <c:ptCount val="351"/>
                <c:pt idx="340">
                  <c:v>62.904699142768216</c:v>
                </c:pt>
                <c:pt idx="341">
                  <c:v>73.99702661954025</c:v>
                </c:pt>
                <c:pt idx="342">
                  <c:v>60.345173115537435</c:v>
                </c:pt>
                <c:pt idx="343">
                  <c:v>66.952218200031382</c:v>
                </c:pt>
                <c:pt idx="344">
                  <c:v>61.550724813535794</c:v>
                </c:pt>
                <c:pt idx="345">
                  <c:v>73.867028223342018</c:v>
                </c:pt>
                <c:pt idx="346">
                  <c:v>64.226631054111152</c:v>
                </c:pt>
                <c:pt idx="347">
                  <c:v>71.496010368237734</c:v>
                </c:pt>
                <c:pt idx="348">
                  <c:v>64.592300429323984</c:v>
                </c:pt>
              </c:numCache>
            </c:numRef>
          </c:yVal>
          <c:smooth val="0"/>
          <c:extLst>
            <c:ext xmlns:c16="http://schemas.microsoft.com/office/drawing/2014/chart" uri="{C3380CC4-5D6E-409C-BE32-E72D297353CC}">
              <c16:uniqueId val="{00000008-0E12-4F59-AE16-AFC926ABB3F8}"/>
            </c:ext>
          </c:extLst>
        </c:ser>
        <c:ser>
          <c:idx val="9"/>
          <c:order val="9"/>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349">
                  <c:v>328.35051079762525</c:v>
                </c:pt>
              </c:numCache>
            </c:numRef>
          </c:xVal>
          <c:yVal>
            <c:numRef>
              <c:f>Sheet1!$K$1:$K$351</c:f>
              <c:numCache>
                <c:formatCode>General</c:formatCode>
                <c:ptCount val="351"/>
                <c:pt idx="349">
                  <c:v>110.57535356275119</c:v>
                </c:pt>
              </c:numCache>
            </c:numRef>
          </c:yVal>
          <c:smooth val="0"/>
          <c:extLst>
            <c:ext xmlns:c16="http://schemas.microsoft.com/office/drawing/2014/chart" uri="{C3380CC4-5D6E-409C-BE32-E72D297353CC}">
              <c16:uniqueId val="{00000009-0E12-4F59-AE16-AFC926ABB3F8}"/>
            </c:ext>
          </c:extLst>
        </c:ser>
        <c:ser>
          <c:idx val="10"/>
          <c:order val="10"/>
          <c:spPr>
            <a:ln>
              <a:noFill/>
            </a:ln>
          </c:spPr>
          <c:marker>
            <c:symbol val="circle"/>
            <c:size val="5"/>
            <c:spPr>
              <a:solidFill>
                <a:srgbClr val="BF211E"/>
              </a:solidFill>
              <a:ln w="9525" algn="ctr">
                <a:solidFill>
                  <a:srgbClr val="BF211E"/>
                </a:solidFill>
                <a:prstDash val="solid"/>
              </a:ln>
            </c:spPr>
          </c:marker>
          <c:xVal>
            <c:numRef>
              <c:f>Sheet1!$A$1:$A$351</c:f>
              <c:numCache>
                <c:formatCode>General</c:formatCode>
                <c:ptCount val="351"/>
                <c:pt idx="350">
                  <c:v>566.02179125509315</c:v>
                </c:pt>
              </c:numCache>
            </c:numRef>
          </c:xVal>
          <c:yVal>
            <c:numRef>
              <c:f>Sheet1!$L$1:$L$351</c:f>
              <c:numCache>
                <c:formatCode>General</c:formatCode>
                <c:ptCount val="351"/>
                <c:pt idx="350">
                  <c:v>170.80744378657906</c:v>
                </c:pt>
              </c:numCache>
            </c:numRef>
          </c:yVal>
          <c:smooth val="0"/>
          <c:extLst>
            <c:ext xmlns:c16="http://schemas.microsoft.com/office/drawing/2014/chart" uri="{C3380CC4-5D6E-409C-BE32-E72D297353CC}">
              <c16:uniqueId val="{0000000A-0E12-4F59-AE16-AFC926ABB3F8}"/>
            </c:ext>
          </c:extLst>
        </c:ser>
        <c:dLbls>
          <c:showLegendKey val="0"/>
          <c:showVal val="0"/>
          <c:showCatName val="0"/>
          <c:showSerName val="0"/>
          <c:showPercent val="0"/>
          <c:showBubbleSize val="0"/>
        </c:dLbls>
        <c:axId val="669606240"/>
        <c:axId val="1"/>
      </c:scatterChart>
      <c:valAx>
        <c:axId val="669606240"/>
        <c:scaling>
          <c:orientation val="minMax"/>
          <c:max val="2500"/>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defRPr>
            </a:pPr>
            <a:endParaRPr lang="nl-NL"/>
          </a:p>
        </c:txPr>
        <c:crossAx val="1"/>
        <c:crosses val="min"/>
        <c:crossBetween val="midCat"/>
        <c:majorUnit val="500"/>
      </c:valAx>
      <c:valAx>
        <c:axId val="1"/>
        <c:scaling>
          <c:orientation val="minMax"/>
          <c:max val="180"/>
          <c:min val="-4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defRPr>
            </a:pPr>
            <a:endParaRPr lang="nl-NL"/>
          </a:p>
        </c:txPr>
        <c:crossAx val="669606240"/>
        <c:crosses val="min"/>
        <c:crossBetween val="midCat"/>
        <c:majorUnit val="2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48527679623084E-2"/>
          <c:y val="2.185792349726776E-2"/>
          <c:w val="0.87750294464075385"/>
          <c:h val="0.95628415300546443"/>
        </c:manualLayout>
      </c:layout>
      <c:barChart>
        <c:barDir val="bar"/>
        <c:grouping val="stacked"/>
        <c:varyColors val="0"/>
        <c:ser>
          <c:idx val="0"/>
          <c:order val="0"/>
          <c:spPr>
            <a:solidFill>
              <a:schemeClr val="accent1"/>
            </a:solidFill>
            <a:ln>
              <a:noFill/>
            </a:ln>
          </c:spPr>
          <c:invertIfNegative val="0"/>
          <c:val>
            <c:numRef>
              <c:f>Sheet1!$A$1:$M$1</c:f>
              <c:numCache>
                <c:formatCode>General</c:formatCode>
                <c:ptCount val="13"/>
                <c:pt idx="0">
                  <c:v>112.47309775832446</c:v>
                </c:pt>
                <c:pt idx="1">
                  <c:v>71.909085822437319</c:v>
                </c:pt>
                <c:pt idx="2">
                  <c:v>67.075923100710185</c:v>
                </c:pt>
                <c:pt idx="3">
                  <c:v>65.078665657282784</c:v>
                </c:pt>
                <c:pt idx="4">
                  <c:v>60.010146955706908</c:v>
                </c:pt>
                <c:pt idx="5">
                  <c:v>58.441158298872367</c:v>
                </c:pt>
                <c:pt idx="6">
                  <c:v>56.978867594382052</c:v>
                </c:pt>
                <c:pt idx="7">
                  <c:v>56.408009572758623</c:v>
                </c:pt>
                <c:pt idx="8">
                  <c:v>55.505768835104654</c:v>
                </c:pt>
                <c:pt idx="9">
                  <c:v>54.563323679109644</c:v>
                </c:pt>
                <c:pt idx="10">
                  <c:v>46.325523905183871</c:v>
                </c:pt>
                <c:pt idx="11">
                  <c:v>46.023320251576358</c:v>
                </c:pt>
                <c:pt idx="12">
                  <c:v>39.097127811308788</c:v>
                </c:pt>
              </c:numCache>
            </c:numRef>
          </c:val>
          <c:extLst>
            <c:ext xmlns:c16="http://schemas.microsoft.com/office/drawing/2014/chart" uri="{C3380CC4-5D6E-409C-BE32-E72D297353CC}">
              <c16:uniqueId val="{00000000-3FDC-4ECE-A4F8-6B90143724E3}"/>
            </c:ext>
          </c:extLst>
        </c:ser>
        <c:dLbls>
          <c:showLegendKey val="0"/>
          <c:showVal val="0"/>
          <c:showCatName val="0"/>
          <c:showSerName val="0"/>
          <c:showPercent val="0"/>
          <c:showBubbleSize val="0"/>
        </c:dLbls>
        <c:gapWidth val="80"/>
        <c:overlap val="100"/>
        <c:axId val="499800448"/>
        <c:axId val="1"/>
      </c:barChart>
      <c:catAx>
        <c:axId val="49980044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2.47309775832446"/>
          <c:min val="0"/>
        </c:scaling>
        <c:delete val="1"/>
        <c:axPos val="t"/>
        <c:numFmt formatCode="General" sourceLinked="1"/>
        <c:majorTickMark val="out"/>
        <c:minorTickMark val="none"/>
        <c:tickLblPos val="nextTo"/>
        <c:crossAx val="49980044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77985948477751"/>
          <c:y val="4.3117744610281922E-2"/>
          <c:w val="0.75644028103044492"/>
          <c:h val="0.9137645107794361"/>
        </c:manualLayout>
      </c:layout>
      <c:barChart>
        <c:barDir val="bar"/>
        <c:grouping val="stacked"/>
        <c:varyColors val="0"/>
        <c:ser>
          <c:idx val="0"/>
          <c:order val="0"/>
          <c:spPr>
            <a:solidFill>
              <a:schemeClr val="accent1"/>
            </a:solidFill>
            <a:ln>
              <a:noFill/>
            </a:ln>
          </c:spPr>
          <c:invertIfNegative val="0"/>
          <c:val>
            <c:numRef>
              <c:f>Sheet1!$A$1:$G$1</c:f>
              <c:numCache>
                <c:formatCode>General</c:formatCode>
                <c:ptCount val="7"/>
                <c:pt idx="0">
                  <c:v>47.840208034031932</c:v>
                </c:pt>
                <c:pt idx="1">
                  <c:v>45.43661862551177</c:v>
                </c:pt>
                <c:pt idx="2">
                  <c:v>37.735502841494011</c:v>
                </c:pt>
                <c:pt idx="3">
                  <c:v>33.090474183682353</c:v>
                </c:pt>
                <c:pt idx="4">
                  <c:v>21.67142135603606</c:v>
                </c:pt>
                <c:pt idx="5">
                  <c:v>21.489284462462464</c:v>
                </c:pt>
                <c:pt idx="6">
                  <c:v>7.6728949505315347</c:v>
                </c:pt>
              </c:numCache>
            </c:numRef>
          </c:val>
          <c:extLst>
            <c:ext xmlns:c16="http://schemas.microsoft.com/office/drawing/2014/chart" uri="{C3380CC4-5D6E-409C-BE32-E72D297353CC}">
              <c16:uniqueId val="{00000000-9508-4856-8793-6A9C4234C00F}"/>
            </c:ext>
          </c:extLst>
        </c:ser>
        <c:dLbls>
          <c:showLegendKey val="0"/>
          <c:showVal val="0"/>
          <c:showCatName val="0"/>
          <c:showSerName val="0"/>
          <c:showPercent val="0"/>
          <c:showBubbleSize val="0"/>
        </c:dLbls>
        <c:gapWidth val="80"/>
        <c:overlap val="100"/>
        <c:axId val="267134784"/>
        <c:axId val="1"/>
      </c:barChart>
      <c:catAx>
        <c:axId val="2671347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7.840208034031932"/>
          <c:min val="0"/>
        </c:scaling>
        <c:delete val="1"/>
        <c:axPos val="t"/>
        <c:numFmt formatCode="General" sourceLinked="1"/>
        <c:majorTickMark val="out"/>
        <c:minorTickMark val="none"/>
        <c:tickLblPos val="nextTo"/>
        <c:crossAx val="26713478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66045548654245"/>
          <c:y val="5.2419354838709679E-2"/>
          <c:w val="0.78467908902691508"/>
          <c:h val="0.89516129032258063"/>
        </c:manualLayout>
      </c:layout>
      <c:barChart>
        <c:barDir val="bar"/>
        <c:grouping val="stacked"/>
        <c:varyColors val="0"/>
        <c:ser>
          <c:idx val="0"/>
          <c:order val="0"/>
          <c:spPr>
            <a:solidFill>
              <a:schemeClr val="accent1"/>
            </a:solidFill>
            <a:ln>
              <a:noFill/>
            </a:ln>
          </c:spPr>
          <c:invertIfNegative val="0"/>
          <c:val>
            <c:numRef>
              <c:f>Sheet1!$A$1:$F$1</c:f>
              <c:numCache>
                <c:formatCode>General</c:formatCode>
                <c:ptCount val="6"/>
                <c:pt idx="0">
                  <c:v>55.254500399793429</c:v>
                </c:pt>
                <c:pt idx="1">
                  <c:v>50.778237487531399</c:v>
                </c:pt>
                <c:pt idx="2">
                  <c:v>50.709708820639946</c:v>
                </c:pt>
                <c:pt idx="3">
                  <c:v>44.618383749501653</c:v>
                </c:pt>
                <c:pt idx="4">
                  <c:v>28.942210658325102</c:v>
                </c:pt>
                <c:pt idx="5">
                  <c:v>25.798652056062281</c:v>
                </c:pt>
              </c:numCache>
            </c:numRef>
          </c:val>
          <c:extLst>
            <c:ext xmlns:c16="http://schemas.microsoft.com/office/drawing/2014/chart" uri="{C3380CC4-5D6E-409C-BE32-E72D297353CC}">
              <c16:uniqueId val="{00000000-E34C-4272-899F-EA7A57C6C03D}"/>
            </c:ext>
          </c:extLst>
        </c:ser>
        <c:dLbls>
          <c:showLegendKey val="0"/>
          <c:showVal val="0"/>
          <c:showCatName val="0"/>
          <c:showSerName val="0"/>
          <c:showPercent val="0"/>
          <c:showBubbleSize val="0"/>
        </c:dLbls>
        <c:gapWidth val="80"/>
        <c:overlap val="100"/>
        <c:axId val="678671296"/>
        <c:axId val="1"/>
      </c:barChart>
      <c:catAx>
        <c:axId val="6786712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254500399793429"/>
          <c:min val="0"/>
        </c:scaling>
        <c:delete val="1"/>
        <c:axPos val="t"/>
        <c:numFmt formatCode="General" sourceLinked="1"/>
        <c:majorTickMark val="out"/>
        <c:minorTickMark val="none"/>
        <c:tickLblPos val="nextTo"/>
        <c:crossAx val="67867129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90147225368061E-2"/>
          <c:y val="2.5717111770524232E-2"/>
          <c:w val="0.88221970554926388"/>
          <c:h val="0.94856577645895157"/>
        </c:manualLayout>
      </c:layout>
      <c:barChart>
        <c:barDir val="bar"/>
        <c:grouping val="stacked"/>
        <c:varyColors val="0"/>
        <c:ser>
          <c:idx val="0"/>
          <c:order val="0"/>
          <c:spPr>
            <a:solidFill>
              <a:schemeClr val="accent1"/>
            </a:solidFill>
            <a:ln>
              <a:noFill/>
            </a:ln>
          </c:spPr>
          <c:invertIfNegative val="0"/>
          <c:val>
            <c:numRef>
              <c:f>Sheet1!$A$1:$K$1</c:f>
              <c:numCache>
                <c:formatCode>General</c:formatCode>
                <c:ptCount val="11"/>
                <c:pt idx="0">
                  <c:v>117.99755007430764</c:v>
                </c:pt>
                <c:pt idx="1">
                  <c:v>57.257069477432701</c:v>
                </c:pt>
                <c:pt idx="2">
                  <c:v>53.924169870651298</c:v>
                </c:pt>
                <c:pt idx="3">
                  <c:v>53.669367430053818</c:v>
                </c:pt>
                <c:pt idx="4">
                  <c:v>52.353787839435839</c:v>
                </c:pt>
                <c:pt idx="5">
                  <c:v>51.220078574823347</c:v>
                </c:pt>
                <c:pt idx="6">
                  <c:v>47.976035676801871</c:v>
                </c:pt>
                <c:pt idx="7">
                  <c:v>45.712959437104914</c:v>
                </c:pt>
                <c:pt idx="8">
                  <c:v>41.163510759563316</c:v>
                </c:pt>
                <c:pt idx="9">
                  <c:v>31.446488909029842</c:v>
                </c:pt>
                <c:pt idx="10">
                  <c:v>21.990756304534607</c:v>
                </c:pt>
              </c:numCache>
            </c:numRef>
          </c:val>
          <c:extLst>
            <c:ext xmlns:c16="http://schemas.microsoft.com/office/drawing/2014/chart" uri="{C3380CC4-5D6E-409C-BE32-E72D297353CC}">
              <c16:uniqueId val="{00000000-9222-45A3-B372-B901BC1E10F2}"/>
            </c:ext>
          </c:extLst>
        </c:ser>
        <c:dLbls>
          <c:showLegendKey val="0"/>
          <c:showVal val="0"/>
          <c:showCatName val="0"/>
          <c:showSerName val="0"/>
          <c:showPercent val="0"/>
          <c:showBubbleSize val="0"/>
        </c:dLbls>
        <c:gapWidth val="80"/>
        <c:overlap val="100"/>
        <c:axId val="267247936"/>
        <c:axId val="1"/>
      </c:barChart>
      <c:catAx>
        <c:axId val="26724793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7.99755007430764"/>
          <c:min val="0"/>
        </c:scaling>
        <c:delete val="1"/>
        <c:axPos val="t"/>
        <c:numFmt formatCode="General" sourceLinked="1"/>
        <c:majorTickMark val="out"/>
        <c:minorTickMark val="none"/>
        <c:tickLblPos val="nextTo"/>
        <c:crossAx val="2672479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2073732718894"/>
          <c:y val="7.6470588235294124E-2"/>
          <c:w val="0.76866359447004606"/>
          <c:h val="0.84705882352941175"/>
        </c:manualLayout>
      </c:layout>
      <c:barChart>
        <c:barDir val="col"/>
        <c:grouping val="stacked"/>
        <c:varyColors val="0"/>
        <c:ser>
          <c:idx val="0"/>
          <c:order val="0"/>
          <c:spPr>
            <a:solidFill>
              <a:schemeClr val="accent1"/>
            </a:solidFill>
            <a:ln>
              <a:noFill/>
            </a:ln>
          </c:spPr>
          <c:invertIfNegative val="0"/>
          <c:dLbls>
            <c:dLbl>
              <c:idx val="0"/>
              <c:layout>
                <c:manualLayout>
                  <c:x val="0"/>
                  <c:y val="-9.1176470588235289E-2"/>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8A-476D-B40F-A0457138E418}"/>
                </c:ext>
              </c:extLst>
            </c:dLbl>
            <c:dLbl>
              <c:idx val="1"/>
              <c:layout>
                <c:manualLayout>
                  <c:x val="0"/>
                  <c:y val="-9.4117647058823528E-2"/>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8A-476D-B40F-A0457138E4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6</c:v>
                </c:pt>
                <c:pt idx="1">
                  <c:v>4</c:v>
                </c:pt>
                <c:pt idx="2">
                  <c:v>-0.4</c:v>
                </c:pt>
              </c:numCache>
            </c:numRef>
          </c:val>
          <c:extLst>
            <c:ext xmlns:c16="http://schemas.microsoft.com/office/drawing/2014/chart" uri="{C3380CC4-5D6E-409C-BE32-E72D297353CC}">
              <c16:uniqueId val="{00000002-E28A-476D-B40F-A0457138E418}"/>
            </c:ext>
          </c:extLst>
        </c:ser>
        <c:dLbls>
          <c:showLegendKey val="0"/>
          <c:showVal val="0"/>
          <c:showCatName val="0"/>
          <c:showSerName val="0"/>
          <c:showPercent val="0"/>
          <c:showBubbleSize val="0"/>
        </c:dLbls>
        <c:gapWidth val="80"/>
        <c:overlap val="100"/>
        <c:axId val="170788336"/>
        <c:axId val="1"/>
      </c:barChart>
      <c:catAx>
        <c:axId val="1707883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7883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254071661237782"/>
          <c:y val="0.18441558441558442"/>
          <c:w val="0.4749185667752443"/>
          <c:h val="0.74805194805194808"/>
        </c:manualLayout>
      </c:layout>
      <c:barChart>
        <c:barDir val="col"/>
        <c:grouping val="stacked"/>
        <c:varyColors val="0"/>
        <c:ser>
          <c:idx val="0"/>
          <c:order val="0"/>
          <c:spPr>
            <a:solidFill>
              <a:schemeClr val="accent4"/>
            </a:solidFill>
            <a:ln>
              <a:noFill/>
            </a:ln>
          </c:spPr>
          <c:invertIfNegative val="0"/>
          <c:dLbls>
            <c:dLbl>
              <c:idx val="0"/>
              <c:layout>
                <c:manualLayout>
                  <c:x val="0"/>
                  <c:y val="-0.38571428571428573"/>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24-4F5C-A289-1C4BAF5D7455}"/>
                </c:ext>
              </c:extLst>
            </c:dLbl>
            <c:dLbl>
              <c:idx val="1"/>
              <c:layout>
                <c:manualLayout>
                  <c:x val="0"/>
                  <c:y val="-0.41298701298701301"/>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24-4F5C-A289-1C4BAF5D7455}"/>
                </c:ext>
              </c:extLst>
            </c:dLbl>
            <c:dLbl>
              <c:idx val="2"/>
              <c:layout>
                <c:manualLayout>
                  <c:x val="0"/>
                  <c:y val="-0.46493506493506492"/>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224-4F5C-A289-1C4BAF5D74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57.80000000000001</c:v>
                </c:pt>
                <c:pt idx="1">
                  <c:v>172.6</c:v>
                </c:pt>
                <c:pt idx="2">
                  <c:v>201.4</c:v>
                </c:pt>
              </c:numCache>
            </c:numRef>
          </c:val>
          <c:extLst>
            <c:ext xmlns:c16="http://schemas.microsoft.com/office/drawing/2014/chart" uri="{C3380CC4-5D6E-409C-BE32-E72D297353CC}">
              <c16:uniqueId val="{00000003-5224-4F5C-A289-1C4BAF5D7455}"/>
            </c:ext>
          </c:extLst>
        </c:ser>
        <c:dLbls>
          <c:showLegendKey val="0"/>
          <c:showVal val="0"/>
          <c:showCatName val="0"/>
          <c:showSerName val="0"/>
          <c:showPercent val="0"/>
          <c:showBubbleSize val="0"/>
        </c:dLbls>
        <c:gapWidth val="80"/>
        <c:overlap val="100"/>
        <c:axId val="170792080"/>
        <c:axId val="1"/>
      </c:barChart>
      <c:catAx>
        <c:axId val="1707920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79208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322683706070288"/>
          <c:y val="0.18335500650195058"/>
          <c:w val="0.5329073482428115"/>
          <c:h val="0.74902470741222371"/>
        </c:manualLayout>
      </c:layout>
      <c:barChart>
        <c:barDir val="col"/>
        <c:grouping val="stacked"/>
        <c:varyColors val="0"/>
        <c:ser>
          <c:idx val="0"/>
          <c:order val="0"/>
          <c:spPr>
            <a:solidFill>
              <a:schemeClr val="accent4"/>
            </a:solidFill>
            <a:ln>
              <a:noFill/>
            </a:ln>
          </c:spPr>
          <c:invertIfNegative val="0"/>
          <c:dLbls>
            <c:dLbl>
              <c:idx val="0"/>
              <c:layout>
                <c:manualLayout>
                  <c:x val="0"/>
                  <c:y val="-0.39271781534460337"/>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53-4117-90A4-AC57DC80F456}"/>
                </c:ext>
              </c:extLst>
            </c:dLbl>
            <c:dLbl>
              <c:idx val="1"/>
              <c:layout>
                <c:manualLayout>
                  <c:x val="0"/>
                  <c:y val="-0.42002600780234073"/>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53-4117-90A4-AC57DC80F456}"/>
                </c:ext>
              </c:extLst>
            </c:dLbl>
            <c:dLbl>
              <c:idx val="2"/>
              <c:layout>
                <c:manualLayout>
                  <c:x val="0"/>
                  <c:y val="-0.46553966189856955"/>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53-4117-90A4-AC57DC80F4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61.4</c:v>
                </c:pt>
                <c:pt idx="1">
                  <c:v>176.6</c:v>
                </c:pt>
                <c:pt idx="2">
                  <c:v>200.9</c:v>
                </c:pt>
              </c:numCache>
            </c:numRef>
          </c:val>
          <c:extLst>
            <c:ext xmlns:c16="http://schemas.microsoft.com/office/drawing/2014/chart" uri="{C3380CC4-5D6E-409C-BE32-E72D297353CC}">
              <c16:uniqueId val="{00000003-FD53-4117-90A4-AC57DC80F456}"/>
            </c:ext>
          </c:extLst>
        </c:ser>
        <c:dLbls>
          <c:showLegendKey val="0"/>
          <c:showVal val="0"/>
          <c:showCatName val="0"/>
          <c:showSerName val="0"/>
          <c:showPercent val="0"/>
          <c:showBubbleSize val="0"/>
        </c:dLbls>
        <c:gapWidth val="80"/>
        <c:overlap val="100"/>
        <c:axId val="170806224"/>
        <c:axId val="1"/>
      </c:barChart>
      <c:catAx>
        <c:axId val="1708062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8062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421875000000001"/>
          <c:y val="7.6470588235294124E-2"/>
          <c:w val="0.65156250000000004"/>
          <c:h val="0.84705882352941175"/>
        </c:manualLayout>
      </c:layout>
      <c:barChart>
        <c:barDir val="col"/>
        <c:grouping val="stacked"/>
        <c:varyColors val="0"/>
        <c:ser>
          <c:idx val="0"/>
          <c:order val="0"/>
          <c:spPr>
            <a:solidFill>
              <a:srgbClr val="8C8C8C"/>
            </a:solidFill>
            <a:ln>
              <a:noFill/>
            </a:ln>
          </c:spPr>
          <c:invertIfNegative val="0"/>
          <c:dLbls>
            <c:dLbl>
              <c:idx val="0"/>
              <c:layout>
                <c:manualLayout>
                  <c:x val="0"/>
                  <c:y val="-9.8529411764705879E-2"/>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0B-47FC-8576-B07AF1F922A1}"/>
                </c:ext>
              </c:extLst>
            </c:dLbl>
            <c:dLbl>
              <c:idx val="1"/>
              <c:layout>
                <c:manualLayout>
                  <c:x val="0"/>
                  <c:y val="-0.12205882352941176"/>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0B-47FC-8576-B07AF1F922A1}"/>
                </c:ext>
              </c:extLst>
            </c:dLbl>
            <c:dLbl>
              <c:idx val="2"/>
              <c:layout>
                <c:manualLayout>
                  <c:x val="0"/>
                  <c:y val="-0.15147058823529411"/>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0B-47FC-8576-B07AF1F922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034000000000006</c:v>
                </c:pt>
                <c:pt idx="1">
                  <c:v>10.66500000000002</c:v>
                </c:pt>
                <c:pt idx="2">
                  <c:v>22.321599999999961</c:v>
                </c:pt>
              </c:numCache>
            </c:numRef>
          </c:val>
          <c:extLst>
            <c:ext xmlns:c16="http://schemas.microsoft.com/office/drawing/2014/chart" uri="{C3380CC4-5D6E-409C-BE32-E72D297353CC}">
              <c16:uniqueId val="{00000003-9F0B-47FC-8576-B07AF1F922A1}"/>
            </c:ext>
          </c:extLst>
        </c:ser>
        <c:dLbls>
          <c:showLegendKey val="0"/>
          <c:showVal val="0"/>
          <c:showCatName val="0"/>
          <c:showSerName val="0"/>
          <c:showPercent val="0"/>
          <c:showBubbleSize val="0"/>
        </c:dLbls>
        <c:gapWidth val="80"/>
        <c:overlap val="100"/>
        <c:axId val="170767120"/>
        <c:axId val="1"/>
      </c:barChart>
      <c:catAx>
        <c:axId val="170767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76712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052631578947366"/>
          <c:y val="7.6470588235294124E-2"/>
          <c:w val="0.47960526315789476"/>
          <c:h val="0.84705882352941175"/>
        </c:manualLayout>
      </c:layout>
      <c:barChart>
        <c:barDir val="col"/>
        <c:grouping val="stacked"/>
        <c:varyColors val="0"/>
        <c:ser>
          <c:idx val="0"/>
          <c:order val="0"/>
          <c:spPr>
            <a:solidFill>
              <a:srgbClr val="DBDBDB"/>
            </a:solidFill>
            <a:ln>
              <a:noFill/>
            </a:ln>
          </c:spPr>
          <c:invertIfNegative val="0"/>
          <c:dLbls>
            <c:dLbl>
              <c:idx val="0"/>
              <c:layout>
                <c:manualLayout>
                  <c:x val="0"/>
                  <c:y val="-0.36617647058823527"/>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B5-42AA-A9B4-F786D24D9A91}"/>
                </c:ext>
              </c:extLst>
            </c:dLbl>
            <c:dLbl>
              <c:idx val="1"/>
              <c:layout>
                <c:manualLayout>
                  <c:x val="0"/>
                  <c:y val="-0.37941176470588234"/>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B5-42AA-A9B4-F786D24D9A91}"/>
                </c:ext>
              </c:extLst>
            </c:dLbl>
            <c:dLbl>
              <c:idx val="2"/>
              <c:layout>
                <c:manualLayout>
                  <c:x val="0"/>
                  <c:y val="-0.40147058823529413"/>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B5-42AA-A9B4-F786D24D9A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5</c:v>
                </c:pt>
                <c:pt idx="1">
                  <c:v>130.9</c:v>
                </c:pt>
                <c:pt idx="2">
                  <c:v>141.4</c:v>
                </c:pt>
              </c:numCache>
            </c:numRef>
          </c:val>
          <c:extLst>
            <c:ext xmlns:c16="http://schemas.microsoft.com/office/drawing/2014/chart" uri="{C3380CC4-5D6E-409C-BE32-E72D297353CC}">
              <c16:uniqueId val="{00000003-0CB5-42AA-A9B4-F786D24D9A91}"/>
            </c:ext>
          </c:extLst>
        </c:ser>
        <c:dLbls>
          <c:showLegendKey val="0"/>
          <c:showVal val="0"/>
          <c:showCatName val="0"/>
          <c:showSerName val="0"/>
          <c:showPercent val="0"/>
          <c:showBubbleSize val="0"/>
        </c:dLbls>
        <c:gapWidth val="80"/>
        <c:overlap val="100"/>
        <c:axId val="170767952"/>
        <c:axId val="1"/>
      </c:barChart>
      <c:catAx>
        <c:axId val="1707679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76795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59136212624583"/>
          <c:y val="7.6470588235294124E-2"/>
          <c:w val="0.55415282392026577"/>
          <c:h val="0.84705882352941175"/>
        </c:manualLayout>
      </c:layout>
      <c:barChart>
        <c:barDir val="col"/>
        <c:grouping val="stacked"/>
        <c:varyColors val="0"/>
        <c:ser>
          <c:idx val="0"/>
          <c:order val="0"/>
          <c:spPr>
            <a:solidFill>
              <a:srgbClr val="DBDBDB"/>
            </a:solidFill>
            <a:ln>
              <a:noFill/>
            </a:ln>
          </c:spPr>
          <c:invertIfNegative val="0"/>
          <c:dLbls>
            <c:dLbl>
              <c:idx val="0"/>
              <c:layout>
                <c:manualLayout>
                  <c:x val="0"/>
                  <c:y val="-0.37647058823529411"/>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C2-46DB-930E-511CE3338B7D}"/>
                </c:ext>
              </c:extLst>
            </c:dLbl>
            <c:dLbl>
              <c:idx val="1"/>
              <c:layout>
                <c:manualLayout>
                  <c:x val="0"/>
                  <c:y val="-0.40147058823529413"/>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C2-46DB-930E-511CE3338B7D}"/>
                </c:ext>
              </c:extLst>
            </c:dLbl>
            <c:dLbl>
              <c:idx val="2"/>
              <c:layout>
                <c:manualLayout>
                  <c:x val="0"/>
                  <c:y val="-0.44705882352941179"/>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C2-46DB-930E-511CE3338B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30.024</c:v>
                </c:pt>
                <c:pt idx="1">
                  <c:v>141.54300000000001</c:v>
                </c:pt>
                <c:pt idx="2">
                  <c:v>163.69379999999998</c:v>
                </c:pt>
              </c:numCache>
            </c:numRef>
          </c:val>
          <c:extLst>
            <c:ext xmlns:c16="http://schemas.microsoft.com/office/drawing/2014/chart" uri="{C3380CC4-5D6E-409C-BE32-E72D297353CC}">
              <c16:uniqueId val="{00000003-88C2-46DB-930E-511CE3338B7D}"/>
            </c:ext>
          </c:extLst>
        </c:ser>
        <c:dLbls>
          <c:showLegendKey val="0"/>
          <c:showVal val="0"/>
          <c:showCatName val="0"/>
          <c:showSerName val="0"/>
          <c:showPercent val="0"/>
          <c:showBubbleSize val="0"/>
        </c:dLbls>
        <c:gapWidth val="80"/>
        <c:overlap val="100"/>
        <c:axId val="170776688"/>
        <c:axId val="1"/>
      </c:barChart>
      <c:catAx>
        <c:axId val="170776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1.4"/>
          <c:min val="-0.4"/>
        </c:scaling>
        <c:delete val="1"/>
        <c:axPos val="l"/>
        <c:numFmt formatCode="General" sourceLinked="1"/>
        <c:majorTickMark val="out"/>
        <c:minorTickMark val="none"/>
        <c:tickLblPos val="nextTo"/>
        <c:crossAx val="17077668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39850093691444E-2"/>
          <c:y val="2.1112464474218433E-2"/>
          <c:w val="0.96752029981261711"/>
          <c:h val="0.95777507105156312"/>
        </c:manualLayout>
      </c:layout>
      <c:barChart>
        <c:barDir val="bar"/>
        <c:grouping val="stacked"/>
        <c:varyColors val="0"/>
        <c:ser>
          <c:idx val="0"/>
          <c:order val="0"/>
          <c:spPr>
            <a:solidFill>
              <a:schemeClr val="accent1"/>
            </a:solidFill>
            <a:ln>
              <a:noFill/>
            </a:ln>
          </c:spPr>
          <c:invertIfNegative val="0"/>
          <c:val>
            <c:numRef>
              <c:f>Sheet1!$A$1:$G$1</c:f>
              <c:numCache>
                <c:formatCode>General</c:formatCode>
                <c:ptCount val="7"/>
                <c:pt idx="0">
                  <c:v>36.842831704184128</c:v>
                </c:pt>
                <c:pt idx="1">
                  <c:v>35.076530216702913</c:v>
                </c:pt>
                <c:pt idx="2">
                  <c:v>35.475486759292444</c:v>
                </c:pt>
                <c:pt idx="3">
                  <c:v>31.177343765410768</c:v>
                </c:pt>
                <c:pt idx="4">
                  <c:v>32.468793615087556</c:v>
                </c:pt>
                <c:pt idx="5">
                  <c:v>24.847689240904472</c:v>
                </c:pt>
                <c:pt idx="6">
                  <c:v>19.247937108023493</c:v>
                </c:pt>
              </c:numCache>
            </c:numRef>
          </c:val>
          <c:extLst>
            <c:ext xmlns:c16="http://schemas.microsoft.com/office/drawing/2014/chart" uri="{C3380CC4-5D6E-409C-BE32-E72D297353CC}">
              <c16:uniqueId val="{00000000-920C-4F91-B276-0692309CAE63}"/>
            </c:ext>
          </c:extLst>
        </c:ser>
        <c:dLbls>
          <c:showLegendKey val="0"/>
          <c:showVal val="0"/>
          <c:showCatName val="0"/>
          <c:showSerName val="0"/>
          <c:showPercent val="0"/>
          <c:showBubbleSize val="0"/>
        </c:dLbls>
        <c:gapWidth val="80"/>
        <c:overlap val="100"/>
        <c:axId val="62170816"/>
        <c:axId val="1"/>
      </c:barChart>
      <c:catAx>
        <c:axId val="621708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842831704184128"/>
          <c:min val="0"/>
        </c:scaling>
        <c:delete val="1"/>
        <c:axPos val="t"/>
        <c:numFmt formatCode="General" sourceLinked="1"/>
        <c:majorTickMark val="out"/>
        <c:minorTickMark val="none"/>
        <c:tickLblPos val="nextTo"/>
        <c:crossAx val="6217081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188055456807685E-2"/>
          <c:y val="2.7594247959580258E-2"/>
          <c:w val="0.88179879132598649"/>
          <c:h val="0.89195491643995339"/>
        </c:manualLayout>
      </c:layout>
      <c:scatterChart>
        <c:scatterStyle val="lineMarker"/>
        <c:varyColors val="0"/>
        <c:ser>
          <c:idx val="0"/>
          <c:order val="0"/>
          <c:spPr>
            <a:ln>
              <a:noFill/>
            </a:ln>
          </c:spPr>
          <c:marker>
            <c:symbol val="circle"/>
            <c:size val="6"/>
            <c:spPr>
              <a:solidFill>
                <a:srgbClr val="BF211E"/>
              </a:solidFill>
              <a:ln w="9525" algn="ctr">
                <a:solidFill>
                  <a:srgbClr val="BF211E"/>
                </a:solidFill>
                <a:prstDash val="solid"/>
              </a:ln>
            </c:spPr>
          </c:marker>
          <c:xVal>
            <c:numRef>
              <c:f>Sheet1!$A$1:$A$352</c:f>
              <c:numCache>
                <c:formatCode>General</c:formatCode>
                <c:ptCount val="352"/>
                <c:pt idx="0">
                  <c:v>25386</c:v>
                </c:pt>
                <c:pt idx="1">
                  <c:v>31728</c:v>
                </c:pt>
                <c:pt idx="2">
                  <c:v>72849</c:v>
                </c:pt>
                <c:pt idx="3">
                  <c:v>10149</c:v>
                </c:pt>
                <c:pt idx="4">
                  <c:v>90838</c:v>
                </c:pt>
                <c:pt idx="5">
                  <c:v>162445</c:v>
                </c:pt>
                <c:pt idx="6">
                  <c:v>16710</c:v>
                </c:pt>
                <c:pt idx="7">
                  <c:v>35727</c:v>
                </c:pt>
                <c:pt idx="8">
                  <c:v>13519</c:v>
                </c:pt>
                <c:pt idx="9">
                  <c:v>34798</c:v>
                </c:pt>
                <c:pt idx="10">
                  <c:v>18491</c:v>
                </c:pt>
                <c:pt idx="11">
                  <c:v>43904</c:v>
                </c:pt>
                <c:pt idx="12">
                  <c:v>25882</c:v>
                </c:pt>
                <c:pt idx="13">
                  <c:v>11202</c:v>
                </c:pt>
                <c:pt idx="14">
                  <c:v>34462</c:v>
                </c:pt>
                <c:pt idx="15">
                  <c:v>23210</c:v>
                </c:pt>
                <c:pt idx="16">
                  <c:v>22800</c:v>
                </c:pt>
                <c:pt idx="17">
                  <c:v>36212</c:v>
                </c:pt>
                <c:pt idx="18">
                  <c:v>26568</c:v>
                </c:pt>
                <c:pt idx="19">
                  <c:v>35772</c:v>
                </c:pt>
                <c:pt idx="20">
                  <c:v>28499</c:v>
                </c:pt>
                <c:pt idx="21">
                  <c:v>26350</c:v>
                </c:pt>
                <c:pt idx="22">
                  <c:v>26051</c:v>
                </c:pt>
                <c:pt idx="23">
                  <c:v>25332</c:v>
                </c:pt>
                <c:pt idx="24">
                  <c:v>36099</c:v>
                </c:pt>
                <c:pt idx="25">
                  <c:v>9113</c:v>
                </c:pt>
                <c:pt idx="26">
                  <c:v>46051</c:v>
                </c:pt>
                <c:pt idx="27">
                  <c:v>25658</c:v>
                </c:pt>
                <c:pt idx="28">
                  <c:v>23086</c:v>
                </c:pt>
                <c:pt idx="29">
                  <c:v>18507</c:v>
                </c:pt>
                <c:pt idx="30">
                  <c:v>39595</c:v>
                </c:pt>
                <c:pt idx="31">
                  <c:v>37653</c:v>
                </c:pt>
                <c:pt idx="32">
                  <c:v>23793</c:v>
                </c:pt>
                <c:pt idx="33">
                  <c:v>73181</c:v>
                </c:pt>
                <c:pt idx="34">
                  <c:v>24277</c:v>
                </c:pt>
                <c:pt idx="35">
                  <c:v>154235</c:v>
                </c:pt>
                <c:pt idx="36">
                  <c:v>47581</c:v>
                </c:pt>
                <c:pt idx="37">
                  <c:v>50257</c:v>
                </c:pt>
                <c:pt idx="38">
                  <c:v>86832</c:v>
                </c:pt>
                <c:pt idx="39">
                  <c:v>55604</c:v>
                </c:pt>
                <c:pt idx="40">
                  <c:v>15334</c:v>
                </c:pt>
                <c:pt idx="41">
                  <c:v>34940</c:v>
                </c:pt>
                <c:pt idx="42">
                  <c:v>47888</c:v>
                </c:pt>
                <c:pt idx="43">
                  <c:v>41273</c:v>
                </c:pt>
                <c:pt idx="44">
                  <c:v>27524</c:v>
                </c:pt>
                <c:pt idx="45">
                  <c:v>12785</c:v>
                </c:pt>
                <c:pt idx="46">
                  <c:v>22738</c:v>
                </c:pt>
                <c:pt idx="47">
                  <c:v>56048</c:v>
                </c:pt>
                <c:pt idx="48">
                  <c:v>37591</c:v>
                </c:pt>
                <c:pt idx="49">
                  <c:v>11195</c:v>
                </c:pt>
                <c:pt idx="50">
                  <c:v>75425</c:v>
                </c:pt>
                <c:pt idx="51">
                  <c:v>77893</c:v>
                </c:pt>
                <c:pt idx="52">
                  <c:v>35681</c:v>
                </c:pt>
                <c:pt idx="53">
                  <c:v>23327</c:v>
                </c:pt>
                <c:pt idx="54">
                  <c:v>121565</c:v>
                </c:pt>
                <c:pt idx="55">
                  <c:v>44809</c:v>
                </c:pt>
                <c:pt idx="56">
                  <c:v>18923</c:v>
                </c:pt>
                <c:pt idx="57">
                  <c:v>48544</c:v>
                </c:pt>
                <c:pt idx="58">
                  <c:v>19391</c:v>
                </c:pt>
                <c:pt idx="59">
                  <c:v>7806</c:v>
                </c:pt>
                <c:pt idx="60">
                  <c:v>24034</c:v>
                </c:pt>
                <c:pt idx="61">
                  <c:v>17001</c:v>
                </c:pt>
                <c:pt idx="62">
                  <c:v>42943</c:v>
                </c:pt>
                <c:pt idx="63">
                  <c:v>7308</c:v>
                </c:pt>
                <c:pt idx="64">
                  <c:v>23186</c:v>
                </c:pt>
                <c:pt idx="65">
                  <c:v>27481</c:v>
                </c:pt>
                <c:pt idx="66">
                  <c:v>26140</c:v>
                </c:pt>
                <c:pt idx="67">
                  <c:v>23598</c:v>
                </c:pt>
                <c:pt idx="68">
                  <c:v>11779</c:v>
                </c:pt>
                <c:pt idx="69">
                  <c:v>29723</c:v>
                </c:pt>
                <c:pt idx="70">
                  <c:v>13916</c:v>
                </c:pt>
                <c:pt idx="71">
                  <c:v>10201</c:v>
                </c:pt>
                <c:pt idx="72">
                  <c:v>47543</c:v>
                </c:pt>
                <c:pt idx="73">
                  <c:v>12214</c:v>
                </c:pt>
                <c:pt idx="74">
                  <c:v>22678</c:v>
                </c:pt>
                <c:pt idx="75">
                  <c:v>31302</c:v>
                </c:pt>
                <c:pt idx="76">
                  <c:v>5259</c:v>
                </c:pt>
                <c:pt idx="77">
                  <c:v>13060</c:v>
                </c:pt>
                <c:pt idx="78">
                  <c:v>43640</c:v>
                </c:pt>
                <c:pt idx="79">
                  <c:v>53467</c:v>
                </c:pt>
                <c:pt idx="80">
                  <c:v>44059</c:v>
                </c:pt>
                <c:pt idx="81">
                  <c:v>1654</c:v>
                </c:pt>
                <c:pt idx="82">
                  <c:v>46553</c:v>
                </c:pt>
                <c:pt idx="83">
                  <c:v>936</c:v>
                </c:pt>
                <c:pt idx="84">
                  <c:v>33779</c:v>
                </c:pt>
                <c:pt idx="85">
                  <c:v>92661</c:v>
                </c:pt>
                <c:pt idx="86">
                  <c:v>23386</c:v>
                </c:pt>
                <c:pt idx="87">
                  <c:v>46194</c:v>
                </c:pt>
                <c:pt idx="88">
                  <c:v>21706</c:v>
                </c:pt>
                <c:pt idx="89">
                  <c:v>43940</c:v>
                </c:pt>
                <c:pt idx="90">
                  <c:v>24961</c:v>
                </c:pt>
                <c:pt idx="91">
                  <c:v>54589</c:v>
                </c:pt>
                <c:pt idx="92">
                  <c:v>4890</c:v>
                </c:pt>
                <c:pt idx="93">
                  <c:v>41978</c:v>
                </c:pt>
                <c:pt idx="94">
                  <c:v>33792</c:v>
                </c:pt>
                <c:pt idx="95">
                  <c:v>49515</c:v>
                </c:pt>
                <c:pt idx="96">
                  <c:v>27491</c:v>
                </c:pt>
                <c:pt idx="97">
                  <c:v>21835</c:v>
                </c:pt>
                <c:pt idx="98">
                  <c:v>45337</c:v>
                </c:pt>
                <c:pt idx="99">
                  <c:v>43326</c:v>
                </c:pt>
                <c:pt idx="100">
                  <c:v>44371</c:v>
                </c:pt>
                <c:pt idx="101">
                  <c:v>17247</c:v>
                </c:pt>
                <c:pt idx="102">
                  <c:v>28316</c:v>
                </c:pt>
                <c:pt idx="103">
                  <c:v>38774</c:v>
                </c:pt>
                <c:pt idx="104">
                  <c:v>26211</c:v>
                </c:pt>
                <c:pt idx="105">
                  <c:v>17315</c:v>
                </c:pt>
                <c:pt idx="106">
                  <c:v>50697</c:v>
                </c:pt>
                <c:pt idx="107">
                  <c:v>19076</c:v>
                </c:pt>
                <c:pt idx="108">
                  <c:v>14944</c:v>
                </c:pt>
                <c:pt idx="109">
                  <c:v>108603</c:v>
                </c:pt>
                <c:pt idx="110">
                  <c:v>25840</c:v>
                </c:pt>
                <c:pt idx="111">
                  <c:v>14626</c:v>
                </c:pt>
                <c:pt idx="112">
                  <c:v>40951</c:v>
                </c:pt>
                <c:pt idx="113">
                  <c:v>24013</c:v>
                </c:pt>
                <c:pt idx="114">
                  <c:v>21866</c:v>
                </c:pt>
                <c:pt idx="115">
                  <c:v>43488</c:v>
                </c:pt>
                <c:pt idx="116">
                  <c:v>124944</c:v>
                </c:pt>
                <c:pt idx="117">
                  <c:v>22503</c:v>
                </c:pt>
              </c:numCache>
            </c:numRef>
          </c:xVal>
          <c:yVal>
            <c:numRef>
              <c:f>Sheet1!$B$1:$B$352</c:f>
              <c:numCache>
                <c:formatCode>General</c:formatCode>
                <c:ptCount val="352"/>
                <c:pt idx="0">
                  <c:v>48.924207392849986</c:v>
                </c:pt>
                <c:pt idx="1">
                  <c:v>63.958489574265961</c:v>
                </c:pt>
                <c:pt idx="2">
                  <c:v>50.537539169015808</c:v>
                </c:pt>
                <c:pt idx="3">
                  <c:v>44.089312859115218</c:v>
                </c:pt>
                <c:pt idx="4">
                  <c:v>58.967487955170675</c:v>
                </c:pt>
                <c:pt idx="5">
                  <c:v>47.276965494194215</c:v>
                </c:pt>
                <c:pt idx="6">
                  <c:v>47.529408598606331</c:v>
                </c:pt>
                <c:pt idx="7">
                  <c:v>59.118607195010412</c:v>
                </c:pt>
                <c:pt idx="8">
                  <c:v>45.880079615968867</c:v>
                </c:pt>
                <c:pt idx="9">
                  <c:v>54.266804067565843</c:v>
                </c:pt>
                <c:pt idx="10">
                  <c:v>52.086280230708567</c:v>
                </c:pt>
                <c:pt idx="11">
                  <c:v>58.58078831244061</c:v>
                </c:pt>
                <c:pt idx="12">
                  <c:v>44.151616879947611</c:v>
                </c:pt>
                <c:pt idx="13">
                  <c:v>57.174823955462728</c:v>
                </c:pt>
                <c:pt idx="14">
                  <c:v>104.05149248943428</c:v>
                </c:pt>
                <c:pt idx="15">
                  <c:v>84.774586178743675</c:v>
                </c:pt>
                <c:pt idx="16">
                  <c:v>56.408009572758623</c:v>
                </c:pt>
                <c:pt idx="17">
                  <c:v>66.091902294757801</c:v>
                </c:pt>
                <c:pt idx="18">
                  <c:v>57.451725431268066</c:v>
                </c:pt>
                <c:pt idx="19">
                  <c:v>52.906449157773174</c:v>
                </c:pt>
                <c:pt idx="20">
                  <c:v>49.341720087201359</c:v>
                </c:pt>
                <c:pt idx="21">
                  <c:v>44.801942879398119</c:v>
                </c:pt>
                <c:pt idx="22">
                  <c:v>62.178961128731203</c:v>
                </c:pt>
                <c:pt idx="23">
                  <c:v>53.669367430053818</c:v>
                </c:pt>
                <c:pt idx="24">
                  <c:v>57.646589136554638</c:v>
                </c:pt>
                <c:pt idx="25">
                  <c:v>47.840208034031932</c:v>
                </c:pt>
                <c:pt idx="26">
                  <c:v>46.452996954000263</c:v>
                </c:pt>
                <c:pt idx="27">
                  <c:v>43.527582015418595</c:v>
                </c:pt>
                <c:pt idx="28">
                  <c:v>44.618383749501653</c:v>
                </c:pt>
                <c:pt idx="29">
                  <c:v>49.514787744522806</c:v>
                </c:pt>
                <c:pt idx="30">
                  <c:v>56.082808594942499</c:v>
                </c:pt>
                <c:pt idx="31">
                  <c:v>46.325523905183871</c:v>
                </c:pt>
                <c:pt idx="32">
                  <c:v>55.905006145439252</c:v>
                </c:pt>
                <c:pt idx="33">
                  <c:v>54.697149936365989</c:v>
                </c:pt>
                <c:pt idx="34">
                  <c:v>60.395899109105969</c:v>
                </c:pt>
                <c:pt idx="35">
                  <c:v>47.780496830155819</c:v>
                </c:pt>
                <c:pt idx="36">
                  <c:v>55.254500399793429</c:v>
                </c:pt>
                <c:pt idx="37">
                  <c:v>51.390440526258629</c:v>
                </c:pt>
                <c:pt idx="38">
                  <c:v>55.891374181311683</c:v>
                </c:pt>
                <c:pt idx="39">
                  <c:v>46.642272572390922</c:v>
                </c:pt>
                <c:pt idx="40">
                  <c:v>45.238547450083047</c:v>
                </c:pt>
                <c:pt idx="41">
                  <c:v>70.624228876622979</c:v>
                </c:pt>
                <c:pt idx="42">
                  <c:v>51.30708678189373</c:v>
                </c:pt>
                <c:pt idx="43">
                  <c:v>67.171669880938083</c:v>
                </c:pt>
                <c:pt idx="44">
                  <c:v>67.075923100710185</c:v>
                </c:pt>
                <c:pt idx="45">
                  <c:v>55.505768835104654</c:v>
                </c:pt>
                <c:pt idx="46">
                  <c:v>82.098071512184575</c:v>
                </c:pt>
                <c:pt idx="47">
                  <c:v>67.700272369491117</c:v>
                </c:pt>
                <c:pt idx="48">
                  <c:v>60.742988907322157</c:v>
                </c:pt>
                <c:pt idx="49">
                  <c:v>68.37578060349621</c:v>
                </c:pt>
                <c:pt idx="50">
                  <c:v>74.799392091124091</c:v>
                </c:pt>
                <c:pt idx="51">
                  <c:v>51.818133571223022</c:v>
                </c:pt>
                <c:pt idx="52">
                  <c:v>56.679952951659565</c:v>
                </c:pt>
                <c:pt idx="53">
                  <c:v>54.654493853649413</c:v>
                </c:pt>
                <c:pt idx="54">
                  <c:v>52.960501514801507</c:v>
                </c:pt>
                <c:pt idx="55">
                  <c:v>50.335001675979932</c:v>
                </c:pt>
                <c:pt idx="56">
                  <c:v>69.336835993944774</c:v>
                </c:pt>
                <c:pt idx="57">
                  <c:v>58.441158298872367</c:v>
                </c:pt>
                <c:pt idx="58">
                  <c:v>85.8067551827682</c:v>
                </c:pt>
                <c:pt idx="59">
                  <c:v>83.110756485901206</c:v>
                </c:pt>
                <c:pt idx="60">
                  <c:v>53.311114754920339</c:v>
                </c:pt>
                <c:pt idx="61">
                  <c:v>43.378580826856435</c:v>
                </c:pt>
                <c:pt idx="62">
                  <c:v>55.679583875179532</c:v>
                </c:pt>
                <c:pt idx="63">
                  <c:v>112.47309775832446</c:v>
                </c:pt>
                <c:pt idx="64">
                  <c:v>48.986939220160259</c:v>
                </c:pt>
                <c:pt idx="65">
                  <c:v>50.778237487531399</c:v>
                </c:pt>
                <c:pt idx="66">
                  <c:v>60.518423598487189</c:v>
                </c:pt>
                <c:pt idx="67">
                  <c:v>50.709708820639946</c:v>
                </c:pt>
                <c:pt idx="68">
                  <c:v>56.34421505529771</c:v>
                </c:pt>
                <c:pt idx="69">
                  <c:v>71.03133062000839</c:v>
                </c:pt>
                <c:pt idx="70">
                  <c:v>52.592767484387913</c:v>
                </c:pt>
                <c:pt idx="71">
                  <c:v>50.493523077318677</c:v>
                </c:pt>
                <c:pt idx="72">
                  <c:v>51.220078574823347</c:v>
                </c:pt>
                <c:pt idx="73">
                  <c:v>59.004392110911041</c:v>
                </c:pt>
                <c:pt idx="74">
                  <c:v>56.978867594382052</c:v>
                </c:pt>
                <c:pt idx="75">
                  <c:v>45.712959437104914</c:v>
                </c:pt>
                <c:pt idx="76">
                  <c:v>80.230063264622629</c:v>
                </c:pt>
                <c:pt idx="77">
                  <c:v>56.809259362989295</c:v>
                </c:pt>
                <c:pt idx="78">
                  <c:v>57.257069477432701</c:v>
                </c:pt>
                <c:pt idx="79">
                  <c:v>57.670482413459858</c:v>
                </c:pt>
                <c:pt idx="80">
                  <c:v>52.211190810462405</c:v>
                </c:pt>
                <c:pt idx="81">
                  <c:v>117.99755007430764</c:v>
                </c:pt>
                <c:pt idx="82">
                  <c:v>66.145138749667126</c:v>
                </c:pt>
                <c:pt idx="83">
                  <c:v>58.886861245151948</c:v>
                </c:pt>
                <c:pt idx="84">
                  <c:v>60.010146955706908</c:v>
                </c:pt>
                <c:pt idx="85">
                  <c:v>43.988688143807749</c:v>
                </c:pt>
                <c:pt idx="86">
                  <c:v>71.909085822437319</c:v>
                </c:pt>
                <c:pt idx="87">
                  <c:v>45.43661862551177</c:v>
                </c:pt>
                <c:pt idx="88">
                  <c:v>54.059157067087028</c:v>
                </c:pt>
                <c:pt idx="89">
                  <c:v>49.071515273960649</c:v>
                </c:pt>
                <c:pt idx="90">
                  <c:v>87.967043918737545</c:v>
                </c:pt>
                <c:pt idx="91">
                  <c:v>65.078665657282784</c:v>
                </c:pt>
                <c:pt idx="92">
                  <c:v>185.94561186864243</c:v>
                </c:pt>
                <c:pt idx="93">
                  <c:v>43.947700300466067</c:v>
                </c:pt>
                <c:pt idx="94">
                  <c:v>45.785098037302213</c:v>
                </c:pt>
                <c:pt idx="95">
                  <c:v>57.793819482196106</c:v>
                </c:pt>
                <c:pt idx="96">
                  <c:v>64.858669115699996</c:v>
                </c:pt>
                <c:pt idx="97">
                  <c:v>54.563323679109644</c:v>
                </c:pt>
                <c:pt idx="98">
                  <c:v>44.577670816777562</c:v>
                </c:pt>
                <c:pt idx="99">
                  <c:v>46.747407242489437</c:v>
                </c:pt>
                <c:pt idx="100">
                  <c:v>46.023320251576358</c:v>
                </c:pt>
                <c:pt idx="101">
                  <c:v>47.459830361054571</c:v>
                </c:pt>
                <c:pt idx="102">
                  <c:v>55.680376724359292</c:v>
                </c:pt>
                <c:pt idx="103">
                  <c:v>53.924169870651298</c:v>
                </c:pt>
                <c:pt idx="104">
                  <c:v>46.029155378281025</c:v>
                </c:pt>
                <c:pt idx="105">
                  <c:v>44.206172611373638</c:v>
                </c:pt>
                <c:pt idx="106">
                  <c:v>47.433861812868663</c:v>
                </c:pt>
                <c:pt idx="107">
                  <c:v>53.056017063305028</c:v>
                </c:pt>
                <c:pt idx="108">
                  <c:v>47.976035676801871</c:v>
                </c:pt>
                <c:pt idx="109">
                  <c:v>59.348746950338295</c:v>
                </c:pt>
                <c:pt idx="110">
                  <c:v>47.057555385502845</c:v>
                </c:pt>
                <c:pt idx="111">
                  <c:v>81.203893962308697</c:v>
                </c:pt>
                <c:pt idx="112">
                  <c:v>61.981168885684546</c:v>
                </c:pt>
                <c:pt idx="113">
                  <c:v>64.339017125772983</c:v>
                </c:pt>
                <c:pt idx="114">
                  <c:v>47.92725616030674</c:v>
                </c:pt>
                <c:pt idx="115">
                  <c:v>52.353787839435839</c:v>
                </c:pt>
                <c:pt idx="116">
                  <c:v>51.295870979718593</c:v>
                </c:pt>
                <c:pt idx="117">
                  <c:v>55.192593445016492</c:v>
                </c:pt>
              </c:numCache>
            </c:numRef>
          </c:yVal>
          <c:smooth val="0"/>
          <c:extLst>
            <c:ext xmlns:c16="http://schemas.microsoft.com/office/drawing/2014/chart" uri="{C3380CC4-5D6E-409C-BE32-E72D297353CC}">
              <c16:uniqueId val="{00000000-D727-435E-94B4-E3882717AF19}"/>
            </c:ext>
          </c:extLst>
        </c:ser>
        <c:ser>
          <c:idx val="1"/>
          <c:order val="1"/>
          <c:spPr>
            <a:ln>
              <a:noFill/>
            </a:ln>
          </c:spPr>
          <c:marker>
            <c:symbol val="circle"/>
            <c:size val="6"/>
            <c:spPr>
              <a:solidFill>
                <a:srgbClr val="EC6224"/>
              </a:solidFill>
              <a:ln w="9525" algn="ctr">
                <a:solidFill>
                  <a:srgbClr val="EC6224"/>
                </a:solidFill>
                <a:prstDash val="solid"/>
              </a:ln>
            </c:spPr>
          </c:marker>
          <c:xVal>
            <c:numRef>
              <c:f>Sheet1!$A$1:$A$352</c:f>
              <c:numCache>
                <c:formatCode>General</c:formatCode>
                <c:ptCount val="352"/>
                <c:pt idx="118">
                  <c:v>27011</c:v>
                </c:pt>
                <c:pt idx="119">
                  <c:v>108558</c:v>
                </c:pt>
                <c:pt idx="120">
                  <c:v>862965</c:v>
                </c:pt>
                <c:pt idx="121">
                  <c:v>67963</c:v>
                </c:pt>
                <c:pt idx="122">
                  <c:v>48673</c:v>
                </c:pt>
                <c:pt idx="123">
                  <c:v>57971</c:v>
                </c:pt>
                <c:pt idx="124">
                  <c:v>15929</c:v>
                </c:pt>
                <c:pt idx="125">
                  <c:v>9748</c:v>
                </c:pt>
                <c:pt idx="126">
                  <c:v>29974</c:v>
                </c:pt>
                <c:pt idx="127">
                  <c:v>66811</c:v>
                </c:pt>
                <c:pt idx="128">
                  <c:v>29821</c:v>
                </c:pt>
                <c:pt idx="129">
                  <c:v>42824</c:v>
                </c:pt>
                <c:pt idx="130">
                  <c:v>23410</c:v>
                </c:pt>
                <c:pt idx="131">
                  <c:v>17182</c:v>
                </c:pt>
                <c:pt idx="132">
                  <c:v>20698</c:v>
                </c:pt>
                <c:pt idx="133">
                  <c:v>66818</c:v>
                </c:pt>
                <c:pt idx="134">
                  <c:v>20440</c:v>
                </c:pt>
                <c:pt idx="135">
                  <c:v>18923</c:v>
                </c:pt>
                <c:pt idx="136">
                  <c:v>103163</c:v>
                </c:pt>
                <c:pt idx="137">
                  <c:v>29196</c:v>
                </c:pt>
                <c:pt idx="138">
                  <c:v>11148</c:v>
                </c:pt>
                <c:pt idx="139">
                  <c:v>57555</c:v>
                </c:pt>
                <c:pt idx="140">
                  <c:v>27150</c:v>
                </c:pt>
                <c:pt idx="141">
                  <c:v>51430</c:v>
                </c:pt>
                <c:pt idx="142">
                  <c:v>26431</c:v>
                </c:pt>
                <c:pt idx="143">
                  <c:v>57715</c:v>
                </c:pt>
                <c:pt idx="144">
                  <c:v>231299</c:v>
                </c:pt>
                <c:pt idx="145">
                  <c:v>60574</c:v>
                </c:pt>
                <c:pt idx="146">
                  <c:v>15758</c:v>
                </c:pt>
                <c:pt idx="147">
                  <c:v>18546</c:v>
                </c:pt>
                <c:pt idx="148">
                  <c:v>56742</c:v>
                </c:pt>
                <c:pt idx="149">
                  <c:v>23464</c:v>
                </c:pt>
                <c:pt idx="150">
                  <c:v>91524</c:v>
                </c:pt>
                <c:pt idx="151">
                  <c:v>55662</c:v>
                </c:pt>
                <c:pt idx="152">
                  <c:v>42291</c:v>
                </c:pt>
                <c:pt idx="153">
                  <c:v>26866</c:v>
                </c:pt>
                <c:pt idx="154">
                  <c:v>11488</c:v>
                </c:pt>
                <c:pt idx="155">
                  <c:v>27109</c:v>
                </c:pt>
                <c:pt idx="156">
                  <c:v>30030</c:v>
                </c:pt>
                <c:pt idx="157">
                  <c:v>46475</c:v>
                </c:pt>
                <c:pt idx="158">
                  <c:v>14473</c:v>
                </c:pt>
                <c:pt idx="159">
                  <c:v>24693</c:v>
                </c:pt>
                <c:pt idx="160">
                  <c:v>36961</c:v>
                </c:pt>
                <c:pt idx="161">
                  <c:v>36026</c:v>
                </c:pt>
                <c:pt idx="162">
                  <c:v>28628</c:v>
                </c:pt>
                <c:pt idx="163">
                  <c:v>176731</c:v>
                </c:pt>
                <c:pt idx="164">
                  <c:v>84797</c:v>
                </c:pt>
                <c:pt idx="165">
                  <c:v>31290</c:v>
                </c:pt>
                <c:pt idx="166">
                  <c:v>46849</c:v>
                </c:pt>
                <c:pt idx="167">
                  <c:v>24426</c:v>
                </c:pt>
                <c:pt idx="168">
                  <c:v>38129</c:v>
                </c:pt>
                <c:pt idx="169">
                  <c:v>31840</c:v>
                </c:pt>
                <c:pt idx="170">
                  <c:v>29704</c:v>
                </c:pt>
                <c:pt idx="171">
                  <c:v>55616</c:v>
                </c:pt>
                <c:pt idx="172">
                  <c:v>25497</c:v>
                </c:pt>
                <c:pt idx="173">
                  <c:v>9757</c:v>
                </c:pt>
                <c:pt idx="174">
                  <c:v>39473</c:v>
                </c:pt>
                <c:pt idx="175">
                  <c:v>43311</c:v>
                </c:pt>
                <c:pt idx="176">
                  <c:v>46241</c:v>
                </c:pt>
                <c:pt idx="177">
                  <c:v>20615</c:v>
                </c:pt>
                <c:pt idx="178">
                  <c:v>28991</c:v>
                </c:pt>
                <c:pt idx="179">
                  <c:v>55938</c:v>
                </c:pt>
                <c:pt idx="180">
                  <c:v>19322</c:v>
                </c:pt>
                <c:pt idx="181">
                  <c:v>16904</c:v>
                </c:pt>
                <c:pt idx="182">
                  <c:v>17003</c:v>
                </c:pt>
                <c:pt idx="183">
                  <c:v>64336</c:v>
                </c:pt>
                <c:pt idx="184">
                  <c:v>89710</c:v>
                </c:pt>
                <c:pt idx="185">
                  <c:v>37061</c:v>
                </c:pt>
                <c:pt idx="186">
                  <c:v>25780</c:v>
                </c:pt>
                <c:pt idx="187">
                  <c:v>217259</c:v>
                </c:pt>
                <c:pt idx="188">
                  <c:v>21276</c:v>
                </c:pt>
                <c:pt idx="189">
                  <c:v>33698</c:v>
                </c:pt>
                <c:pt idx="190">
                  <c:v>29424</c:v>
                </c:pt>
                <c:pt idx="191">
                  <c:v>16470</c:v>
                </c:pt>
                <c:pt idx="192">
                  <c:v>68348</c:v>
                </c:pt>
                <c:pt idx="193">
                  <c:v>101603</c:v>
                </c:pt>
                <c:pt idx="194">
                  <c:v>72404</c:v>
                </c:pt>
                <c:pt idx="195">
                  <c:v>25479</c:v>
                </c:pt>
                <c:pt idx="196">
                  <c:v>48240</c:v>
                </c:pt>
                <c:pt idx="197">
                  <c:v>63031</c:v>
                </c:pt>
                <c:pt idx="198">
                  <c:v>25199</c:v>
                </c:pt>
                <c:pt idx="199">
                  <c:v>24351</c:v>
                </c:pt>
                <c:pt idx="200">
                  <c:v>23762</c:v>
                </c:pt>
                <c:pt idx="201">
                  <c:v>52197</c:v>
                </c:pt>
                <c:pt idx="202">
                  <c:v>24110</c:v>
                </c:pt>
                <c:pt idx="203">
                  <c:v>16329</c:v>
                </c:pt>
                <c:pt idx="204">
                  <c:v>13166</c:v>
                </c:pt>
                <c:pt idx="205">
                  <c:v>17011</c:v>
                </c:pt>
                <c:pt idx="206">
                  <c:v>22309</c:v>
                </c:pt>
                <c:pt idx="207">
                  <c:v>63934</c:v>
                </c:pt>
                <c:pt idx="208">
                  <c:v>21612</c:v>
                </c:pt>
                <c:pt idx="209">
                  <c:v>47609</c:v>
                </c:pt>
                <c:pt idx="210">
                  <c:v>127497</c:v>
                </c:pt>
              </c:numCache>
            </c:numRef>
          </c:xVal>
          <c:yVal>
            <c:numRef>
              <c:f>Sheet1!$C$1:$C$352</c:f>
              <c:numCache>
                <c:formatCode>General</c:formatCode>
                <c:ptCount val="352"/>
                <c:pt idx="118">
                  <c:v>37.807875281387652</c:v>
                </c:pt>
                <c:pt idx="119">
                  <c:v>38.079616435851705</c:v>
                </c:pt>
                <c:pt idx="120">
                  <c:v>32.960483776442828</c:v>
                </c:pt>
                <c:pt idx="121">
                  <c:v>40.657521341787515</c:v>
                </c:pt>
                <c:pt idx="122">
                  <c:v>37.034108706411111</c:v>
                </c:pt>
                <c:pt idx="123">
                  <c:v>40.477457582049595</c:v>
                </c:pt>
                <c:pt idx="124">
                  <c:v>40.097306495002812</c:v>
                </c:pt>
                <c:pt idx="125">
                  <c:v>39.490843478125655</c:v>
                </c:pt>
                <c:pt idx="126">
                  <c:v>39.877785165325584</c:v>
                </c:pt>
                <c:pt idx="127">
                  <c:v>32.806676772904815</c:v>
                </c:pt>
                <c:pt idx="128">
                  <c:v>31.189466795265712</c:v>
                </c:pt>
                <c:pt idx="129">
                  <c:v>37.235468352523412</c:v>
                </c:pt>
                <c:pt idx="130">
                  <c:v>41.081903706051989</c:v>
                </c:pt>
                <c:pt idx="131">
                  <c:v>42.837937113437505</c:v>
                </c:pt>
                <c:pt idx="132">
                  <c:v>35.400452622982151</c:v>
                </c:pt>
                <c:pt idx="133">
                  <c:v>39.637161214275963</c:v>
                </c:pt>
                <c:pt idx="134">
                  <c:v>32.138245652915856</c:v>
                </c:pt>
                <c:pt idx="135">
                  <c:v>30.482511497622017</c:v>
                </c:pt>
                <c:pt idx="136">
                  <c:v>38.719886138048757</c:v>
                </c:pt>
                <c:pt idx="137">
                  <c:v>41.734095720210135</c:v>
                </c:pt>
                <c:pt idx="138">
                  <c:v>41.163510759563316</c:v>
                </c:pt>
                <c:pt idx="139">
                  <c:v>36.189301699901762</c:v>
                </c:pt>
                <c:pt idx="140">
                  <c:v>36.196431121678721</c:v>
                </c:pt>
                <c:pt idx="141">
                  <c:v>41.74112155117772</c:v>
                </c:pt>
                <c:pt idx="142">
                  <c:v>34.486090313724496</c:v>
                </c:pt>
                <c:pt idx="143">
                  <c:v>33.43435719089922</c:v>
                </c:pt>
                <c:pt idx="144">
                  <c:v>32.487529439413841</c:v>
                </c:pt>
                <c:pt idx="145">
                  <c:v>31.627541111489826</c:v>
                </c:pt>
                <c:pt idx="146">
                  <c:v>42.682220667689137</c:v>
                </c:pt>
                <c:pt idx="147">
                  <c:v>39.459312238360624</c:v>
                </c:pt>
                <c:pt idx="148">
                  <c:v>39.664558422799153</c:v>
                </c:pt>
                <c:pt idx="149">
                  <c:v>33.619297419619762</c:v>
                </c:pt>
                <c:pt idx="150">
                  <c:v>31.880240875675625</c:v>
                </c:pt>
                <c:pt idx="151">
                  <c:v>41.544439118701796</c:v>
                </c:pt>
                <c:pt idx="152">
                  <c:v>36.411945300382811</c:v>
                </c:pt>
                <c:pt idx="153">
                  <c:v>30.625386168249534</c:v>
                </c:pt>
                <c:pt idx="154">
                  <c:v>32.912751757513014</c:v>
                </c:pt>
                <c:pt idx="155">
                  <c:v>31.106221909646752</c:v>
                </c:pt>
                <c:pt idx="156">
                  <c:v>33.090474183682353</c:v>
                </c:pt>
                <c:pt idx="157">
                  <c:v>31.446488909029842</c:v>
                </c:pt>
                <c:pt idx="158">
                  <c:v>32.631991769327065</c:v>
                </c:pt>
                <c:pt idx="159">
                  <c:v>38.936491204292913</c:v>
                </c:pt>
                <c:pt idx="160">
                  <c:v>31.707139457573991</c:v>
                </c:pt>
                <c:pt idx="161">
                  <c:v>35.222694270522709</c:v>
                </c:pt>
                <c:pt idx="162">
                  <c:v>41.40841971927243</c:v>
                </c:pt>
                <c:pt idx="163">
                  <c:v>31.270441881244793</c:v>
                </c:pt>
                <c:pt idx="164">
                  <c:v>30.39124203442714</c:v>
                </c:pt>
                <c:pt idx="165">
                  <c:v>37.086235153611106</c:v>
                </c:pt>
                <c:pt idx="166">
                  <c:v>33.909851355222301</c:v>
                </c:pt>
                <c:pt idx="167">
                  <c:v>38.942716702893449</c:v>
                </c:pt>
                <c:pt idx="168">
                  <c:v>30.742265634202603</c:v>
                </c:pt>
                <c:pt idx="169">
                  <c:v>35.601092146674823</c:v>
                </c:pt>
                <c:pt idx="170">
                  <c:v>32.791447573458996</c:v>
                </c:pt>
                <c:pt idx="171">
                  <c:v>40.406863800484523</c:v>
                </c:pt>
                <c:pt idx="172">
                  <c:v>34.583434131840662</c:v>
                </c:pt>
                <c:pt idx="173">
                  <c:v>37.780401702992684</c:v>
                </c:pt>
                <c:pt idx="174">
                  <c:v>42.246237532823095</c:v>
                </c:pt>
                <c:pt idx="175">
                  <c:v>30.716271633000495</c:v>
                </c:pt>
                <c:pt idx="176">
                  <c:v>30.585406179383369</c:v>
                </c:pt>
                <c:pt idx="177">
                  <c:v>37.916303903660456</c:v>
                </c:pt>
                <c:pt idx="178">
                  <c:v>39.584759304666093</c:v>
                </c:pt>
                <c:pt idx="179">
                  <c:v>34.172387177970023</c:v>
                </c:pt>
                <c:pt idx="180">
                  <c:v>35.064575201537771</c:v>
                </c:pt>
                <c:pt idx="181">
                  <c:v>42.208221625089109</c:v>
                </c:pt>
                <c:pt idx="182">
                  <c:v>37.737512774682202</c:v>
                </c:pt>
                <c:pt idx="183">
                  <c:v>35.639257428499192</c:v>
                </c:pt>
                <c:pt idx="184">
                  <c:v>33.177009718610066</c:v>
                </c:pt>
                <c:pt idx="185">
                  <c:v>32.99886037970321</c:v>
                </c:pt>
                <c:pt idx="186">
                  <c:v>39.097127811308788</c:v>
                </c:pt>
                <c:pt idx="187">
                  <c:v>39.856344159113902</c:v>
                </c:pt>
                <c:pt idx="188">
                  <c:v>34.494821247598942</c:v>
                </c:pt>
                <c:pt idx="189">
                  <c:v>42.461858614247049</c:v>
                </c:pt>
                <c:pt idx="190">
                  <c:v>31.837939137472542</c:v>
                </c:pt>
                <c:pt idx="191">
                  <c:v>31.838306936853812</c:v>
                </c:pt>
                <c:pt idx="192">
                  <c:v>35.708049534505207</c:v>
                </c:pt>
                <c:pt idx="193">
                  <c:v>31.185497669753921</c:v>
                </c:pt>
                <c:pt idx="194">
                  <c:v>39.877146859465832</c:v>
                </c:pt>
                <c:pt idx="195">
                  <c:v>32.220186413068667</c:v>
                </c:pt>
                <c:pt idx="196">
                  <c:v>31.032240461743655</c:v>
                </c:pt>
                <c:pt idx="197">
                  <c:v>39.080179699929388</c:v>
                </c:pt>
                <c:pt idx="198">
                  <c:v>34.320452971208546</c:v>
                </c:pt>
                <c:pt idx="199">
                  <c:v>37.363815968692677</c:v>
                </c:pt>
                <c:pt idx="200">
                  <c:v>30.653165534160799</c:v>
                </c:pt>
                <c:pt idx="201">
                  <c:v>33.358369867794565</c:v>
                </c:pt>
                <c:pt idx="202">
                  <c:v>41.475491943973367</c:v>
                </c:pt>
                <c:pt idx="203">
                  <c:v>32.033309619514924</c:v>
                </c:pt>
                <c:pt idx="204">
                  <c:v>37.735502841494011</c:v>
                </c:pt>
                <c:pt idx="205">
                  <c:v>37.254124367347039</c:v>
                </c:pt>
                <c:pt idx="206">
                  <c:v>41.261236689039812</c:v>
                </c:pt>
                <c:pt idx="207">
                  <c:v>31.235148194826611</c:v>
                </c:pt>
                <c:pt idx="208">
                  <c:v>30.109326283089331</c:v>
                </c:pt>
                <c:pt idx="209">
                  <c:v>34.49922371210441</c:v>
                </c:pt>
                <c:pt idx="210">
                  <c:v>34.25280353060807</c:v>
                </c:pt>
              </c:numCache>
            </c:numRef>
          </c:yVal>
          <c:smooth val="0"/>
          <c:extLst>
            <c:ext xmlns:c16="http://schemas.microsoft.com/office/drawing/2014/chart" uri="{C3380CC4-5D6E-409C-BE32-E72D297353CC}">
              <c16:uniqueId val="{00000001-D727-435E-94B4-E3882717AF19}"/>
            </c:ext>
          </c:extLst>
        </c:ser>
        <c:ser>
          <c:idx val="2"/>
          <c:order val="2"/>
          <c:spPr>
            <a:ln>
              <a:noFill/>
            </a:ln>
          </c:spPr>
          <c:marker>
            <c:symbol val="circle"/>
            <c:size val="6"/>
            <c:spPr>
              <a:solidFill>
                <a:srgbClr val="FFBD42"/>
              </a:solidFill>
              <a:ln w="9525" algn="ctr">
                <a:solidFill>
                  <a:srgbClr val="FFBD42"/>
                </a:solidFill>
                <a:prstDash val="solid"/>
              </a:ln>
            </c:spPr>
          </c:marker>
          <c:xVal>
            <c:numRef>
              <c:f>Sheet1!$A$1:$A$352</c:f>
              <c:numCache>
                <c:formatCode>General</c:formatCode>
                <c:ptCount val="352"/>
                <c:pt idx="211">
                  <c:v>27852</c:v>
                </c:pt>
                <c:pt idx="212">
                  <c:v>110986</c:v>
                </c:pt>
                <c:pt idx="213">
                  <c:v>55386</c:v>
                </c:pt>
                <c:pt idx="214">
                  <c:v>156286</c:v>
                </c:pt>
                <c:pt idx="215">
                  <c:v>159265</c:v>
                </c:pt>
                <c:pt idx="216">
                  <c:v>13140</c:v>
                </c:pt>
                <c:pt idx="217">
                  <c:v>25372</c:v>
                </c:pt>
                <c:pt idx="218">
                  <c:v>29065</c:v>
                </c:pt>
                <c:pt idx="219">
                  <c:v>30747</c:v>
                </c:pt>
                <c:pt idx="220">
                  <c:v>28103</c:v>
                </c:pt>
                <c:pt idx="221">
                  <c:v>15192</c:v>
                </c:pt>
                <c:pt idx="222">
                  <c:v>21576</c:v>
                </c:pt>
                <c:pt idx="223">
                  <c:v>24931</c:v>
                </c:pt>
                <c:pt idx="224">
                  <c:v>28555</c:v>
                </c:pt>
                <c:pt idx="225">
                  <c:v>32362</c:v>
                </c:pt>
                <c:pt idx="226">
                  <c:v>19597</c:v>
                </c:pt>
                <c:pt idx="227">
                  <c:v>40815</c:v>
                </c:pt>
                <c:pt idx="228">
                  <c:v>115710</c:v>
                </c:pt>
                <c:pt idx="229">
                  <c:v>107113</c:v>
                </c:pt>
                <c:pt idx="230">
                  <c:v>158986</c:v>
                </c:pt>
                <c:pt idx="231">
                  <c:v>26858</c:v>
                </c:pt>
                <c:pt idx="232">
                  <c:v>17071</c:v>
                </c:pt>
                <c:pt idx="233">
                  <c:v>12483</c:v>
                </c:pt>
                <c:pt idx="234">
                  <c:v>14246</c:v>
                </c:pt>
                <c:pt idx="235">
                  <c:v>161265</c:v>
                </c:pt>
                <c:pt idx="236">
                  <c:v>30194</c:v>
                </c:pt>
                <c:pt idx="237">
                  <c:v>39164</c:v>
                </c:pt>
                <c:pt idx="238">
                  <c:v>27286</c:v>
                </c:pt>
                <c:pt idx="239">
                  <c:v>15964</c:v>
                </c:pt>
                <c:pt idx="240">
                  <c:v>80683</c:v>
                </c:pt>
                <c:pt idx="241">
                  <c:v>154205</c:v>
                </c:pt>
                <c:pt idx="242">
                  <c:v>16486</c:v>
                </c:pt>
                <c:pt idx="243">
                  <c:v>44135</c:v>
                </c:pt>
                <c:pt idx="244">
                  <c:v>21966</c:v>
                </c:pt>
                <c:pt idx="245">
                  <c:v>90238</c:v>
                </c:pt>
                <c:pt idx="246">
                  <c:v>47815</c:v>
                </c:pt>
                <c:pt idx="247">
                  <c:v>73004</c:v>
                </c:pt>
                <c:pt idx="248">
                  <c:v>49911</c:v>
                </c:pt>
                <c:pt idx="249">
                  <c:v>34160</c:v>
                </c:pt>
                <c:pt idx="250">
                  <c:v>53779</c:v>
                </c:pt>
                <c:pt idx="251">
                  <c:v>65302</c:v>
                </c:pt>
                <c:pt idx="252">
                  <c:v>29376</c:v>
                </c:pt>
                <c:pt idx="253">
                  <c:v>22333</c:v>
                </c:pt>
                <c:pt idx="254">
                  <c:v>15529</c:v>
                </c:pt>
                <c:pt idx="255">
                  <c:v>27992</c:v>
                </c:pt>
                <c:pt idx="256">
                  <c:v>123107</c:v>
                </c:pt>
                <c:pt idx="257">
                  <c:v>124899</c:v>
                </c:pt>
                <c:pt idx="258">
                  <c:v>22800</c:v>
                </c:pt>
                <c:pt idx="259">
                  <c:v>33590</c:v>
                </c:pt>
                <c:pt idx="260">
                  <c:v>80815</c:v>
                </c:pt>
                <c:pt idx="261">
                  <c:v>33564</c:v>
                </c:pt>
                <c:pt idx="262">
                  <c:v>33178</c:v>
                </c:pt>
                <c:pt idx="263">
                  <c:v>60899</c:v>
                </c:pt>
                <c:pt idx="264">
                  <c:v>10891</c:v>
                </c:pt>
                <c:pt idx="265">
                  <c:v>13996</c:v>
                </c:pt>
                <c:pt idx="266">
                  <c:v>18071</c:v>
                </c:pt>
                <c:pt idx="267">
                  <c:v>17813</c:v>
                </c:pt>
                <c:pt idx="268">
                  <c:v>91451</c:v>
                </c:pt>
                <c:pt idx="269">
                  <c:v>80117</c:v>
                </c:pt>
                <c:pt idx="270">
                  <c:v>24198</c:v>
                </c:pt>
                <c:pt idx="271">
                  <c:v>37511</c:v>
                </c:pt>
                <c:pt idx="272">
                  <c:v>20004</c:v>
                </c:pt>
                <c:pt idx="273">
                  <c:v>38300</c:v>
                </c:pt>
                <c:pt idx="274">
                  <c:v>58209</c:v>
                </c:pt>
                <c:pt idx="275">
                  <c:v>77032</c:v>
                </c:pt>
                <c:pt idx="276">
                  <c:v>22572</c:v>
                </c:pt>
                <c:pt idx="277">
                  <c:v>9873</c:v>
                </c:pt>
                <c:pt idx="278">
                  <c:v>10516</c:v>
                </c:pt>
                <c:pt idx="279">
                  <c:v>11606</c:v>
                </c:pt>
                <c:pt idx="280">
                  <c:v>31789</c:v>
                </c:pt>
                <c:pt idx="281">
                  <c:v>31780</c:v>
                </c:pt>
                <c:pt idx="282">
                  <c:v>41782</c:v>
                </c:pt>
                <c:pt idx="283">
                  <c:v>13528</c:v>
                </c:pt>
                <c:pt idx="284">
                  <c:v>352866</c:v>
                </c:pt>
                <c:pt idx="285">
                  <c:v>10092</c:v>
                </c:pt>
                <c:pt idx="286">
                  <c:v>65589</c:v>
                </c:pt>
                <c:pt idx="287">
                  <c:v>55712</c:v>
                </c:pt>
                <c:pt idx="288">
                  <c:v>12452</c:v>
                </c:pt>
                <c:pt idx="289">
                  <c:v>24417</c:v>
                </c:pt>
                <c:pt idx="290">
                  <c:v>26396</c:v>
                </c:pt>
                <c:pt idx="291">
                  <c:v>46039</c:v>
                </c:pt>
                <c:pt idx="292">
                  <c:v>19334</c:v>
                </c:pt>
                <c:pt idx="293">
                  <c:v>28451</c:v>
                </c:pt>
              </c:numCache>
            </c:numRef>
          </c:xVal>
          <c:yVal>
            <c:numRef>
              <c:f>Sheet1!$D$1:$D$352</c:f>
              <c:numCache>
                <c:formatCode>General</c:formatCode>
                <c:ptCount val="352"/>
                <c:pt idx="211">
                  <c:v>18.932299746565363</c:v>
                </c:pt>
                <c:pt idx="212">
                  <c:v>23.567634838341387</c:v>
                </c:pt>
                <c:pt idx="213">
                  <c:v>20.221265768909614</c:v>
                </c:pt>
                <c:pt idx="214">
                  <c:v>21.489284462462464</c:v>
                </c:pt>
                <c:pt idx="215">
                  <c:v>21.990756304534607</c:v>
                </c:pt>
                <c:pt idx="216">
                  <c:v>21.251304744955142</c:v>
                </c:pt>
                <c:pt idx="217">
                  <c:v>22.795569954198321</c:v>
                </c:pt>
                <c:pt idx="218">
                  <c:v>30.023399717439652</c:v>
                </c:pt>
                <c:pt idx="219">
                  <c:v>23.371603965950154</c:v>
                </c:pt>
                <c:pt idx="220">
                  <c:v>20.744784192496564</c:v>
                </c:pt>
                <c:pt idx="221">
                  <c:v>24.115940886850325</c:v>
                </c:pt>
                <c:pt idx="222">
                  <c:v>21.67142135603606</c:v>
                </c:pt>
                <c:pt idx="223">
                  <c:v>26.313608954580829</c:v>
                </c:pt>
                <c:pt idx="224">
                  <c:v>20.977646114834585</c:v>
                </c:pt>
                <c:pt idx="225">
                  <c:v>25.556379039845893</c:v>
                </c:pt>
                <c:pt idx="226">
                  <c:v>27.453651070632283</c:v>
                </c:pt>
                <c:pt idx="227">
                  <c:v>26.523395626009481</c:v>
                </c:pt>
                <c:pt idx="228">
                  <c:v>29.865210353261553</c:v>
                </c:pt>
                <c:pt idx="229">
                  <c:v>19.439337115351972</c:v>
                </c:pt>
                <c:pt idx="230">
                  <c:v>19.720764309230223</c:v>
                </c:pt>
                <c:pt idx="231">
                  <c:v>25.798652056062281</c:v>
                </c:pt>
                <c:pt idx="232">
                  <c:v>19.520189773148626</c:v>
                </c:pt>
                <c:pt idx="233">
                  <c:v>28.942758759902304</c:v>
                </c:pt>
                <c:pt idx="234">
                  <c:v>26.221521511686074</c:v>
                </c:pt>
                <c:pt idx="235">
                  <c:v>20.353140695811042</c:v>
                </c:pt>
                <c:pt idx="236">
                  <c:v>22.6115576175836</c:v>
                </c:pt>
                <c:pt idx="237">
                  <c:v>20.10588828802247</c:v>
                </c:pt>
                <c:pt idx="238">
                  <c:v>17.606687180509581</c:v>
                </c:pt>
                <c:pt idx="239">
                  <c:v>26.102244470648973</c:v>
                </c:pt>
                <c:pt idx="240">
                  <c:v>20.179883676293169</c:v>
                </c:pt>
                <c:pt idx="241">
                  <c:v>18.014883992469997</c:v>
                </c:pt>
                <c:pt idx="242">
                  <c:v>22.784592692606946</c:v>
                </c:pt>
                <c:pt idx="243">
                  <c:v>20.70364085851164</c:v>
                </c:pt>
                <c:pt idx="244">
                  <c:v>23.079360934519325</c:v>
                </c:pt>
                <c:pt idx="245">
                  <c:v>19.353410192435348</c:v>
                </c:pt>
                <c:pt idx="246">
                  <c:v>23.233148669764986</c:v>
                </c:pt>
                <c:pt idx="247">
                  <c:v>21.905282411019243</c:v>
                </c:pt>
                <c:pt idx="248">
                  <c:v>24.537272089798616</c:v>
                </c:pt>
                <c:pt idx="249">
                  <c:v>20.969727599067603</c:v>
                </c:pt>
                <c:pt idx="250">
                  <c:v>25.36045557445367</c:v>
                </c:pt>
                <c:pt idx="251">
                  <c:v>24.701025180430236</c:v>
                </c:pt>
                <c:pt idx="252">
                  <c:v>26.524719771021772</c:v>
                </c:pt>
                <c:pt idx="253">
                  <c:v>19.836093117549289</c:v>
                </c:pt>
                <c:pt idx="254">
                  <c:v>18.493218786620215</c:v>
                </c:pt>
                <c:pt idx="255">
                  <c:v>29.851415167394951</c:v>
                </c:pt>
                <c:pt idx="256">
                  <c:v>21.980501890829448</c:v>
                </c:pt>
                <c:pt idx="257">
                  <c:v>24.227768233188272</c:v>
                </c:pt>
                <c:pt idx="258">
                  <c:v>19.365595939231213</c:v>
                </c:pt>
                <c:pt idx="259">
                  <c:v>23.339248051852994</c:v>
                </c:pt>
                <c:pt idx="260">
                  <c:v>22.456914848341388</c:v>
                </c:pt>
                <c:pt idx="261">
                  <c:v>26.132725395400641</c:v>
                </c:pt>
                <c:pt idx="262">
                  <c:v>27.041060958835832</c:v>
                </c:pt>
                <c:pt idx="263">
                  <c:v>27.410058075864335</c:v>
                </c:pt>
                <c:pt idx="264">
                  <c:v>27.426366946198943</c:v>
                </c:pt>
                <c:pt idx="265">
                  <c:v>27.23511520924508</c:v>
                </c:pt>
                <c:pt idx="266">
                  <c:v>28.207469668354939</c:v>
                </c:pt>
                <c:pt idx="267">
                  <c:v>21.560492970629838</c:v>
                </c:pt>
                <c:pt idx="268">
                  <c:v>18.05729049875832</c:v>
                </c:pt>
                <c:pt idx="269">
                  <c:v>25.01982706166687</c:v>
                </c:pt>
                <c:pt idx="270">
                  <c:v>28.942210658325102</c:v>
                </c:pt>
                <c:pt idx="271">
                  <c:v>21.203289323705292</c:v>
                </c:pt>
                <c:pt idx="272">
                  <c:v>28.736257231849994</c:v>
                </c:pt>
                <c:pt idx="273">
                  <c:v>27.913707262477278</c:v>
                </c:pt>
                <c:pt idx="274">
                  <c:v>20.513370230639641</c:v>
                </c:pt>
                <c:pt idx="275">
                  <c:v>20.33354862295478</c:v>
                </c:pt>
                <c:pt idx="276">
                  <c:v>20.551146879377676</c:v>
                </c:pt>
                <c:pt idx="277">
                  <c:v>18.880728401810444</c:v>
                </c:pt>
                <c:pt idx="278">
                  <c:v>22.291563813907633</c:v>
                </c:pt>
                <c:pt idx="279">
                  <c:v>27.578941986814122</c:v>
                </c:pt>
                <c:pt idx="280">
                  <c:v>27.041959614883993</c:v>
                </c:pt>
                <c:pt idx="281">
                  <c:v>20.817972295249394</c:v>
                </c:pt>
                <c:pt idx="282">
                  <c:v>24.595071871265496</c:v>
                </c:pt>
                <c:pt idx="283">
                  <c:v>25.79537796439255</c:v>
                </c:pt>
                <c:pt idx="284">
                  <c:v>19.188229514142545</c:v>
                </c:pt>
                <c:pt idx="285">
                  <c:v>22.996131427599629</c:v>
                </c:pt>
                <c:pt idx="286">
                  <c:v>27.328427298480218</c:v>
                </c:pt>
                <c:pt idx="287">
                  <c:v>21.10801322099811</c:v>
                </c:pt>
                <c:pt idx="288">
                  <c:v>24.051225743705178</c:v>
                </c:pt>
                <c:pt idx="289">
                  <c:v>28.281115633624065</c:v>
                </c:pt>
                <c:pt idx="290">
                  <c:v>20.486478859081942</c:v>
                </c:pt>
                <c:pt idx="291">
                  <c:v>26.812177616637882</c:v>
                </c:pt>
                <c:pt idx="292">
                  <c:v>25.172338301848203</c:v>
                </c:pt>
                <c:pt idx="293">
                  <c:v>21.016126775291045</c:v>
                </c:pt>
              </c:numCache>
            </c:numRef>
          </c:yVal>
          <c:smooth val="0"/>
          <c:extLst>
            <c:ext xmlns:c16="http://schemas.microsoft.com/office/drawing/2014/chart" uri="{C3380CC4-5D6E-409C-BE32-E72D297353CC}">
              <c16:uniqueId val="{00000002-D727-435E-94B4-E3882717AF19}"/>
            </c:ext>
          </c:extLst>
        </c:ser>
        <c:ser>
          <c:idx val="3"/>
          <c:order val="3"/>
          <c:spPr>
            <a:ln>
              <a:noFill/>
            </a:ln>
          </c:spPr>
          <c:marker>
            <c:symbol val="circle"/>
            <c:size val="6"/>
            <c:spPr>
              <a:solidFill>
                <a:srgbClr val="FFE0A6"/>
              </a:solidFill>
              <a:ln w="9525" algn="ctr">
                <a:solidFill>
                  <a:srgbClr val="FFE0A6"/>
                </a:solidFill>
                <a:prstDash val="solid"/>
              </a:ln>
            </c:spPr>
          </c:marker>
          <c:xVal>
            <c:numRef>
              <c:f>Sheet1!$A$1:$A$352</c:f>
              <c:numCache>
                <c:formatCode>General</c:formatCode>
                <c:ptCount val="352"/>
                <c:pt idx="294">
                  <c:v>20069</c:v>
                </c:pt>
                <c:pt idx="295">
                  <c:v>25271</c:v>
                </c:pt>
                <c:pt idx="296">
                  <c:v>207904</c:v>
                </c:pt>
                <c:pt idx="297">
                  <c:v>24767</c:v>
                </c:pt>
                <c:pt idx="298">
                  <c:v>30806</c:v>
                </c:pt>
                <c:pt idx="299">
                  <c:v>41176</c:v>
                </c:pt>
                <c:pt idx="300">
                  <c:v>20175</c:v>
                </c:pt>
                <c:pt idx="301">
                  <c:v>183873</c:v>
                </c:pt>
                <c:pt idx="302">
                  <c:v>35483</c:v>
                </c:pt>
                <c:pt idx="303">
                  <c:v>118654</c:v>
                </c:pt>
                <c:pt idx="304">
                  <c:v>18797</c:v>
                </c:pt>
                <c:pt idx="305">
                  <c:v>31638</c:v>
                </c:pt>
                <c:pt idx="306">
                  <c:v>231642</c:v>
                </c:pt>
                <c:pt idx="307">
                  <c:v>33145</c:v>
                </c:pt>
                <c:pt idx="308">
                  <c:v>43774</c:v>
                </c:pt>
                <c:pt idx="309">
                  <c:v>21515</c:v>
                </c:pt>
                <c:pt idx="310">
                  <c:v>30447</c:v>
                </c:pt>
                <c:pt idx="311">
                  <c:v>36682</c:v>
                </c:pt>
                <c:pt idx="312">
                  <c:v>537833</c:v>
                </c:pt>
                <c:pt idx="313">
                  <c:v>18051</c:v>
                </c:pt>
                <c:pt idx="314">
                  <c:v>12173</c:v>
                </c:pt>
                <c:pt idx="315">
                  <c:v>35808</c:v>
                </c:pt>
                <c:pt idx="316">
                  <c:v>30966</c:v>
                </c:pt>
                <c:pt idx="317">
                  <c:v>86656</c:v>
                </c:pt>
                <c:pt idx="318">
                  <c:v>45642</c:v>
                </c:pt>
                <c:pt idx="319">
                  <c:v>22622</c:v>
                </c:pt>
                <c:pt idx="320">
                  <c:v>23716</c:v>
                </c:pt>
                <c:pt idx="321">
                  <c:v>32768</c:v>
                </c:pt>
                <c:pt idx="322">
                  <c:v>43858</c:v>
                </c:pt>
                <c:pt idx="323">
                  <c:v>63036</c:v>
                </c:pt>
                <c:pt idx="324">
                  <c:v>45181</c:v>
                </c:pt>
                <c:pt idx="325">
                  <c:v>18623</c:v>
                </c:pt>
                <c:pt idx="326">
                  <c:v>32290</c:v>
                </c:pt>
                <c:pt idx="327">
                  <c:v>54331</c:v>
                </c:pt>
                <c:pt idx="328">
                  <c:v>77999</c:v>
                </c:pt>
                <c:pt idx="329">
                  <c:v>25054</c:v>
                </c:pt>
                <c:pt idx="330">
                  <c:v>13547</c:v>
                </c:pt>
                <c:pt idx="331">
                  <c:v>30910</c:v>
                </c:pt>
                <c:pt idx="332">
                  <c:v>19348</c:v>
                </c:pt>
                <c:pt idx="333">
                  <c:v>28903</c:v>
                </c:pt>
                <c:pt idx="334">
                  <c:v>155885</c:v>
                </c:pt>
                <c:pt idx="335">
                  <c:v>44639</c:v>
                </c:pt>
              </c:numCache>
            </c:numRef>
          </c:xVal>
          <c:yVal>
            <c:numRef>
              <c:f>Sheet1!$E$1:$E$352</c:f>
              <c:numCache>
                <c:formatCode>General</c:formatCode>
                <c:ptCount val="352"/>
                <c:pt idx="294">
                  <c:v>9.0633028246459837</c:v>
                </c:pt>
                <c:pt idx="295">
                  <c:v>10.983892839113778</c:v>
                </c:pt>
                <c:pt idx="296">
                  <c:v>16.671105486830992</c:v>
                </c:pt>
                <c:pt idx="297">
                  <c:v>7.6728949505315347</c:v>
                </c:pt>
                <c:pt idx="298">
                  <c:v>15.028366281129561</c:v>
                </c:pt>
                <c:pt idx="299">
                  <c:v>14.173170257172913</c:v>
                </c:pt>
                <c:pt idx="300">
                  <c:v>13.542265684884299</c:v>
                </c:pt>
                <c:pt idx="301">
                  <c:v>7.9595944550668039</c:v>
                </c:pt>
                <c:pt idx="302">
                  <c:v>8.289241579598686</c:v>
                </c:pt>
                <c:pt idx="303">
                  <c:v>13.460912335290153</c:v>
                </c:pt>
                <c:pt idx="304">
                  <c:v>16.247382909417819</c:v>
                </c:pt>
                <c:pt idx="305">
                  <c:v>14.70144476187575</c:v>
                </c:pt>
                <c:pt idx="306">
                  <c:v>9.7818823773682517</c:v>
                </c:pt>
                <c:pt idx="307">
                  <c:v>9.0759521394080007</c:v>
                </c:pt>
                <c:pt idx="308">
                  <c:v>10.477217215366206</c:v>
                </c:pt>
                <c:pt idx="309">
                  <c:v>9.6101643748564225</c:v>
                </c:pt>
                <c:pt idx="310">
                  <c:v>13.286859462813153</c:v>
                </c:pt>
                <c:pt idx="311">
                  <c:v>13.26831132714392</c:v>
                </c:pt>
                <c:pt idx="312">
                  <c:v>17.158840476479785</c:v>
                </c:pt>
                <c:pt idx="313">
                  <c:v>15.797811145734189</c:v>
                </c:pt>
                <c:pt idx="314">
                  <c:v>5.4631326830578342</c:v>
                </c:pt>
                <c:pt idx="315">
                  <c:v>12.131957419573384</c:v>
                </c:pt>
                <c:pt idx="316">
                  <c:v>13.284034869606669</c:v>
                </c:pt>
                <c:pt idx="317">
                  <c:v>12.861241030344395</c:v>
                </c:pt>
                <c:pt idx="318">
                  <c:v>10.585197686625301</c:v>
                </c:pt>
                <c:pt idx="319">
                  <c:v>12.293189453672536</c:v>
                </c:pt>
                <c:pt idx="320">
                  <c:v>13.684873345432273</c:v>
                </c:pt>
                <c:pt idx="321">
                  <c:v>10.11439549539757</c:v>
                </c:pt>
                <c:pt idx="322">
                  <c:v>14.097510485217374</c:v>
                </c:pt>
                <c:pt idx="323">
                  <c:v>4.3971781043448308</c:v>
                </c:pt>
                <c:pt idx="324">
                  <c:v>14.893849912736764</c:v>
                </c:pt>
                <c:pt idx="325">
                  <c:v>9.3828516987709385</c:v>
                </c:pt>
                <c:pt idx="326">
                  <c:v>15.751747499281626</c:v>
                </c:pt>
                <c:pt idx="327">
                  <c:v>9.4558301460187106</c:v>
                </c:pt>
                <c:pt idx="328">
                  <c:v>16.973962299801119</c:v>
                </c:pt>
                <c:pt idx="329">
                  <c:v>14.672616953833604</c:v>
                </c:pt>
                <c:pt idx="330">
                  <c:v>15.359866281320395</c:v>
                </c:pt>
                <c:pt idx="331">
                  <c:v>11.182783371558603</c:v>
                </c:pt>
                <c:pt idx="332">
                  <c:v>12.716932094309177</c:v>
                </c:pt>
                <c:pt idx="333">
                  <c:v>16.055489965183895</c:v>
                </c:pt>
                <c:pt idx="334">
                  <c:v>16.154666313368882</c:v>
                </c:pt>
                <c:pt idx="335">
                  <c:v>14.917044423304635</c:v>
                </c:pt>
              </c:numCache>
            </c:numRef>
          </c:yVal>
          <c:smooth val="0"/>
          <c:extLst>
            <c:ext xmlns:c16="http://schemas.microsoft.com/office/drawing/2014/chart" uri="{C3380CC4-5D6E-409C-BE32-E72D297353CC}">
              <c16:uniqueId val="{00000003-D727-435E-94B4-E3882717AF19}"/>
            </c:ext>
          </c:extLst>
        </c:ser>
        <c:ser>
          <c:idx val="4"/>
          <c:order val="4"/>
          <c:spPr>
            <a:ln>
              <a:noFill/>
            </a:ln>
          </c:spPr>
          <c:marker>
            <c:symbol val="circle"/>
            <c:size val="6"/>
            <c:spPr>
              <a:solidFill>
                <a:srgbClr val="17722B"/>
              </a:solidFill>
              <a:ln w="9525" algn="ctr">
                <a:solidFill>
                  <a:srgbClr val="17722B"/>
                </a:solidFill>
                <a:prstDash val="solid"/>
              </a:ln>
            </c:spPr>
          </c:marker>
          <c:xVal>
            <c:numRef>
              <c:f>Sheet1!$A$1:$A$352</c:f>
              <c:numCache>
                <c:formatCode>General</c:formatCode>
                <c:ptCount val="352"/>
                <c:pt idx="336">
                  <c:v>3673</c:v>
                </c:pt>
                <c:pt idx="337">
                  <c:v>6847</c:v>
                </c:pt>
                <c:pt idx="338">
                  <c:v>10588</c:v>
                </c:pt>
                <c:pt idx="339">
                  <c:v>99957</c:v>
                </c:pt>
                <c:pt idx="340">
                  <c:v>19110</c:v>
                </c:pt>
                <c:pt idx="341">
                  <c:v>49611</c:v>
                </c:pt>
                <c:pt idx="342">
                  <c:v>40049</c:v>
                </c:pt>
                <c:pt idx="343">
                  <c:v>61601</c:v>
                </c:pt>
                <c:pt idx="344">
                  <c:v>42859</c:v>
                </c:pt>
                <c:pt idx="345">
                  <c:v>644618</c:v>
                </c:pt>
                <c:pt idx="346">
                  <c:v>25026</c:v>
                </c:pt>
                <c:pt idx="347">
                  <c:v>20776</c:v>
                </c:pt>
                <c:pt idx="348">
                  <c:v>1138</c:v>
                </c:pt>
                <c:pt idx="349">
                  <c:v>49842</c:v>
                </c:pt>
                <c:pt idx="350">
                  <c:v>8450</c:v>
                </c:pt>
                <c:pt idx="351">
                  <c:v>42762</c:v>
                </c:pt>
              </c:numCache>
            </c:numRef>
          </c:xVal>
          <c:yVal>
            <c:numRef>
              <c:f>Sheet1!$F$1:$F$352</c:f>
              <c:numCache>
                <c:formatCode>General</c:formatCode>
                <c:ptCount val="352"/>
                <c:pt idx="336">
                  <c:v>-22.39565818385142</c:v>
                </c:pt>
                <c:pt idx="337">
                  <c:v>2.2442507350674159</c:v>
                </c:pt>
                <c:pt idx="338">
                  <c:v>2.7412038617386165</c:v>
                </c:pt>
                <c:pt idx="339">
                  <c:v>1.5548666532932462</c:v>
                </c:pt>
                <c:pt idx="340">
                  <c:v>-11.29565669089105</c:v>
                </c:pt>
                <c:pt idx="341">
                  <c:v>-6.6681600998691666</c:v>
                </c:pt>
                <c:pt idx="342">
                  <c:v>-1.3394373806594473</c:v>
                </c:pt>
                <c:pt idx="343">
                  <c:v>-1.5734623186936549E-2</c:v>
                </c:pt>
                <c:pt idx="344">
                  <c:v>-2.8833066852148659</c:v>
                </c:pt>
                <c:pt idx="345">
                  <c:v>-0.21336615856106278</c:v>
                </c:pt>
                <c:pt idx="346">
                  <c:v>3.561650656567962</c:v>
                </c:pt>
                <c:pt idx="347">
                  <c:v>-15.619919984656573</c:v>
                </c:pt>
                <c:pt idx="348">
                  <c:v>-4.1630764088521852</c:v>
                </c:pt>
                <c:pt idx="349">
                  <c:v>1.3295052542413399</c:v>
                </c:pt>
                <c:pt idx="350">
                  <c:v>-18.221627319629558</c:v>
                </c:pt>
                <c:pt idx="351">
                  <c:v>-4.1361832946953827</c:v>
                </c:pt>
              </c:numCache>
            </c:numRef>
          </c:yVal>
          <c:smooth val="0"/>
          <c:extLst>
            <c:ext xmlns:c16="http://schemas.microsoft.com/office/drawing/2014/chart" uri="{C3380CC4-5D6E-409C-BE32-E72D297353CC}">
              <c16:uniqueId val="{00000004-D727-435E-94B4-E3882717AF19}"/>
            </c:ext>
          </c:extLst>
        </c:ser>
        <c:dLbls>
          <c:showLegendKey val="0"/>
          <c:showVal val="0"/>
          <c:showCatName val="0"/>
          <c:showSerName val="0"/>
          <c:showPercent val="0"/>
          <c:showBubbleSize val="0"/>
        </c:dLbls>
        <c:axId val="126203535"/>
        <c:axId val="1"/>
      </c:scatterChart>
      <c:valAx>
        <c:axId val="126203535"/>
        <c:scaling>
          <c:logBase val="10"/>
          <c:orientation val="minMax"/>
          <c:max val="1000000"/>
          <c:min val="10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defRPr>
            </a:pPr>
            <a:endParaRPr lang="nl-NL"/>
          </a:p>
        </c:txPr>
        <c:crossAx val="1"/>
        <c:crosses val="min"/>
        <c:crossBetween val="midCat"/>
        <c:majorUnit val="10"/>
      </c:valAx>
      <c:valAx>
        <c:axId val="1"/>
        <c:scaling>
          <c:orientation val="minMax"/>
          <c:max val="220"/>
          <c:min val="-40"/>
        </c:scaling>
        <c:delete val="0"/>
        <c:axPos val="l"/>
        <c:majorGridlines>
          <c:spPr>
            <a:ln w="3175" algn="ctr">
              <a:solidFill>
                <a:srgbClr val="C0C0C0"/>
              </a:solidFill>
              <a:prstDash val="sysDot"/>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defRPr>
            </a:pPr>
            <a:endParaRPr lang="nl-NL"/>
          </a:p>
        </c:txPr>
        <c:crossAx val="126203535"/>
        <c:crosses val="min"/>
        <c:crossBetween val="midCat"/>
        <c:majorUnit val="2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2" y="0"/>
            <a:ext cx="2945659" cy="233502"/>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sz="quarter" idx="1"/>
          </p:nvPr>
        </p:nvSpPr>
        <p:spPr>
          <a:xfrm>
            <a:off x="3850444" y="0"/>
            <a:ext cx="2945659" cy="233502"/>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52A92521-0A1B-4F14-9F7F-8F3DD643AD89}" type="datetimeFigureOut">
              <a:rPr lang="nl-NL"/>
              <a:pPr>
                <a:defRPr/>
              </a:pPr>
              <a:t>30-3-2021</a:t>
            </a:fld>
            <a:endParaRPr lang="nl-NL"/>
          </a:p>
        </p:txBody>
      </p:sp>
      <p:sp>
        <p:nvSpPr>
          <p:cNvPr id="4" name="Tijdelijke aanduiding voor voettekst 3"/>
          <p:cNvSpPr>
            <a:spLocks noGrp="1"/>
          </p:cNvSpPr>
          <p:nvPr>
            <p:ph type="ftr" sz="quarter" idx="2"/>
          </p:nvPr>
        </p:nvSpPr>
        <p:spPr>
          <a:xfrm>
            <a:off x="2" y="9639032"/>
            <a:ext cx="2945659" cy="233503"/>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4" y="9639032"/>
            <a:ext cx="2945659" cy="233503"/>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2" y="1"/>
            <a:ext cx="2945659" cy="257216"/>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4" y="1"/>
            <a:ext cx="2945659" cy="257216"/>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30-3-2021</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90269"/>
            <a:ext cx="6584950" cy="4443413"/>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2" y="9615320"/>
            <a:ext cx="2945659" cy="257216"/>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4" y="9615320"/>
            <a:ext cx="2945659" cy="257216"/>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CCD0823-FCB7-4E23-A9A0-1E1A7AB30323}" type="slidenum">
              <a:rPr lang="nl-NL" smtClean="0"/>
              <a:t>5</a:t>
            </a:fld>
            <a:endParaRPr lang="nl-NL" dirty="0"/>
          </a:p>
        </p:txBody>
      </p:sp>
    </p:spTree>
    <p:extLst>
      <p:ext uri="{BB962C8B-B14F-4D97-AF65-F5344CB8AC3E}">
        <p14:creationId xmlns:p14="http://schemas.microsoft.com/office/powerpoint/2010/main" val="108320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CCD0823-FCB7-4E23-A9A0-1E1A7AB30323}" type="slidenum">
              <a:rPr lang="nl-NL" smtClean="0"/>
              <a:t>16</a:t>
            </a:fld>
            <a:endParaRPr lang="nl-NL" dirty="0"/>
          </a:p>
        </p:txBody>
      </p:sp>
    </p:spTree>
    <p:extLst>
      <p:ext uri="{BB962C8B-B14F-4D97-AF65-F5344CB8AC3E}">
        <p14:creationId xmlns:p14="http://schemas.microsoft.com/office/powerpoint/2010/main" val="2743993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CCD0823-FCB7-4E23-A9A0-1E1A7AB30323}" type="slidenum">
              <a:rPr lang="nl-NL" smtClean="0"/>
              <a:t>22</a:t>
            </a:fld>
            <a:endParaRPr lang="nl-NL" dirty="0"/>
          </a:p>
        </p:txBody>
      </p:sp>
    </p:spTree>
    <p:extLst>
      <p:ext uri="{BB962C8B-B14F-4D97-AF65-F5344CB8AC3E}">
        <p14:creationId xmlns:p14="http://schemas.microsoft.com/office/powerpoint/2010/main" val="2663007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CCD0823-FCB7-4E23-A9A0-1E1A7AB30323}" type="slidenum">
              <a:rPr lang="nl-NL" smtClean="0"/>
              <a:t>33</a:t>
            </a:fld>
            <a:endParaRPr lang="nl-NL" dirty="0"/>
          </a:p>
        </p:txBody>
      </p:sp>
    </p:spTree>
    <p:extLst>
      <p:ext uri="{BB962C8B-B14F-4D97-AF65-F5344CB8AC3E}">
        <p14:creationId xmlns:p14="http://schemas.microsoft.com/office/powerpoint/2010/main" val="30593707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521405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200070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664513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287982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92901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960961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1297718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010499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951460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015878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847543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97533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382151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07261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7138905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963055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ox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0E97BD-EEF4-458F-A3AB-D5099187DA15}"/>
              </a:ext>
            </a:extLst>
          </p:cNvPr>
          <p:cNvGraphicFramePr>
            <a:graphicFrameLocks noChangeAspect="1"/>
          </p:cNvGraphicFramePr>
          <p:nvPr userDrawn="1">
            <p:custDataLst>
              <p:tags r:id="rId1"/>
            </p:custDataLst>
            <p:extLst>
              <p:ext uri="{D42A27DB-BD31-4B8C-83A1-F6EECF244321}">
                <p14:modId xmlns:p14="http://schemas.microsoft.com/office/powerpoint/2010/main" val="3023445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E00E97BD-EEF4-458F-A3AB-D5099187D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92AB6-24AA-4489-8B1D-F3C1D2D7627C}"/>
              </a:ext>
            </a:extLst>
          </p:cNvPr>
          <p:cNvSpPr/>
          <p:nvPr userDrawn="1">
            <p:custDataLst>
              <p:tags r:id="rId2"/>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en-US"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lvl1pPr>
              <a:defRPr>
                <a:latin typeface="Corbel" panose="020B0503020204020204" pitchFamily="34" charset="0"/>
                <a:sym typeface="Corbel" panose="020B0503020204020204" pitchFamily="34" charset="0"/>
              </a:defRPr>
            </a:lvl1pPr>
          </a:lstStyle>
          <a:p>
            <a:fld id="{D1D7975E-A74A-4535-9A3E-8E238F697EA4}" type="datetimeFigureOut">
              <a:rPr lang="nl-NL" smtClean="0"/>
              <a:pPr/>
              <a:t>30-3-2021</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a:defRPr>
                <a:latin typeface="Corbel" panose="020B0503020204020204" pitchFamily="34" charset="0"/>
                <a:sym typeface="Corbel" panose="020B0503020204020204" pitchFamily="34" charset="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lvl1pPr>
              <a:defRPr>
                <a:latin typeface="Corbel" panose="020B0503020204020204" pitchFamily="34" charset="0"/>
                <a:sym typeface="Corbel" panose="020B0503020204020204" pitchFamily="34" charset="0"/>
              </a:defRPr>
            </a:lvl1pPr>
          </a:lstStyle>
          <a:p>
            <a:pPr lvl="0"/>
            <a:r>
              <a:rPr lang="en-US"/>
              <a:t>Click to edit Master text styles</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atin typeface="Corbel" panose="020B0503020204020204" pitchFamily="34" charset="0"/>
                <a:sym typeface="Corbel" panose="020B0503020204020204" pitchFamily="34" charset="0"/>
              </a:defRPr>
            </a:lvl1pPr>
            <a:lvl2pPr>
              <a:defRPr>
                <a:latin typeface="Corbel" panose="020B0503020204020204" pitchFamily="34" charset="0"/>
                <a:sym typeface="Corbel" panose="020B0503020204020204" pitchFamily="34" charset="0"/>
              </a:defRPr>
            </a:lvl2pPr>
            <a:lvl3pPr>
              <a:defRPr>
                <a:latin typeface="Corbel" panose="020B0503020204020204" pitchFamily="34" charset="0"/>
                <a:sym typeface="Corbel" panose="020B0503020204020204" pitchFamily="34" charset="0"/>
              </a:defRPr>
            </a:lvl3pPr>
            <a:lvl4pPr>
              <a:defRPr>
                <a:latin typeface="Corbel" panose="020B0503020204020204" pitchFamily="34" charset="0"/>
                <a:sym typeface="Corbel" panose="020B0503020204020204" pitchFamily="34" charset="0"/>
              </a:defRPr>
            </a:lvl4pPr>
            <a:lvl5pPr>
              <a:defRPr>
                <a:latin typeface="Corbel" panose="020B0503020204020204" pitchFamily="34" charset="0"/>
                <a:sym typeface="Corbel" panose="020B0503020204020204" pitchFamily="34" charset="0"/>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a:defRPr>
                <a:latin typeface="Corbel" panose="020B0503020204020204" pitchFamily="34" charset="0"/>
                <a:sym typeface="Corbel" panose="020B0503020204020204" pitchFamily="34" charset="0"/>
              </a:defRPr>
            </a:lvl1pPr>
          </a:lstStyle>
          <a:p>
            <a:r>
              <a:rPr lang="en-US"/>
              <a:t>Click to edit Master title style</a:t>
            </a:r>
            <a:endParaRPr lang="nl-NL" dirty="0"/>
          </a:p>
        </p:txBody>
      </p:sp>
    </p:spTree>
    <p:extLst>
      <p:ext uri="{BB962C8B-B14F-4D97-AF65-F5344CB8AC3E}">
        <p14:creationId xmlns:p14="http://schemas.microsoft.com/office/powerpoint/2010/main" val="13509306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223536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923944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5050764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8" imgW="470" imgH="469" progId="TCLayout.ActiveDocument.1">
                  <p:embed/>
                </p:oleObj>
              </mc:Choice>
              <mc:Fallback>
                <p:oleObj name="think-cell Slide" r:id="rId38" imgW="470" imgH="469" progId="TCLayout.ActiveDocument.1">
                  <p:embed/>
                  <p:pic>
                    <p:nvPicPr>
                      <p:cNvPr id="0" name=""/>
                      <p:cNvPicPr/>
                      <p:nvPr/>
                    </p:nvPicPr>
                    <p:blipFill>
                      <a:blip r:embed="rId39"/>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37"/>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a:buNone/>
              <a:defRPr sz="800">
                <a:solidFill>
                  <a:srgbClr val="000000"/>
                </a:solidFill>
                <a:latin typeface="+mn-lt"/>
              </a:defRPr>
            </a:lvl1pPr>
          </a:lstStyle>
          <a:p>
            <a:r>
              <a:rPr lang="nl-NL"/>
              <a:t>Bron: </a:t>
            </a:r>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3973" r:id="rId8"/>
    <p:sldLayoutId id="2147483963" r:id="rId9"/>
    <p:sldLayoutId id="2147484010" r:id="rId10"/>
    <p:sldLayoutId id="2147483969" r:id="rId11"/>
    <p:sldLayoutId id="2147483964" r:id="rId12"/>
    <p:sldLayoutId id="2147483967" r:id="rId13"/>
    <p:sldLayoutId id="2147483968" r:id="rId14"/>
    <p:sldLayoutId id="2147484000" r:id="rId15"/>
    <p:sldLayoutId id="2147483966" r:id="rId16"/>
    <p:sldLayoutId id="2147483970" r:id="rId17"/>
    <p:sldLayoutId id="2147484009" r:id="rId18"/>
    <p:sldLayoutId id="2147483975" r:id="rId19"/>
    <p:sldLayoutId id="2147483974" r:id="rId20"/>
    <p:sldLayoutId id="2147483972" r:id="rId21"/>
    <p:sldLayoutId id="2147483987" r:id="rId22"/>
    <p:sldLayoutId id="2147484001" r:id="rId23"/>
    <p:sldLayoutId id="2147483988" r:id="rId24"/>
    <p:sldLayoutId id="2147483965" r:id="rId25"/>
    <p:sldLayoutId id="2147484003" r:id="rId26"/>
    <p:sldLayoutId id="2147484004" r:id="rId27"/>
    <p:sldLayoutId id="2147484005" r:id="rId28"/>
    <p:sldLayoutId id="2147483989" r:id="rId29"/>
    <p:sldLayoutId id="2147483995" r:id="rId30"/>
    <p:sldLayoutId id="2147483993" r:id="rId31"/>
    <p:sldLayoutId id="2147483991" r:id="rId32"/>
    <p:sldLayoutId id="2147484006" r:id="rId33"/>
    <p:sldLayoutId id="2147484012" r:id="rId34"/>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xml"/><Relationship Id="rId1" Type="http://schemas.openxmlformats.org/officeDocument/2006/relationships/tags" Target="../tags/tag65.xml"/><Relationship Id="rId5" Type="http://schemas.openxmlformats.org/officeDocument/2006/relationships/image" Target="../media/image8.jp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45.bin"/><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55.xml"/><Relationship Id="rId6" Type="http://schemas.openxmlformats.org/officeDocument/2006/relationships/image" Target="../media/image14.emf"/><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2.emf"/><Relationship Id="rId9" Type="http://schemas.openxmlformats.org/officeDocument/2006/relationships/image" Target="../media/image17.svg"/></Relationships>
</file>

<file path=ppt/slides/_rels/slide1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46.bin"/><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156.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2.emf"/><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oleObject" Target="../embeddings/oleObject47.bin"/><Relationship Id="rId3" Type="http://schemas.openxmlformats.org/officeDocument/2006/relationships/tags" Target="../tags/tag159.xml"/><Relationship Id="rId21" Type="http://schemas.openxmlformats.org/officeDocument/2006/relationships/image" Target="../media/image18.png"/><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slideLayout" Target="../slideLayouts/slideLayout3.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chart" Target="../charts/chart8.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image" Target="../media/image2.emf"/><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image" Target="../media/image19.svg"/></Relationships>
</file>

<file path=ppt/slides/_rels/slide13.xml.rels><?xml version="1.0" encoding="UTF-8" standalone="yes"?>
<Relationships xmlns="http://schemas.openxmlformats.org/package/2006/relationships"><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tags" Target="../tags/tag198.xml"/><Relationship Id="rId39" Type="http://schemas.openxmlformats.org/officeDocument/2006/relationships/image" Target="../media/image10.svg"/><Relationship Id="rId21" Type="http://schemas.openxmlformats.org/officeDocument/2006/relationships/tags" Target="../tags/tag193.xml"/><Relationship Id="rId34" Type="http://schemas.openxmlformats.org/officeDocument/2006/relationships/chart" Target="../charts/chart9.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image" Target="../media/image2.emf"/><Relationship Id="rId38" Type="http://schemas.openxmlformats.org/officeDocument/2006/relationships/image" Target="../media/image9.png"/><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tags" Target="../tags/tag192.xml"/><Relationship Id="rId29" Type="http://schemas.openxmlformats.org/officeDocument/2006/relationships/tags" Target="../tags/tag201.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oleObject" Target="../embeddings/oleObject48.bin"/><Relationship Id="rId37" Type="http://schemas.openxmlformats.org/officeDocument/2006/relationships/slide" Target="slide22.xm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image" Target="../media/image19.svg"/><Relationship Id="rId10" Type="http://schemas.openxmlformats.org/officeDocument/2006/relationships/tags" Target="../tags/tag182.xml"/><Relationship Id="rId19" Type="http://schemas.openxmlformats.org/officeDocument/2006/relationships/tags" Target="../tags/tag191.xml"/><Relationship Id="rId31" Type="http://schemas.openxmlformats.org/officeDocument/2006/relationships/slideLayout" Target="../slideLayouts/slideLayout3.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image" Target="../media/image18.png"/><Relationship Id="rId8" Type="http://schemas.openxmlformats.org/officeDocument/2006/relationships/tags" Target="../tags/tag180.xml"/><Relationship Id="rId3" Type="http://schemas.openxmlformats.org/officeDocument/2006/relationships/tags" Target="../tags/tag175.xml"/></Relationships>
</file>

<file path=ppt/slides/_rels/slide14.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slideLayout" Target="../slideLayouts/slideLayout4.xml"/><Relationship Id="rId3" Type="http://schemas.openxmlformats.org/officeDocument/2006/relationships/tags" Target="../tags/tag205.xml"/><Relationship Id="rId21" Type="http://schemas.openxmlformats.org/officeDocument/2006/relationships/chart" Target="../charts/chart10.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tags" Target="../tags/tag219.xml"/><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image" Target="../media/image2.emf"/><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chart" Target="../charts/chart11.xml"/><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image" Target="../media/image19.svg"/><Relationship Id="rId10" Type="http://schemas.openxmlformats.org/officeDocument/2006/relationships/tags" Target="../tags/tag212.xml"/><Relationship Id="rId19" Type="http://schemas.openxmlformats.org/officeDocument/2006/relationships/oleObject" Target="../embeddings/oleObject49.bin"/><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image" Target="../media/image18.png"/></Relationships>
</file>

<file path=ppt/slides/_rels/slide15.xml.rels><?xml version="1.0" encoding="UTF-8" standalone="yes"?>
<Relationships xmlns="http://schemas.openxmlformats.org/package/2006/relationships"><Relationship Id="rId26" Type="http://schemas.openxmlformats.org/officeDocument/2006/relationships/tags" Target="../tags/tag245.xml"/><Relationship Id="rId117" Type="http://schemas.openxmlformats.org/officeDocument/2006/relationships/image" Target="../media/image18.png"/><Relationship Id="rId21" Type="http://schemas.openxmlformats.org/officeDocument/2006/relationships/tags" Target="../tags/tag240.xml"/><Relationship Id="rId42" Type="http://schemas.openxmlformats.org/officeDocument/2006/relationships/tags" Target="../tags/tag261.xml"/><Relationship Id="rId47" Type="http://schemas.openxmlformats.org/officeDocument/2006/relationships/tags" Target="../tags/tag266.xml"/><Relationship Id="rId63" Type="http://schemas.openxmlformats.org/officeDocument/2006/relationships/tags" Target="../tags/tag282.xml"/><Relationship Id="rId68" Type="http://schemas.openxmlformats.org/officeDocument/2006/relationships/tags" Target="../tags/tag287.xml"/><Relationship Id="rId84" Type="http://schemas.openxmlformats.org/officeDocument/2006/relationships/tags" Target="../tags/tag303.xml"/><Relationship Id="rId89" Type="http://schemas.openxmlformats.org/officeDocument/2006/relationships/tags" Target="../tags/tag308.xml"/><Relationship Id="rId112" Type="http://schemas.openxmlformats.org/officeDocument/2006/relationships/image" Target="../media/image21.svg"/><Relationship Id="rId16" Type="http://schemas.openxmlformats.org/officeDocument/2006/relationships/tags" Target="../tags/tag235.xml"/><Relationship Id="rId107" Type="http://schemas.openxmlformats.org/officeDocument/2006/relationships/tags" Target="../tags/tag326.xml"/><Relationship Id="rId11" Type="http://schemas.openxmlformats.org/officeDocument/2006/relationships/tags" Target="../tags/tag230.xml"/><Relationship Id="rId32" Type="http://schemas.openxmlformats.org/officeDocument/2006/relationships/tags" Target="../tags/tag251.xml"/><Relationship Id="rId37" Type="http://schemas.openxmlformats.org/officeDocument/2006/relationships/tags" Target="../tags/tag256.xml"/><Relationship Id="rId53" Type="http://schemas.openxmlformats.org/officeDocument/2006/relationships/tags" Target="../tags/tag272.xml"/><Relationship Id="rId58" Type="http://schemas.openxmlformats.org/officeDocument/2006/relationships/tags" Target="../tags/tag277.xml"/><Relationship Id="rId74" Type="http://schemas.openxmlformats.org/officeDocument/2006/relationships/tags" Target="../tags/tag293.xml"/><Relationship Id="rId79" Type="http://schemas.openxmlformats.org/officeDocument/2006/relationships/tags" Target="../tags/tag298.xml"/><Relationship Id="rId102" Type="http://schemas.openxmlformats.org/officeDocument/2006/relationships/tags" Target="../tags/tag321.xml"/><Relationship Id="rId5" Type="http://schemas.openxmlformats.org/officeDocument/2006/relationships/tags" Target="../tags/tag224.xml"/><Relationship Id="rId90" Type="http://schemas.openxmlformats.org/officeDocument/2006/relationships/tags" Target="../tags/tag309.xml"/><Relationship Id="rId95" Type="http://schemas.openxmlformats.org/officeDocument/2006/relationships/tags" Target="../tags/tag314.xml"/><Relationship Id="rId22" Type="http://schemas.openxmlformats.org/officeDocument/2006/relationships/tags" Target="../tags/tag241.xml"/><Relationship Id="rId27" Type="http://schemas.openxmlformats.org/officeDocument/2006/relationships/tags" Target="../tags/tag246.xml"/><Relationship Id="rId43" Type="http://schemas.openxmlformats.org/officeDocument/2006/relationships/tags" Target="../tags/tag262.xml"/><Relationship Id="rId48" Type="http://schemas.openxmlformats.org/officeDocument/2006/relationships/tags" Target="../tags/tag267.xml"/><Relationship Id="rId64" Type="http://schemas.openxmlformats.org/officeDocument/2006/relationships/tags" Target="../tags/tag283.xml"/><Relationship Id="rId69" Type="http://schemas.openxmlformats.org/officeDocument/2006/relationships/tags" Target="../tags/tag288.xml"/><Relationship Id="rId113" Type="http://schemas.openxmlformats.org/officeDocument/2006/relationships/chart" Target="../charts/chart12.xml"/><Relationship Id="rId118" Type="http://schemas.openxmlformats.org/officeDocument/2006/relationships/image" Target="../media/image19.svg"/><Relationship Id="rId80" Type="http://schemas.openxmlformats.org/officeDocument/2006/relationships/tags" Target="../tags/tag299.xml"/><Relationship Id="rId85" Type="http://schemas.openxmlformats.org/officeDocument/2006/relationships/tags" Target="../tags/tag304.xml"/><Relationship Id="rId12" Type="http://schemas.openxmlformats.org/officeDocument/2006/relationships/tags" Target="../tags/tag231.xml"/><Relationship Id="rId17" Type="http://schemas.openxmlformats.org/officeDocument/2006/relationships/tags" Target="../tags/tag236.xml"/><Relationship Id="rId33" Type="http://schemas.openxmlformats.org/officeDocument/2006/relationships/tags" Target="../tags/tag252.xml"/><Relationship Id="rId38" Type="http://schemas.openxmlformats.org/officeDocument/2006/relationships/tags" Target="../tags/tag257.xml"/><Relationship Id="rId59" Type="http://schemas.openxmlformats.org/officeDocument/2006/relationships/tags" Target="../tags/tag278.xml"/><Relationship Id="rId103" Type="http://schemas.openxmlformats.org/officeDocument/2006/relationships/tags" Target="../tags/tag322.xml"/><Relationship Id="rId108" Type="http://schemas.openxmlformats.org/officeDocument/2006/relationships/slideLayout" Target="../slideLayouts/slideLayout4.xml"/><Relationship Id="rId54" Type="http://schemas.openxmlformats.org/officeDocument/2006/relationships/tags" Target="../tags/tag273.xml"/><Relationship Id="rId70" Type="http://schemas.openxmlformats.org/officeDocument/2006/relationships/tags" Target="../tags/tag289.xml"/><Relationship Id="rId75" Type="http://schemas.openxmlformats.org/officeDocument/2006/relationships/tags" Target="../tags/tag294.xml"/><Relationship Id="rId91" Type="http://schemas.openxmlformats.org/officeDocument/2006/relationships/tags" Target="../tags/tag310.xml"/><Relationship Id="rId96" Type="http://schemas.openxmlformats.org/officeDocument/2006/relationships/tags" Target="../tags/tag315.xml"/><Relationship Id="rId1" Type="http://schemas.openxmlformats.org/officeDocument/2006/relationships/tags" Target="../tags/tag220.xml"/><Relationship Id="rId6" Type="http://schemas.openxmlformats.org/officeDocument/2006/relationships/tags" Target="../tags/tag225.xml"/><Relationship Id="rId23" Type="http://schemas.openxmlformats.org/officeDocument/2006/relationships/tags" Target="../tags/tag242.xml"/><Relationship Id="rId28" Type="http://schemas.openxmlformats.org/officeDocument/2006/relationships/tags" Target="../tags/tag247.xml"/><Relationship Id="rId49" Type="http://schemas.openxmlformats.org/officeDocument/2006/relationships/tags" Target="../tags/tag268.xml"/><Relationship Id="rId114" Type="http://schemas.openxmlformats.org/officeDocument/2006/relationships/chart" Target="../charts/chart13.xml"/><Relationship Id="rId10" Type="http://schemas.openxmlformats.org/officeDocument/2006/relationships/tags" Target="../tags/tag229.xml"/><Relationship Id="rId31" Type="http://schemas.openxmlformats.org/officeDocument/2006/relationships/tags" Target="../tags/tag250.xml"/><Relationship Id="rId44" Type="http://schemas.openxmlformats.org/officeDocument/2006/relationships/tags" Target="../tags/tag263.xml"/><Relationship Id="rId52" Type="http://schemas.openxmlformats.org/officeDocument/2006/relationships/tags" Target="../tags/tag271.xml"/><Relationship Id="rId60" Type="http://schemas.openxmlformats.org/officeDocument/2006/relationships/tags" Target="../tags/tag279.xml"/><Relationship Id="rId65" Type="http://schemas.openxmlformats.org/officeDocument/2006/relationships/tags" Target="../tags/tag284.xml"/><Relationship Id="rId73" Type="http://schemas.openxmlformats.org/officeDocument/2006/relationships/tags" Target="../tags/tag292.xml"/><Relationship Id="rId78" Type="http://schemas.openxmlformats.org/officeDocument/2006/relationships/tags" Target="../tags/tag297.xml"/><Relationship Id="rId81" Type="http://schemas.openxmlformats.org/officeDocument/2006/relationships/tags" Target="../tags/tag300.xml"/><Relationship Id="rId86" Type="http://schemas.openxmlformats.org/officeDocument/2006/relationships/tags" Target="../tags/tag305.xml"/><Relationship Id="rId94" Type="http://schemas.openxmlformats.org/officeDocument/2006/relationships/tags" Target="../tags/tag313.xml"/><Relationship Id="rId99" Type="http://schemas.openxmlformats.org/officeDocument/2006/relationships/tags" Target="../tags/tag318.xml"/><Relationship Id="rId101" Type="http://schemas.openxmlformats.org/officeDocument/2006/relationships/tags" Target="../tags/tag320.xml"/><Relationship Id="rId4" Type="http://schemas.openxmlformats.org/officeDocument/2006/relationships/tags" Target="../tags/tag223.xml"/><Relationship Id="rId9" Type="http://schemas.openxmlformats.org/officeDocument/2006/relationships/tags" Target="../tags/tag228.xml"/><Relationship Id="rId13" Type="http://schemas.openxmlformats.org/officeDocument/2006/relationships/tags" Target="../tags/tag232.xml"/><Relationship Id="rId18" Type="http://schemas.openxmlformats.org/officeDocument/2006/relationships/tags" Target="../tags/tag237.xml"/><Relationship Id="rId39" Type="http://schemas.openxmlformats.org/officeDocument/2006/relationships/tags" Target="../tags/tag258.xml"/><Relationship Id="rId109" Type="http://schemas.openxmlformats.org/officeDocument/2006/relationships/oleObject" Target="../embeddings/oleObject50.bin"/><Relationship Id="rId34" Type="http://schemas.openxmlformats.org/officeDocument/2006/relationships/tags" Target="../tags/tag253.xml"/><Relationship Id="rId50" Type="http://schemas.openxmlformats.org/officeDocument/2006/relationships/tags" Target="../tags/tag269.xml"/><Relationship Id="rId55" Type="http://schemas.openxmlformats.org/officeDocument/2006/relationships/tags" Target="../tags/tag274.xml"/><Relationship Id="rId76" Type="http://schemas.openxmlformats.org/officeDocument/2006/relationships/tags" Target="../tags/tag295.xml"/><Relationship Id="rId97" Type="http://schemas.openxmlformats.org/officeDocument/2006/relationships/tags" Target="../tags/tag316.xml"/><Relationship Id="rId104" Type="http://schemas.openxmlformats.org/officeDocument/2006/relationships/tags" Target="../tags/tag323.xml"/><Relationship Id="rId7" Type="http://schemas.openxmlformats.org/officeDocument/2006/relationships/tags" Target="../tags/tag226.xml"/><Relationship Id="rId71" Type="http://schemas.openxmlformats.org/officeDocument/2006/relationships/tags" Target="../tags/tag290.xml"/><Relationship Id="rId92" Type="http://schemas.openxmlformats.org/officeDocument/2006/relationships/tags" Target="../tags/tag311.xml"/><Relationship Id="rId2" Type="http://schemas.openxmlformats.org/officeDocument/2006/relationships/tags" Target="../tags/tag221.xml"/><Relationship Id="rId29" Type="http://schemas.openxmlformats.org/officeDocument/2006/relationships/tags" Target="../tags/tag248.xml"/><Relationship Id="rId24" Type="http://schemas.openxmlformats.org/officeDocument/2006/relationships/tags" Target="../tags/tag243.xml"/><Relationship Id="rId40" Type="http://schemas.openxmlformats.org/officeDocument/2006/relationships/tags" Target="../tags/tag259.xml"/><Relationship Id="rId45" Type="http://schemas.openxmlformats.org/officeDocument/2006/relationships/tags" Target="../tags/tag264.xml"/><Relationship Id="rId66" Type="http://schemas.openxmlformats.org/officeDocument/2006/relationships/tags" Target="../tags/tag285.xml"/><Relationship Id="rId87" Type="http://schemas.openxmlformats.org/officeDocument/2006/relationships/tags" Target="../tags/tag306.xml"/><Relationship Id="rId110" Type="http://schemas.openxmlformats.org/officeDocument/2006/relationships/image" Target="../media/image2.emf"/><Relationship Id="rId115" Type="http://schemas.openxmlformats.org/officeDocument/2006/relationships/chart" Target="../charts/chart14.xml"/><Relationship Id="rId61" Type="http://schemas.openxmlformats.org/officeDocument/2006/relationships/tags" Target="../tags/tag280.xml"/><Relationship Id="rId82" Type="http://schemas.openxmlformats.org/officeDocument/2006/relationships/tags" Target="../tags/tag301.xml"/><Relationship Id="rId19" Type="http://schemas.openxmlformats.org/officeDocument/2006/relationships/tags" Target="../tags/tag238.xml"/><Relationship Id="rId14" Type="http://schemas.openxmlformats.org/officeDocument/2006/relationships/tags" Target="../tags/tag233.xml"/><Relationship Id="rId30" Type="http://schemas.openxmlformats.org/officeDocument/2006/relationships/tags" Target="../tags/tag249.xml"/><Relationship Id="rId35" Type="http://schemas.openxmlformats.org/officeDocument/2006/relationships/tags" Target="../tags/tag254.xml"/><Relationship Id="rId56" Type="http://schemas.openxmlformats.org/officeDocument/2006/relationships/tags" Target="../tags/tag275.xml"/><Relationship Id="rId77" Type="http://schemas.openxmlformats.org/officeDocument/2006/relationships/tags" Target="../tags/tag296.xml"/><Relationship Id="rId100" Type="http://schemas.openxmlformats.org/officeDocument/2006/relationships/tags" Target="../tags/tag319.xml"/><Relationship Id="rId105" Type="http://schemas.openxmlformats.org/officeDocument/2006/relationships/tags" Target="../tags/tag324.xml"/><Relationship Id="rId8" Type="http://schemas.openxmlformats.org/officeDocument/2006/relationships/tags" Target="../tags/tag227.xml"/><Relationship Id="rId51" Type="http://schemas.openxmlformats.org/officeDocument/2006/relationships/tags" Target="../tags/tag270.xml"/><Relationship Id="rId72" Type="http://schemas.openxmlformats.org/officeDocument/2006/relationships/tags" Target="../tags/tag291.xml"/><Relationship Id="rId93" Type="http://schemas.openxmlformats.org/officeDocument/2006/relationships/tags" Target="../tags/tag312.xml"/><Relationship Id="rId98" Type="http://schemas.openxmlformats.org/officeDocument/2006/relationships/tags" Target="../tags/tag317.xml"/><Relationship Id="rId3" Type="http://schemas.openxmlformats.org/officeDocument/2006/relationships/tags" Target="../tags/tag222.xml"/><Relationship Id="rId25" Type="http://schemas.openxmlformats.org/officeDocument/2006/relationships/tags" Target="../tags/tag244.xml"/><Relationship Id="rId46" Type="http://schemas.openxmlformats.org/officeDocument/2006/relationships/tags" Target="../tags/tag265.xml"/><Relationship Id="rId67" Type="http://schemas.openxmlformats.org/officeDocument/2006/relationships/tags" Target="../tags/tag286.xml"/><Relationship Id="rId116" Type="http://schemas.openxmlformats.org/officeDocument/2006/relationships/chart" Target="../charts/chart15.xml"/><Relationship Id="rId20" Type="http://schemas.openxmlformats.org/officeDocument/2006/relationships/tags" Target="../tags/tag239.xml"/><Relationship Id="rId41" Type="http://schemas.openxmlformats.org/officeDocument/2006/relationships/tags" Target="../tags/tag260.xml"/><Relationship Id="rId62" Type="http://schemas.openxmlformats.org/officeDocument/2006/relationships/tags" Target="../tags/tag281.xml"/><Relationship Id="rId83" Type="http://schemas.openxmlformats.org/officeDocument/2006/relationships/tags" Target="../tags/tag302.xml"/><Relationship Id="rId88" Type="http://schemas.openxmlformats.org/officeDocument/2006/relationships/tags" Target="../tags/tag307.xml"/><Relationship Id="rId111" Type="http://schemas.openxmlformats.org/officeDocument/2006/relationships/image" Target="../media/image20.png"/><Relationship Id="rId15" Type="http://schemas.openxmlformats.org/officeDocument/2006/relationships/tags" Target="../tags/tag234.xml"/><Relationship Id="rId36" Type="http://schemas.openxmlformats.org/officeDocument/2006/relationships/tags" Target="../tags/tag255.xml"/><Relationship Id="rId57" Type="http://schemas.openxmlformats.org/officeDocument/2006/relationships/tags" Target="../tags/tag276.xml"/><Relationship Id="rId106" Type="http://schemas.openxmlformats.org/officeDocument/2006/relationships/tags" Target="../tags/tag325.xml"/></Relationships>
</file>

<file path=ppt/slides/_rels/slide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3.xml"/><Relationship Id="rId7" Type="http://schemas.openxmlformats.org/officeDocument/2006/relationships/image" Target="../media/image11.png"/><Relationship Id="rId12" Type="http://schemas.openxmlformats.org/officeDocument/2006/relationships/slide" Target="slide33.xml"/><Relationship Id="rId2" Type="http://schemas.openxmlformats.org/officeDocument/2006/relationships/slideLayout" Target="../slideLayouts/slideLayout34.xml"/><Relationship Id="rId1" Type="http://schemas.openxmlformats.org/officeDocument/2006/relationships/tags" Target="../tags/tag327.xml"/><Relationship Id="rId6" Type="http://schemas.openxmlformats.org/officeDocument/2006/relationships/image" Target="../media/image8.jpg"/><Relationship Id="rId11" Type="http://schemas.openxmlformats.org/officeDocument/2006/relationships/slide" Target="slide5.xml"/><Relationship Id="rId5" Type="http://schemas.openxmlformats.org/officeDocument/2006/relationships/image" Target="NULL"/><Relationship Id="rId10" Type="http://schemas.openxmlformats.org/officeDocument/2006/relationships/slide" Target="slide22.xml"/><Relationship Id="rId4" Type="http://schemas.openxmlformats.org/officeDocument/2006/relationships/oleObject" Target="../embeddings/oleObject51.bin"/><Relationship Id="rId9" Type="http://schemas.openxmlformats.org/officeDocument/2006/relationships/slide" Target="slide16.xml"/></Relationships>
</file>

<file path=ppt/slides/_rels/slide17.xml.rels><?xml version="1.0" encoding="UTF-8" standalone="yes"?>
<Relationships xmlns="http://schemas.openxmlformats.org/package/2006/relationships"><Relationship Id="rId26" Type="http://schemas.openxmlformats.org/officeDocument/2006/relationships/tags" Target="../tags/tag353.xml"/><Relationship Id="rId21" Type="http://schemas.openxmlformats.org/officeDocument/2006/relationships/tags" Target="../tags/tag348.xml"/><Relationship Id="rId42" Type="http://schemas.openxmlformats.org/officeDocument/2006/relationships/tags" Target="../tags/tag369.xml"/><Relationship Id="rId47" Type="http://schemas.openxmlformats.org/officeDocument/2006/relationships/tags" Target="../tags/tag374.xml"/><Relationship Id="rId63" Type="http://schemas.openxmlformats.org/officeDocument/2006/relationships/tags" Target="../tags/tag390.xml"/><Relationship Id="rId68" Type="http://schemas.openxmlformats.org/officeDocument/2006/relationships/tags" Target="../tags/tag395.xml"/><Relationship Id="rId84" Type="http://schemas.openxmlformats.org/officeDocument/2006/relationships/tags" Target="../tags/tag411.xml"/><Relationship Id="rId16" Type="http://schemas.openxmlformats.org/officeDocument/2006/relationships/tags" Target="../tags/tag343.xml"/><Relationship Id="rId11" Type="http://schemas.openxmlformats.org/officeDocument/2006/relationships/tags" Target="../tags/tag338.xml"/><Relationship Id="rId32" Type="http://schemas.openxmlformats.org/officeDocument/2006/relationships/tags" Target="../tags/tag359.xml"/><Relationship Id="rId37" Type="http://schemas.openxmlformats.org/officeDocument/2006/relationships/tags" Target="../tags/tag364.xml"/><Relationship Id="rId53" Type="http://schemas.openxmlformats.org/officeDocument/2006/relationships/tags" Target="../tags/tag380.xml"/><Relationship Id="rId58" Type="http://schemas.openxmlformats.org/officeDocument/2006/relationships/tags" Target="../tags/tag385.xml"/><Relationship Id="rId74" Type="http://schemas.openxmlformats.org/officeDocument/2006/relationships/tags" Target="../tags/tag401.xml"/><Relationship Id="rId79" Type="http://schemas.openxmlformats.org/officeDocument/2006/relationships/tags" Target="../tags/tag406.xml"/><Relationship Id="rId5" Type="http://schemas.openxmlformats.org/officeDocument/2006/relationships/tags" Target="../tags/tag332.xml"/><Relationship Id="rId19" Type="http://schemas.openxmlformats.org/officeDocument/2006/relationships/tags" Target="../tags/tag34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tags" Target="../tags/tag375.xml"/><Relationship Id="rId56" Type="http://schemas.openxmlformats.org/officeDocument/2006/relationships/tags" Target="../tags/tag383.xml"/><Relationship Id="rId64" Type="http://schemas.openxmlformats.org/officeDocument/2006/relationships/tags" Target="../tags/tag391.xml"/><Relationship Id="rId69" Type="http://schemas.openxmlformats.org/officeDocument/2006/relationships/tags" Target="../tags/tag396.xml"/><Relationship Id="rId77" Type="http://schemas.openxmlformats.org/officeDocument/2006/relationships/tags" Target="../tags/tag404.xml"/><Relationship Id="rId8" Type="http://schemas.openxmlformats.org/officeDocument/2006/relationships/tags" Target="../tags/tag335.xml"/><Relationship Id="rId51" Type="http://schemas.openxmlformats.org/officeDocument/2006/relationships/tags" Target="../tags/tag378.xml"/><Relationship Id="rId72" Type="http://schemas.openxmlformats.org/officeDocument/2006/relationships/tags" Target="../tags/tag399.xml"/><Relationship Id="rId80" Type="http://schemas.openxmlformats.org/officeDocument/2006/relationships/tags" Target="../tags/tag407.xml"/><Relationship Id="rId85" Type="http://schemas.openxmlformats.org/officeDocument/2006/relationships/tags" Target="../tags/tag412.xml"/><Relationship Id="rId3" Type="http://schemas.openxmlformats.org/officeDocument/2006/relationships/tags" Target="../tags/tag330.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59" Type="http://schemas.openxmlformats.org/officeDocument/2006/relationships/tags" Target="../tags/tag386.xml"/><Relationship Id="rId67" Type="http://schemas.openxmlformats.org/officeDocument/2006/relationships/tags" Target="../tags/tag394.xml"/><Relationship Id="rId20" Type="http://schemas.openxmlformats.org/officeDocument/2006/relationships/tags" Target="../tags/tag347.xml"/><Relationship Id="rId41" Type="http://schemas.openxmlformats.org/officeDocument/2006/relationships/tags" Target="../tags/tag368.xml"/><Relationship Id="rId54" Type="http://schemas.openxmlformats.org/officeDocument/2006/relationships/tags" Target="../tags/tag381.xml"/><Relationship Id="rId62" Type="http://schemas.openxmlformats.org/officeDocument/2006/relationships/tags" Target="../tags/tag389.xml"/><Relationship Id="rId70" Type="http://schemas.openxmlformats.org/officeDocument/2006/relationships/tags" Target="../tags/tag397.xml"/><Relationship Id="rId75" Type="http://schemas.openxmlformats.org/officeDocument/2006/relationships/tags" Target="../tags/tag402.xml"/><Relationship Id="rId83" Type="http://schemas.openxmlformats.org/officeDocument/2006/relationships/tags" Target="../tags/tag410.xml"/><Relationship Id="rId88" Type="http://schemas.openxmlformats.org/officeDocument/2006/relationships/image" Target="../media/image2.emf"/><Relationship Id="rId1" Type="http://schemas.openxmlformats.org/officeDocument/2006/relationships/tags" Target="../tags/tag328.xml"/><Relationship Id="rId6" Type="http://schemas.openxmlformats.org/officeDocument/2006/relationships/tags" Target="../tags/tag333.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49" Type="http://schemas.openxmlformats.org/officeDocument/2006/relationships/tags" Target="../tags/tag376.xml"/><Relationship Id="rId57" Type="http://schemas.openxmlformats.org/officeDocument/2006/relationships/tags" Target="../tags/tag384.xml"/><Relationship Id="rId10" Type="http://schemas.openxmlformats.org/officeDocument/2006/relationships/tags" Target="../tags/tag337.xml"/><Relationship Id="rId31" Type="http://schemas.openxmlformats.org/officeDocument/2006/relationships/tags" Target="../tags/tag358.xml"/><Relationship Id="rId44" Type="http://schemas.openxmlformats.org/officeDocument/2006/relationships/tags" Target="../tags/tag371.xml"/><Relationship Id="rId52" Type="http://schemas.openxmlformats.org/officeDocument/2006/relationships/tags" Target="../tags/tag379.xml"/><Relationship Id="rId60" Type="http://schemas.openxmlformats.org/officeDocument/2006/relationships/tags" Target="../tags/tag387.xml"/><Relationship Id="rId65" Type="http://schemas.openxmlformats.org/officeDocument/2006/relationships/tags" Target="../tags/tag392.xml"/><Relationship Id="rId73" Type="http://schemas.openxmlformats.org/officeDocument/2006/relationships/tags" Target="../tags/tag400.xml"/><Relationship Id="rId78" Type="http://schemas.openxmlformats.org/officeDocument/2006/relationships/tags" Target="../tags/tag405.xml"/><Relationship Id="rId81" Type="http://schemas.openxmlformats.org/officeDocument/2006/relationships/tags" Target="../tags/tag408.xml"/><Relationship Id="rId86" Type="http://schemas.openxmlformats.org/officeDocument/2006/relationships/slideLayout" Target="../slideLayouts/slideLayout4.xml"/><Relationship Id="rId4" Type="http://schemas.openxmlformats.org/officeDocument/2006/relationships/tags" Target="../tags/tag331.xml"/><Relationship Id="rId9" Type="http://schemas.openxmlformats.org/officeDocument/2006/relationships/tags" Target="../tags/tag336.xml"/><Relationship Id="rId13" Type="http://schemas.openxmlformats.org/officeDocument/2006/relationships/tags" Target="../tags/tag340.xml"/><Relationship Id="rId18" Type="http://schemas.openxmlformats.org/officeDocument/2006/relationships/tags" Target="../tags/tag345.xml"/><Relationship Id="rId39" Type="http://schemas.openxmlformats.org/officeDocument/2006/relationships/tags" Target="../tags/tag366.xml"/><Relationship Id="rId34" Type="http://schemas.openxmlformats.org/officeDocument/2006/relationships/tags" Target="../tags/tag361.xml"/><Relationship Id="rId50" Type="http://schemas.openxmlformats.org/officeDocument/2006/relationships/tags" Target="../tags/tag377.xml"/><Relationship Id="rId55" Type="http://schemas.openxmlformats.org/officeDocument/2006/relationships/tags" Target="../tags/tag382.xml"/><Relationship Id="rId76" Type="http://schemas.openxmlformats.org/officeDocument/2006/relationships/tags" Target="../tags/tag403.xml"/><Relationship Id="rId7" Type="http://schemas.openxmlformats.org/officeDocument/2006/relationships/tags" Target="../tags/tag334.xml"/><Relationship Id="rId71" Type="http://schemas.openxmlformats.org/officeDocument/2006/relationships/tags" Target="../tags/tag398.xml"/><Relationship Id="rId2" Type="http://schemas.openxmlformats.org/officeDocument/2006/relationships/tags" Target="../tags/tag329.xml"/><Relationship Id="rId29" Type="http://schemas.openxmlformats.org/officeDocument/2006/relationships/tags" Target="../tags/tag356.xml"/><Relationship Id="rId24" Type="http://schemas.openxmlformats.org/officeDocument/2006/relationships/tags" Target="../tags/tag351.xml"/><Relationship Id="rId40" Type="http://schemas.openxmlformats.org/officeDocument/2006/relationships/tags" Target="../tags/tag367.xml"/><Relationship Id="rId45" Type="http://schemas.openxmlformats.org/officeDocument/2006/relationships/tags" Target="../tags/tag372.xml"/><Relationship Id="rId66" Type="http://schemas.openxmlformats.org/officeDocument/2006/relationships/tags" Target="../tags/tag393.xml"/><Relationship Id="rId87" Type="http://schemas.openxmlformats.org/officeDocument/2006/relationships/oleObject" Target="../embeddings/oleObject52.bin"/><Relationship Id="rId61" Type="http://schemas.openxmlformats.org/officeDocument/2006/relationships/tags" Target="../tags/tag388.xml"/><Relationship Id="rId82" Type="http://schemas.openxmlformats.org/officeDocument/2006/relationships/tags" Target="../tags/tag409.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4.xml"/><Relationship Id="rId1" Type="http://schemas.openxmlformats.org/officeDocument/2006/relationships/tags" Target="../tags/tag413.xml"/><Relationship Id="rId5" Type="http://schemas.openxmlformats.org/officeDocument/2006/relationships/image" Target="../media/image24.png"/><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xml"/><Relationship Id="rId1" Type="http://schemas.openxmlformats.org/officeDocument/2006/relationships/tags" Target="../tags/tag41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66.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415.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56.bin"/><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416.xml"/><Relationship Id="rId6" Type="http://schemas.openxmlformats.org/officeDocument/2006/relationships/hyperlink" Target="mailto:hugo.denbreejen@itspublic.nl?subject=Vraag%20%2F%20opmerking%20n.a.v.%20benchmark%20tekorten%20jeugdzorg" TargetMode="External"/><Relationship Id="rId11" Type="http://schemas.openxmlformats.org/officeDocument/2006/relationships/image" Target="../media/image31.png"/><Relationship Id="rId5" Type="http://schemas.openxmlformats.org/officeDocument/2006/relationships/hyperlink" Target="http://www.itspublic.nl/materialen" TargetMode="External"/><Relationship Id="rId10" Type="http://schemas.openxmlformats.org/officeDocument/2006/relationships/image" Target="../media/image30.png"/><Relationship Id="rId4" Type="http://schemas.openxmlformats.org/officeDocument/2006/relationships/image" Target="../media/image7.emf"/><Relationship Id="rId9"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4.xml"/><Relationship Id="rId7" Type="http://schemas.openxmlformats.org/officeDocument/2006/relationships/image" Target="../media/image11.png"/><Relationship Id="rId12" Type="http://schemas.openxmlformats.org/officeDocument/2006/relationships/slide" Target="slide33.xml"/><Relationship Id="rId2" Type="http://schemas.openxmlformats.org/officeDocument/2006/relationships/slideLayout" Target="../slideLayouts/slideLayout34.xml"/><Relationship Id="rId1" Type="http://schemas.openxmlformats.org/officeDocument/2006/relationships/tags" Target="../tags/tag417.xml"/><Relationship Id="rId6" Type="http://schemas.openxmlformats.org/officeDocument/2006/relationships/image" Target="../media/image8.jpg"/><Relationship Id="rId11" Type="http://schemas.openxmlformats.org/officeDocument/2006/relationships/slide" Target="slide5.xml"/><Relationship Id="rId5" Type="http://schemas.openxmlformats.org/officeDocument/2006/relationships/image" Target="NULL"/><Relationship Id="rId10" Type="http://schemas.openxmlformats.org/officeDocument/2006/relationships/slide" Target="slide22.xml"/><Relationship Id="rId4" Type="http://schemas.openxmlformats.org/officeDocument/2006/relationships/oleObject" Target="../embeddings/oleObject57.bin"/><Relationship Id="rId9" Type="http://schemas.openxmlformats.org/officeDocument/2006/relationships/slide" Target="slide1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8.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18.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9.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19.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0.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0.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1.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1.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2.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3.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4.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3.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21" Type="http://schemas.openxmlformats.org/officeDocument/2006/relationships/slideLayout" Target="../slideLayouts/slideLayout4.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chart" Target="../charts/chart1.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image" Target="../media/image2.emf"/><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oleObject" Target="../embeddings/oleObject38.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5.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66.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6.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7.bin"/><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27.xml"/><Relationship Id="rId6" Type="http://schemas.openxmlformats.org/officeDocument/2006/relationships/image" Target="../media/image9.png"/><Relationship Id="rId5" Type="http://schemas.openxmlformats.org/officeDocument/2006/relationships/hyperlink" Target="https://www.itspublic.nl/materialen/?mc_slug=benchmark-tekorten-jeugdzorg&amp;utm_source=itspublic&amp;utm_medium=publicatie&amp;utm_campaign=excel_tekortjeugdzorgpergemeente" TargetMode="External"/><Relationship Id="rId4" Type="http://schemas.openxmlformats.org/officeDocument/2006/relationships/image" Target="../media/image13.emf"/></Relationships>
</file>

<file path=ppt/slides/_rels/slide3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notesSlide" Target="../notesSlides/notesSlide5.xml"/><Relationship Id="rId7" Type="http://schemas.openxmlformats.org/officeDocument/2006/relationships/slide" Target="slide16.xml"/><Relationship Id="rId12" Type="http://schemas.openxmlformats.org/officeDocument/2006/relationships/image" Target="../media/image12.svg"/><Relationship Id="rId2" Type="http://schemas.openxmlformats.org/officeDocument/2006/relationships/slideLayout" Target="../slideLayouts/slideLayout34.xml"/><Relationship Id="rId1" Type="http://schemas.openxmlformats.org/officeDocument/2006/relationships/tags" Target="../tags/tag428.xml"/><Relationship Id="rId6" Type="http://schemas.openxmlformats.org/officeDocument/2006/relationships/image" Target="../media/image8.jpg"/><Relationship Id="rId11" Type="http://schemas.openxmlformats.org/officeDocument/2006/relationships/image" Target="../media/image11.png"/><Relationship Id="rId5" Type="http://schemas.openxmlformats.org/officeDocument/2006/relationships/image" Target="NULL"/><Relationship Id="rId10" Type="http://schemas.openxmlformats.org/officeDocument/2006/relationships/slide" Target="slide33.xml"/><Relationship Id="rId4" Type="http://schemas.openxmlformats.org/officeDocument/2006/relationships/oleObject" Target="../embeddings/oleObject68.bin"/><Relationship Id="rId9" Type="http://schemas.openxmlformats.org/officeDocument/2006/relationships/slide" Target="slide5.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4.xml"/><Relationship Id="rId1" Type="http://schemas.openxmlformats.org/officeDocument/2006/relationships/tags" Target="../tags/tag429.xml"/><Relationship Id="rId4" Type="http://schemas.openxmlformats.org/officeDocument/2006/relationships/image" Target="../media/image2.emf"/></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hyperlink" Target="https://opendata.cbs.nl/statline/#/CBS/nl/dataset/84639NED/table?ts=1596721749545" TargetMode="Externa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hyperlink" Target="https://www.itspublic.nl/materialen" TargetMode="External"/><Relationship Id="rId5" Type="http://schemas.openxmlformats.org/officeDocument/2006/relationships/image" Target="NULL"/><Relationship Id="rId4" Type="http://schemas.openxmlformats.org/officeDocument/2006/relationships/oleObject" Target="../embeddings/oleObject70.bin"/></Relationships>
</file>

<file path=ppt/slides/_rels/slide36.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tags" Target="../tags/tag449.xml"/><Relationship Id="rId26" Type="http://schemas.openxmlformats.org/officeDocument/2006/relationships/tags" Target="../tags/tag457.xml"/><Relationship Id="rId3" Type="http://schemas.openxmlformats.org/officeDocument/2006/relationships/tags" Target="../tags/tag434.xml"/><Relationship Id="rId21" Type="http://schemas.openxmlformats.org/officeDocument/2006/relationships/tags" Target="../tags/tag452.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tags" Target="../tags/tag448.xml"/><Relationship Id="rId25" Type="http://schemas.openxmlformats.org/officeDocument/2006/relationships/tags" Target="../tags/tag456.xml"/><Relationship Id="rId2" Type="http://schemas.openxmlformats.org/officeDocument/2006/relationships/tags" Target="../tags/tag433.xml"/><Relationship Id="rId16" Type="http://schemas.openxmlformats.org/officeDocument/2006/relationships/tags" Target="../tags/tag447.xml"/><Relationship Id="rId20" Type="http://schemas.openxmlformats.org/officeDocument/2006/relationships/tags" Target="../tags/tag451.xml"/><Relationship Id="rId29" Type="http://schemas.openxmlformats.org/officeDocument/2006/relationships/image" Target="../media/image2.emf"/><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tags" Target="../tags/tag455.xml"/><Relationship Id="rId5" Type="http://schemas.openxmlformats.org/officeDocument/2006/relationships/tags" Target="../tags/tag436.xml"/><Relationship Id="rId15" Type="http://schemas.openxmlformats.org/officeDocument/2006/relationships/tags" Target="../tags/tag446.xml"/><Relationship Id="rId23" Type="http://schemas.openxmlformats.org/officeDocument/2006/relationships/tags" Target="../tags/tag454.xml"/><Relationship Id="rId28" Type="http://schemas.openxmlformats.org/officeDocument/2006/relationships/oleObject" Target="../embeddings/oleObject71.bin"/><Relationship Id="rId10" Type="http://schemas.openxmlformats.org/officeDocument/2006/relationships/tags" Target="../tags/tag441.xml"/><Relationship Id="rId19" Type="http://schemas.openxmlformats.org/officeDocument/2006/relationships/tags" Target="../tags/tag450.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 Id="rId22" Type="http://schemas.openxmlformats.org/officeDocument/2006/relationships/tags" Target="../tags/tag453.xml"/><Relationship Id="rId27"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39.bin"/><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slide" Target="slide18.xml"/><Relationship Id="rId5" Type="http://schemas.openxmlformats.org/officeDocument/2006/relationships/slide" Target="slide33.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notesSlide" Target="../notesSlides/notesSlide1.xml"/><Relationship Id="rId7" Type="http://schemas.openxmlformats.org/officeDocument/2006/relationships/slide" Target="slide16.xml"/><Relationship Id="rId12" Type="http://schemas.openxmlformats.org/officeDocument/2006/relationships/slide" Target="slide33.xml"/><Relationship Id="rId2" Type="http://schemas.openxmlformats.org/officeDocument/2006/relationships/slideLayout" Target="../slideLayouts/slideLayout34.xml"/><Relationship Id="rId1" Type="http://schemas.openxmlformats.org/officeDocument/2006/relationships/tags" Target="../tags/tag88.xml"/><Relationship Id="rId6" Type="http://schemas.openxmlformats.org/officeDocument/2006/relationships/image" Target="../media/image8.jpg"/><Relationship Id="rId11" Type="http://schemas.openxmlformats.org/officeDocument/2006/relationships/image" Target="../media/image12.svg"/><Relationship Id="rId5" Type="http://schemas.openxmlformats.org/officeDocument/2006/relationships/image" Target="NULL"/><Relationship Id="rId10" Type="http://schemas.openxmlformats.org/officeDocument/2006/relationships/image" Target="../media/image11.png"/><Relationship Id="rId4" Type="http://schemas.openxmlformats.org/officeDocument/2006/relationships/oleObject" Target="../embeddings/oleObject40.bin"/><Relationship Id="rId9" Type="http://schemas.openxmlformats.org/officeDocument/2006/relationships/slide" Target="slide5.xml"/></Relationships>
</file>

<file path=ppt/slides/_rels/slide6.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slideLayout" Target="../slideLayouts/slideLayout2.xml"/><Relationship Id="rId21" Type="http://schemas.openxmlformats.org/officeDocument/2006/relationships/tags" Target="../tags/tag109.xml"/><Relationship Id="rId34" Type="http://schemas.openxmlformats.org/officeDocument/2006/relationships/tags" Target="../tags/tag122.xml"/><Relationship Id="rId7" Type="http://schemas.openxmlformats.org/officeDocument/2006/relationships/tags" Target="../tags/tag95.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41" Type="http://schemas.openxmlformats.org/officeDocument/2006/relationships/image" Target="../media/image7.emf"/><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oleObject" Target="../embeddings/oleObject41.bin"/><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8" Type="http://schemas.openxmlformats.org/officeDocument/2006/relationships/tags" Target="../tags/tag96.xml"/><Relationship Id="rId3" Type="http://schemas.openxmlformats.org/officeDocument/2006/relationships/tags" Target="../tags/tag91.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127.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28.xml"/><Relationship Id="rId6" Type="http://schemas.openxmlformats.org/officeDocument/2006/relationships/slide" Target="slide22.xml"/><Relationship Id="rId5" Type="http://schemas.openxmlformats.org/officeDocument/2006/relationships/image" Target="../media/image2.emf"/><Relationship Id="rId4" Type="http://schemas.openxmlformats.org/officeDocument/2006/relationships/oleObject" Target="../embeddings/oleObject43.bin"/></Relationships>
</file>

<file path=ppt/slides/_rels/slide9.xml.rels><?xml version="1.0" encoding="UTF-8" standalone="yes"?>
<Relationships xmlns="http://schemas.openxmlformats.org/package/2006/relationships"><Relationship Id="rId13" Type="http://schemas.openxmlformats.org/officeDocument/2006/relationships/tags" Target="../tags/tag141.xml"/><Relationship Id="rId18" Type="http://schemas.openxmlformats.org/officeDocument/2006/relationships/tags" Target="../tags/tag146.xml"/><Relationship Id="rId26" Type="http://schemas.openxmlformats.org/officeDocument/2006/relationships/tags" Target="../tags/tag154.xml"/><Relationship Id="rId3" Type="http://schemas.openxmlformats.org/officeDocument/2006/relationships/tags" Target="../tags/tag131.xml"/><Relationship Id="rId21" Type="http://schemas.openxmlformats.org/officeDocument/2006/relationships/tags" Target="../tags/tag149.xml"/><Relationship Id="rId34" Type="http://schemas.openxmlformats.org/officeDocument/2006/relationships/chart" Target="../charts/chart6.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tags" Target="../tags/tag145.xml"/><Relationship Id="rId25" Type="http://schemas.openxmlformats.org/officeDocument/2006/relationships/tags" Target="../tags/tag153.xml"/><Relationship Id="rId33" Type="http://schemas.openxmlformats.org/officeDocument/2006/relationships/chart" Target="../charts/chart5.xml"/><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tags" Target="../tags/tag148.xml"/><Relationship Id="rId29" Type="http://schemas.openxmlformats.org/officeDocument/2006/relationships/image" Target="../media/image13.emf"/><Relationship Id="rId1" Type="http://schemas.openxmlformats.org/officeDocument/2006/relationships/tags" Target="../tags/tag129.x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tags" Target="../tags/tag152.xml"/><Relationship Id="rId32" Type="http://schemas.openxmlformats.org/officeDocument/2006/relationships/chart" Target="../charts/chart4.xml"/><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tags" Target="../tags/tag151.xml"/><Relationship Id="rId28" Type="http://schemas.openxmlformats.org/officeDocument/2006/relationships/oleObject" Target="../embeddings/oleObject44.bin"/><Relationship Id="rId10" Type="http://schemas.openxmlformats.org/officeDocument/2006/relationships/tags" Target="../tags/tag138.xml"/><Relationship Id="rId19" Type="http://schemas.openxmlformats.org/officeDocument/2006/relationships/tags" Target="../tags/tag147.xml"/><Relationship Id="rId31" Type="http://schemas.openxmlformats.org/officeDocument/2006/relationships/chart" Target="../charts/chart3.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tags" Target="../tags/tag150.xml"/><Relationship Id="rId27" Type="http://schemas.openxmlformats.org/officeDocument/2006/relationships/slideLayout" Target="../slideLayouts/slideLayout2.xml"/><Relationship Id="rId30" Type="http://schemas.openxmlformats.org/officeDocument/2006/relationships/chart" Target="../charts/chart2.xml"/><Relationship Id="rId35" Type="http://schemas.openxmlformats.org/officeDocument/2006/relationships/chart" Target="../charts/chart7.xml"/><Relationship Id="rId8" Type="http://schemas.openxmlformats.org/officeDocument/2006/relationships/tags" Target="../tags/tag1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E3E21D5-197F-401A-8406-2FE5D1466D90}"/>
              </a:ext>
            </a:extLst>
          </p:cNvPr>
          <p:cNvGraphicFramePr>
            <a:graphicFrameLocks noChangeAspect="1"/>
          </p:cNvGraphicFramePr>
          <p:nvPr>
            <p:custDataLst>
              <p:tags r:id="rId1"/>
            </p:custDataLst>
            <p:extLst>
              <p:ext uri="{D42A27DB-BD31-4B8C-83A1-F6EECF244321}">
                <p14:modId xmlns:p14="http://schemas.microsoft.com/office/powerpoint/2010/main" val="106361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3" name="Object 12" hidden="1">
                        <a:extLst>
                          <a:ext uri="{FF2B5EF4-FFF2-40B4-BE49-F238E27FC236}">
                            <a16:creationId xmlns:a16="http://schemas.microsoft.com/office/drawing/2014/main" id="{0E3E21D5-197F-401A-8406-2FE5D1466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503F762-AD8B-4C98-869D-5424D33A14D0}"/>
              </a:ext>
            </a:extLst>
          </p:cNvPr>
          <p:cNvPicPr>
            <a:picLocks noChangeAspect="1"/>
          </p:cNvPicPr>
          <p:nvPr/>
        </p:nvPicPr>
        <p:blipFill rotWithShape="1">
          <a:blip r:embed="rId5"/>
          <a:srcRect b="14285"/>
          <a:stretch/>
        </p:blipFill>
        <p:spPr>
          <a:xfrm>
            <a:off x="0" y="0"/>
            <a:ext cx="12192000" cy="6966930"/>
          </a:xfrm>
          <a:prstGeom prst="rect">
            <a:avLst/>
          </a:prstGeom>
        </p:spPr>
      </p:pic>
      <p:sp>
        <p:nvSpPr>
          <p:cNvPr id="10" name="Rectangle 9">
            <a:extLst>
              <a:ext uri="{FF2B5EF4-FFF2-40B4-BE49-F238E27FC236}">
                <a16:creationId xmlns:a16="http://schemas.microsoft.com/office/drawing/2014/main" id="{DD02DAD2-398C-4A1C-9745-813748C592A4}"/>
              </a:ext>
            </a:extLst>
          </p:cNvPr>
          <p:cNvSpPr/>
          <p:nvPr/>
        </p:nvSpPr>
        <p:spPr>
          <a:xfrm>
            <a:off x="0" y="0"/>
            <a:ext cx="12192000" cy="6966930"/>
          </a:xfrm>
          <a:prstGeom prst="rect">
            <a:avLst/>
          </a:prstGeom>
          <a:gradFill flip="none" rotWithShape="1">
            <a:gsLst>
              <a:gs pos="0">
                <a:schemeClr val="tx2"/>
              </a:gs>
              <a:gs pos="34000">
                <a:schemeClr val="tx2"/>
              </a:gs>
              <a:gs pos="100000">
                <a:schemeClr val="accent1">
                  <a:alpha val="6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 name="Title 10">
            <a:extLst>
              <a:ext uri="{FF2B5EF4-FFF2-40B4-BE49-F238E27FC236}">
                <a16:creationId xmlns:a16="http://schemas.microsoft.com/office/drawing/2014/main" id="{A4A317FA-1B84-4511-9DEA-4DA96AB1B695}"/>
              </a:ext>
            </a:extLst>
          </p:cNvPr>
          <p:cNvSpPr>
            <a:spLocks noGrp="1"/>
          </p:cNvSpPr>
          <p:nvPr>
            <p:ph type="ctrTitle"/>
          </p:nvPr>
        </p:nvSpPr>
        <p:spPr/>
        <p:txBody>
          <a:bodyPr vert="horz"/>
          <a:lstStyle/>
          <a:p>
            <a:r>
              <a:rPr lang="nl-NL" cap="none" dirty="0"/>
              <a:t>Benchmark tekorten jeugdzorg</a:t>
            </a:r>
          </a:p>
        </p:txBody>
      </p:sp>
      <p:sp>
        <p:nvSpPr>
          <p:cNvPr id="12" name="Text Placeholder 11">
            <a:extLst>
              <a:ext uri="{FF2B5EF4-FFF2-40B4-BE49-F238E27FC236}">
                <a16:creationId xmlns:a16="http://schemas.microsoft.com/office/drawing/2014/main" id="{B18EE89A-7886-4E4D-BA34-85C60107A64E}"/>
              </a:ext>
            </a:extLst>
          </p:cNvPr>
          <p:cNvSpPr>
            <a:spLocks noGrp="1"/>
          </p:cNvSpPr>
          <p:nvPr>
            <p:ph type="body" idx="1"/>
          </p:nvPr>
        </p:nvSpPr>
        <p:spPr/>
        <p:txBody>
          <a:bodyPr/>
          <a:lstStyle/>
          <a:p>
            <a:r>
              <a:rPr lang="nl-NL" dirty="0"/>
              <a:t>Alle Nederlandse gemeenten</a:t>
            </a:r>
          </a:p>
          <a:p>
            <a:endParaRPr lang="nl-NL" dirty="0"/>
          </a:p>
          <a:p>
            <a:r>
              <a:rPr lang="nl-NL" dirty="0"/>
              <a:t>30 maart 2021</a:t>
            </a:r>
          </a:p>
        </p:txBody>
      </p:sp>
      <p:sp>
        <p:nvSpPr>
          <p:cNvPr id="16" name="TextBox 15">
            <a:extLst>
              <a:ext uri="{FF2B5EF4-FFF2-40B4-BE49-F238E27FC236}">
                <a16:creationId xmlns:a16="http://schemas.microsoft.com/office/drawing/2014/main" id="{B1E80DA3-3FB7-46F5-A62A-B498A0C514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7" name="Group 16">
            <a:extLst>
              <a:ext uri="{FF2B5EF4-FFF2-40B4-BE49-F238E27FC236}">
                <a16:creationId xmlns:a16="http://schemas.microsoft.com/office/drawing/2014/main" id="{37EE556E-D3DB-4B96-AFA9-36A072F48DEF}"/>
              </a:ext>
            </a:extLst>
          </p:cNvPr>
          <p:cNvGrpSpPr/>
          <p:nvPr/>
        </p:nvGrpSpPr>
        <p:grpSpPr>
          <a:xfrm>
            <a:off x="66790" y="6692947"/>
            <a:ext cx="544183" cy="124497"/>
            <a:chOff x="2836862" y="3068799"/>
            <a:chExt cx="3837128" cy="877845"/>
          </a:xfrm>
          <a:solidFill>
            <a:schemeClr val="bg1"/>
          </a:solidFill>
        </p:grpSpPr>
        <p:sp>
          <p:nvSpPr>
            <p:cNvPr id="18" name="TextBox 17">
              <a:extLst>
                <a:ext uri="{FF2B5EF4-FFF2-40B4-BE49-F238E27FC236}">
                  <a16:creationId xmlns:a16="http://schemas.microsoft.com/office/drawing/2014/main" id="{AF874179-297A-4D90-AF6E-7E08E6B0911A}"/>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DDF6CF86-04A5-428B-BE43-FFB86A0EA336}"/>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5DCBCCB1-4792-4145-9CD0-BAA2B48B79AA}"/>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CEA293AB-5ABE-4C1D-B642-A77E454E6B9B}"/>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95000D99-1294-48A7-93D7-0018712441C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4918EF48-5739-4D14-8015-A6884CD72C92}"/>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4EA1BC95-D5BE-4ACA-AD9F-E045B7DF8650}"/>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4237D821-572E-4D27-B9C0-01E22C973272}"/>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E9ECB8B4-FCE4-4AB4-892F-288DAEBCF52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BD64C2DA-B4BE-488C-BDE8-607FC55DB2F3}"/>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D858FB5C-E09C-48FF-8DCD-0D10E4684ADD}"/>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08C91927-0003-42A0-8DF3-73333F53BB7A}"/>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4061775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6B1E184-9FD7-4B08-B0AF-AD272B331BCE}"/>
              </a:ext>
            </a:extLst>
          </p:cNvPr>
          <p:cNvGraphicFramePr>
            <a:graphicFrameLocks noChangeAspect="1"/>
          </p:cNvGraphicFramePr>
          <p:nvPr>
            <p:custDataLst>
              <p:tags r:id="rId1"/>
            </p:custDataLst>
            <p:extLst>
              <p:ext uri="{D42A27DB-BD31-4B8C-83A1-F6EECF244321}">
                <p14:modId xmlns:p14="http://schemas.microsoft.com/office/powerpoint/2010/main" val="2987596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9" name="Picture 48">
            <a:hlinkClick r:id="rId5"/>
            <a:extLst>
              <a:ext uri="{FF2B5EF4-FFF2-40B4-BE49-F238E27FC236}">
                <a16:creationId xmlns:a16="http://schemas.microsoft.com/office/drawing/2014/main" id="{C372376B-2753-45A2-968C-B0501F404C40}"/>
              </a:ext>
            </a:extLst>
          </p:cNvPr>
          <p:cNvPicPr>
            <a:picLocks noChangeAspect="1"/>
          </p:cNvPicPr>
          <p:nvPr/>
        </p:nvPicPr>
        <p:blipFill>
          <a:blip r:embed="rId6"/>
          <a:stretch>
            <a:fillRect/>
          </a:stretch>
        </p:blipFill>
        <p:spPr>
          <a:xfrm rot="21127338">
            <a:off x="893544" y="1934743"/>
            <a:ext cx="3131396" cy="1761753"/>
          </a:xfrm>
          <a:prstGeom prst="rect">
            <a:avLst/>
          </a:prstGeom>
          <a:ln w="9525">
            <a:solidFill>
              <a:srgbClr val="22777B"/>
            </a:solidFill>
          </a:ln>
        </p:spPr>
      </p:pic>
      <p:sp>
        <p:nvSpPr>
          <p:cNvPr id="4" name="Footer Placeholder 3">
            <a:extLst>
              <a:ext uri="{FF2B5EF4-FFF2-40B4-BE49-F238E27FC236}">
                <a16:creationId xmlns:a16="http://schemas.microsoft.com/office/drawing/2014/main" id="{27A5831B-9BD3-4DFE-BCF2-19B19ED67189}"/>
              </a:ext>
            </a:extLst>
          </p:cNvPr>
          <p:cNvSpPr>
            <a:spLocks noGrp="1"/>
          </p:cNvSpPr>
          <p:nvPr>
            <p:ph type="ftr" sz="quarter" idx="3"/>
          </p:nvPr>
        </p:nvSpPr>
        <p:spPr/>
        <p:txBody>
          <a:bodyPr/>
          <a:lstStyle/>
          <a:p>
            <a:r>
              <a:rPr lang="nl-NL" noProof="0" dirty="0"/>
              <a:t>Bron: it’s public analyse</a:t>
            </a:r>
          </a:p>
        </p:txBody>
      </p:sp>
      <p:sp>
        <p:nvSpPr>
          <p:cNvPr id="5" name="Slide Number Placeholder 4">
            <a:extLst>
              <a:ext uri="{FF2B5EF4-FFF2-40B4-BE49-F238E27FC236}">
                <a16:creationId xmlns:a16="http://schemas.microsoft.com/office/drawing/2014/main" id="{2F0C2733-D4FC-4EAB-B772-8D9ECF6A4753}"/>
              </a:ext>
            </a:extLst>
          </p:cNvPr>
          <p:cNvSpPr>
            <a:spLocks noGrp="1"/>
          </p:cNvSpPr>
          <p:nvPr>
            <p:ph type="sldNum" sz="quarter" idx="12"/>
          </p:nvPr>
        </p:nvSpPr>
        <p:spPr/>
        <p:txBody>
          <a:bodyPr/>
          <a:lstStyle/>
          <a:p>
            <a:fld id="{992CD0B2-8AB2-4C6C-8876-E15753662C9B}" type="slidenum">
              <a:rPr lang="nl-NL" noProof="0" smtClean="0"/>
              <a:pPr/>
              <a:t>10</a:t>
            </a:fld>
            <a:endParaRPr lang="nl-NL" noProof="0"/>
          </a:p>
        </p:txBody>
      </p:sp>
      <p:sp>
        <p:nvSpPr>
          <p:cNvPr id="6" name="Text Placeholder 5">
            <a:extLst>
              <a:ext uri="{FF2B5EF4-FFF2-40B4-BE49-F238E27FC236}">
                <a16:creationId xmlns:a16="http://schemas.microsoft.com/office/drawing/2014/main" id="{CA6BE26A-427D-4EDE-AC3C-03102249D0D4}"/>
              </a:ext>
            </a:extLst>
          </p:cNvPr>
          <p:cNvSpPr>
            <a:spLocks noGrp="1"/>
          </p:cNvSpPr>
          <p:nvPr>
            <p:ph type="body" sz="quarter" idx="14"/>
          </p:nvPr>
        </p:nvSpPr>
        <p:spPr/>
        <p:txBody>
          <a:bodyPr/>
          <a:lstStyle/>
          <a:p>
            <a:r>
              <a:rPr lang="nl-NL" dirty="0"/>
              <a:t>Screenshot van Excel-bestand bijbehorend bij deze publicatie</a:t>
            </a:r>
          </a:p>
        </p:txBody>
      </p:sp>
      <p:sp>
        <p:nvSpPr>
          <p:cNvPr id="7" name="Title 6">
            <a:extLst>
              <a:ext uri="{FF2B5EF4-FFF2-40B4-BE49-F238E27FC236}">
                <a16:creationId xmlns:a16="http://schemas.microsoft.com/office/drawing/2014/main" id="{3314BC24-3B64-4272-A2F9-F58DC8169CC2}"/>
              </a:ext>
            </a:extLst>
          </p:cNvPr>
          <p:cNvSpPr>
            <a:spLocks noGrp="1"/>
          </p:cNvSpPr>
          <p:nvPr>
            <p:ph type="title"/>
          </p:nvPr>
        </p:nvSpPr>
        <p:spPr/>
        <p:txBody>
          <a:bodyPr vert="horz"/>
          <a:lstStyle/>
          <a:p>
            <a:r>
              <a:rPr lang="nl-NL" dirty="0"/>
              <a:t>Het voorbeeld van vorige bladzijde voor andere gemeenten bekijken? Alle gegevens zijn in Excel-bestand beschikbaar</a:t>
            </a:r>
          </a:p>
        </p:txBody>
      </p:sp>
      <p:sp>
        <p:nvSpPr>
          <p:cNvPr id="33" name="Content Placeholder 38">
            <a:extLst>
              <a:ext uri="{FF2B5EF4-FFF2-40B4-BE49-F238E27FC236}">
                <a16:creationId xmlns:a16="http://schemas.microsoft.com/office/drawing/2014/main" id="{FE0D4E86-940B-48B5-A900-89A345DD4A92}"/>
              </a:ext>
            </a:extLst>
          </p:cNvPr>
          <p:cNvSpPr>
            <a:spLocks noGrp="1"/>
          </p:cNvSpPr>
          <p:nvPr>
            <p:ph sz="quarter" idx="31"/>
          </p:nvPr>
        </p:nvSpPr>
        <p:spPr>
          <a:xfrm>
            <a:off x="7746318" y="2654171"/>
            <a:ext cx="3658095" cy="1967755"/>
          </a:xfrm>
        </p:spPr>
        <p:txBody>
          <a:bodyPr>
            <a:noAutofit/>
          </a:bodyPr>
          <a:lstStyle/>
          <a:p>
            <a:pPr>
              <a:lnSpc>
                <a:spcPct val="100000"/>
              </a:lnSpc>
              <a:spcBef>
                <a:spcPts val="1200"/>
              </a:spcBef>
            </a:pPr>
            <a:r>
              <a:rPr lang="nl-NL" sz="2000" dirty="0"/>
              <a:t>Zelf berekeningen doen?</a:t>
            </a:r>
          </a:p>
          <a:p>
            <a:pPr>
              <a:lnSpc>
                <a:spcPct val="100000"/>
              </a:lnSpc>
              <a:spcBef>
                <a:spcPts val="1200"/>
              </a:spcBef>
            </a:pPr>
            <a:r>
              <a:rPr lang="nl-NL" sz="2000" dirty="0"/>
              <a:t>Gedetailleerd vergelijken met specifieke gemeenten?</a:t>
            </a:r>
          </a:p>
          <a:p>
            <a:pPr>
              <a:lnSpc>
                <a:spcPct val="100000"/>
              </a:lnSpc>
              <a:spcBef>
                <a:spcPts val="1200"/>
              </a:spcBef>
            </a:pPr>
            <a:r>
              <a:rPr lang="nl-NL" sz="2000" dirty="0"/>
              <a:t>Alle gegevens uit deze publicatie zijn </a:t>
            </a:r>
            <a:r>
              <a:rPr lang="nl-NL" sz="2000" dirty="0">
                <a:solidFill>
                  <a:schemeClr val="accent1"/>
                </a:solidFill>
                <a:hlinkClick r:id="rId5">
                  <a:extLst>
                    <a:ext uri="{A12FA001-AC4F-418D-AE19-62706E023703}">
                      <ahyp:hlinkClr xmlns:ahyp="http://schemas.microsoft.com/office/drawing/2018/hyperlinkcolor" val="tx"/>
                    </a:ext>
                  </a:extLst>
                </a:hlinkClick>
              </a:rPr>
              <a:t>online</a:t>
            </a:r>
            <a:r>
              <a:rPr lang="nl-NL" sz="2000" dirty="0"/>
              <a:t> te downloaden</a:t>
            </a:r>
          </a:p>
        </p:txBody>
      </p:sp>
      <p:grpSp>
        <p:nvGrpSpPr>
          <p:cNvPr id="42" name="Group 41">
            <a:extLst>
              <a:ext uri="{FF2B5EF4-FFF2-40B4-BE49-F238E27FC236}">
                <a16:creationId xmlns:a16="http://schemas.microsoft.com/office/drawing/2014/main" id="{415FDC96-4390-44AD-93F7-C7DC3A24CDB9}"/>
              </a:ext>
            </a:extLst>
          </p:cNvPr>
          <p:cNvGrpSpPr/>
          <p:nvPr/>
        </p:nvGrpSpPr>
        <p:grpSpPr>
          <a:xfrm rot="224877">
            <a:off x="2015522" y="2816784"/>
            <a:ext cx="5079507" cy="3183674"/>
            <a:chOff x="1587993" y="6518917"/>
            <a:chExt cx="6549913" cy="4105278"/>
          </a:xfrm>
        </p:grpSpPr>
        <p:pic>
          <p:nvPicPr>
            <p:cNvPr id="43" name="Picture 42">
              <a:extLst>
                <a:ext uri="{FF2B5EF4-FFF2-40B4-BE49-F238E27FC236}">
                  <a16:creationId xmlns:a16="http://schemas.microsoft.com/office/drawing/2014/main" id="{92847A93-C70B-440F-AE50-002AC08B3E92}"/>
                </a:ext>
              </a:extLst>
            </p:cNvPr>
            <p:cNvPicPr>
              <a:picLocks noChangeAspect="1"/>
            </p:cNvPicPr>
            <p:nvPr/>
          </p:nvPicPr>
          <p:blipFill>
            <a:blip r:embed="rId7"/>
            <a:stretch>
              <a:fillRect/>
            </a:stretch>
          </p:blipFill>
          <p:spPr>
            <a:xfrm>
              <a:off x="1587993" y="6518917"/>
              <a:ext cx="6549913" cy="4105278"/>
            </a:xfrm>
            <a:prstGeom prst="rect">
              <a:avLst/>
            </a:prstGeom>
            <a:ln>
              <a:solidFill>
                <a:srgbClr val="6A6A6A"/>
              </a:solidFill>
            </a:ln>
          </p:spPr>
        </p:pic>
        <p:sp>
          <p:nvSpPr>
            <p:cNvPr id="44" name="TextBox 43">
              <a:hlinkClick r:id="rId5"/>
              <a:extLst>
                <a:ext uri="{FF2B5EF4-FFF2-40B4-BE49-F238E27FC236}">
                  <a16:creationId xmlns:a16="http://schemas.microsoft.com/office/drawing/2014/main" id="{E0262E06-89EA-4E42-936C-A520D6553397}"/>
                </a:ext>
              </a:extLst>
            </p:cNvPr>
            <p:cNvSpPr txBox="1"/>
            <p:nvPr/>
          </p:nvSpPr>
          <p:spPr>
            <a:xfrm>
              <a:off x="1587993" y="6518917"/>
              <a:ext cx="6549912" cy="4105278"/>
            </a:xfrm>
            <a:prstGeom prst="rect">
              <a:avLst/>
            </a:prstGeom>
            <a:solidFill>
              <a:srgbClr val="FFFFFF">
                <a:alpha val="32941"/>
              </a:srgbClr>
            </a:solidFill>
            <a:ln>
              <a:noFill/>
            </a:ln>
          </p:spPr>
          <p:txBody>
            <a:bodyPr vert="horz" wrap="none" lIns="91440" tIns="45720" rIns="91440" bIns="45720" rtlCol="0">
              <a:noAutofit/>
            </a:bodyPr>
            <a:lstStyle/>
            <a:p>
              <a:pPr marL="0" indent="0" algn="ctr">
                <a:buNone/>
              </a:pPr>
              <a:endParaRPr lang="nl-NL" sz="1800" b="1" noProof="0" dirty="0"/>
            </a:p>
          </p:txBody>
        </p:sp>
      </p:grpSp>
      <p:pic>
        <p:nvPicPr>
          <p:cNvPr id="45" name="Graphic 44" descr="Right pointing backhand index">
            <a:hlinkClick r:id="rId5"/>
            <a:extLst>
              <a:ext uri="{FF2B5EF4-FFF2-40B4-BE49-F238E27FC236}">
                <a16:creationId xmlns:a16="http://schemas.microsoft.com/office/drawing/2014/main" id="{784AC7DB-E633-4E4D-9214-443D207CE7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3850086" y="3532237"/>
            <a:ext cx="1410378" cy="1410378"/>
          </a:xfrm>
          <a:prstGeom prst="rect">
            <a:avLst/>
          </a:prstGeom>
        </p:spPr>
      </p:pic>
      <p:sp>
        <p:nvSpPr>
          <p:cNvPr id="46" name="TextBox 45">
            <a:hlinkClick r:id="rId5"/>
            <a:extLst>
              <a:ext uri="{FF2B5EF4-FFF2-40B4-BE49-F238E27FC236}">
                <a16:creationId xmlns:a16="http://schemas.microsoft.com/office/drawing/2014/main" id="{B102B59E-A6D7-44FA-A2F6-65AEC9F04AC5}"/>
              </a:ext>
            </a:extLst>
          </p:cNvPr>
          <p:cNvSpPr txBox="1"/>
          <p:nvPr/>
        </p:nvSpPr>
        <p:spPr>
          <a:xfrm>
            <a:off x="2170817" y="5027369"/>
            <a:ext cx="4768916" cy="388800"/>
          </a:xfrm>
          <a:prstGeom prst="rect">
            <a:avLst/>
          </a:prstGeom>
          <a:solidFill>
            <a:srgbClr val="FFFFFF">
              <a:alpha val="78039"/>
            </a:srgbClr>
          </a:solidFill>
          <a:ln>
            <a:noFill/>
          </a:ln>
        </p:spPr>
        <p:txBody>
          <a:bodyPr vert="horz" wrap="none" lIns="91440" tIns="45720" rIns="91440" bIns="45720" rtlCol="0">
            <a:noAutofit/>
          </a:bodyPr>
          <a:lstStyle/>
          <a:p>
            <a:pPr marL="0" indent="0" algn="ctr">
              <a:buNone/>
            </a:pPr>
            <a:r>
              <a:rPr lang="nl-NL" sz="1800" b="1" noProof="0" dirty="0"/>
              <a:t>Klik hier om Excel bestand te downloaden</a:t>
            </a:r>
          </a:p>
        </p:txBody>
      </p:sp>
      <p:sp>
        <p:nvSpPr>
          <p:cNvPr id="77" name="TextBox 76">
            <a:extLst>
              <a:ext uri="{FF2B5EF4-FFF2-40B4-BE49-F238E27FC236}">
                <a16:creationId xmlns:a16="http://schemas.microsoft.com/office/drawing/2014/main" id="{CF3CD83A-8135-49CC-9138-85EB26FDB76E}"/>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Tekorten per gemeente: detail één gemeente</a:t>
            </a:r>
            <a:endParaRPr lang="nl-NL" b="1" noProof="0" dirty="0">
              <a:solidFill>
                <a:schemeClr val="tx2"/>
              </a:solidFill>
            </a:endParaRPr>
          </a:p>
        </p:txBody>
      </p:sp>
    </p:spTree>
    <p:extLst>
      <p:ext uri="{BB962C8B-B14F-4D97-AF65-F5344CB8AC3E}">
        <p14:creationId xmlns:p14="http://schemas.microsoft.com/office/powerpoint/2010/main" val="3484124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21E872E-347F-434D-8122-E35AA75B15CD}"/>
              </a:ext>
            </a:extLst>
          </p:cNvPr>
          <p:cNvGraphicFramePr>
            <a:graphicFrameLocks noChangeAspect="1"/>
          </p:cNvGraphicFramePr>
          <p:nvPr>
            <p:custDataLst>
              <p:tags r:id="rId1"/>
            </p:custDataLst>
            <p:extLst>
              <p:ext uri="{D42A27DB-BD31-4B8C-83A1-F6EECF244321}">
                <p14:modId xmlns:p14="http://schemas.microsoft.com/office/powerpoint/2010/main" val="31078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5529F9D3-6DFD-414E-B8B7-61FDB820C64C}"/>
              </a:ext>
            </a:extLst>
          </p:cNvPr>
          <p:cNvSpPr>
            <a:spLocks noGrp="1"/>
          </p:cNvSpPr>
          <p:nvPr>
            <p:ph type="sldNum" sz="quarter" idx="12"/>
          </p:nvPr>
        </p:nvSpPr>
        <p:spPr/>
        <p:txBody>
          <a:bodyPr/>
          <a:lstStyle/>
          <a:p>
            <a:fld id="{992CD0B2-8AB2-4C6C-8876-E15753662C9B}" type="slidenum">
              <a:rPr lang="nl-NL" noProof="0" smtClean="0"/>
              <a:pPr/>
              <a:t>11</a:t>
            </a:fld>
            <a:endParaRPr lang="nl-NL" noProof="0" dirty="0"/>
          </a:p>
        </p:txBody>
      </p:sp>
      <p:sp>
        <p:nvSpPr>
          <p:cNvPr id="9" name="Text Placeholder 8">
            <a:extLst>
              <a:ext uri="{FF2B5EF4-FFF2-40B4-BE49-F238E27FC236}">
                <a16:creationId xmlns:a16="http://schemas.microsoft.com/office/drawing/2014/main" id="{AC0936F5-7050-4C42-BB68-9B0CECA4DE1A}"/>
              </a:ext>
            </a:extLst>
          </p:cNvPr>
          <p:cNvSpPr>
            <a:spLocks noGrp="1"/>
          </p:cNvSpPr>
          <p:nvPr>
            <p:ph type="body" sz="quarter" idx="14"/>
          </p:nvPr>
        </p:nvSpPr>
        <p:spPr>
          <a:xfrm>
            <a:off x="662780" y="1203211"/>
            <a:ext cx="10866440" cy="388800"/>
          </a:xfrm>
        </p:spPr>
        <p:txBody>
          <a:bodyPr/>
          <a:lstStyle/>
          <a:p>
            <a:r>
              <a:rPr lang="nl-NL" dirty="0"/>
              <a:t>Factoren die tekort jeugdzorg in gemeente verklaren</a:t>
            </a:r>
          </a:p>
        </p:txBody>
      </p:sp>
      <p:sp>
        <p:nvSpPr>
          <p:cNvPr id="10" name="Title 9">
            <a:extLst>
              <a:ext uri="{FF2B5EF4-FFF2-40B4-BE49-F238E27FC236}">
                <a16:creationId xmlns:a16="http://schemas.microsoft.com/office/drawing/2014/main" id="{4647C11B-04B7-4F61-8F6E-D1589359D4BE}"/>
              </a:ext>
            </a:extLst>
          </p:cNvPr>
          <p:cNvSpPr>
            <a:spLocks noGrp="1"/>
          </p:cNvSpPr>
          <p:nvPr>
            <p:ph type="title"/>
          </p:nvPr>
        </p:nvSpPr>
        <p:spPr/>
        <p:txBody>
          <a:bodyPr vert="horz"/>
          <a:lstStyle/>
          <a:p>
            <a:r>
              <a:rPr lang="nl-NL" dirty="0"/>
              <a:t>Verschillen in de tekorten kunnen mogelijk door drie factoren veroorzaakt worden</a:t>
            </a:r>
          </a:p>
        </p:txBody>
      </p:sp>
      <p:sp>
        <p:nvSpPr>
          <p:cNvPr id="14" name="Rectangle: Rounded Corners 13">
            <a:extLst>
              <a:ext uri="{FF2B5EF4-FFF2-40B4-BE49-F238E27FC236}">
                <a16:creationId xmlns:a16="http://schemas.microsoft.com/office/drawing/2014/main" id="{07642F62-429C-4C24-810E-B032AA53E552}"/>
              </a:ext>
            </a:extLst>
          </p:cNvPr>
          <p:cNvSpPr/>
          <p:nvPr/>
        </p:nvSpPr>
        <p:spPr>
          <a:xfrm>
            <a:off x="1110021" y="1938621"/>
            <a:ext cx="4100154" cy="1080000"/>
          </a:xfrm>
          <a:prstGeom prst="roundRect">
            <a:avLst>
              <a:gd name="adj" fmla="val 13182"/>
            </a:avLst>
          </a:prstGeom>
          <a:solidFill>
            <a:schemeClr val="accent5"/>
          </a:solidFill>
          <a:ln w="9525">
            <a:solidFill>
              <a:schemeClr val="tx2"/>
            </a:solidFill>
          </a:ln>
        </p:spPr>
        <p:txBody>
          <a:bodyPr vert="horz" lIns="72000" tIns="72000" rIns="72000" bIns="72000" rtlCol="0" anchor="ctr">
            <a:noAutofit/>
          </a:bodyPr>
          <a:lstStyle/>
          <a:p>
            <a:pPr marL="0" indent="0">
              <a:buClr>
                <a:schemeClr val="tx2"/>
              </a:buClr>
              <a:buNone/>
            </a:pPr>
            <a:r>
              <a:rPr kumimoji="0" lang="nl-NL" sz="1600" b="1" i="0" u="none" strike="noStrike" kern="1200" cap="none" spc="0" normalizeH="0" baseline="0" noProof="0" dirty="0">
                <a:ln>
                  <a:noFill/>
                </a:ln>
                <a:effectLst/>
                <a:uLnTx/>
                <a:uFillTx/>
              </a:rPr>
              <a:t>         Objectieve eigenschappen</a:t>
            </a:r>
          </a:p>
        </p:txBody>
      </p:sp>
      <p:sp>
        <p:nvSpPr>
          <p:cNvPr id="13" name="Plus Sign 12">
            <a:extLst>
              <a:ext uri="{FF2B5EF4-FFF2-40B4-BE49-F238E27FC236}">
                <a16:creationId xmlns:a16="http://schemas.microsoft.com/office/drawing/2014/main" id="{BB206B04-CB45-45B8-8A59-BD7C18091838}"/>
              </a:ext>
            </a:extLst>
          </p:cNvPr>
          <p:cNvSpPr/>
          <p:nvPr/>
        </p:nvSpPr>
        <p:spPr>
          <a:xfrm>
            <a:off x="3017223" y="3081055"/>
            <a:ext cx="285750" cy="285750"/>
          </a:xfrm>
          <a:prstGeom prst="mathPl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Plus Sign 16">
            <a:extLst>
              <a:ext uri="{FF2B5EF4-FFF2-40B4-BE49-F238E27FC236}">
                <a16:creationId xmlns:a16="http://schemas.microsoft.com/office/drawing/2014/main" id="{091FA5E8-D443-4111-BA7F-705A731A38E1}"/>
              </a:ext>
            </a:extLst>
          </p:cNvPr>
          <p:cNvSpPr/>
          <p:nvPr/>
        </p:nvSpPr>
        <p:spPr>
          <a:xfrm>
            <a:off x="3017223" y="4571671"/>
            <a:ext cx="285750" cy="285750"/>
          </a:xfrm>
          <a:prstGeom prst="mathPl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F2D0A83-5C6D-49CB-8CC9-A0ED0C35834A}"/>
              </a:ext>
            </a:extLst>
          </p:cNvPr>
          <p:cNvSpPr/>
          <p:nvPr/>
        </p:nvSpPr>
        <p:spPr>
          <a:xfrm>
            <a:off x="1110021" y="4922786"/>
            <a:ext cx="4100154" cy="1080000"/>
          </a:xfrm>
          <a:prstGeom prst="roundRect">
            <a:avLst>
              <a:gd name="adj" fmla="val 9269"/>
            </a:avLst>
          </a:prstGeom>
          <a:solidFill>
            <a:schemeClr val="accent5"/>
          </a:solidFill>
          <a:ln w="9525">
            <a:solidFill>
              <a:srgbClr val="22777B"/>
            </a:solidFill>
          </a:ln>
        </p:spPr>
        <p:txBody>
          <a:bodyPr vert="horz" lIns="72000" tIns="72000" rIns="72000" bIns="72000" rtlCol="0" anchor="ctr">
            <a:noAutofit/>
          </a:bodyPr>
          <a:lstStyle/>
          <a:p>
            <a:pPr marL="0" indent="0">
              <a:spcBef>
                <a:spcPts val="2400"/>
              </a:spcBef>
              <a:buClr>
                <a:schemeClr val="tx2"/>
              </a:buClr>
              <a:buNone/>
            </a:pPr>
            <a:r>
              <a:rPr kumimoji="0" lang="nl-NL" sz="1600" b="1" i="0" u="none" strike="noStrike" kern="1200" cap="none" spc="0" normalizeH="0" baseline="0" noProof="0" dirty="0">
                <a:ln>
                  <a:noFill/>
                </a:ln>
                <a:effectLst/>
                <a:uLnTx/>
                <a:uFillTx/>
              </a:rPr>
              <a:t>          Kans-element </a:t>
            </a:r>
          </a:p>
        </p:txBody>
      </p:sp>
      <p:sp>
        <p:nvSpPr>
          <p:cNvPr id="20" name="Rectangle: Rounded Corners 19">
            <a:extLst>
              <a:ext uri="{FF2B5EF4-FFF2-40B4-BE49-F238E27FC236}">
                <a16:creationId xmlns:a16="http://schemas.microsoft.com/office/drawing/2014/main" id="{CE65B8D0-1DD2-4C4A-AB90-6224B6C29335}"/>
              </a:ext>
            </a:extLst>
          </p:cNvPr>
          <p:cNvSpPr/>
          <p:nvPr/>
        </p:nvSpPr>
        <p:spPr>
          <a:xfrm>
            <a:off x="1110021" y="3432169"/>
            <a:ext cx="4100154" cy="1080000"/>
          </a:xfrm>
          <a:prstGeom prst="roundRect">
            <a:avLst>
              <a:gd name="adj" fmla="val 11105"/>
            </a:avLst>
          </a:prstGeom>
          <a:solidFill>
            <a:schemeClr val="accent5"/>
          </a:solidFill>
          <a:ln w="9525">
            <a:solidFill>
              <a:schemeClr val="tx2"/>
            </a:solidFill>
          </a:ln>
        </p:spPr>
        <p:txBody>
          <a:bodyPr vert="horz" lIns="72000" tIns="72000" rIns="72000" bIns="72000" rtlCol="0" anchor="ctr">
            <a:noAutofit/>
          </a:bodyPr>
          <a:lstStyle/>
          <a:p>
            <a:pPr marL="0" indent="0">
              <a:spcBef>
                <a:spcPts val="2400"/>
              </a:spcBef>
              <a:buClr>
                <a:schemeClr val="tx2"/>
              </a:buClr>
              <a:buNone/>
            </a:pPr>
            <a:r>
              <a:rPr kumimoji="0" lang="nl-NL" sz="1600" b="1" i="0" u="none" strike="noStrike" kern="1200" cap="none" spc="0" normalizeH="0" baseline="0" noProof="0" dirty="0">
                <a:ln>
                  <a:noFill/>
                </a:ln>
                <a:effectLst/>
                <a:uLnTx/>
                <a:uFillTx/>
              </a:rPr>
              <a:t>          Beleidskeuzes / invloedsfeer gemeente</a:t>
            </a:r>
          </a:p>
        </p:txBody>
      </p:sp>
      <p:sp>
        <p:nvSpPr>
          <p:cNvPr id="18" name="TextBox 17">
            <a:extLst>
              <a:ext uri="{FF2B5EF4-FFF2-40B4-BE49-F238E27FC236}">
                <a16:creationId xmlns:a16="http://schemas.microsoft.com/office/drawing/2014/main" id="{6EC1339F-0E21-4240-9019-2367AE650AFB}"/>
              </a:ext>
            </a:extLst>
          </p:cNvPr>
          <p:cNvSpPr txBox="1"/>
          <p:nvPr/>
        </p:nvSpPr>
        <p:spPr>
          <a:xfrm>
            <a:off x="5627158" y="1877640"/>
            <a:ext cx="5616312" cy="1140981"/>
          </a:xfrm>
          <a:prstGeom prst="rect">
            <a:avLst/>
          </a:prstGeom>
        </p:spPr>
        <p:txBody>
          <a:bodyPr vert="horz" wrap="square" lIns="91440" tIns="45720" rIns="91440" bIns="45720" rtlCol="0">
            <a:noAutofit/>
          </a:bodyPr>
          <a:lstStyle/>
          <a:p>
            <a:pPr marL="180000" lvl="1">
              <a:spcBef>
                <a:spcPts val="600"/>
              </a:spcBef>
              <a:buClr>
                <a:schemeClr val="tx2"/>
              </a:buClr>
              <a:buFont typeface="Wingdings" panose="05000000000000000000" pitchFamily="2" charset="2"/>
              <a:buChar char="§"/>
            </a:pPr>
            <a:r>
              <a:rPr lang="nl-NL" sz="1200" noProof="0" dirty="0"/>
              <a:t>Een </a:t>
            </a:r>
            <a:r>
              <a:rPr lang="nl-NL" sz="1200" dirty="0"/>
              <a:t>gemeente kan door objectieve factoren meer behoefte aan jeugdzorg hebben dan andere gemeentes (bijv. meer eenouderhuishoudens, meer criminaliteit, etc.). Deze verklaren daarmee een gedeelte van hogere uitgaven.</a:t>
            </a:r>
          </a:p>
          <a:p>
            <a:pPr marL="180000" lvl="1">
              <a:spcBef>
                <a:spcPts val="600"/>
              </a:spcBef>
              <a:buClr>
                <a:schemeClr val="tx2"/>
              </a:buClr>
              <a:buFont typeface="Wingdings" panose="05000000000000000000" pitchFamily="2" charset="2"/>
              <a:buChar char="§"/>
            </a:pPr>
            <a:r>
              <a:rPr lang="nl-NL" sz="1200" dirty="0"/>
              <a:t>In het gemeentefonds wordt budget verdeeld bepaald o.b.v. objectieve maatstaven die hier rekening mee houden, al kan het ook zo zijn dat gedeelte van tekort wordt verklaard omdat maatstaven geen perfecte weerspiegeling zijn van uitgaven</a:t>
            </a:r>
          </a:p>
        </p:txBody>
      </p:sp>
      <p:sp>
        <p:nvSpPr>
          <p:cNvPr id="21" name="TextBox 20">
            <a:extLst>
              <a:ext uri="{FF2B5EF4-FFF2-40B4-BE49-F238E27FC236}">
                <a16:creationId xmlns:a16="http://schemas.microsoft.com/office/drawing/2014/main" id="{1B1C400C-8BF4-4BD5-8F86-8B0F05627F13}"/>
              </a:ext>
            </a:extLst>
          </p:cNvPr>
          <p:cNvSpPr txBox="1"/>
          <p:nvPr/>
        </p:nvSpPr>
        <p:spPr>
          <a:xfrm>
            <a:off x="5627158" y="3325722"/>
            <a:ext cx="5616312" cy="1447841"/>
          </a:xfrm>
          <a:prstGeom prst="rect">
            <a:avLst/>
          </a:prstGeom>
        </p:spPr>
        <p:txBody>
          <a:bodyPr vert="horz" wrap="square" lIns="91440" tIns="45720" rIns="91440" bIns="45720" rtlCol="0">
            <a:noAutofit/>
          </a:bodyPr>
          <a:lstStyle/>
          <a:p>
            <a:pPr marL="180000" lvl="1">
              <a:spcBef>
                <a:spcPts val="600"/>
              </a:spcBef>
              <a:buClr>
                <a:schemeClr val="tx2"/>
              </a:buClr>
              <a:buFont typeface="Wingdings" panose="05000000000000000000" pitchFamily="2" charset="2"/>
              <a:buChar char="§"/>
            </a:pPr>
            <a:r>
              <a:rPr lang="nl-NL" sz="1200" noProof="0" dirty="0"/>
              <a:t>Verschillende beleidskeuzes en inrichting in zorglandschap zullen ook een effect hebben op uitgaven jeugdzorg:</a:t>
            </a:r>
          </a:p>
          <a:p>
            <a:pPr marL="360000" lvl="2">
              <a:spcBef>
                <a:spcPts val="300"/>
              </a:spcBef>
              <a:buClr>
                <a:schemeClr val="tx2"/>
              </a:buClr>
              <a:buFont typeface="Corbel" panose="020B0503020204020204" pitchFamily="34" charset="0"/>
              <a:buChar char="-"/>
            </a:pPr>
            <a:r>
              <a:rPr lang="nl-NL" sz="1200" dirty="0"/>
              <a:t>Heldere afbakening aanbod jeugdwet</a:t>
            </a:r>
          </a:p>
          <a:p>
            <a:pPr marL="360000" lvl="2">
              <a:spcBef>
                <a:spcPts val="300"/>
              </a:spcBef>
              <a:buClr>
                <a:schemeClr val="tx2"/>
              </a:buClr>
              <a:buFont typeface="Corbel" panose="020B0503020204020204" pitchFamily="34" charset="0"/>
              <a:buChar char="-"/>
            </a:pPr>
            <a:r>
              <a:rPr lang="nl-NL" sz="1200" dirty="0"/>
              <a:t>Goed ingericht zorglandschap</a:t>
            </a:r>
          </a:p>
          <a:p>
            <a:pPr marL="360000" lvl="2">
              <a:spcBef>
                <a:spcPts val="300"/>
              </a:spcBef>
              <a:buClr>
                <a:schemeClr val="tx2"/>
              </a:buClr>
              <a:buFont typeface="Corbel" panose="020B0503020204020204" pitchFamily="34" charset="0"/>
              <a:buChar char="-"/>
            </a:pPr>
            <a:r>
              <a:rPr lang="nl-NL" sz="1200" dirty="0"/>
              <a:t>Goede inkoop (bijv. gedegen voorbereiding, duidelijke visie &amp; sturing, etc.)</a:t>
            </a:r>
          </a:p>
          <a:p>
            <a:pPr marL="180000" lvl="1">
              <a:spcBef>
                <a:spcPts val="600"/>
              </a:spcBef>
              <a:buClr>
                <a:schemeClr val="tx2"/>
              </a:buClr>
              <a:buFont typeface="Wingdings" panose="05000000000000000000" pitchFamily="2" charset="2"/>
              <a:buChar char="§"/>
            </a:pPr>
            <a:r>
              <a:rPr lang="nl-NL" sz="1200" dirty="0"/>
              <a:t>Het effect van deze keuzes is in dit onderzoek niet meegenomen. Zie pagina X om op de hoogte te blijven van ons vervolgonderzoek hier naar. </a:t>
            </a:r>
          </a:p>
        </p:txBody>
      </p:sp>
      <p:sp>
        <p:nvSpPr>
          <p:cNvPr id="31" name="TextBox 30">
            <a:extLst>
              <a:ext uri="{FF2B5EF4-FFF2-40B4-BE49-F238E27FC236}">
                <a16:creationId xmlns:a16="http://schemas.microsoft.com/office/drawing/2014/main" id="{21CBDF81-42A1-46C1-9269-B8421F16DCAF}"/>
              </a:ext>
            </a:extLst>
          </p:cNvPr>
          <p:cNvSpPr txBox="1"/>
          <p:nvPr/>
        </p:nvSpPr>
        <p:spPr>
          <a:xfrm>
            <a:off x="5627158" y="5119465"/>
            <a:ext cx="5616312" cy="925705"/>
          </a:xfrm>
          <a:prstGeom prst="rect">
            <a:avLst/>
          </a:prstGeom>
        </p:spPr>
        <p:txBody>
          <a:bodyPr vert="horz" wrap="square" lIns="91440" tIns="45720" rIns="91440" bIns="45720" rtlCol="0">
            <a:noAutofit/>
          </a:bodyPr>
          <a:lstStyle/>
          <a:p>
            <a:pPr marL="180000" lvl="1">
              <a:spcBef>
                <a:spcPts val="600"/>
              </a:spcBef>
              <a:buClr>
                <a:schemeClr val="tx2"/>
              </a:buClr>
              <a:buFont typeface="Wingdings" panose="05000000000000000000" pitchFamily="2" charset="2"/>
              <a:buChar char="§"/>
            </a:pPr>
            <a:r>
              <a:rPr lang="nl-NL" sz="1200" noProof="0" dirty="0"/>
              <a:t>Zelfs als er op basis van objectieve eigenschappen in een gemeente een heel lage verwachte behoefte aan jeugdzorg </a:t>
            </a:r>
            <a:r>
              <a:rPr lang="nl-NL" sz="1200" dirty="0"/>
              <a:t>is (bijv. weinig eenoudergezinnen), dan nog kan die gemeente ‘pech’ hebben dat er zeer zware casussen voorkomen</a:t>
            </a:r>
          </a:p>
          <a:p>
            <a:pPr marL="180000" lvl="1">
              <a:spcBef>
                <a:spcPts val="600"/>
              </a:spcBef>
              <a:buClr>
                <a:schemeClr val="tx2"/>
              </a:buClr>
              <a:buFont typeface="Wingdings" panose="05000000000000000000" pitchFamily="2" charset="2"/>
              <a:buChar char="§"/>
            </a:pPr>
            <a:r>
              <a:rPr lang="nl-NL" sz="1200" dirty="0"/>
              <a:t>Dit kans-effect speelt sterker bij kleinere gemeenten (zowel in negatieve als in positieve zin). Bij grotere gemeenten wordt het effect uitgemiddeld</a:t>
            </a:r>
          </a:p>
        </p:txBody>
      </p:sp>
      <p:sp>
        <p:nvSpPr>
          <p:cNvPr id="33" name="Rectangle 32">
            <a:extLst>
              <a:ext uri="{FF2B5EF4-FFF2-40B4-BE49-F238E27FC236}">
                <a16:creationId xmlns:a16="http://schemas.microsoft.com/office/drawing/2014/main" id="{8CB54483-8DBC-433C-8268-25D8D27EC63C}"/>
              </a:ext>
            </a:extLst>
          </p:cNvPr>
          <p:cNvSpPr/>
          <p:nvPr/>
        </p:nvSpPr>
        <p:spPr>
          <a:xfrm>
            <a:off x="10410826" y="1203211"/>
            <a:ext cx="1118394" cy="358992"/>
          </a:xfrm>
          <a:prstGeom prst="rect">
            <a:avLst/>
          </a:prstGeom>
          <a:solidFill>
            <a:schemeClr val="accent5"/>
          </a:solidFill>
          <a:ln>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4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Conceptueel</a:t>
            </a:r>
          </a:p>
        </p:txBody>
      </p:sp>
      <p:pic>
        <p:nvPicPr>
          <p:cNvPr id="3" name="Graphic 2" descr="Basic Shapes with solid fill">
            <a:extLst>
              <a:ext uri="{FF2B5EF4-FFF2-40B4-BE49-F238E27FC236}">
                <a16:creationId xmlns:a16="http://schemas.microsoft.com/office/drawing/2014/main" id="{C2FDD1BD-0988-46A8-8EAD-795436145D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6545" y="2349828"/>
            <a:ext cx="323805" cy="323805"/>
          </a:xfrm>
          <a:prstGeom prst="rect">
            <a:avLst/>
          </a:prstGeom>
        </p:spPr>
      </p:pic>
      <p:pic>
        <p:nvPicPr>
          <p:cNvPr id="5" name="Graphic 4" descr="Dice with solid fill">
            <a:extLst>
              <a:ext uri="{FF2B5EF4-FFF2-40B4-BE49-F238E27FC236}">
                <a16:creationId xmlns:a16="http://schemas.microsoft.com/office/drawing/2014/main" id="{2A3F96A8-2E75-42AA-BA97-30AFEDB9A6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06545" y="5289807"/>
            <a:ext cx="323805" cy="323805"/>
          </a:xfrm>
          <a:prstGeom prst="rect">
            <a:avLst/>
          </a:prstGeom>
        </p:spPr>
      </p:pic>
      <p:pic>
        <p:nvPicPr>
          <p:cNvPr id="15" name="Graphic 14" descr="Court with solid fill">
            <a:extLst>
              <a:ext uri="{FF2B5EF4-FFF2-40B4-BE49-F238E27FC236}">
                <a16:creationId xmlns:a16="http://schemas.microsoft.com/office/drawing/2014/main" id="{5F4AC35D-5916-49BE-A748-7D76F2BFB5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06545" y="3784519"/>
            <a:ext cx="323805" cy="323805"/>
          </a:xfrm>
          <a:prstGeom prst="rect">
            <a:avLst/>
          </a:prstGeom>
        </p:spPr>
      </p:pic>
      <p:sp>
        <p:nvSpPr>
          <p:cNvPr id="25" name="Footer Placeholder 6">
            <a:extLst>
              <a:ext uri="{FF2B5EF4-FFF2-40B4-BE49-F238E27FC236}">
                <a16:creationId xmlns:a16="http://schemas.microsoft.com/office/drawing/2014/main" id="{B9EB7A34-F6AE-41E0-825B-E7198057C265}"/>
              </a:ext>
            </a:extLst>
          </p:cNvPr>
          <p:cNvSpPr>
            <a:spLocks noGrp="1"/>
          </p:cNvSpPr>
          <p:nvPr>
            <p:ph type="ftr" sz="quarter" idx="3"/>
          </p:nvPr>
        </p:nvSpPr>
        <p:spPr>
          <a:xfrm>
            <a:off x="661800" y="6624637"/>
            <a:ext cx="10868400" cy="122400"/>
          </a:xfrm>
        </p:spPr>
        <p:txBody>
          <a:bodyPr/>
          <a:lstStyle/>
          <a:p>
            <a:r>
              <a:rPr lang="nl-NL" dirty="0"/>
              <a:t>Bron: it’s public analyse</a:t>
            </a:r>
          </a:p>
        </p:txBody>
      </p:sp>
      <p:sp>
        <p:nvSpPr>
          <p:cNvPr id="22" name="TextBox 21">
            <a:extLst>
              <a:ext uri="{FF2B5EF4-FFF2-40B4-BE49-F238E27FC236}">
                <a16:creationId xmlns:a16="http://schemas.microsoft.com/office/drawing/2014/main" id="{D378A33E-5957-492E-8A2A-04273D57C163}"/>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Mogelijke verklaring tekorten</a:t>
            </a:r>
            <a:endParaRPr lang="nl-NL" b="1" noProof="0" dirty="0">
              <a:solidFill>
                <a:schemeClr val="tx2"/>
              </a:solidFill>
            </a:endParaRPr>
          </a:p>
        </p:txBody>
      </p:sp>
    </p:spTree>
    <p:extLst>
      <p:ext uri="{BB962C8B-B14F-4D97-AF65-F5344CB8AC3E}">
        <p14:creationId xmlns:p14="http://schemas.microsoft.com/office/powerpoint/2010/main" val="109515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F1EC922-3ED5-4091-BF10-B56A02681F98}"/>
              </a:ext>
            </a:extLst>
          </p:cNvPr>
          <p:cNvGraphicFramePr>
            <a:graphicFrameLocks noChangeAspect="1"/>
          </p:cNvGraphicFramePr>
          <p:nvPr>
            <p:custDataLst>
              <p:tags r:id="rId1"/>
            </p:custDataLst>
            <p:extLst>
              <p:ext uri="{D42A27DB-BD31-4B8C-83A1-F6EECF244321}">
                <p14:modId xmlns:p14="http://schemas.microsoft.com/office/powerpoint/2010/main" val="1816693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01" imgH="502" progId="TCLayout.ActiveDocument.1">
                  <p:embed/>
                </p:oleObj>
              </mc:Choice>
              <mc:Fallback>
                <p:oleObj name="think-cell Slide" r:id="rId18" imgW="501" imgH="502" progId="TCLayout.ActiveDocument.1">
                  <p:embed/>
                  <p:pic>
                    <p:nvPicPr>
                      <p:cNvPr id="12" name="Object 11" hidden="1">
                        <a:extLst>
                          <a:ext uri="{FF2B5EF4-FFF2-40B4-BE49-F238E27FC236}">
                            <a16:creationId xmlns:a16="http://schemas.microsoft.com/office/drawing/2014/main" id="{6F1EC922-3ED5-4091-BF10-B56A02681F9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DDB2DFAA-29E1-48DD-B561-37EC8A5B3963}"/>
              </a:ext>
            </a:extLst>
          </p:cNvPr>
          <p:cNvSpPr>
            <a:spLocks noGrp="1"/>
          </p:cNvSpPr>
          <p:nvPr>
            <p:ph type="ftr" sz="quarter" idx="3"/>
          </p:nvPr>
        </p:nvSpPr>
        <p:spPr/>
        <p:txBody>
          <a:bodyPr/>
          <a:lstStyle/>
          <a:p>
            <a:r>
              <a:rPr lang="nl-NL" dirty="0"/>
              <a:t>Bron: Iv3-data; AEF; it’s public analyse</a:t>
            </a:r>
          </a:p>
        </p:txBody>
      </p:sp>
      <p:sp>
        <p:nvSpPr>
          <p:cNvPr id="8" name="Slide Number Placeholder 7">
            <a:extLst>
              <a:ext uri="{FF2B5EF4-FFF2-40B4-BE49-F238E27FC236}">
                <a16:creationId xmlns:a16="http://schemas.microsoft.com/office/drawing/2014/main" id="{7A800900-B512-407D-B4E6-BF2E410F7AFE}"/>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sp>
        <p:nvSpPr>
          <p:cNvPr id="13" name="Text Placeholder 12">
            <a:extLst>
              <a:ext uri="{FF2B5EF4-FFF2-40B4-BE49-F238E27FC236}">
                <a16:creationId xmlns:a16="http://schemas.microsoft.com/office/drawing/2014/main" id="{98E31EB9-6D55-453F-A2C9-F61C7A635540}"/>
              </a:ext>
            </a:extLst>
          </p:cNvPr>
          <p:cNvSpPr>
            <a:spLocks noGrp="1"/>
          </p:cNvSpPr>
          <p:nvPr>
            <p:ph type="body" sz="quarter" idx="14"/>
          </p:nvPr>
        </p:nvSpPr>
        <p:spPr/>
        <p:txBody>
          <a:bodyPr/>
          <a:lstStyle/>
          <a:p>
            <a:r>
              <a:rPr lang="nl-NL" dirty="0"/>
              <a:t>Gemiddelde tekort jeugdzorg per gemeentegrootte, Nederland, 2019 </a:t>
            </a:r>
            <a:br>
              <a:rPr lang="nl-NL" dirty="0"/>
            </a:br>
            <a:r>
              <a:rPr lang="nl-NL" b="0" dirty="0"/>
              <a:t>% van budget, #, % van totaal aantal inwoners Nederland</a:t>
            </a:r>
          </a:p>
        </p:txBody>
      </p:sp>
      <p:sp>
        <p:nvSpPr>
          <p:cNvPr id="10" name="Title 9">
            <a:extLst>
              <a:ext uri="{FF2B5EF4-FFF2-40B4-BE49-F238E27FC236}">
                <a16:creationId xmlns:a16="http://schemas.microsoft.com/office/drawing/2014/main" id="{002508F7-661C-43A3-9B6E-AF74C128F2F3}"/>
              </a:ext>
            </a:extLst>
          </p:cNvPr>
          <p:cNvSpPr>
            <a:spLocks noGrp="1"/>
          </p:cNvSpPr>
          <p:nvPr>
            <p:ph type="title"/>
          </p:nvPr>
        </p:nvSpPr>
        <p:spPr>
          <a:xfrm>
            <a:off x="662780" y="384876"/>
            <a:ext cx="10866441" cy="774000"/>
          </a:xfrm>
        </p:spPr>
        <p:txBody>
          <a:bodyPr vert="horz"/>
          <a:lstStyle/>
          <a:p>
            <a:br>
              <a:rPr lang="nl-NL" dirty="0"/>
            </a:br>
            <a:r>
              <a:rPr lang="nl-NL" dirty="0"/>
              <a:t>Kleinere gemeenten hebben gemiddeld een groter tekort…</a:t>
            </a:r>
          </a:p>
        </p:txBody>
      </p:sp>
      <p:sp>
        <p:nvSpPr>
          <p:cNvPr id="30" name="Rectangle 29" hidden="1">
            <a:extLst>
              <a:ext uri="{FF2B5EF4-FFF2-40B4-BE49-F238E27FC236}">
                <a16:creationId xmlns:a16="http://schemas.microsoft.com/office/drawing/2014/main" id="{85979928-B18A-4E71-83A9-34F280D3995B}"/>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87" name="Rectangle 86" hidden="1">
            <a:extLst>
              <a:ext uri="{FF2B5EF4-FFF2-40B4-BE49-F238E27FC236}">
                <a16:creationId xmlns:a16="http://schemas.microsoft.com/office/drawing/2014/main" id="{DAA45808-71AD-440C-8525-56326BDFBF8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90" name="Rectangle 89" hidden="1">
            <a:extLst>
              <a:ext uri="{FF2B5EF4-FFF2-40B4-BE49-F238E27FC236}">
                <a16:creationId xmlns:a16="http://schemas.microsoft.com/office/drawing/2014/main" id="{98484BD6-8399-40D0-AC1E-44EA0235351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128" name="Rectangle 127" hidden="1">
            <a:extLst>
              <a:ext uri="{FF2B5EF4-FFF2-40B4-BE49-F238E27FC236}">
                <a16:creationId xmlns:a16="http://schemas.microsoft.com/office/drawing/2014/main" id="{9B73EADB-2050-4BC3-A2B8-94B10A590AE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214" name="Rectangle 213" hidden="1">
            <a:extLst>
              <a:ext uri="{FF2B5EF4-FFF2-40B4-BE49-F238E27FC236}">
                <a16:creationId xmlns:a16="http://schemas.microsoft.com/office/drawing/2014/main" id="{5C162DE5-F3D5-47B3-B233-68B9E737C71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endParaRPr>
          </a:p>
        </p:txBody>
      </p:sp>
      <p:sp>
        <p:nvSpPr>
          <p:cNvPr id="3" name="Rectangle 2" hidden="1">
            <a:extLst>
              <a:ext uri="{FF2B5EF4-FFF2-40B4-BE49-F238E27FC236}">
                <a16:creationId xmlns:a16="http://schemas.microsoft.com/office/drawing/2014/main" id="{97C8D928-1CF1-458E-BB7E-0167650080C6}"/>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5" name="Rectangle 4" hidden="1">
            <a:extLst>
              <a:ext uri="{FF2B5EF4-FFF2-40B4-BE49-F238E27FC236}">
                <a16:creationId xmlns:a16="http://schemas.microsoft.com/office/drawing/2014/main" id="{1B3BB96C-6786-4907-A06D-71B53D97400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graphicFrame>
        <p:nvGraphicFramePr>
          <p:cNvPr id="92" name="Chart 91">
            <a:extLst>
              <a:ext uri="{FF2B5EF4-FFF2-40B4-BE49-F238E27FC236}">
                <a16:creationId xmlns:a16="http://schemas.microsoft.com/office/drawing/2014/main" id="{C10A35DD-8058-4BD0-B519-E179E8D48AD4}"/>
              </a:ext>
            </a:extLst>
          </p:cNvPr>
          <p:cNvGraphicFramePr/>
          <p:nvPr>
            <p:custDataLst>
              <p:tags r:id="rId2"/>
            </p:custDataLst>
            <p:extLst>
              <p:ext uri="{D42A27DB-BD31-4B8C-83A1-F6EECF244321}">
                <p14:modId xmlns:p14="http://schemas.microsoft.com/office/powerpoint/2010/main" val="3620356924"/>
              </p:ext>
            </p:extLst>
          </p:nvPr>
        </p:nvGraphicFramePr>
        <p:xfrm>
          <a:off x="2055813" y="2219325"/>
          <a:ext cx="5083175" cy="3910013"/>
        </p:xfrm>
        <a:graphic>
          <a:graphicData uri="http://schemas.openxmlformats.org/drawingml/2006/chart">
            <c:chart xmlns:c="http://schemas.openxmlformats.org/drawingml/2006/chart" xmlns:r="http://schemas.openxmlformats.org/officeDocument/2006/relationships" r:id="rId20"/>
          </a:graphicData>
        </a:graphic>
      </p:graphicFrame>
      <p:sp>
        <p:nvSpPr>
          <p:cNvPr id="44" name="Content 1">
            <a:extLst>
              <a:ext uri="{FF2B5EF4-FFF2-40B4-BE49-F238E27FC236}">
                <a16:creationId xmlns:a16="http://schemas.microsoft.com/office/drawing/2014/main" id="{56DC0975-34D0-4EB4-B75C-BF5BBD95BBF3}"/>
              </a:ext>
            </a:extLst>
          </p:cNvPr>
          <p:cNvSpPr>
            <a:spLocks noGrp="1"/>
          </p:cNvSpPr>
          <p:nvPr>
            <p:custDataLst>
              <p:tags r:id="rId3"/>
            </p:custDataLst>
          </p:nvPr>
        </p:nvSpPr>
        <p:spPr bwMode="auto">
          <a:xfrm>
            <a:off x="1425575" y="5695950"/>
            <a:ext cx="6111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5EFD0B8-E3C2-4A61-BC05-384C475040D9}" type="datetime'''''''''''''&gt; ''2''''''''''0''0''''''''''''''''''.''00''0'''">
              <a:rPr lang="nl-NL" altLang="en-US" sz="1200" smtClean="0">
                <a:solidFill>
                  <a:schemeClr val="tx1"/>
                </a:solidFill>
              </a:rPr>
              <a:pPr/>
              <a:t>&gt; 200.000</a:t>
            </a:fld>
            <a:endParaRPr lang="nl-NL" sz="1200" noProof="0" dirty="0">
              <a:solidFill>
                <a:schemeClr val="tx1"/>
              </a:solidFill>
              <a:latin typeface="+mn-lt"/>
            </a:endParaRPr>
          </a:p>
        </p:txBody>
      </p:sp>
      <p:sp>
        <p:nvSpPr>
          <p:cNvPr id="73" name="Content 1">
            <a:extLst>
              <a:ext uri="{FF2B5EF4-FFF2-40B4-BE49-F238E27FC236}">
                <a16:creationId xmlns:a16="http://schemas.microsoft.com/office/drawing/2014/main" id="{34706CA1-4817-40A2-AB75-0C673A2858A3}"/>
              </a:ext>
            </a:extLst>
          </p:cNvPr>
          <p:cNvSpPr>
            <a:spLocks noGrp="1"/>
          </p:cNvSpPr>
          <p:nvPr>
            <p:custDataLst>
              <p:tags r:id="rId4"/>
            </p:custDataLst>
          </p:nvPr>
        </p:nvSpPr>
        <p:spPr bwMode="auto">
          <a:xfrm>
            <a:off x="1020763" y="4090988"/>
            <a:ext cx="10160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5799A2C-345A-4E41-BE0D-BA3BD5657EE2}" type="datetime'7''''5.0''''''''''''0''0'' ''''- 100''.''''0''0''''''''0'''">
              <a:rPr lang="nl-NL" altLang="en-US" sz="1200" smtClean="0">
                <a:solidFill>
                  <a:schemeClr val="tx1"/>
                </a:solidFill>
              </a:rPr>
              <a:pPr/>
              <a:t>75.000 - 100.000</a:t>
            </a:fld>
            <a:endParaRPr lang="nl-NL" sz="1200" noProof="0" dirty="0">
              <a:solidFill>
                <a:schemeClr val="tx1"/>
              </a:solidFill>
              <a:latin typeface="+mn-lt"/>
            </a:endParaRPr>
          </a:p>
        </p:txBody>
      </p:sp>
      <p:sp>
        <p:nvSpPr>
          <p:cNvPr id="82" name="Content 1">
            <a:extLst>
              <a:ext uri="{FF2B5EF4-FFF2-40B4-BE49-F238E27FC236}">
                <a16:creationId xmlns:a16="http://schemas.microsoft.com/office/drawing/2014/main" id="{6614C97C-B863-4B22-833F-58BCC3BD8BDF}"/>
              </a:ext>
            </a:extLst>
          </p:cNvPr>
          <p:cNvSpPr>
            <a:spLocks noGrp="1"/>
          </p:cNvSpPr>
          <p:nvPr>
            <p:custDataLst>
              <p:tags r:id="rId5"/>
            </p:custDataLst>
          </p:nvPr>
        </p:nvSpPr>
        <p:spPr bwMode="gray">
          <a:xfrm>
            <a:off x="6899275" y="35560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761242D-0627-4107-BC6B-FF79585AA28A}" type="datetime'35''''''''''%'''''''''''''''''''''''''''">
              <a:rPr lang="nl-NL" altLang="en-US" sz="1200" smtClean="0">
                <a:solidFill>
                  <a:schemeClr val="tx1"/>
                </a:solidFill>
              </a:rPr>
              <a:pPr/>
              <a:t>35%</a:t>
            </a:fld>
            <a:endParaRPr lang="nl-NL" sz="1200" noProof="0" dirty="0">
              <a:solidFill>
                <a:schemeClr val="tx1"/>
              </a:solidFill>
              <a:latin typeface="+mn-lt"/>
            </a:endParaRPr>
          </a:p>
        </p:txBody>
      </p:sp>
      <p:sp>
        <p:nvSpPr>
          <p:cNvPr id="71" name="Content 1">
            <a:extLst>
              <a:ext uri="{FF2B5EF4-FFF2-40B4-BE49-F238E27FC236}">
                <a16:creationId xmlns:a16="http://schemas.microsoft.com/office/drawing/2014/main" id="{1698691B-D78F-4852-9560-2B721CF64A09}"/>
              </a:ext>
            </a:extLst>
          </p:cNvPr>
          <p:cNvSpPr>
            <a:spLocks noGrp="1"/>
          </p:cNvSpPr>
          <p:nvPr>
            <p:custDataLst>
              <p:tags r:id="rId6"/>
            </p:custDataLst>
          </p:nvPr>
        </p:nvSpPr>
        <p:spPr bwMode="auto">
          <a:xfrm>
            <a:off x="1428750" y="2486025"/>
            <a:ext cx="6080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E6E1804-23A3-4ACE-BA8A-150EFFE2E76E}" type="datetime'''0'''' ''''''''- ''''2''5''''''''''.''''000'''''''''''''''">
              <a:rPr lang="nl-NL" altLang="en-US" sz="1200" smtClean="0">
                <a:solidFill>
                  <a:schemeClr val="tx1"/>
                </a:solidFill>
              </a:rPr>
              <a:pPr/>
              <a:t>0 - 25.000</a:t>
            </a:fld>
            <a:endParaRPr lang="nl-NL" sz="1200" noProof="0" dirty="0">
              <a:solidFill>
                <a:schemeClr val="tx1"/>
              </a:solidFill>
              <a:latin typeface="+mn-lt"/>
            </a:endParaRPr>
          </a:p>
        </p:txBody>
      </p:sp>
      <p:sp>
        <p:nvSpPr>
          <p:cNvPr id="84" name="Content 1">
            <a:extLst>
              <a:ext uri="{FF2B5EF4-FFF2-40B4-BE49-F238E27FC236}">
                <a16:creationId xmlns:a16="http://schemas.microsoft.com/office/drawing/2014/main" id="{D6D78562-54D3-4A27-9C10-7B72A96562AF}"/>
              </a:ext>
            </a:extLst>
          </p:cNvPr>
          <p:cNvSpPr>
            <a:spLocks noGrp="1"/>
          </p:cNvSpPr>
          <p:nvPr>
            <p:custDataLst>
              <p:tags r:id="rId7"/>
            </p:custDataLst>
          </p:nvPr>
        </p:nvSpPr>
        <p:spPr bwMode="gray">
          <a:xfrm>
            <a:off x="7081838" y="2486025"/>
            <a:ext cx="3016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E5EEEAA-8E8E-4607-A340-889E5898BD4B}" type="datetime'3''7''''''''''''''''''''''''''''''%'''''''''''''''''''''''''">
              <a:rPr lang="nl-NL" altLang="en-US" sz="1200" smtClean="0">
                <a:solidFill>
                  <a:schemeClr val="tx1"/>
                </a:solidFill>
              </a:rPr>
              <a:pPr/>
              <a:t>37%</a:t>
            </a:fld>
            <a:endParaRPr lang="nl-NL" sz="1200" noProof="0" dirty="0">
              <a:solidFill>
                <a:schemeClr val="tx1"/>
              </a:solidFill>
              <a:latin typeface="+mn-lt"/>
            </a:endParaRPr>
          </a:p>
        </p:txBody>
      </p:sp>
      <p:sp>
        <p:nvSpPr>
          <p:cNvPr id="76" name="Content 1">
            <a:extLst>
              <a:ext uri="{FF2B5EF4-FFF2-40B4-BE49-F238E27FC236}">
                <a16:creationId xmlns:a16="http://schemas.microsoft.com/office/drawing/2014/main" id="{308F8473-CED6-4553-9441-C1A64A365C97}"/>
              </a:ext>
            </a:extLst>
          </p:cNvPr>
          <p:cNvSpPr>
            <a:spLocks noGrp="1"/>
          </p:cNvSpPr>
          <p:nvPr>
            <p:custDataLst>
              <p:tags r:id="rId8"/>
            </p:custDataLst>
          </p:nvPr>
        </p:nvSpPr>
        <p:spPr bwMode="auto">
          <a:xfrm>
            <a:off x="1085850" y="3021013"/>
            <a:ext cx="950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42E0DCF-E101-4336-98B5-C54BAE1C1983}" type="datetime'25''''''.''''''''0''''''0''0 ''''- 50''''''''.0''00'''''''">
              <a:rPr lang="nl-NL" altLang="en-US" sz="1200" smtClean="0">
                <a:solidFill>
                  <a:schemeClr val="tx1"/>
                </a:solidFill>
              </a:rPr>
              <a:pPr/>
              <a:t>25.000 - 50.000</a:t>
            </a:fld>
            <a:endParaRPr lang="nl-NL" sz="1200" noProof="0" dirty="0">
              <a:solidFill>
                <a:schemeClr val="tx1"/>
              </a:solidFill>
              <a:latin typeface="+mn-lt"/>
            </a:endParaRPr>
          </a:p>
        </p:txBody>
      </p:sp>
      <p:sp>
        <p:nvSpPr>
          <p:cNvPr id="74" name="Content 1">
            <a:extLst>
              <a:ext uri="{FF2B5EF4-FFF2-40B4-BE49-F238E27FC236}">
                <a16:creationId xmlns:a16="http://schemas.microsoft.com/office/drawing/2014/main" id="{6A7E1A35-C888-483E-827A-B98DEE129F7A}"/>
              </a:ext>
            </a:extLst>
          </p:cNvPr>
          <p:cNvSpPr>
            <a:spLocks noGrp="1"/>
          </p:cNvSpPr>
          <p:nvPr>
            <p:custDataLst>
              <p:tags r:id="rId9"/>
            </p:custDataLst>
          </p:nvPr>
        </p:nvSpPr>
        <p:spPr bwMode="auto">
          <a:xfrm>
            <a:off x="1096963" y="3556000"/>
            <a:ext cx="939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ED9AD73-53F3-41BB-AFE6-605E54EA39F4}" type="datetime'''5''''''''''''''''''0''''.''0''''0''0'' ''- ''75.''''000'''''">
              <a:rPr lang="nl-NL" altLang="en-US" sz="1200" smtClean="0">
                <a:solidFill>
                  <a:schemeClr val="tx1"/>
                </a:solidFill>
              </a:rPr>
              <a:pPr/>
              <a:t>50.000 - 75.000</a:t>
            </a:fld>
            <a:endParaRPr lang="nl-NL" sz="1200" noProof="0" dirty="0">
              <a:solidFill>
                <a:schemeClr val="tx1"/>
              </a:solidFill>
              <a:latin typeface="+mn-lt"/>
            </a:endParaRPr>
          </a:p>
        </p:txBody>
      </p:sp>
      <p:sp>
        <p:nvSpPr>
          <p:cNvPr id="42" name="Content 1">
            <a:extLst>
              <a:ext uri="{FF2B5EF4-FFF2-40B4-BE49-F238E27FC236}">
                <a16:creationId xmlns:a16="http://schemas.microsoft.com/office/drawing/2014/main" id="{7D2D3C97-85D9-4DD9-AEC9-362EDAE09BF7}"/>
              </a:ext>
            </a:extLst>
          </p:cNvPr>
          <p:cNvSpPr>
            <a:spLocks noGrp="1"/>
          </p:cNvSpPr>
          <p:nvPr>
            <p:custDataLst>
              <p:tags r:id="rId10"/>
            </p:custDataLst>
          </p:nvPr>
        </p:nvSpPr>
        <p:spPr bwMode="auto">
          <a:xfrm>
            <a:off x="939800" y="4625975"/>
            <a:ext cx="10969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78EE81E-6D11-4135-B232-E3EA6E0391DA}" type="datetime'''1''0''''0.00''0'' ''- ''1''5''0.''0''''''''''0''''0'''''''">
              <a:rPr lang="nl-NL" altLang="en-US" sz="1200" smtClean="0">
                <a:solidFill>
                  <a:schemeClr val="tx1"/>
                </a:solidFill>
              </a:rPr>
              <a:pPr/>
              <a:t>100.000 - 150.000</a:t>
            </a:fld>
            <a:endParaRPr lang="nl-NL" sz="1200" noProof="0" dirty="0">
              <a:solidFill>
                <a:schemeClr val="tx1"/>
              </a:solidFill>
              <a:latin typeface="+mn-lt"/>
            </a:endParaRPr>
          </a:p>
        </p:txBody>
      </p:sp>
      <p:sp>
        <p:nvSpPr>
          <p:cNvPr id="43" name="Content 1">
            <a:extLst>
              <a:ext uri="{FF2B5EF4-FFF2-40B4-BE49-F238E27FC236}">
                <a16:creationId xmlns:a16="http://schemas.microsoft.com/office/drawing/2014/main" id="{D65FB5F3-49F0-4C90-BEF2-F60BDA1E12E6}"/>
              </a:ext>
            </a:extLst>
          </p:cNvPr>
          <p:cNvSpPr>
            <a:spLocks noGrp="1"/>
          </p:cNvSpPr>
          <p:nvPr>
            <p:custDataLst>
              <p:tags r:id="rId11"/>
            </p:custDataLst>
          </p:nvPr>
        </p:nvSpPr>
        <p:spPr bwMode="auto">
          <a:xfrm>
            <a:off x="798513" y="5160963"/>
            <a:ext cx="12382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5C9ED24-E1AA-4925-8998-D3A8CCA8ADC7}" type="datetime'''''''''15''''0.''00''''''0 tot ''2''''''0''0''.000'''''''''''">
              <a:rPr lang="nl-NL" altLang="en-US" sz="1200" smtClean="0">
                <a:solidFill>
                  <a:schemeClr val="tx1"/>
                </a:solidFill>
              </a:rPr>
              <a:pPr/>
              <a:t>150.000 tot 200.000</a:t>
            </a:fld>
            <a:endParaRPr lang="nl-NL" sz="1200" noProof="0" dirty="0">
              <a:solidFill>
                <a:schemeClr val="tx1"/>
              </a:solidFill>
              <a:latin typeface="+mn-lt"/>
            </a:endParaRPr>
          </a:p>
        </p:txBody>
      </p:sp>
      <p:sp>
        <p:nvSpPr>
          <p:cNvPr id="83" name="Content 1">
            <a:extLst>
              <a:ext uri="{FF2B5EF4-FFF2-40B4-BE49-F238E27FC236}">
                <a16:creationId xmlns:a16="http://schemas.microsoft.com/office/drawing/2014/main" id="{74234D4A-07A1-489E-AD46-8FAA00678255}"/>
              </a:ext>
            </a:extLst>
          </p:cNvPr>
          <p:cNvSpPr>
            <a:spLocks noGrp="1"/>
          </p:cNvSpPr>
          <p:nvPr>
            <p:custDataLst>
              <p:tags r:id="rId12"/>
            </p:custDataLst>
          </p:nvPr>
        </p:nvSpPr>
        <p:spPr bwMode="gray">
          <a:xfrm>
            <a:off x="6845300" y="3021013"/>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B5F5B2A-EDBD-4F80-A7AE-32810EE41E8B}" type="datetime'3''''''''''''''''5''''''%'''''''''''''''''''''''''''''">
              <a:rPr lang="nl-NL" altLang="en-US" sz="1200" smtClean="0">
                <a:solidFill>
                  <a:schemeClr val="tx1"/>
                </a:solidFill>
              </a:rPr>
              <a:pPr/>
              <a:t>35%</a:t>
            </a:fld>
            <a:endParaRPr lang="nl-NL" sz="1200" noProof="0" dirty="0">
              <a:solidFill>
                <a:schemeClr val="tx1"/>
              </a:solidFill>
              <a:latin typeface="+mn-lt"/>
            </a:endParaRPr>
          </a:p>
        </p:txBody>
      </p:sp>
      <p:sp>
        <p:nvSpPr>
          <p:cNvPr id="81" name="Content 1">
            <a:extLst>
              <a:ext uri="{FF2B5EF4-FFF2-40B4-BE49-F238E27FC236}">
                <a16:creationId xmlns:a16="http://schemas.microsoft.com/office/drawing/2014/main" id="{882A7269-ACD8-4404-82D4-F40BFEFE19A3}"/>
              </a:ext>
            </a:extLst>
          </p:cNvPr>
          <p:cNvSpPr>
            <a:spLocks noGrp="1"/>
          </p:cNvSpPr>
          <p:nvPr>
            <p:custDataLst>
              <p:tags r:id="rId13"/>
            </p:custDataLst>
          </p:nvPr>
        </p:nvSpPr>
        <p:spPr bwMode="gray">
          <a:xfrm>
            <a:off x="6326188" y="4090988"/>
            <a:ext cx="304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7A7BE686-139A-44E6-A5D2-5F54CA6D837C}" type="datetime'''''''''''''''3''''''''''''''''1%'''''''''''''''">
              <a:rPr lang="nl-NL" altLang="en-US" sz="1200" smtClean="0">
                <a:solidFill>
                  <a:schemeClr val="tx1"/>
                </a:solidFill>
              </a:rPr>
              <a:pPr/>
              <a:t>31%</a:t>
            </a:fld>
            <a:endParaRPr lang="nl-NL" sz="1200" noProof="0" dirty="0">
              <a:solidFill>
                <a:schemeClr val="tx1"/>
              </a:solidFill>
              <a:latin typeface="+mn-lt"/>
            </a:endParaRPr>
          </a:p>
        </p:txBody>
      </p:sp>
      <p:sp>
        <p:nvSpPr>
          <p:cNvPr id="50" name="Content 1">
            <a:extLst>
              <a:ext uri="{FF2B5EF4-FFF2-40B4-BE49-F238E27FC236}">
                <a16:creationId xmlns:a16="http://schemas.microsoft.com/office/drawing/2014/main" id="{93DE83BE-E671-4E44-94DE-503A3CB69C64}"/>
              </a:ext>
            </a:extLst>
          </p:cNvPr>
          <p:cNvSpPr>
            <a:spLocks noGrp="1"/>
          </p:cNvSpPr>
          <p:nvPr>
            <p:custDataLst>
              <p:tags r:id="rId14"/>
            </p:custDataLst>
          </p:nvPr>
        </p:nvSpPr>
        <p:spPr bwMode="gray">
          <a:xfrm>
            <a:off x="6497638" y="4625975"/>
            <a:ext cx="314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254A4B0-B394-40A9-AA53-3419C5748F0F}" type="datetime'''''''''''''''''''''''''''3''''''''''''''''2%'''">
              <a:rPr lang="nl-NL" altLang="en-US" sz="1200" smtClean="0">
                <a:solidFill>
                  <a:schemeClr val="tx1"/>
                </a:solidFill>
                <a:latin typeface="+mn-lt"/>
              </a:rPr>
              <a:pPr/>
              <a:t>32%</a:t>
            </a:fld>
            <a:endParaRPr lang="nl-NL" sz="1200" noProof="0" dirty="0">
              <a:solidFill>
                <a:schemeClr val="tx1"/>
              </a:solidFill>
              <a:latin typeface="+mn-lt"/>
            </a:endParaRPr>
          </a:p>
        </p:txBody>
      </p:sp>
      <p:sp>
        <p:nvSpPr>
          <p:cNvPr id="51" name="Content 1">
            <a:extLst>
              <a:ext uri="{FF2B5EF4-FFF2-40B4-BE49-F238E27FC236}">
                <a16:creationId xmlns:a16="http://schemas.microsoft.com/office/drawing/2014/main" id="{6AB4E1B9-F8E4-462D-915A-CE91216095F2}"/>
              </a:ext>
            </a:extLst>
          </p:cNvPr>
          <p:cNvSpPr>
            <a:spLocks noGrp="1"/>
          </p:cNvSpPr>
          <p:nvPr>
            <p:custDataLst>
              <p:tags r:id="rId15"/>
            </p:custDataLst>
          </p:nvPr>
        </p:nvSpPr>
        <p:spPr bwMode="gray">
          <a:xfrm>
            <a:off x="5480050" y="5160963"/>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2D05F730-E7FE-4F79-9CCB-B1208D50B710}" type="datetime'''''''2''''''5''''''''''''''''''''%'''''''''''''''''''">
              <a:rPr lang="nl-NL" altLang="en-US" sz="1200" smtClean="0">
                <a:solidFill>
                  <a:schemeClr val="tx1"/>
                </a:solidFill>
                <a:latin typeface="+mn-lt"/>
              </a:rPr>
              <a:pPr/>
              <a:t>25%</a:t>
            </a:fld>
            <a:endParaRPr lang="nl-NL" sz="1200" noProof="0" dirty="0">
              <a:solidFill>
                <a:schemeClr val="tx1"/>
              </a:solidFill>
              <a:latin typeface="+mn-lt"/>
            </a:endParaRPr>
          </a:p>
        </p:txBody>
      </p:sp>
      <p:sp>
        <p:nvSpPr>
          <p:cNvPr id="52" name="Content 1">
            <a:extLst>
              <a:ext uri="{FF2B5EF4-FFF2-40B4-BE49-F238E27FC236}">
                <a16:creationId xmlns:a16="http://schemas.microsoft.com/office/drawing/2014/main" id="{D3D699C2-3294-4EC2-9A1E-991095D167C7}"/>
              </a:ext>
            </a:extLst>
          </p:cNvPr>
          <p:cNvSpPr>
            <a:spLocks noGrp="1"/>
          </p:cNvSpPr>
          <p:nvPr>
            <p:custDataLst>
              <p:tags r:id="rId16"/>
            </p:custDataLst>
          </p:nvPr>
        </p:nvSpPr>
        <p:spPr bwMode="gray">
          <a:xfrm>
            <a:off x="4732338" y="5695950"/>
            <a:ext cx="314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260A486E-A779-499C-9488-D7C3B34540D0}" type="datetime'''1''''''''''''''9''%'''''''''''">
              <a:rPr lang="nl-NL" altLang="en-US" sz="1200" smtClean="0">
                <a:solidFill>
                  <a:schemeClr val="tx1"/>
                </a:solidFill>
                <a:latin typeface="+mn-lt"/>
              </a:rPr>
              <a:pPr/>
              <a:t>19%</a:t>
            </a:fld>
            <a:endParaRPr lang="nl-NL" sz="1200" noProof="0" dirty="0">
              <a:solidFill>
                <a:schemeClr val="tx1"/>
              </a:solidFill>
              <a:latin typeface="+mn-lt"/>
            </a:endParaRPr>
          </a:p>
        </p:txBody>
      </p:sp>
      <p:sp>
        <p:nvSpPr>
          <p:cNvPr id="123" name="Speech Bubble: Rectangle 122">
            <a:extLst>
              <a:ext uri="{FF2B5EF4-FFF2-40B4-BE49-F238E27FC236}">
                <a16:creationId xmlns:a16="http://schemas.microsoft.com/office/drawing/2014/main" id="{98B21736-0530-481E-876D-AB99BE9CECD1}"/>
              </a:ext>
            </a:extLst>
          </p:cNvPr>
          <p:cNvSpPr/>
          <p:nvPr/>
        </p:nvSpPr>
        <p:spPr>
          <a:xfrm>
            <a:off x="5051305" y="6092825"/>
            <a:ext cx="2030534" cy="301625"/>
          </a:xfrm>
          <a:prstGeom prst="wedgeRectCallout">
            <a:avLst>
              <a:gd name="adj1" fmla="val -54039"/>
              <a:gd name="adj2" fmla="val -13824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200" dirty="0"/>
              <a:t>Zonder Rotterdam is dit 25%</a:t>
            </a:r>
            <a:endParaRPr kumimoji="0" lang="nl-NL" sz="12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Box 39">
            <a:extLst>
              <a:ext uri="{FF2B5EF4-FFF2-40B4-BE49-F238E27FC236}">
                <a16:creationId xmlns:a16="http://schemas.microsoft.com/office/drawing/2014/main" id="{887FDC4A-163B-4A52-9B75-2DF874C38F93}"/>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Mogelijke verklaring tekorten:          objectieve eigenschappen</a:t>
            </a:r>
            <a:endParaRPr lang="nl-NL" b="1" noProof="0" dirty="0">
              <a:solidFill>
                <a:schemeClr val="tx2"/>
              </a:solidFill>
            </a:endParaRPr>
          </a:p>
        </p:txBody>
      </p:sp>
      <p:pic>
        <p:nvPicPr>
          <p:cNvPr id="33" name="Graphic 32" descr="Basic Shapes with solid fill">
            <a:extLst>
              <a:ext uri="{FF2B5EF4-FFF2-40B4-BE49-F238E27FC236}">
                <a16:creationId xmlns:a16="http://schemas.microsoft.com/office/drawing/2014/main" id="{9BA7B32F-6D86-4781-BE73-1A1170851D0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022036" y="113579"/>
            <a:ext cx="323805" cy="323805"/>
          </a:xfrm>
          <a:prstGeom prst="rect">
            <a:avLst/>
          </a:prstGeom>
        </p:spPr>
      </p:pic>
      <p:sp>
        <p:nvSpPr>
          <p:cNvPr id="58" name="TextBox 57">
            <a:extLst>
              <a:ext uri="{FF2B5EF4-FFF2-40B4-BE49-F238E27FC236}">
                <a16:creationId xmlns:a16="http://schemas.microsoft.com/office/drawing/2014/main" id="{4A6A74D6-2E4D-40C8-A482-4A0F626E67EB}"/>
              </a:ext>
            </a:extLst>
          </p:cNvPr>
          <p:cNvSpPr txBox="1"/>
          <p:nvPr/>
        </p:nvSpPr>
        <p:spPr>
          <a:xfrm>
            <a:off x="629073" y="1874838"/>
            <a:ext cx="1509414" cy="417513"/>
          </a:xfrm>
          <a:prstGeom prst="rect">
            <a:avLst/>
          </a:prstGeom>
        </p:spPr>
        <p:txBody>
          <a:bodyPr vert="horz" wrap="square" lIns="91440" tIns="45720" rIns="91440" bIns="45720" rtlCol="0">
            <a:noAutofit/>
          </a:bodyPr>
          <a:lstStyle/>
          <a:p>
            <a:pPr marL="0" indent="0" algn="ctr">
              <a:buNone/>
            </a:pPr>
            <a:r>
              <a:rPr lang="nl-NL" sz="1200" dirty="0"/>
              <a:t>Gemeentegrootte</a:t>
            </a:r>
            <a:br>
              <a:rPr lang="nl-NL" sz="1200" dirty="0"/>
            </a:br>
            <a:r>
              <a:rPr lang="nl-NL" sz="1200" dirty="0"/>
              <a:t>(inwoners)</a:t>
            </a:r>
            <a:endParaRPr lang="nl-NL" sz="1200" noProof="0" dirty="0"/>
          </a:p>
        </p:txBody>
      </p:sp>
      <p:sp>
        <p:nvSpPr>
          <p:cNvPr id="189" name="TextBox 188">
            <a:extLst>
              <a:ext uri="{FF2B5EF4-FFF2-40B4-BE49-F238E27FC236}">
                <a16:creationId xmlns:a16="http://schemas.microsoft.com/office/drawing/2014/main" id="{848575E2-CE0D-426D-BD15-A6BC6FF1C8EE}"/>
              </a:ext>
            </a:extLst>
          </p:cNvPr>
          <p:cNvSpPr txBox="1"/>
          <p:nvPr/>
        </p:nvSpPr>
        <p:spPr>
          <a:xfrm>
            <a:off x="7609582" y="1806574"/>
            <a:ext cx="970300" cy="419100"/>
          </a:xfrm>
          <a:prstGeom prst="rect">
            <a:avLst/>
          </a:prstGeom>
        </p:spPr>
        <p:txBody>
          <a:bodyPr vert="horz" wrap="square" lIns="91440" tIns="45720" rIns="91440" bIns="45720" rtlCol="0">
            <a:noAutofit/>
          </a:bodyPr>
          <a:lstStyle/>
          <a:p>
            <a:pPr marL="0" indent="0" algn="ctr">
              <a:buNone/>
            </a:pPr>
            <a:r>
              <a:rPr lang="nl-NL" sz="1200" dirty="0"/>
              <a:t>Aantal</a:t>
            </a:r>
            <a:br>
              <a:rPr lang="nl-NL" sz="1200" noProof="0" dirty="0"/>
            </a:br>
            <a:r>
              <a:rPr lang="nl-NL" sz="1200" noProof="0" dirty="0"/>
              <a:t>gemeenten</a:t>
            </a:r>
          </a:p>
        </p:txBody>
      </p:sp>
      <p:sp>
        <p:nvSpPr>
          <p:cNvPr id="64" name="TextBox 63">
            <a:extLst>
              <a:ext uri="{FF2B5EF4-FFF2-40B4-BE49-F238E27FC236}">
                <a16:creationId xmlns:a16="http://schemas.microsoft.com/office/drawing/2014/main" id="{FE4E7392-E8D1-4C8D-AD53-E8059DFAFB6A}"/>
              </a:ext>
            </a:extLst>
          </p:cNvPr>
          <p:cNvSpPr txBox="1"/>
          <p:nvPr/>
        </p:nvSpPr>
        <p:spPr>
          <a:xfrm>
            <a:off x="7589783" y="2352674"/>
            <a:ext cx="970300" cy="419100"/>
          </a:xfrm>
          <a:prstGeom prst="rect">
            <a:avLst/>
          </a:prstGeom>
        </p:spPr>
        <p:txBody>
          <a:bodyPr vert="horz" wrap="square" lIns="91440" tIns="45720" rIns="91440" bIns="45720" rtlCol="0" anchor="ctr">
            <a:noAutofit/>
          </a:bodyPr>
          <a:lstStyle/>
          <a:p>
            <a:pPr marL="0" indent="0" algn="ctr">
              <a:buNone/>
            </a:pPr>
            <a:r>
              <a:rPr lang="nl-NL" sz="1200" dirty="0"/>
              <a:t>125</a:t>
            </a:r>
            <a:endParaRPr lang="nl-NL" sz="1200" noProof="0" dirty="0"/>
          </a:p>
        </p:txBody>
      </p:sp>
      <p:sp>
        <p:nvSpPr>
          <p:cNvPr id="65" name="TextBox 64">
            <a:extLst>
              <a:ext uri="{FF2B5EF4-FFF2-40B4-BE49-F238E27FC236}">
                <a16:creationId xmlns:a16="http://schemas.microsoft.com/office/drawing/2014/main" id="{49863857-EE5D-45B0-9E85-9732D834313C}"/>
              </a:ext>
            </a:extLst>
          </p:cNvPr>
          <p:cNvSpPr txBox="1"/>
          <p:nvPr/>
        </p:nvSpPr>
        <p:spPr>
          <a:xfrm>
            <a:off x="7589783" y="5568949"/>
            <a:ext cx="970300" cy="419100"/>
          </a:xfrm>
          <a:prstGeom prst="rect">
            <a:avLst/>
          </a:prstGeom>
        </p:spPr>
        <p:txBody>
          <a:bodyPr vert="horz" wrap="square" lIns="91440" tIns="45720" rIns="91440" bIns="45720" rtlCol="0" anchor="ctr">
            <a:noAutofit/>
          </a:bodyPr>
          <a:lstStyle/>
          <a:p>
            <a:pPr marL="0" indent="0" algn="ctr">
              <a:buNone/>
            </a:pPr>
            <a:r>
              <a:rPr lang="nl-NL" sz="1200" noProof="0" dirty="0"/>
              <a:t>8</a:t>
            </a:r>
          </a:p>
        </p:txBody>
      </p:sp>
      <p:sp>
        <p:nvSpPr>
          <p:cNvPr id="66" name="TextBox 65">
            <a:extLst>
              <a:ext uri="{FF2B5EF4-FFF2-40B4-BE49-F238E27FC236}">
                <a16:creationId xmlns:a16="http://schemas.microsoft.com/office/drawing/2014/main" id="{BE2A5F65-9E73-4C39-B974-14A0DDF158C9}"/>
              </a:ext>
            </a:extLst>
          </p:cNvPr>
          <p:cNvSpPr txBox="1"/>
          <p:nvPr/>
        </p:nvSpPr>
        <p:spPr>
          <a:xfrm>
            <a:off x="7589783" y="4497388"/>
            <a:ext cx="970300" cy="417513"/>
          </a:xfrm>
          <a:prstGeom prst="rect">
            <a:avLst/>
          </a:prstGeom>
        </p:spPr>
        <p:txBody>
          <a:bodyPr vert="horz" wrap="square" lIns="91440" tIns="45720" rIns="91440" bIns="45720" rtlCol="0" anchor="ctr">
            <a:noAutofit/>
          </a:bodyPr>
          <a:lstStyle/>
          <a:p>
            <a:pPr marL="0" indent="0" algn="ctr">
              <a:buNone/>
            </a:pPr>
            <a:r>
              <a:rPr lang="nl-NL" sz="1200" noProof="0" dirty="0"/>
              <a:t>13</a:t>
            </a:r>
          </a:p>
        </p:txBody>
      </p:sp>
      <p:sp>
        <p:nvSpPr>
          <p:cNvPr id="67" name="TextBox 66">
            <a:extLst>
              <a:ext uri="{FF2B5EF4-FFF2-40B4-BE49-F238E27FC236}">
                <a16:creationId xmlns:a16="http://schemas.microsoft.com/office/drawing/2014/main" id="{643AC3DB-1F8F-4138-9F58-F318B2B7D953}"/>
              </a:ext>
            </a:extLst>
          </p:cNvPr>
          <p:cNvSpPr txBox="1"/>
          <p:nvPr/>
        </p:nvSpPr>
        <p:spPr>
          <a:xfrm>
            <a:off x="7589783" y="3425825"/>
            <a:ext cx="970300" cy="417513"/>
          </a:xfrm>
          <a:prstGeom prst="rect">
            <a:avLst/>
          </a:prstGeom>
        </p:spPr>
        <p:txBody>
          <a:bodyPr vert="horz" wrap="square" lIns="91440" tIns="45720" rIns="91440" bIns="45720" rtlCol="0" anchor="ctr">
            <a:noAutofit/>
          </a:bodyPr>
          <a:lstStyle/>
          <a:p>
            <a:pPr marL="0" indent="0" algn="ctr">
              <a:buNone/>
            </a:pPr>
            <a:r>
              <a:rPr lang="nl-NL" sz="1200" dirty="0"/>
              <a:t>37</a:t>
            </a:r>
            <a:endParaRPr lang="nl-NL" sz="1200" noProof="0" dirty="0"/>
          </a:p>
        </p:txBody>
      </p:sp>
      <p:sp>
        <p:nvSpPr>
          <p:cNvPr id="60" name="TextBox 59">
            <a:extLst>
              <a:ext uri="{FF2B5EF4-FFF2-40B4-BE49-F238E27FC236}">
                <a16:creationId xmlns:a16="http://schemas.microsoft.com/office/drawing/2014/main" id="{D7BFB80D-0467-4E68-8AE7-1ED4A8A145B9}"/>
              </a:ext>
            </a:extLst>
          </p:cNvPr>
          <p:cNvSpPr txBox="1"/>
          <p:nvPr/>
        </p:nvSpPr>
        <p:spPr>
          <a:xfrm>
            <a:off x="7589783" y="2889250"/>
            <a:ext cx="970300" cy="417513"/>
          </a:xfrm>
          <a:prstGeom prst="rect">
            <a:avLst/>
          </a:prstGeom>
        </p:spPr>
        <p:txBody>
          <a:bodyPr vert="horz" wrap="square" lIns="91440" tIns="45720" rIns="91440" bIns="45720" rtlCol="0" anchor="ctr">
            <a:noAutofit/>
          </a:bodyPr>
          <a:lstStyle/>
          <a:p>
            <a:pPr marL="0" indent="0" algn="ctr">
              <a:buNone/>
            </a:pPr>
            <a:r>
              <a:rPr lang="nl-NL" sz="1200" dirty="0"/>
              <a:t>142</a:t>
            </a:r>
            <a:endParaRPr lang="nl-NL" sz="1200" noProof="0" dirty="0"/>
          </a:p>
        </p:txBody>
      </p:sp>
      <p:sp>
        <p:nvSpPr>
          <p:cNvPr id="61" name="TextBox 60">
            <a:extLst>
              <a:ext uri="{FF2B5EF4-FFF2-40B4-BE49-F238E27FC236}">
                <a16:creationId xmlns:a16="http://schemas.microsoft.com/office/drawing/2014/main" id="{99EC02D4-0AD3-4625-B10D-A5A2EBB2857E}"/>
              </a:ext>
            </a:extLst>
          </p:cNvPr>
          <p:cNvSpPr txBox="1"/>
          <p:nvPr/>
        </p:nvSpPr>
        <p:spPr>
          <a:xfrm>
            <a:off x="7589783" y="3960812"/>
            <a:ext cx="970300" cy="419100"/>
          </a:xfrm>
          <a:prstGeom prst="rect">
            <a:avLst/>
          </a:prstGeom>
        </p:spPr>
        <p:txBody>
          <a:bodyPr vert="horz" wrap="square" lIns="91440" tIns="45720" rIns="91440" bIns="45720" rtlCol="0" anchor="ctr">
            <a:noAutofit/>
          </a:bodyPr>
          <a:lstStyle/>
          <a:p>
            <a:pPr marL="0" indent="0" algn="ctr">
              <a:buNone/>
            </a:pPr>
            <a:r>
              <a:rPr lang="nl-NL" sz="1200" noProof="0" dirty="0"/>
              <a:t>17</a:t>
            </a:r>
          </a:p>
        </p:txBody>
      </p:sp>
      <p:sp>
        <p:nvSpPr>
          <p:cNvPr id="62" name="TextBox 61">
            <a:extLst>
              <a:ext uri="{FF2B5EF4-FFF2-40B4-BE49-F238E27FC236}">
                <a16:creationId xmlns:a16="http://schemas.microsoft.com/office/drawing/2014/main" id="{26D5E0A0-A7CC-4D02-B4BD-07355282B983}"/>
              </a:ext>
            </a:extLst>
          </p:cNvPr>
          <p:cNvSpPr txBox="1"/>
          <p:nvPr/>
        </p:nvSpPr>
        <p:spPr>
          <a:xfrm>
            <a:off x="7589783" y="5033963"/>
            <a:ext cx="970300" cy="417513"/>
          </a:xfrm>
          <a:prstGeom prst="rect">
            <a:avLst/>
          </a:prstGeom>
        </p:spPr>
        <p:txBody>
          <a:bodyPr vert="horz" wrap="square" lIns="91440" tIns="45720" rIns="91440" bIns="45720" rtlCol="0" anchor="ctr">
            <a:noAutofit/>
          </a:bodyPr>
          <a:lstStyle/>
          <a:p>
            <a:pPr marL="0" indent="0" algn="ctr">
              <a:buNone/>
            </a:pPr>
            <a:r>
              <a:rPr lang="nl-NL" sz="1200" noProof="0" dirty="0"/>
              <a:t>10</a:t>
            </a:r>
          </a:p>
        </p:txBody>
      </p:sp>
      <p:sp>
        <p:nvSpPr>
          <p:cNvPr id="68" name="TextBox 67">
            <a:extLst>
              <a:ext uri="{FF2B5EF4-FFF2-40B4-BE49-F238E27FC236}">
                <a16:creationId xmlns:a16="http://schemas.microsoft.com/office/drawing/2014/main" id="{6B07BEE0-953B-4059-8AB8-D4BF1732DF78}"/>
              </a:ext>
            </a:extLst>
          </p:cNvPr>
          <p:cNvSpPr txBox="1"/>
          <p:nvPr/>
        </p:nvSpPr>
        <p:spPr>
          <a:xfrm>
            <a:off x="8669022" y="1806574"/>
            <a:ext cx="1267458" cy="419100"/>
          </a:xfrm>
          <a:prstGeom prst="rect">
            <a:avLst/>
          </a:prstGeom>
        </p:spPr>
        <p:txBody>
          <a:bodyPr vert="horz" wrap="square" lIns="91440" tIns="45720" rIns="91440" bIns="45720" rtlCol="0">
            <a:noAutofit/>
          </a:bodyPr>
          <a:lstStyle/>
          <a:p>
            <a:pPr marL="0" indent="0" algn="ctr">
              <a:buNone/>
            </a:pPr>
            <a:r>
              <a:rPr lang="nl-NL" sz="1200" dirty="0"/>
              <a:t>Percentage inwoners</a:t>
            </a:r>
            <a:endParaRPr lang="nl-NL" sz="1200" noProof="0" dirty="0"/>
          </a:p>
        </p:txBody>
      </p:sp>
      <p:sp>
        <p:nvSpPr>
          <p:cNvPr id="69" name="TextBox 68">
            <a:extLst>
              <a:ext uri="{FF2B5EF4-FFF2-40B4-BE49-F238E27FC236}">
                <a16:creationId xmlns:a16="http://schemas.microsoft.com/office/drawing/2014/main" id="{9596CEFD-DFF2-4356-8A15-4805A6D9E7A0}"/>
              </a:ext>
            </a:extLst>
          </p:cNvPr>
          <p:cNvSpPr txBox="1"/>
          <p:nvPr/>
        </p:nvSpPr>
        <p:spPr>
          <a:xfrm>
            <a:off x="8797802" y="2352674"/>
            <a:ext cx="970300" cy="419100"/>
          </a:xfrm>
          <a:prstGeom prst="rect">
            <a:avLst/>
          </a:prstGeom>
        </p:spPr>
        <p:txBody>
          <a:bodyPr vert="horz" wrap="square" lIns="91440" tIns="45720" rIns="91440" bIns="45720" rtlCol="0" anchor="ctr">
            <a:noAutofit/>
          </a:bodyPr>
          <a:lstStyle/>
          <a:p>
            <a:pPr marL="0" indent="0" algn="ctr">
              <a:buNone/>
            </a:pPr>
            <a:r>
              <a:rPr lang="nl-NL" sz="1200" dirty="0"/>
              <a:t>12%</a:t>
            </a:r>
            <a:endParaRPr lang="nl-NL" sz="1200" noProof="0" dirty="0"/>
          </a:p>
        </p:txBody>
      </p:sp>
      <p:sp>
        <p:nvSpPr>
          <p:cNvPr id="70" name="TextBox 69">
            <a:extLst>
              <a:ext uri="{FF2B5EF4-FFF2-40B4-BE49-F238E27FC236}">
                <a16:creationId xmlns:a16="http://schemas.microsoft.com/office/drawing/2014/main" id="{CDA072EB-C5D0-4B5B-86A3-B7979602ECAA}"/>
              </a:ext>
            </a:extLst>
          </p:cNvPr>
          <p:cNvSpPr txBox="1"/>
          <p:nvPr/>
        </p:nvSpPr>
        <p:spPr>
          <a:xfrm>
            <a:off x="8797802" y="5568949"/>
            <a:ext cx="970300" cy="419100"/>
          </a:xfrm>
          <a:prstGeom prst="rect">
            <a:avLst/>
          </a:prstGeom>
        </p:spPr>
        <p:txBody>
          <a:bodyPr vert="horz" wrap="square" lIns="91440" tIns="45720" rIns="91440" bIns="45720" rtlCol="0" anchor="ctr">
            <a:noAutofit/>
          </a:bodyPr>
          <a:lstStyle/>
          <a:p>
            <a:pPr marL="0" indent="0" algn="ctr">
              <a:buNone/>
            </a:pPr>
            <a:r>
              <a:rPr lang="nl-NL" sz="1200" noProof="0" dirty="0"/>
              <a:t>19%</a:t>
            </a:r>
          </a:p>
        </p:txBody>
      </p:sp>
      <p:sp>
        <p:nvSpPr>
          <p:cNvPr id="72" name="TextBox 71">
            <a:extLst>
              <a:ext uri="{FF2B5EF4-FFF2-40B4-BE49-F238E27FC236}">
                <a16:creationId xmlns:a16="http://schemas.microsoft.com/office/drawing/2014/main" id="{17572336-34A7-4E52-9FED-91296A812C54}"/>
              </a:ext>
            </a:extLst>
          </p:cNvPr>
          <p:cNvSpPr txBox="1"/>
          <p:nvPr/>
        </p:nvSpPr>
        <p:spPr>
          <a:xfrm>
            <a:off x="8797802" y="4497388"/>
            <a:ext cx="970300" cy="417513"/>
          </a:xfrm>
          <a:prstGeom prst="rect">
            <a:avLst/>
          </a:prstGeom>
        </p:spPr>
        <p:txBody>
          <a:bodyPr vert="horz" wrap="square" lIns="91440" tIns="45720" rIns="91440" bIns="45720" rtlCol="0" anchor="ctr">
            <a:noAutofit/>
          </a:bodyPr>
          <a:lstStyle/>
          <a:p>
            <a:pPr marL="0" indent="0" algn="ctr">
              <a:buNone/>
            </a:pPr>
            <a:r>
              <a:rPr lang="nl-NL" sz="1200" noProof="0" dirty="0"/>
              <a:t>9%</a:t>
            </a:r>
          </a:p>
        </p:txBody>
      </p:sp>
      <p:sp>
        <p:nvSpPr>
          <p:cNvPr id="75" name="TextBox 74">
            <a:extLst>
              <a:ext uri="{FF2B5EF4-FFF2-40B4-BE49-F238E27FC236}">
                <a16:creationId xmlns:a16="http://schemas.microsoft.com/office/drawing/2014/main" id="{5101F2F1-964E-4EAE-80F6-4845F3513B61}"/>
              </a:ext>
            </a:extLst>
          </p:cNvPr>
          <p:cNvSpPr txBox="1"/>
          <p:nvPr/>
        </p:nvSpPr>
        <p:spPr>
          <a:xfrm>
            <a:off x="8797802" y="3425825"/>
            <a:ext cx="970300" cy="417513"/>
          </a:xfrm>
          <a:prstGeom prst="rect">
            <a:avLst/>
          </a:prstGeom>
        </p:spPr>
        <p:txBody>
          <a:bodyPr vert="horz" wrap="square" lIns="91440" tIns="45720" rIns="91440" bIns="45720" rtlCol="0" anchor="ctr">
            <a:noAutofit/>
          </a:bodyPr>
          <a:lstStyle/>
          <a:p>
            <a:pPr marL="0" indent="0" algn="ctr">
              <a:buNone/>
            </a:pPr>
            <a:r>
              <a:rPr lang="nl-NL" sz="1200" dirty="0"/>
              <a:t>13%</a:t>
            </a:r>
            <a:endParaRPr lang="nl-NL" sz="1200" noProof="0" dirty="0"/>
          </a:p>
        </p:txBody>
      </p:sp>
      <p:sp>
        <p:nvSpPr>
          <p:cNvPr id="77" name="TextBox 76">
            <a:extLst>
              <a:ext uri="{FF2B5EF4-FFF2-40B4-BE49-F238E27FC236}">
                <a16:creationId xmlns:a16="http://schemas.microsoft.com/office/drawing/2014/main" id="{703B1B14-944D-426A-AB7D-0F755A382118}"/>
              </a:ext>
            </a:extLst>
          </p:cNvPr>
          <p:cNvSpPr txBox="1"/>
          <p:nvPr/>
        </p:nvSpPr>
        <p:spPr>
          <a:xfrm>
            <a:off x="8797802" y="2889250"/>
            <a:ext cx="970300" cy="417513"/>
          </a:xfrm>
          <a:prstGeom prst="rect">
            <a:avLst/>
          </a:prstGeom>
        </p:spPr>
        <p:txBody>
          <a:bodyPr vert="horz" wrap="square" lIns="91440" tIns="45720" rIns="91440" bIns="45720" rtlCol="0" anchor="ctr">
            <a:noAutofit/>
          </a:bodyPr>
          <a:lstStyle/>
          <a:p>
            <a:pPr marL="0" indent="0" algn="ctr">
              <a:buNone/>
            </a:pPr>
            <a:r>
              <a:rPr lang="nl-NL" sz="1200" dirty="0"/>
              <a:t>29%</a:t>
            </a:r>
            <a:endParaRPr lang="nl-NL" sz="1200" noProof="0" dirty="0"/>
          </a:p>
        </p:txBody>
      </p:sp>
      <p:sp>
        <p:nvSpPr>
          <p:cNvPr id="78" name="TextBox 77">
            <a:extLst>
              <a:ext uri="{FF2B5EF4-FFF2-40B4-BE49-F238E27FC236}">
                <a16:creationId xmlns:a16="http://schemas.microsoft.com/office/drawing/2014/main" id="{A4B96187-18B6-46E4-BF4B-7FDCC2C102A2}"/>
              </a:ext>
            </a:extLst>
          </p:cNvPr>
          <p:cNvSpPr txBox="1"/>
          <p:nvPr/>
        </p:nvSpPr>
        <p:spPr>
          <a:xfrm>
            <a:off x="8797802" y="3960812"/>
            <a:ext cx="970300" cy="419100"/>
          </a:xfrm>
          <a:prstGeom prst="rect">
            <a:avLst/>
          </a:prstGeom>
        </p:spPr>
        <p:txBody>
          <a:bodyPr vert="horz" wrap="square" lIns="91440" tIns="45720" rIns="91440" bIns="45720" rtlCol="0" anchor="ctr">
            <a:noAutofit/>
          </a:bodyPr>
          <a:lstStyle/>
          <a:p>
            <a:pPr marL="0" indent="0" algn="ctr">
              <a:buNone/>
            </a:pPr>
            <a:r>
              <a:rPr lang="nl-NL" sz="1200" noProof="0" dirty="0"/>
              <a:t>8%</a:t>
            </a:r>
          </a:p>
        </p:txBody>
      </p:sp>
      <p:sp>
        <p:nvSpPr>
          <p:cNvPr id="79" name="TextBox 78">
            <a:extLst>
              <a:ext uri="{FF2B5EF4-FFF2-40B4-BE49-F238E27FC236}">
                <a16:creationId xmlns:a16="http://schemas.microsoft.com/office/drawing/2014/main" id="{B1977E6C-D683-475E-952E-75485FF08613}"/>
              </a:ext>
            </a:extLst>
          </p:cNvPr>
          <p:cNvSpPr txBox="1"/>
          <p:nvPr/>
        </p:nvSpPr>
        <p:spPr>
          <a:xfrm>
            <a:off x="8797802" y="5033963"/>
            <a:ext cx="970300" cy="417513"/>
          </a:xfrm>
          <a:prstGeom prst="rect">
            <a:avLst/>
          </a:prstGeom>
        </p:spPr>
        <p:txBody>
          <a:bodyPr vert="horz" wrap="square" lIns="91440" tIns="45720" rIns="91440" bIns="45720" rtlCol="0" anchor="ctr">
            <a:noAutofit/>
          </a:bodyPr>
          <a:lstStyle/>
          <a:p>
            <a:pPr marL="0" indent="0" algn="ctr">
              <a:buNone/>
            </a:pPr>
            <a:r>
              <a:rPr lang="nl-NL" sz="1200" noProof="0" dirty="0"/>
              <a:t>9%</a:t>
            </a:r>
          </a:p>
        </p:txBody>
      </p:sp>
    </p:spTree>
    <p:extLst>
      <p:ext uri="{BB962C8B-B14F-4D97-AF65-F5344CB8AC3E}">
        <p14:creationId xmlns:p14="http://schemas.microsoft.com/office/powerpoint/2010/main" val="3820382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F1EC922-3ED5-4091-BF10-B56A02681F98}"/>
              </a:ext>
            </a:extLst>
          </p:cNvPr>
          <p:cNvGraphicFramePr>
            <a:graphicFrameLocks noChangeAspect="1"/>
          </p:cNvGraphicFramePr>
          <p:nvPr>
            <p:custDataLst>
              <p:tags r:id="rId1"/>
            </p:custDataLst>
            <p:extLst>
              <p:ext uri="{D42A27DB-BD31-4B8C-83A1-F6EECF244321}">
                <p14:modId xmlns:p14="http://schemas.microsoft.com/office/powerpoint/2010/main" val="74428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01" imgH="502" progId="TCLayout.ActiveDocument.1">
                  <p:embed/>
                </p:oleObj>
              </mc:Choice>
              <mc:Fallback>
                <p:oleObj name="think-cell Slide" r:id="rId32" imgW="501" imgH="502" progId="TCLayout.ActiveDocument.1">
                  <p:embed/>
                  <p:pic>
                    <p:nvPicPr>
                      <p:cNvPr id="12" name="Object 11" hidden="1">
                        <a:extLst>
                          <a:ext uri="{FF2B5EF4-FFF2-40B4-BE49-F238E27FC236}">
                            <a16:creationId xmlns:a16="http://schemas.microsoft.com/office/drawing/2014/main" id="{6F1EC922-3ED5-4091-BF10-B56A02681F9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61451BDC-54A2-44DD-A7C6-C7F9AF7EB649}"/>
              </a:ext>
            </a:extLst>
          </p:cNvPr>
          <p:cNvSpPr>
            <a:spLocks noGrp="1"/>
          </p:cNvSpPr>
          <p:nvPr>
            <p:ph type="body" sz="quarter" idx="20"/>
          </p:nvPr>
        </p:nvSpPr>
        <p:spPr/>
        <p:txBody>
          <a:bodyPr/>
          <a:lstStyle/>
          <a:p>
            <a:r>
              <a:rPr lang="nl-NL" dirty="0"/>
              <a:t>Negatief percentage is een overschot</a:t>
            </a:r>
          </a:p>
        </p:txBody>
      </p:sp>
      <p:sp>
        <p:nvSpPr>
          <p:cNvPr id="7" name="Footer Placeholder 6">
            <a:extLst>
              <a:ext uri="{FF2B5EF4-FFF2-40B4-BE49-F238E27FC236}">
                <a16:creationId xmlns:a16="http://schemas.microsoft.com/office/drawing/2014/main" id="{DDB2DFAA-29E1-48DD-B561-37EC8A5B3963}"/>
              </a:ext>
            </a:extLst>
          </p:cNvPr>
          <p:cNvSpPr>
            <a:spLocks noGrp="1"/>
          </p:cNvSpPr>
          <p:nvPr>
            <p:ph type="ftr" sz="quarter" idx="3"/>
          </p:nvPr>
        </p:nvSpPr>
        <p:spPr/>
        <p:txBody>
          <a:bodyPr/>
          <a:lstStyle/>
          <a:p>
            <a:r>
              <a:rPr lang="nl-NL" dirty="0"/>
              <a:t>Bron: Iv3-data; AEF; it’s public analyse</a:t>
            </a:r>
          </a:p>
        </p:txBody>
      </p:sp>
      <p:sp>
        <p:nvSpPr>
          <p:cNvPr id="13" name="Text Placeholder 12">
            <a:extLst>
              <a:ext uri="{FF2B5EF4-FFF2-40B4-BE49-F238E27FC236}">
                <a16:creationId xmlns:a16="http://schemas.microsoft.com/office/drawing/2014/main" id="{98E31EB9-6D55-453F-A2C9-F61C7A635540}"/>
              </a:ext>
            </a:extLst>
          </p:cNvPr>
          <p:cNvSpPr>
            <a:spLocks noGrp="1"/>
          </p:cNvSpPr>
          <p:nvPr>
            <p:ph type="body" sz="quarter" idx="14"/>
          </p:nvPr>
        </p:nvSpPr>
        <p:spPr/>
        <p:txBody>
          <a:bodyPr/>
          <a:lstStyle/>
          <a:p>
            <a:r>
              <a:rPr lang="nl-NL" dirty="0"/>
              <a:t>Tekorten jeugdzorg per gemeente, Nederland, 2019</a:t>
            </a:r>
          </a:p>
          <a:p>
            <a:r>
              <a:rPr lang="nl-NL" b="0" dirty="0"/>
              <a:t># inwoners, % tekort t.o.v. inkomsten gemeentefonds</a:t>
            </a:r>
          </a:p>
        </p:txBody>
      </p:sp>
      <p:sp>
        <p:nvSpPr>
          <p:cNvPr id="10" name="Title 9">
            <a:extLst>
              <a:ext uri="{FF2B5EF4-FFF2-40B4-BE49-F238E27FC236}">
                <a16:creationId xmlns:a16="http://schemas.microsoft.com/office/drawing/2014/main" id="{002508F7-661C-43A3-9B6E-AF74C128F2F3}"/>
              </a:ext>
            </a:extLst>
          </p:cNvPr>
          <p:cNvSpPr>
            <a:spLocks noGrp="1"/>
          </p:cNvSpPr>
          <p:nvPr>
            <p:ph type="title"/>
          </p:nvPr>
        </p:nvSpPr>
        <p:spPr/>
        <p:txBody>
          <a:bodyPr vert="horz"/>
          <a:lstStyle/>
          <a:p>
            <a:r>
              <a:rPr lang="nl-NL" dirty="0"/>
              <a:t>… maar er is wel veel onderlinge variatie</a:t>
            </a:r>
          </a:p>
        </p:txBody>
      </p:sp>
      <p:cxnSp>
        <p:nvCxnSpPr>
          <p:cNvPr id="142" name="Straight Connector 141">
            <a:extLst>
              <a:ext uri="{FF2B5EF4-FFF2-40B4-BE49-F238E27FC236}">
                <a16:creationId xmlns:a16="http://schemas.microsoft.com/office/drawing/2014/main" id="{8D5664C4-FBFE-4414-AC9E-386F46845734}"/>
              </a:ext>
            </a:extLst>
          </p:cNvPr>
          <p:cNvCxnSpPr/>
          <p:nvPr>
            <p:custDataLst>
              <p:tags r:id="rId2"/>
            </p:custDataLst>
          </p:nvPr>
        </p:nvCxnSpPr>
        <p:spPr bwMode="auto">
          <a:xfrm>
            <a:off x="2103438" y="2025650"/>
            <a:ext cx="7875588"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AB1C9716-4E52-469A-9896-78480B1C8D69}"/>
              </a:ext>
            </a:extLst>
          </p:cNvPr>
          <p:cNvCxnSpPr/>
          <p:nvPr>
            <p:custDataLst>
              <p:tags r:id="rId3"/>
            </p:custDataLst>
          </p:nvPr>
        </p:nvCxnSpPr>
        <p:spPr bwMode="auto">
          <a:xfrm>
            <a:off x="9979025" y="2025650"/>
            <a:ext cx="0" cy="276225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CDE3F7C8-8B08-4B07-8DD9-316E18147DE8}"/>
              </a:ext>
            </a:extLst>
          </p:cNvPr>
          <p:cNvCxnSpPr/>
          <p:nvPr>
            <p:custDataLst>
              <p:tags r:id="rId4"/>
            </p:custDataLst>
          </p:nvPr>
        </p:nvCxnSpPr>
        <p:spPr bwMode="auto">
          <a:xfrm>
            <a:off x="9979025" y="4953000"/>
            <a:ext cx="0" cy="715963"/>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FD8BE276-75F6-4FB1-BB2F-E9949A606089}"/>
              </a:ext>
            </a:extLst>
          </p:cNvPr>
          <p:cNvGraphicFramePr/>
          <p:nvPr>
            <p:custDataLst>
              <p:tags r:id="rId5"/>
            </p:custDataLst>
            <p:extLst>
              <p:ext uri="{D42A27DB-BD31-4B8C-83A1-F6EECF244321}">
                <p14:modId xmlns:p14="http://schemas.microsoft.com/office/powerpoint/2010/main" val="2956475865"/>
              </p:ext>
            </p:extLst>
          </p:nvPr>
        </p:nvGraphicFramePr>
        <p:xfrm>
          <a:off x="1503363" y="1912938"/>
          <a:ext cx="8931275" cy="4084637"/>
        </p:xfrm>
        <a:graphic>
          <a:graphicData uri="http://schemas.openxmlformats.org/drawingml/2006/chart">
            <c:chart xmlns:c="http://schemas.openxmlformats.org/drawingml/2006/chart" xmlns:r="http://schemas.openxmlformats.org/officeDocument/2006/relationships" r:id="rId34"/>
          </a:graphicData>
        </a:graphic>
      </p:graphicFrame>
      <p:cxnSp>
        <p:nvCxnSpPr>
          <p:cNvPr id="167" name="Straight Connector 166">
            <a:extLst>
              <a:ext uri="{FF2B5EF4-FFF2-40B4-BE49-F238E27FC236}">
                <a16:creationId xmlns:a16="http://schemas.microsoft.com/office/drawing/2014/main" id="{3357ADA6-69F6-4D94-928B-A59AFE557EB8}"/>
              </a:ext>
            </a:extLst>
          </p:cNvPr>
          <p:cNvCxnSpPr/>
          <p:nvPr>
            <p:custDataLst>
              <p:tags r:id="rId6"/>
            </p:custDataLst>
          </p:nvPr>
        </p:nvCxnSpPr>
        <p:spPr bwMode="auto">
          <a:xfrm flipH="1">
            <a:off x="8459788" y="4237037"/>
            <a:ext cx="247650" cy="1841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86C44CC1-473E-47AD-AB85-E9952E387A23}"/>
              </a:ext>
            </a:extLst>
          </p:cNvPr>
          <p:cNvCxnSpPr/>
          <p:nvPr>
            <p:custDataLst>
              <p:tags r:id="rId7"/>
            </p:custDataLst>
          </p:nvPr>
        </p:nvCxnSpPr>
        <p:spPr bwMode="auto">
          <a:xfrm>
            <a:off x="9718675" y="4629150"/>
            <a:ext cx="92075" cy="1270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7CE96709-3235-4E0A-92CB-CDB71F615384}"/>
              </a:ext>
            </a:extLst>
          </p:cNvPr>
          <p:cNvCxnSpPr/>
          <p:nvPr>
            <p:custDataLst>
              <p:tags r:id="rId8"/>
            </p:custDataLst>
          </p:nvPr>
        </p:nvCxnSpPr>
        <p:spPr bwMode="auto">
          <a:xfrm flipH="1" flipV="1">
            <a:off x="8745538" y="5010150"/>
            <a:ext cx="60325" cy="128588"/>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C796952E-E546-447E-BB6D-FE7C3DA6215A}"/>
              </a:ext>
            </a:extLst>
          </p:cNvPr>
          <p:cNvCxnSpPr/>
          <p:nvPr>
            <p:custDataLst>
              <p:tags r:id="rId9"/>
            </p:custDataLst>
          </p:nvPr>
        </p:nvCxnSpPr>
        <p:spPr bwMode="auto">
          <a:xfrm flipH="1">
            <a:off x="7797800" y="3971925"/>
            <a:ext cx="49213" cy="5715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2FEAEEA2-8705-4114-A086-4AFD66E2748B}"/>
              </a:ext>
            </a:extLst>
          </p:cNvPr>
          <p:cNvCxnSpPr/>
          <p:nvPr>
            <p:custDataLst>
              <p:tags r:id="rId10"/>
            </p:custDataLst>
          </p:nvPr>
        </p:nvCxnSpPr>
        <p:spPr bwMode="auto">
          <a:xfrm flipH="1">
            <a:off x="8707438" y="4418013"/>
            <a:ext cx="131763" cy="104775"/>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05"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5487988" y="2420938"/>
            <a:ext cx="79851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E8B27A3-E81F-4B29-9A28-D34457568DC0}" type="datetime'''''Tersc''''''he''ll''''''i''''''''''''''''''''''''n''g'''''">
              <a:rPr lang="nl-NL" altLang="en-US" sz="1200" smtClean="0">
                <a:solidFill>
                  <a:schemeClr val="tx1"/>
                </a:solidFill>
                <a:effectLst/>
                <a:latin typeface="+mn-lt"/>
              </a:rPr>
              <a:pPr marL="0" indent="0">
                <a:spcBef>
                  <a:spcPct val="0"/>
                </a:spcBef>
                <a:spcAft>
                  <a:spcPct val="0"/>
                </a:spcAft>
                <a:buNone/>
              </a:pPr>
              <a:t>Terschelling</a:t>
            </a:fld>
            <a:endParaRPr lang="nl-NL" sz="1200" noProof="0" dirty="0">
              <a:solidFill>
                <a:schemeClr val="tx1"/>
              </a:solidFill>
              <a:latin typeface="+mn-lt"/>
            </a:endParaRPr>
          </a:p>
        </p:txBody>
      </p:sp>
      <p:sp>
        <p:nvSpPr>
          <p:cNvPr id="164" name="Content 1">
            <a:extLst>
              <a:ext uri="{FF2B5EF4-FFF2-40B4-BE49-F238E27FC236}">
                <a16:creationId xmlns:a16="http://schemas.microsoft.com/office/drawing/2014/main" id="{01F0E59B-1517-4A98-A5EF-2368134DE0ED}"/>
              </a:ext>
            </a:extLst>
          </p:cNvPr>
          <p:cNvSpPr>
            <a:spLocks noGrp="1"/>
          </p:cNvSpPr>
          <p:nvPr>
            <p:custDataLst>
              <p:tags r:id="rId12"/>
            </p:custDataLst>
          </p:nvPr>
        </p:nvSpPr>
        <p:spPr bwMode="gray">
          <a:xfrm>
            <a:off x="8466138" y="4071938"/>
            <a:ext cx="70802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3B575FF-2207-4DA6-9950-2D761A23D6FB}" type="datetime'''''''A''''''pe''''''''''''l''''d''''''''o''o''''r''''''''n'">
              <a:rPr lang="nl-NL" altLang="en-US" sz="1200" smtClean="0">
                <a:solidFill>
                  <a:schemeClr val="tx1"/>
                </a:solidFill>
              </a:rPr>
              <a:pPr/>
              <a:t>Apeldoorn</a:t>
            </a:fld>
            <a:endParaRPr lang="nl-NL" sz="1200" noProof="0" dirty="0">
              <a:solidFill>
                <a:schemeClr val="tx1"/>
              </a:solidFill>
              <a:latin typeface="+mn-lt"/>
            </a:endParaRPr>
          </a:p>
        </p:txBody>
      </p:sp>
      <p:sp>
        <p:nvSpPr>
          <p:cNvPr id="591" name="Content 1">
            <a:extLst>
              <a:ext uri="{FF2B5EF4-FFF2-40B4-BE49-F238E27FC236}">
                <a16:creationId xmlns:a16="http://schemas.microsoft.com/office/drawing/2014/main" id="{B987A559-460E-418A-B22D-CA64C1B48EE1}"/>
              </a:ext>
            </a:extLst>
          </p:cNvPr>
          <p:cNvSpPr>
            <a:spLocks noGrp="1"/>
          </p:cNvSpPr>
          <p:nvPr>
            <p:custDataLst>
              <p:tags r:id="rId13"/>
            </p:custDataLst>
          </p:nvPr>
        </p:nvSpPr>
        <p:spPr bwMode="gray">
          <a:xfrm>
            <a:off x="4876800" y="5481638"/>
            <a:ext cx="6159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C9F8AE1-5D26-422D-92B6-EEFF9B9AF198}" type="datetime'''''''''''''''''''''''A''m''''''''''''''''''e''l''a''''n''d'''">
              <a:rPr lang="nl-NL" altLang="en-US" sz="1200" smtClean="0">
                <a:solidFill>
                  <a:schemeClr val="tx1"/>
                </a:solidFill>
              </a:rPr>
              <a:pPr/>
              <a:t>Ameland</a:t>
            </a:fld>
            <a:endParaRPr lang="nl-NL" sz="1200" noProof="0" dirty="0">
              <a:solidFill>
                <a:schemeClr val="tx1"/>
              </a:solidFill>
              <a:latin typeface="+mn-lt"/>
            </a:endParaRPr>
          </a:p>
        </p:txBody>
      </p:sp>
      <p:sp>
        <p:nvSpPr>
          <p:cNvPr id="176" name="Content 1">
            <a:extLst>
              <a:ext uri="{FF2B5EF4-FFF2-40B4-BE49-F238E27FC236}">
                <a16:creationId xmlns:a16="http://schemas.microsoft.com/office/drawing/2014/main" id="{E7E4AFA5-EA36-4AEB-805E-4B80498509D5}"/>
              </a:ext>
            </a:extLst>
          </p:cNvPr>
          <p:cNvSpPr>
            <a:spLocks noGrp="1"/>
          </p:cNvSpPr>
          <p:nvPr>
            <p:custDataLst>
              <p:tags r:id="rId14"/>
            </p:custDataLst>
          </p:nvPr>
        </p:nvSpPr>
        <p:spPr bwMode="gray">
          <a:xfrm>
            <a:off x="7116763" y="3806825"/>
            <a:ext cx="16065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9D868BA-6E97-4260-B3E3-5EA8ACB44A92}" type="datetime'Le''i''d''s''ch''''''en''''dam-''Vo''o''''rbu''''rg'''">
              <a:rPr lang="nl-NL" altLang="en-US" sz="1200" smtClean="0">
                <a:solidFill>
                  <a:schemeClr val="tx1"/>
                </a:solidFill>
              </a:rPr>
              <a:pPr/>
              <a:t>Leidschendam-Voorburg</a:t>
            </a:fld>
            <a:endParaRPr lang="nl-NL" sz="1200" noProof="0" dirty="0">
              <a:solidFill>
                <a:schemeClr val="tx1"/>
              </a:solidFill>
              <a:latin typeface="+mn-lt"/>
            </a:endParaRPr>
          </a:p>
        </p:txBody>
      </p:sp>
      <p:sp>
        <p:nvSpPr>
          <p:cNvPr id="111" name="Content 1">
            <a:extLst>
              <a:ext uri="{FF2B5EF4-FFF2-40B4-BE49-F238E27FC236}">
                <a16:creationId xmlns:a16="http://schemas.microsoft.com/office/drawing/2014/main" id="{2A99B850-9396-4D9B-86E4-D3DE2CEE2E3A}"/>
              </a:ext>
            </a:extLst>
          </p:cNvPr>
          <p:cNvSpPr>
            <a:spLocks noGrp="1"/>
          </p:cNvSpPr>
          <p:nvPr>
            <p:custDataLst>
              <p:tags r:id="rId15"/>
            </p:custDataLst>
          </p:nvPr>
        </p:nvSpPr>
        <p:spPr bwMode="gray">
          <a:xfrm>
            <a:off x="8926513" y="4497388"/>
            <a:ext cx="7921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8CF40DB-AE7E-4BA6-916A-DF26A0CF6226}" type="datetime'A''''''m''''''''s''''''''''t''er''d''''''''''''a''m'''''''''''">
              <a:rPr lang="nl-NL" altLang="en-US" sz="1200" smtClean="0">
                <a:solidFill>
                  <a:schemeClr val="tx1"/>
                </a:solidFill>
              </a:rPr>
              <a:pPr/>
              <a:t>Amsterdam</a:t>
            </a:fld>
            <a:endParaRPr lang="nl-NL" sz="1200" noProof="0" dirty="0">
              <a:solidFill>
                <a:schemeClr val="tx1"/>
              </a:solidFill>
              <a:latin typeface="+mn-lt"/>
            </a:endParaRPr>
          </a:p>
        </p:txBody>
      </p:sp>
      <p:sp>
        <p:nvSpPr>
          <p:cNvPr id="121" name="Content 1">
            <a:extLst>
              <a:ext uri="{FF2B5EF4-FFF2-40B4-BE49-F238E27FC236}">
                <a16:creationId xmlns:a16="http://schemas.microsoft.com/office/drawing/2014/main" id="{C67268CB-E97F-426D-A7C7-C6E52F1B5A0C}"/>
              </a:ext>
            </a:extLst>
          </p:cNvPr>
          <p:cNvSpPr>
            <a:spLocks noGrp="1"/>
          </p:cNvSpPr>
          <p:nvPr>
            <p:custDataLst>
              <p:tags r:id="rId16"/>
            </p:custDataLst>
          </p:nvPr>
        </p:nvSpPr>
        <p:spPr bwMode="gray">
          <a:xfrm>
            <a:off x="9239250" y="5170488"/>
            <a:ext cx="72707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1261405-5A27-47E7-BC16-CB5EEEF26491}" type="datetime'''''''''R''''ot''t''e''''''r''d''a''''''''''''m'''''''''''">
              <a:rPr lang="nl-NL" altLang="en-US" sz="1200" smtClean="0">
                <a:solidFill>
                  <a:schemeClr val="tx1"/>
                </a:solidFill>
              </a:rPr>
              <a:pPr/>
              <a:t>Rotterdam</a:t>
            </a:fld>
            <a:endParaRPr lang="nl-NL" sz="1200" noProof="0" dirty="0">
              <a:solidFill>
                <a:schemeClr val="tx1"/>
              </a:solidFill>
              <a:latin typeface="+mn-lt"/>
            </a:endParaRPr>
          </a:p>
        </p:txBody>
      </p:sp>
      <p:sp>
        <p:nvSpPr>
          <p:cNvPr id="186" name="Content 1">
            <a:extLst>
              <a:ext uri="{FF2B5EF4-FFF2-40B4-BE49-F238E27FC236}">
                <a16:creationId xmlns:a16="http://schemas.microsoft.com/office/drawing/2014/main" id="{ECDA3DAC-7627-433D-B9E6-69AA0BA3FF78}"/>
              </a:ext>
            </a:extLst>
          </p:cNvPr>
          <p:cNvSpPr>
            <a:spLocks noGrp="1"/>
          </p:cNvSpPr>
          <p:nvPr>
            <p:custDataLst>
              <p:tags r:id="rId17"/>
            </p:custDataLst>
          </p:nvPr>
        </p:nvSpPr>
        <p:spPr bwMode="gray">
          <a:xfrm>
            <a:off x="7158038" y="3567113"/>
            <a:ext cx="143033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2766919-8E7D-4545-B45D-0A110E622EFD}" type="datetime'Bodeg''r''''''''aven''''''-R''''''e''e''''''uw''i''j''''k'">
              <a:rPr lang="nl-NL" altLang="en-US" sz="1200" smtClean="0">
                <a:solidFill>
                  <a:schemeClr val="tx1"/>
                </a:solidFill>
              </a:rPr>
              <a:pPr/>
              <a:t>Bodegraven-Reeuwijk</a:t>
            </a:fld>
            <a:endParaRPr lang="nl-NL" sz="1200" noProof="0" dirty="0">
              <a:solidFill>
                <a:schemeClr val="tx1"/>
              </a:solidFill>
              <a:latin typeface="+mn-lt"/>
            </a:endParaRPr>
          </a:p>
        </p:txBody>
      </p:sp>
      <p:sp>
        <p:nvSpPr>
          <p:cNvPr id="555" name="Content 1">
            <a:extLst>
              <a:ext uri="{FF2B5EF4-FFF2-40B4-BE49-F238E27FC236}">
                <a16:creationId xmlns:a16="http://schemas.microsoft.com/office/drawing/2014/main" id="{2DCFC363-E57A-4A1E-BC90-244543A27AC5}"/>
              </a:ext>
            </a:extLst>
          </p:cNvPr>
          <p:cNvSpPr>
            <a:spLocks noGrp="1"/>
          </p:cNvSpPr>
          <p:nvPr>
            <p:custDataLst>
              <p:tags r:id="rId18"/>
            </p:custDataLst>
          </p:nvPr>
        </p:nvSpPr>
        <p:spPr bwMode="gray">
          <a:xfrm>
            <a:off x="7696200" y="5145088"/>
            <a:ext cx="6286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94C21B4-5D48-4B4B-99C1-784188574706}" type="datetime'''''''D''''''''''e''''''''''v''e''''n''''''''t''e''''''r'">
              <a:rPr lang="nl-NL" altLang="en-US" sz="1200" smtClean="0">
                <a:solidFill>
                  <a:schemeClr val="tx1"/>
                </a:solidFill>
              </a:rPr>
              <a:pPr/>
              <a:t>Deventer</a:t>
            </a:fld>
            <a:endParaRPr lang="nl-NL" sz="1200" noProof="0" dirty="0">
              <a:solidFill>
                <a:schemeClr val="tx1"/>
              </a:solidFill>
              <a:latin typeface="+mn-lt"/>
            </a:endParaRPr>
          </a:p>
        </p:txBody>
      </p:sp>
      <p:sp>
        <p:nvSpPr>
          <p:cNvPr id="191" name="Content 1">
            <a:extLst>
              <a:ext uri="{FF2B5EF4-FFF2-40B4-BE49-F238E27FC236}">
                <a16:creationId xmlns:a16="http://schemas.microsoft.com/office/drawing/2014/main" id="{B45EA872-D74A-42ED-BE9F-5DC1536B0EA3}"/>
              </a:ext>
            </a:extLst>
          </p:cNvPr>
          <p:cNvSpPr>
            <a:spLocks noGrp="1"/>
          </p:cNvSpPr>
          <p:nvPr>
            <p:custDataLst>
              <p:tags r:id="rId19"/>
            </p:custDataLst>
          </p:nvPr>
        </p:nvSpPr>
        <p:spPr bwMode="gray">
          <a:xfrm>
            <a:off x="8488363" y="5138738"/>
            <a:ext cx="71437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4453528-F916-4609-B303-D5735C743E61}" type="datetime'''''''''E''''''i''''ndh''''o''''''''''''''''ve''''''''''n'''">
              <a:rPr lang="nl-NL" altLang="en-US" sz="1200" smtClean="0">
                <a:solidFill>
                  <a:schemeClr val="tx1"/>
                </a:solidFill>
              </a:rPr>
              <a:pPr marL="0" indent="0">
                <a:spcBef>
                  <a:spcPct val="0"/>
                </a:spcBef>
                <a:spcAft>
                  <a:spcPct val="0"/>
                </a:spcAft>
                <a:buNone/>
              </a:pPr>
              <a:t>Eindhoven</a:t>
            </a:fld>
            <a:endParaRPr lang="nl-NL" sz="1200" noProof="0" dirty="0">
              <a:solidFill>
                <a:schemeClr val="tx1"/>
              </a:solidFill>
              <a:latin typeface="+mn-lt"/>
            </a:endParaRPr>
          </a:p>
        </p:txBody>
      </p:sp>
      <p:sp>
        <p:nvSpPr>
          <p:cNvPr id="130" name="Content 1">
            <a:extLst>
              <a:ext uri="{FF2B5EF4-FFF2-40B4-BE49-F238E27FC236}">
                <a16:creationId xmlns:a16="http://schemas.microsoft.com/office/drawing/2014/main" id="{F73C3DEB-3268-4F00-86FF-EC924B5D7F95}"/>
              </a:ext>
            </a:extLst>
          </p:cNvPr>
          <p:cNvSpPr>
            <a:spLocks noGrp="1"/>
          </p:cNvSpPr>
          <p:nvPr>
            <p:custDataLst>
              <p:tags r:id="rId20"/>
            </p:custDataLst>
          </p:nvPr>
        </p:nvSpPr>
        <p:spPr bwMode="gray">
          <a:xfrm>
            <a:off x="9513888" y="4787900"/>
            <a:ext cx="95250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F615CB5-59D6-49B8-90E5-973C43B003BF}" type="datetime'’''''s''-''G''''''''''r''''''av''''en''''''''h''age'''''''">
              <a:rPr lang="nl-NL" altLang="en-US" sz="1200" smtClean="0">
                <a:solidFill>
                  <a:schemeClr val="tx1"/>
                </a:solidFill>
              </a:rPr>
              <a:pPr/>
              <a:t>’s-Gravenhage</a:t>
            </a:fld>
            <a:endParaRPr lang="nl-NL" sz="1200" noProof="0" dirty="0">
              <a:solidFill>
                <a:schemeClr val="tx1"/>
              </a:solidFill>
              <a:latin typeface="+mn-lt"/>
            </a:endParaRPr>
          </a:p>
        </p:txBody>
      </p:sp>
      <p:sp>
        <p:nvSpPr>
          <p:cNvPr id="571" name="Content 1">
            <a:extLst>
              <a:ext uri="{FF2B5EF4-FFF2-40B4-BE49-F238E27FC236}">
                <a16:creationId xmlns:a16="http://schemas.microsoft.com/office/drawing/2014/main" id="{ADB9E7EA-1D13-4E6D-9B31-BD6FD59635E5}"/>
              </a:ext>
            </a:extLst>
          </p:cNvPr>
          <p:cNvSpPr>
            <a:spLocks noGrp="1"/>
          </p:cNvSpPr>
          <p:nvPr>
            <p:custDataLst>
              <p:tags r:id="rId21"/>
            </p:custDataLst>
          </p:nvPr>
        </p:nvSpPr>
        <p:spPr bwMode="gray">
          <a:xfrm>
            <a:off x="5832475" y="3449638"/>
            <a:ext cx="107950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8AAAD7A-64AE-4102-8BAA-1E98339B3708}" type="datetime'''N''''o''''''''''''''o''rd''''''''-''B''''ev''''elan''''d'">
              <a:rPr lang="nl-NL" altLang="en-US" sz="1200" smtClean="0">
                <a:solidFill>
                  <a:schemeClr val="tx1"/>
                </a:solidFill>
              </a:rPr>
              <a:pPr marL="0" indent="0">
                <a:spcBef>
                  <a:spcPct val="0"/>
                </a:spcBef>
                <a:spcAft>
                  <a:spcPct val="0"/>
                </a:spcAft>
                <a:buNone/>
              </a:pPr>
              <a:t>Noord-Beveland</a:t>
            </a:fld>
            <a:endParaRPr lang="nl-NL" sz="1200" noProof="0" dirty="0">
              <a:solidFill>
                <a:schemeClr val="tx1"/>
              </a:solidFill>
              <a:latin typeface="+mn-lt"/>
            </a:endParaRPr>
          </a:p>
        </p:txBody>
      </p:sp>
      <p:sp>
        <p:nvSpPr>
          <p:cNvPr id="600" name="Content 1">
            <a:extLst>
              <a:ext uri="{FF2B5EF4-FFF2-40B4-BE49-F238E27FC236}">
                <a16:creationId xmlns:a16="http://schemas.microsoft.com/office/drawing/2014/main" id="{FFE837F4-2D0A-41FD-B17F-C854122140A5}"/>
              </a:ext>
            </a:extLst>
          </p:cNvPr>
          <p:cNvSpPr>
            <a:spLocks noGrp="1"/>
          </p:cNvSpPr>
          <p:nvPr>
            <p:custDataLst>
              <p:tags r:id="rId22"/>
            </p:custDataLst>
          </p:nvPr>
        </p:nvSpPr>
        <p:spPr bwMode="gray">
          <a:xfrm>
            <a:off x="5045075" y="4025900"/>
            <a:ext cx="77628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40DB064-D532-4BFA-921E-7B9765F86F12}" type="datetime'R''e''''n''''s''w''o''u''''d''''''''''e'">
              <a:rPr lang="nl-NL" altLang="en-US" sz="1200" smtClean="0">
                <a:solidFill>
                  <a:schemeClr val="tx1"/>
                </a:solidFill>
              </a:rPr>
              <a:pPr/>
              <a:t>Renswoude</a:t>
            </a:fld>
            <a:endParaRPr lang="nl-NL" sz="1200" noProof="0" dirty="0">
              <a:solidFill>
                <a:schemeClr val="tx1"/>
              </a:solidFill>
              <a:latin typeface="+mn-lt"/>
            </a:endParaRPr>
          </a:p>
        </p:txBody>
      </p:sp>
      <p:sp>
        <p:nvSpPr>
          <p:cNvPr id="576" name="Content 1">
            <a:extLst>
              <a:ext uri="{FF2B5EF4-FFF2-40B4-BE49-F238E27FC236}">
                <a16:creationId xmlns:a16="http://schemas.microsoft.com/office/drawing/2014/main" id="{A6D52DD8-5ADB-459C-AD8A-6E05178CBEFB}"/>
              </a:ext>
            </a:extLst>
          </p:cNvPr>
          <p:cNvSpPr>
            <a:spLocks noGrp="1"/>
          </p:cNvSpPr>
          <p:nvPr>
            <p:custDataLst>
              <p:tags r:id="rId23"/>
            </p:custDataLst>
          </p:nvPr>
        </p:nvSpPr>
        <p:spPr bwMode="gray">
          <a:xfrm>
            <a:off x="4560888" y="3371850"/>
            <a:ext cx="7032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180CB7E-0F3C-4A2F-8754-9F328E22E8B9}" type="datetime'''''''''''''Ro''ze''n''''d''''''''''''''''''''''''aa''l'">
              <a:rPr lang="nl-NL" altLang="en-US" sz="1200" smtClean="0">
                <a:solidFill>
                  <a:schemeClr val="tx1"/>
                </a:solidFill>
              </a:rPr>
              <a:pPr/>
              <a:t>Rozendaal</a:t>
            </a:fld>
            <a:endParaRPr lang="nl-NL" sz="1200" noProof="0" dirty="0">
              <a:solidFill>
                <a:schemeClr val="tx1"/>
              </a:solidFill>
              <a:latin typeface="+mn-lt"/>
            </a:endParaRPr>
          </a:p>
        </p:txBody>
      </p:sp>
      <p:sp>
        <p:nvSpPr>
          <p:cNvPr id="581" name="Content 1">
            <a:extLst>
              <a:ext uri="{FF2B5EF4-FFF2-40B4-BE49-F238E27FC236}">
                <a16:creationId xmlns:a16="http://schemas.microsoft.com/office/drawing/2014/main" id="{57C5ED28-339E-49A5-927B-CCF0260F5A01}"/>
              </a:ext>
            </a:extLst>
          </p:cNvPr>
          <p:cNvSpPr>
            <a:spLocks noGrp="1"/>
          </p:cNvSpPr>
          <p:nvPr>
            <p:custDataLst>
              <p:tags r:id="rId24"/>
            </p:custDataLst>
          </p:nvPr>
        </p:nvSpPr>
        <p:spPr bwMode="gray">
          <a:xfrm>
            <a:off x="4075113" y="4200525"/>
            <a:ext cx="115728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D92E02FD-6C56-4A12-B775-BE832E2E673D}" type="datetime'''''''S''ch''i''''e''rm''''''o''''''''nni''ko''''''''og'">
              <a:rPr lang="nl-NL" altLang="en-US" sz="1200" smtClean="0">
                <a:solidFill>
                  <a:schemeClr val="tx1"/>
                </a:solidFill>
              </a:rPr>
              <a:pPr/>
              <a:t>Schiermonnikoog</a:t>
            </a:fld>
            <a:endParaRPr lang="nl-NL" sz="1200" noProof="0" dirty="0">
              <a:solidFill>
                <a:schemeClr val="tx1"/>
              </a:solidFill>
              <a:latin typeface="+mn-lt"/>
            </a:endParaRPr>
          </a:p>
        </p:txBody>
      </p:sp>
      <p:sp>
        <p:nvSpPr>
          <p:cNvPr id="154" name="Content 1">
            <a:extLst>
              <a:ext uri="{FF2B5EF4-FFF2-40B4-BE49-F238E27FC236}">
                <a16:creationId xmlns:a16="http://schemas.microsoft.com/office/drawing/2014/main" id="{01081C63-3198-42C7-86D4-C1CCD49C7783}"/>
              </a:ext>
            </a:extLst>
          </p:cNvPr>
          <p:cNvSpPr>
            <a:spLocks noGrp="1"/>
          </p:cNvSpPr>
          <p:nvPr>
            <p:custDataLst>
              <p:tags r:id="rId25"/>
            </p:custDataLst>
          </p:nvPr>
        </p:nvSpPr>
        <p:spPr bwMode="gray">
          <a:xfrm>
            <a:off x="8697913" y="4252913"/>
            <a:ext cx="49053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6C7DF52-0D40-4A88-BCCB-549D6BF08CCE}" type="datetime'''''T''''ilb''''''''''''''''u''''''''r''''''''''''g'''''">
              <a:rPr lang="nl-NL" altLang="en-US" sz="1200" smtClean="0">
                <a:solidFill>
                  <a:schemeClr val="tx1"/>
                </a:solidFill>
              </a:rPr>
              <a:pPr/>
              <a:t>Tilburg</a:t>
            </a:fld>
            <a:endParaRPr lang="nl-NL" sz="1200" noProof="0" dirty="0">
              <a:solidFill>
                <a:schemeClr val="tx1"/>
              </a:solidFill>
              <a:latin typeface="+mn-lt"/>
            </a:endParaRPr>
          </a:p>
        </p:txBody>
      </p:sp>
      <p:sp>
        <p:nvSpPr>
          <p:cNvPr id="699" name="Content 1">
            <a:extLst>
              <a:ext uri="{FF2B5EF4-FFF2-40B4-BE49-F238E27FC236}">
                <a16:creationId xmlns:a16="http://schemas.microsoft.com/office/drawing/2014/main" id="{2834C510-F0E8-4D4C-B0DB-915391F8E4CB}"/>
              </a:ext>
            </a:extLst>
          </p:cNvPr>
          <p:cNvSpPr>
            <a:spLocks noGrp="1"/>
          </p:cNvSpPr>
          <p:nvPr>
            <p:custDataLst>
              <p:tags r:id="rId26"/>
            </p:custDataLst>
          </p:nvPr>
        </p:nvSpPr>
        <p:spPr bwMode="gray">
          <a:xfrm>
            <a:off x="6724651" y="5245100"/>
            <a:ext cx="2714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83E3C0E-6756-4DA6-A4F3-4BEE293419E0}" type="datetime'''''''''''''''U''''''''r''''''''''''''''''k'''''''''''">
              <a:rPr lang="nl-NL" altLang="en-US" sz="1200" smtClean="0">
                <a:solidFill>
                  <a:schemeClr val="tx1"/>
                </a:solidFill>
              </a:rPr>
              <a:pPr/>
              <a:t>Urk</a:t>
            </a:fld>
            <a:endParaRPr lang="nl-NL" sz="1200" noProof="0" dirty="0">
              <a:solidFill>
                <a:schemeClr val="tx1"/>
              </a:solidFill>
              <a:latin typeface="+mn-lt"/>
            </a:endParaRPr>
          </a:p>
        </p:txBody>
      </p:sp>
      <p:sp>
        <p:nvSpPr>
          <p:cNvPr id="149" name="Content 1">
            <a:extLst>
              <a:ext uri="{FF2B5EF4-FFF2-40B4-BE49-F238E27FC236}">
                <a16:creationId xmlns:a16="http://schemas.microsoft.com/office/drawing/2014/main" id="{9DA45089-0538-425D-93DC-2D813518AE0D}"/>
              </a:ext>
            </a:extLst>
          </p:cNvPr>
          <p:cNvSpPr>
            <a:spLocks noGrp="1"/>
          </p:cNvSpPr>
          <p:nvPr>
            <p:custDataLst>
              <p:tags r:id="rId27"/>
            </p:custDataLst>
          </p:nvPr>
        </p:nvSpPr>
        <p:spPr bwMode="gray">
          <a:xfrm>
            <a:off x="8826500" y="4899025"/>
            <a:ext cx="5254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0F8F68F-4ACE-4C06-AD64-BCF40B9218EB}" type="datetime'''''''''''''''''U''''''''''''''t''''''re''''''''c''''ht'''''">
              <a:rPr lang="nl-NL" altLang="en-US" sz="1200" smtClean="0">
                <a:solidFill>
                  <a:schemeClr val="tx1"/>
                </a:solidFill>
              </a:rPr>
              <a:pPr/>
              <a:t>Utrecht</a:t>
            </a:fld>
            <a:endParaRPr lang="nl-NL" sz="1200" noProof="0" dirty="0">
              <a:solidFill>
                <a:schemeClr val="tx1"/>
              </a:solidFill>
              <a:latin typeface="+mn-lt"/>
            </a:endParaRPr>
          </a:p>
        </p:txBody>
      </p:sp>
      <p:sp>
        <p:nvSpPr>
          <p:cNvPr id="586" name="Content 1">
            <a:extLst>
              <a:ext uri="{FF2B5EF4-FFF2-40B4-BE49-F238E27FC236}">
                <a16:creationId xmlns:a16="http://schemas.microsoft.com/office/drawing/2014/main" id="{3A1E2D85-C583-4AF4-BB62-B5B5925CD2FB}"/>
              </a:ext>
            </a:extLst>
          </p:cNvPr>
          <p:cNvSpPr>
            <a:spLocks noGrp="1"/>
          </p:cNvSpPr>
          <p:nvPr>
            <p:custDataLst>
              <p:tags r:id="rId28"/>
            </p:custDataLst>
          </p:nvPr>
        </p:nvSpPr>
        <p:spPr bwMode="gray">
          <a:xfrm>
            <a:off x="4241800" y="5084763"/>
            <a:ext cx="55403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9D2E473-F5BD-4EA0-AE87-F3DBA9D37E4E}" type="datetime'''''''''''V''l''''i''''e''l''''''''''''''''a''''''n''''''d'''">
              <a:rPr lang="nl-NL" altLang="en-US" sz="1200" smtClean="0">
                <a:solidFill>
                  <a:schemeClr val="tx1"/>
                </a:solidFill>
              </a:rPr>
              <a:pPr/>
              <a:t>Vlieland</a:t>
            </a:fld>
            <a:endParaRPr lang="nl-NL" sz="1200" noProof="0" dirty="0">
              <a:solidFill>
                <a:schemeClr val="tx1"/>
              </a:solidFill>
              <a:latin typeface="+mn-lt"/>
            </a:endParaRPr>
          </a:p>
        </p:txBody>
      </p:sp>
      <p:sp>
        <p:nvSpPr>
          <p:cNvPr id="170" name="Content 1">
            <a:extLst>
              <a:ext uri="{FF2B5EF4-FFF2-40B4-BE49-F238E27FC236}">
                <a16:creationId xmlns:a16="http://schemas.microsoft.com/office/drawing/2014/main" id="{77CD2E4B-DCCE-4D75-B0B2-FD47BCFFDFA2}"/>
              </a:ext>
            </a:extLst>
          </p:cNvPr>
          <p:cNvSpPr>
            <a:spLocks noGrp="1"/>
          </p:cNvSpPr>
          <p:nvPr>
            <p:custDataLst>
              <p:tags r:id="rId29"/>
            </p:custDataLst>
          </p:nvPr>
        </p:nvSpPr>
        <p:spPr bwMode="gray">
          <a:xfrm>
            <a:off x="7829550" y="4052888"/>
            <a:ext cx="63658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0AD9D0F-56EE-43FD-A6A8-25FF72140E8D}" type="datetime'W''''e''s''''''t''l''''''''''''''''a''''''''''n''d'''''">
              <a:rPr lang="nl-NL" altLang="en-US" sz="1200" smtClean="0">
                <a:solidFill>
                  <a:schemeClr val="tx1"/>
                </a:solidFill>
              </a:rPr>
              <a:pPr/>
              <a:t>Westland</a:t>
            </a:fld>
            <a:endParaRPr lang="nl-NL" sz="1200" noProof="0" dirty="0">
              <a:solidFill>
                <a:schemeClr val="tx1"/>
              </a:solidFill>
              <a:latin typeface="+mn-lt"/>
            </a:endParaRPr>
          </a:p>
        </p:txBody>
      </p:sp>
      <p:sp>
        <p:nvSpPr>
          <p:cNvPr id="566" name="Content 1">
            <a:extLst>
              <a:ext uri="{FF2B5EF4-FFF2-40B4-BE49-F238E27FC236}">
                <a16:creationId xmlns:a16="http://schemas.microsoft.com/office/drawing/2014/main" id="{E7DDA8A6-EDD3-4DC5-AA2C-EE808E9CE04B}"/>
              </a:ext>
            </a:extLst>
          </p:cNvPr>
          <p:cNvSpPr>
            <a:spLocks noGrp="1"/>
          </p:cNvSpPr>
          <p:nvPr>
            <p:custDataLst>
              <p:tags r:id="rId30"/>
            </p:custDataLst>
          </p:nvPr>
        </p:nvSpPr>
        <p:spPr bwMode="gray">
          <a:xfrm>
            <a:off x="5526088" y="5410200"/>
            <a:ext cx="8953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D6B00BA-743D-4054-8CCA-37CA25141530}" type="datetime'''''''''Z''o''e''''ter''''''wo''''''ud''''''''e'''">
              <a:rPr lang="nl-NL" altLang="en-US" sz="1200" smtClean="0">
                <a:solidFill>
                  <a:schemeClr val="tx1"/>
                </a:solidFill>
              </a:rPr>
              <a:pPr/>
              <a:t>Zoeterwoude</a:t>
            </a:fld>
            <a:endParaRPr lang="nl-NL" sz="1200" noProof="0" dirty="0">
              <a:solidFill>
                <a:schemeClr val="tx1"/>
              </a:solidFill>
              <a:latin typeface="+mn-lt"/>
            </a:endParaRPr>
          </a:p>
        </p:txBody>
      </p:sp>
      <p:sp>
        <p:nvSpPr>
          <p:cNvPr id="30" name="Rectangle 29" hidden="1">
            <a:extLst>
              <a:ext uri="{FF2B5EF4-FFF2-40B4-BE49-F238E27FC236}">
                <a16:creationId xmlns:a16="http://schemas.microsoft.com/office/drawing/2014/main" id="{85979928-B18A-4E71-83A9-34F280D3995B}"/>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87" name="Rectangle 86" hidden="1">
            <a:extLst>
              <a:ext uri="{FF2B5EF4-FFF2-40B4-BE49-F238E27FC236}">
                <a16:creationId xmlns:a16="http://schemas.microsoft.com/office/drawing/2014/main" id="{DAA45808-71AD-440C-8525-56326BDFBF8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90" name="Rectangle 89" hidden="1">
            <a:extLst>
              <a:ext uri="{FF2B5EF4-FFF2-40B4-BE49-F238E27FC236}">
                <a16:creationId xmlns:a16="http://schemas.microsoft.com/office/drawing/2014/main" id="{98484BD6-8399-40D0-AC1E-44EA0235351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128" name="Rectangle 127" hidden="1">
            <a:extLst>
              <a:ext uri="{FF2B5EF4-FFF2-40B4-BE49-F238E27FC236}">
                <a16:creationId xmlns:a16="http://schemas.microsoft.com/office/drawing/2014/main" id="{9B73EADB-2050-4BC3-A2B8-94B10A590AE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214" name="Rectangle 213" hidden="1">
            <a:extLst>
              <a:ext uri="{FF2B5EF4-FFF2-40B4-BE49-F238E27FC236}">
                <a16:creationId xmlns:a16="http://schemas.microsoft.com/office/drawing/2014/main" id="{5C162DE5-F3D5-47B3-B233-68B9E737C71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endParaRPr>
          </a:p>
        </p:txBody>
      </p:sp>
      <p:sp>
        <p:nvSpPr>
          <p:cNvPr id="3" name="Rectangle 2" hidden="1">
            <a:extLst>
              <a:ext uri="{FF2B5EF4-FFF2-40B4-BE49-F238E27FC236}">
                <a16:creationId xmlns:a16="http://schemas.microsoft.com/office/drawing/2014/main" id="{97C8D928-1CF1-458E-BB7E-0167650080C6}"/>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5" name="Rectangle 4" hidden="1">
            <a:extLst>
              <a:ext uri="{FF2B5EF4-FFF2-40B4-BE49-F238E27FC236}">
                <a16:creationId xmlns:a16="http://schemas.microsoft.com/office/drawing/2014/main" id="{1B3BB96C-6786-4907-A06D-71B53D97400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33" name="Rectangle 32" hidden="1">
            <a:extLst>
              <a:ext uri="{FF2B5EF4-FFF2-40B4-BE49-F238E27FC236}">
                <a16:creationId xmlns:a16="http://schemas.microsoft.com/office/drawing/2014/main" id="{004F3EB7-BD17-43D2-A520-000B9AC9997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latin typeface="+mn-lt"/>
            </a:endParaRPr>
          </a:p>
        </p:txBody>
      </p:sp>
      <p:cxnSp>
        <p:nvCxnSpPr>
          <p:cNvPr id="54" name="Straight Arrow Connector 53">
            <a:extLst>
              <a:ext uri="{FF2B5EF4-FFF2-40B4-BE49-F238E27FC236}">
                <a16:creationId xmlns:a16="http://schemas.microsoft.com/office/drawing/2014/main" id="{630DF637-76CA-4CF9-85DA-2A527662CDCB}"/>
              </a:ext>
            </a:extLst>
          </p:cNvPr>
          <p:cNvCxnSpPr>
            <a:cxnSpLocks/>
          </p:cNvCxnSpPr>
          <p:nvPr/>
        </p:nvCxnSpPr>
        <p:spPr>
          <a:xfrm flipV="1">
            <a:off x="960279" y="3394381"/>
            <a:ext cx="0" cy="162560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9425DB75-16DE-489B-8BB6-C6B490277592}"/>
              </a:ext>
            </a:extLst>
          </p:cNvPr>
          <p:cNvGrpSpPr/>
          <p:nvPr/>
        </p:nvGrpSpPr>
        <p:grpSpPr>
          <a:xfrm>
            <a:off x="2103438" y="6012514"/>
            <a:ext cx="3776663" cy="439737"/>
            <a:chOff x="1383191" y="5776365"/>
            <a:chExt cx="3776663" cy="439737"/>
          </a:xfrm>
        </p:grpSpPr>
        <p:sp>
          <p:nvSpPr>
            <p:cNvPr id="56" name="Rectangle 55">
              <a:extLst>
                <a:ext uri="{FF2B5EF4-FFF2-40B4-BE49-F238E27FC236}">
                  <a16:creationId xmlns:a16="http://schemas.microsoft.com/office/drawing/2014/main" id="{8CE34BD8-4090-4AA5-9BE2-E1A2981A6C05}"/>
                </a:ext>
              </a:extLst>
            </p:cNvPr>
            <p:cNvSpPr/>
            <p:nvPr/>
          </p:nvSpPr>
          <p:spPr>
            <a:xfrm>
              <a:off x="1383191" y="5776365"/>
              <a:ext cx="2118678" cy="439737"/>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tal inwoners in gemeente (logaritmische schaal)</a:t>
              </a:r>
            </a:p>
          </p:txBody>
        </p:sp>
        <p:cxnSp>
          <p:nvCxnSpPr>
            <p:cNvPr id="57" name="Straight Arrow Connector 56">
              <a:extLst>
                <a:ext uri="{FF2B5EF4-FFF2-40B4-BE49-F238E27FC236}">
                  <a16:creationId xmlns:a16="http://schemas.microsoft.com/office/drawing/2014/main" id="{1141050B-A0FD-481C-AD16-5EA03C60378C}"/>
                </a:ext>
              </a:extLst>
            </p:cNvPr>
            <p:cNvCxnSpPr>
              <a:cxnSpLocks/>
            </p:cNvCxnSpPr>
            <p:nvPr/>
          </p:nvCxnSpPr>
          <p:spPr>
            <a:xfrm flipV="1">
              <a:off x="3411382" y="5996233"/>
              <a:ext cx="1748472"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58" name="Rectangle 57">
            <a:extLst>
              <a:ext uri="{FF2B5EF4-FFF2-40B4-BE49-F238E27FC236}">
                <a16:creationId xmlns:a16="http://schemas.microsoft.com/office/drawing/2014/main" id="{D90A55D9-3900-49F0-85B4-161F35716A51}"/>
              </a:ext>
            </a:extLst>
          </p:cNvPr>
          <p:cNvSpPr/>
          <p:nvPr/>
        </p:nvSpPr>
        <p:spPr>
          <a:xfrm>
            <a:off x="532130" y="5177375"/>
            <a:ext cx="856297" cy="439737"/>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tekort</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eugdzorg</a:t>
            </a:r>
            <a:r>
              <a:rPr kumimoji="0" lang="nl-NL" sz="1200" b="0"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rPr>
              <a:t>1</a:t>
            </a:r>
          </a:p>
        </p:txBody>
      </p:sp>
      <p:cxnSp>
        <p:nvCxnSpPr>
          <p:cNvPr id="642" name="Straight Connector 641">
            <a:extLst>
              <a:ext uri="{FF2B5EF4-FFF2-40B4-BE49-F238E27FC236}">
                <a16:creationId xmlns:a16="http://schemas.microsoft.com/office/drawing/2014/main" id="{0FC4BDDE-5BB0-4BD0-B3A7-49F41D81AC98}"/>
              </a:ext>
            </a:extLst>
          </p:cNvPr>
          <p:cNvCxnSpPr>
            <a:cxnSpLocks/>
          </p:cNvCxnSpPr>
          <p:nvPr/>
        </p:nvCxnSpPr>
        <p:spPr>
          <a:xfrm>
            <a:off x="2103438" y="4676140"/>
            <a:ext cx="8002587" cy="0"/>
          </a:xfrm>
          <a:prstGeom prst="line">
            <a:avLst/>
          </a:prstGeom>
          <a:ln w="28575">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644" name="TextBox 643">
            <a:extLst>
              <a:ext uri="{FF2B5EF4-FFF2-40B4-BE49-F238E27FC236}">
                <a16:creationId xmlns:a16="http://schemas.microsoft.com/office/drawing/2014/main" id="{A1258489-DE23-4A37-A31A-8510776FEEE1}"/>
              </a:ext>
            </a:extLst>
          </p:cNvPr>
          <p:cNvSpPr txBox="1"/>
          <p:nvPr/>
        </p:nvSpPr>
        <p:spPr>
          <a:xfrm>
            <a:off x="10073483" y="4537078"/>
            <a:ext cx="914400" cy="277158"/>
          </a:xfrm>
          <a:prstGeom prst="rect">
            <a:avLst/>
          </a:prstGeom>
        </p:spPr>
        <p:txBody>
          <a:bodyPr vert="horz" wrap="none" lIns="91440" tIns="45720" rIns="91440" bIns="45720" rtlCol="0">
            <a:noAutofit/>
          </a:bodyPr>
          <a:lstStyle/>
          <a:p>
            <a:pPr marL="0" indent="0" algn="l">
              <a:buNone/>
            </a:pPr>
            <a:r>
              <a:rPr lang="nl-NL" b="1" noProof="0" dirty="0"/>
              <a:t>Gemiddelde NL: 30%</a:t>
            </a:r>
          </a:p>
        </p:txBody>
      </p:sp>
      <p:cxnSp>
        <p:nvCxnSpPr>
          <p:cNvPr id="665" name="Straight Connector 664">
            <a:extLst>
              <a:ext uri="{FF2B5EF4-FFF2-40B4-BE49-F238E27FC236}">
                <a16:creationId xmlns:a16="http://schemas.microsoft.com/office/drawing/2014/main" id="{F505EB31-86DD-42BD-A5B0-FB8A932A7516}"/>
              </a:ext>
            </a:extLst>
          </p:cNvPr>
          <p:cNvCxnSpPr>
            <a:cxnSpLocks/>
          </p:cNvCxnSpPr>
          <p:nvPr/>
        </p:nvCxnSpPr>
        <p:spPr>
          <a:xfrm>
            <a:off x="6586295" y="3394381"/>
            <a:ext cx="3208581" cy="1199845"/>
          </a:xfrm>
          <a:prstGeom prst="line">
            <a:avLst/>
          </a:prstGeom>
          <a:ln w="9525">
            <a:solidFill>
              <a:srgbClr val="8C8C8C"/>
            </a:solidFill>
            <a:prstDash val="dash"/>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06F1D38D-F67B-421F-AAC3-A65920D1355B}"/>
              </a:ext>
            </a:extLst>
          </p:cNvPr>
          <p:cNvCxnSpPr>
            <a:cxnSpLocks/>
          </p:cNvCxnSpPr>
          <p:nvPr/>
        </p:nvCxnSpPr>
        <p:spPr>
          <a:xfrm flipV="1">
            <a:off x="6586295" y="4700906"/>
            <a:ext cx="3208581" cy="780732"/>
          </a:xfrm>
          <a:prstGeom prst="line">
            <a:avLst/>
          </a:prstGeom>
          <a:ln w="9525">
            <a:solidFill>
              <a:srgbClr val="8C8C8C"/>
            </a:solidFill>
            <a:prstDash val="dash"/>
          </a:ln>
        </p:spPr>
        <p:style>
          <a:lnRef idx="1">
            <a:schemeClr val="accent1"/>
          </a:lnRef>
          <a:fillRef idx="0">
            <a:schemeClr val="accent1"/>
          </a:fillRef>
          <a:effectRef idx="0">
            <a:schemeClr val="accent1"/>
          </a:effectRef>
          <a:fontRef idx="minor">
            <a:schemeClr val="tx1"/>
          </a:fontRef>
        </p:style>
      </p:cxnSp>
      <p:sp>
        <p:nvSpPr>
          <p:cNvPr id="686" name="Speech Bubble: Rectangle 685">
            <a:extLst>
              <a:ext uri="{FF2B5EF4-FFF2-40B4-BE49-F238E27FC236}">
                <a16:creationId xmlns:a16="http://schemas.microsoft.com/office/drawing/2014/main" id="{F16277A4-B998-4DAA-8059-241A60676B67}"/>
              </a:ext>
            </a:extLst>
          </p:cNvPr>
          <p:cNvSpPr/>
          <p:nvPr/>
        </p:nvSpPr>
        <p:spPr>
          <a:xfrm>
            <a:off x="7030242" y="2442101"/>
            <a:ext cx="2854321" cy="448793"/>
          </a:xfrm>
          <a:prstGeom prst="wedgeRectCallout">
            <a:avLst>
              <a:gd name="adj1" fmla="val -61733"/>
              <a:gd name="adj2" fmla="val 138163"/>
            </a:avLst>
          </a:prstGeom>
          <a:solidFill>
            <a:srgbClr val="FFFFFF"/>
          </a:solidFill>
          <a:ln>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200" b="0" i="0" u="none" strike="noStrike" kern="1200" cap="none" spc="0" normalizeH="0" baseline="0" noProof="0" dirty="0">
                <a:ln>
                  <a:noFill/>
                </a:ln>
                <a:effectLst/>
                <a:uLnTx/>
                <a:uFillTx/>
                <a:latin typeface="Corbel" panose="020B0503020204020204" pitchFamily="34" charset="0"/>
                <a:ea typeface="+mn-ea"/>
                <a:cs typeface="+mn-cs"/>
              </a:rPr>
              <a:t>Hoe kleiner de gemeente, hoe groter de uitschieters (zie ‘kans-element’ op slide 11)</a:t>
            </a:r>
          </a:p>
        </p:txBody>
      </p:sp>
      <p:grpSp>
        <p:nvGrpSpPr>
          <p:cNvPr id="62" name="Group 61">
            <a:extLst>
              <a:ext uri="{FF2B5EF4-FFF2-40B4-BE49-F238E27FC236}">
                <a16:creationId xmlns:a16="http://schemas.microsoft.com/office/drawing/2014/main" id="{FF5D22E1-D3C7-44B6-9C55-324763C38A7A}"/>
              </a:ext>
            </a:extLst>
          </p:cNvPr>
          <p:cNvGrpSpPr/>
          <p:nvPr/>
        </p:nvGrpSpPr>
        <p:grpSpPr>
          <a:xfrm>
            <a:off x="662780" y="113579"/>
            <a:ext cx="4706174" cy="323805"/>
            <a:chOff x="662780" y="113579"/>
            <a:chExt cx="4706174" cy="323805"/>
          </a:xfrm>
        </p:grpSpPr>
        <p:sp>
          <p:nvSpPr>
            <p:cNvPr id="63" name="TextBox 62">
              <a:extLst>
                <a:ext uri="{FF2B5EF4-FFF2-40B4-BE49-F238E27FC236}">
                  <a16:creationId xmlns:a16="http://schemas.microsoft.com/office/drawing/2014/main" id="{798550CC-8559-426E-A778-AA59DA8B570A}"/>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Mogelijke verklaring tekorten:          objectieve eigenschappen</a:t>
              </a:r>
              <a:endParaRPr lang="nl-NL" b="1" noProof="0" dirty="0">
                <a:solidFill>
                  <a:schemeClr val="tx2"/>
                </a:solidFill>
              </a:endParaRPr>
            </a:p>
          </p:txBody>
        </p:sp>
        <p:pic>
          <p:nvPicPr>
            <p:cNvPr id="64" name="Graphic 63" descr="Basic Shapes with solid fill">
              <a:extLst>
                <a:ext uri="{FF2B5EF4-FFF2-40B4-BE49-F238E27FC236}">
                  <a16:creationId xmlns:a16="http://schemas.microsoft.com/office/drawing/2014/main" id="{813B1A9E-37E7-42BA-98B8-96A2A1F6BE9A}"/>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3022036" y="113579"/>
              <a:ext cx="323805" cy="323805"/>
            </a:xfrm>
            <a:prstGeom prst="rect">
              <a:avLst/>
            </a:prstGeom>
          </p:spPr>
        </p:pic>
      </p:grpSp>
      <p:sp>
        <p:nvSpPr>
          <p:cNvPr id="65" name="Text Placeholder 9">
            <a:hlinkClick r:id="rId37" action="ppaction://hlinksldjump"/>
            <a:extLst>
              <a:ext uri="{FF2B5EF4-FFF2-40B4-BE49-F238E27FC236}">
                <a16:creationId xmlns:a16="http://schemas.microsoft.com/office/drawing/2014/main" id="{B94AD257-B09F-46E5-BB3B-4488593C5E60}"/>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overzicht tekorten van alle gemeenten</a:t>
            </a:r>
          </a:p>
        </p:txBody>
      </p:sp>
      <p:pic>
        <p:nvPicPr>
          <p:cNvPr id="66" name="Graphic 65" descr="Right pointing backhand index">
            <a:hlinkClick r:id="rId37" action="ppaction://hlinksldjump"/>
            <a:extLst>
              <a:ext uri="{FF2B5EF4-FFF2-40B4-BE49-F238E27FC236}">
                <a16:creationId xmlns:a16="http://schemas.microsoft.com/office/drawing/2014/main" id="{25CE5926-1F01-436A-96F1-FC4085F9F1F2}"/>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2519671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F1EC922-3ED5-4091-BF10-B56A02681F98}"/>
              </a:ext>
            </a:extLst>
          </p:cNvPr>
          <p:cNvGraphicFramePr>
            <a:graphicFrameLocks noChangeAspect="1"/>
          </p:cNvGraphicFramePr>
          <p:nvPr>
            <p:custDataLst>
              <p:tags r:id="rId1"/>
            </p:custDataLst>
            <p:extLst>
              <p:ext uri="{D42A27DB-BD31-4B8C-83A1-F6EECF244321}">
                <p14:modId xmlns:p14="http://schemas.microsoft.com/office/powerpoint/2010/main" val="191515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1" imgH="502" progId="TCLayout.ActiveDocument.1">
                  <p:embed/>
                </p:oleObj>
              </mc:Choice>
              <mc:Fallback>
                <p:oleObj name="think-cell Slide" r:id="rId19" imgW="501" imgH="502" progId="TCLayout.ActiveDocument.1">
                  <p:embed/>
                  <p:pic>
                    <p:nvPicPr>
                      <p:cNvPr id="12" name="Object 11" hidden="1">
                        <a:extLst>
                          <a:ext uri="{FF2B5EF4-FFF2-40B4-BE49-F238E27FC236}">
                            <a16:creationId xmlns:a16="http://schemas.microsoft.com/office/drawing/2014/main" id="{6F1EC922-3ED5-4091-BF10-B56A02681F9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625" name="Text Placeholder 624">
            <a:extLst>
              <a:ext uri="{FF2B5EF4-FFF2-40B4-BE49-F238E27FC236}">
                <a16:creationId xmlns:a16="http://schemas.microsoft.com/office/drawing/2014/main" id="{435DC214-F96F-4037-B591-D231974B3372}"/>
              </a:ext>
            </a:extLst>
          </p:cNvPr>
          <p:cNvSpPr>
            <a:spLocks noGrp="1"/>
          </p:cNvSpPr>
          <p:nvPr>
            <p:ph type="body" sz="quarter" idx="38"/>
          </p:nvPr>
        </p:nvSpPr>
        <p:spPr>
          <a:xfrm>
            <a:off x="7327108" y="2082800"/>
            <a:ext cx="4202112" cy="360363"/>
          </a:xfrm>
        </p:spPr>
        <p:txBody>
          <a:bodyPr anchor="t"/>
          <a:lstStyle/>
          <a:p>
            <a:r>
              <a:rPr lang="nl-NL" dirty="0"/>
              <a:t>Tekort naar uitkering gemeentefonds</a:t>
            </a:r>
            <a:br>
              <a:rPr lang="nl-NL" dirty="0"/>
            </a:br>
            <a:r>
              <a:rPr lang="nl-NL" b="0" dirty="0"/>
              <a:t>(per gemeente)</a:t>
            </a:r>
          </a:p>
        </p:txBody>
      </p:sp>
      <p:sp>
        <p:nvSpPr>
          <p:cNvPr id="623" name="Text Placeholder 622">
            <a:extLst>
              <a:ext uri="{FF2B5EF4-FFF2-40B4-BE49-F238E27FC236}">
                <a16:creationId xmlns:a16="http://schemas.microsoft.com/office/drawing/2014/main" id="{27140B8C-7771-430D-9A33-C5270D775C79}"/>
              </a:ext>
            </a:extLst>
          </p:cNvPr>
          <p:cNvSpPr>
            <a:spLocks noGrp="1"/>
          </p:cNvSpPr>
          <p:nvPr>
            <p:ph type="body" sz="quarter" idx="34"/>
          </p:nvPr>
        </p:nvSpPr>
        <p:spPr>
          <a:xfrm>
            <a:off x="3476862" y="2082800"/>
            <a:ext cx="4269900" cy="360363"/>
          </a:xfrm>
        </p:spPr>
        <p:txBody>
          <a:bodyPr anchor="t"/>
          <a:lstStyle/>
          <a:p>
            <a:r>
              <a:rPr lang="nl-NL" dirty="0"/>
              <a:t>Tekort naar uitkering gemeentefonds </a:t>
            </a:r>
            <a:br>
              <a:rPr lang="nl-NL" dirty="0"/>
            </a:br>
            <a:r>
              <a:rPr lang="nl-NL" b="0" dirty="0"/>
              <a:t>(bakjes van budget per jeugdige)</a:t>
            </a:r>
          </a:p>
        </p:txBody>
      </p:sp>
      <p:sp>
        <p:nvSpPr>
          <p:cNvPr id="620" name="Text Placeholder 619">
            <a:extLst>
              <a:ext uri="{FF2B5EF4-FFF2-40B4-BE49-F238E27FC236}">
                <a16:creationId xmlns:a16="http://schemas.microsoft.com/office/drawing/2014/main" id="{EC33BCED-4A69-4700-AB51-ADA19147D926}"/>
              </a:ext>
            </a:extLst>
          </p:cNvPr>
          <p:cNvSpPr>
            <a:spLocks noGrp="1"/>
          </p:cNvSpPr>
          <p:nvPr>
            <p:ph type="body" sz="quarter" idx="20"/>
          </p:nvPr>
        </p:nvSpPr>
        <p:spPr/>
        <p:txBody>
          <a:bodyPr/>
          <a:lstStyle/>
          <a:p>
            <a:r>
              <a:rPr lang="nl-NL" dirty="0"/>
              <a:t>Het budget per jeugdige verschilt per gemeente doordat de maatstaven verschillen (bijv. meer eenouderhuishoudens leidt tot meer budget per jeugdige)</a:t>
            </a:r>
          </a:p>
        </p:txBody>
      </p:sp>
      <p:sp>
        <p:nvSpPr>
          <p:cNvPr id="7" name="Footer Placeholder 6">
            <a:extLst>
              <a:ext uri="{FF2B5EF4-FFF2-40B4-BE49-F238E27FC236}">
                <a16:creationId xmlns:a16="http://schemas.microsoft.com/office/drawing/2014/main" id="{DDB2DFAA-29E1-48DD-B561-37EC8A5B3963}"/>
              </a:ext>
            </a:extLst>
          </p:cNvPr>
          <p:cNvSpPr>
            <a:spLocks noGrp="1"/>
          </p:cNvSpPr>
          <p:nvPr>
            <p:ph type="ftr" sz="quarter" idx="3"/>
          </p:nvPr>
        </p:nvSpPr>
        <p:spPr/>
        <p:txBody>
          <a:bodyPr/>
          <a:lstStyle/>
          <a:p>
            <a:r>
              <a:rPr lang="nl-NL" dirty="0"/>
              <a:t>Bron: Iv3-data; AEF; it’s public analyse</a:t>
            </a:r>
          </a:p>
        </p:txBody>
      </p:sp>
      <p:sp>
        <p:nvSpPr>
          <p:cNvPr id="8" name="Slide Number Placeholder 7">
            <a:extLst>
              <a:ext uri="{FF2B5EF4-FFF2-40B4-BE49-F238E27FC236}">
                <a16:creationId xmlns:a16="http://schemas.microsoft.com/office/drawing/2014/main" id="{7A800900-B512-407D-B4E6-BF2E410F7AFE}"/>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sp>
        <p:nvSpPr>
          <p:cNvPr id="13" name="Text Placeholder 12">
            <a:extLst>
              <a:ext uri="{FF2B5EF4-FFF2-40B4-BE49-F238E27FC236}">
                <a16:creationId xmlns:a16="http://schemas.microsoft.com/office/drawing/2014/main" id="{98E31EB9-6D55-453F-A2C9-F61C7A635540}"/>
              </a:ext>
            </a:extLst>
          </p:cNvPr>
          <p:cNvSpPr>
            <a:spLocks noGrp="1"/>
          </p:cNvSpPr>
          <p:nvPr>
            <p:ph type="body" sz="quarter" idx="14"/>
          </p:nvPr>
        </p:nvSpPr>
        <p:spPr/>
        <p:txBody>
          <a:bodyPr/>
          <a:lstStyle/>
          <a:p>
            <a:r>
              <a:rPr lang="nl-NL" dirty="0"/>
              <a:t>Gemiddelde tekort jeugdzorg vergeleken met uitkering jeugd gemeentefonds per jeugdige, Nederland, 2019 </a:t>
            </a:r>
            <a:br>
              <a:rPr lang="nl-NL" dirty="0"/>
            </a:br>
            <a:r>
              <a:rPr lang="nl-NL" b="0" dirty="0"/>
              <a:t>% tekort van budget, € uitkering / inwoner &lt;18 jaar</a:t>
            </a:r>
          </a:p>
        </p:txBody>
      </p:sp>
      <p:sp>
        <p:nvSpPr>
          <p:cNvPr id="10" name="Title 9">
            <a:extLst>
              <a:ext uri="{FF2B5EF4-FFF2-40B4-BE49-F238E27FC236}">
                <a16:creationId xmlns:a16="http://schemas.microsoft.com/office/drawing/2014/main" id="{002508F7-661C-43A3-9B6E-AF74C128F2F3}"/>
              </a:ext>
            </a:extLst>
          </p:cNvPr>
          <p:cNvSpPr>
            <a:spLocks noGrp="1"/>
          </p:cNvSpPr>
          <p:nvPr>
            <p:ph type="title"/>
          </p:nvPr>
        </p:nvSpPr>
        <p:spPr/>
        <p:txBody>
          <a:bodyPr vert="horz"/>
          <a:lstStyle/>
          <a:p>
            <a:r>
              <a:rPr lang="nl-NL" dirty="0"/>
              <a:t>Er is geen duidelijk verband tussen inkomsten per jeugdige in het gemeentefonds en het tekort op jeugd</a:t>
            </a:r>
          </a:p>
        </p:txBody>
      </p:sp>
      <p:sp>
        <p:nvSpPr>
          <p:cNvPr id="30" name="Rectangle 29" hidden="1">
            <a:extLst>
              <a:ext uri="{FF2B5EF4-FFF2-40B4-BE49-F238E27FC236}">
                <a16:creationId xmlns:a16="http://schemas.microsoft.com/office/drawing/2014/main" id="{85979928-B18A-4E71-83A9-34F280D3995B}"/>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87" name="Rectangle 86" hidden="1">
            <a:extLst>
              <a:ext uri="{FF2B5EF4-FFF2-40B4-BE49-F238E27FC236}">
                <a16:creationId xmlns:a16="http://schemas.microsoft.com/office/drawing/2014/main" id="{DAA45808-71AD-440C-8525-56326BDFBF8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90" name="Rectangle 89" hidden="1">
            <a:extLst>
              <a:ext uri="{FF2B5EF4-FFF2-40B4-BE49-F238E27FC236}">
                <a16:creationId xmlns:a16="http://schemas.microsoft.com/office/drawing/2014/main" id="{98484BD6-8399-40D0-AC1E-44EA02353518}"/>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128" name="Rectangle 127" hidden="1">
            <a:extLst>
              <a:ext uri="{FF2B5EF4-FFF2-40B4-BE49-F238E27FC236}">
                <a16:creationId xmlns:a16="http://schemas.microsoft.com/office/drawing/2014/main" id="{9B73EADB-2050-4BC3-A2B8-94B10A590AE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214" name="Rectangle 213" hidden="1">
            <a:extLst>
              <a:ext uri="{FF2B5EF4-FFF2-40B4-BE49-F238E27FC236}">
                <a16:creationId xmlns:a16="http://schemas.microsoft.com/office/drawing/2014/main" id="{5C162DE5-F3D5-47B3-B233-68B9E737C71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endParaRPr>
          </a:p>
        </p:txBody>
      </p:sp>
      <p:sp>
        <p:nvSpPr>
          <p:cNvPr id="3" name="Rectangle 2" hidden="1">
            <a:extLst>
              <a:ext uri="{FF2B5EF4-FFF2-40B4-BE49-F238E27FC236}">
                <a16:creationId xmlns:a16="http://schemas.microsoft.com/office/drawing/2014/main" id="{97C8D928-1CF1-458E-BB7E-0167650080C6}"/>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sp>
        <p:nvSpPr>
          <p:cNvPr id="5" name="Rectangle 4" hidden="1">
            <a:extLst>
              <a:ext uri="{FF2B5EF4-FFF2-40B4-BE49-F238E27FC236}">
                <a16:creationId xmlns:a16="http://schemas.microsoft.com/office/drawing/2014/main" id="{1B3BB96C-6786-4907-A06D-71B53D97400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graphicFrame>
        <p:nvGraphicFramePr>
          <p:cNvPr id="59" name="Chart 58">
            <a:extLst>
              <a:ext uri="{FF2B5EF4-FFF2-40B4-BE49-F238E27FC236}">
                <a16:creationId xmlns:a16="http://schemas.microsoft.com/office/drawing/2014/main" id="{089C00ED-8A87-42E8-B7FE-3F7B271DE9D5}"/>
              </a:ext>
            </a:extLst>
          </p:cNvPr>
          <p:cNvGraphicFramePr/>
          <p:nvPr>
            <p:custDataLst>
              <p:tags r:id="rId2"/>
            </p:custDataLst>
            <p:extLst>
              <p:ext uri="{D42A27DB-BD31-4B8C-83A1-F6EECF244321}">
                <p14:modId xmlns:p14="http://schemas.microsoft.com/office/powerpoint/2010/main" val="1671924622"/>
              </p:ext>
            </p:extLst>
          </p:nvPr>
        </p:nvGraphicFramePr>
        <p:xfrm>
          <a:off x="4464050" y="3146425"/>
          <a:ext cx="2065338" cy="2727325"/>
        </p:xfrm>
        <a:graphic>
          <a:graphicData uri="http://schemas.openxmlformats.org/drawingml/2006/chart">
            <c:chart xmlns:c="http://schemas.openxmlformats.org/drawingml/2006/chart" xmlns:r="http://schemas.openxmlformats.org/officeDocument/2006/relationships" r:id="rId21"/>
          </a:graphicData>
        </a:graphic>
      </p:graphicFrame>
      <p:sp>
        <p:nvSpPr>
          <p:cNvPr id="84" name="Content 1">
            <a:extLst>
              <a:ext uri="{FF2B5EF4-FFF2-40B4-BE49-F238E27FC236}">
                <a16:creationId xmlns:a16="http://schemas.microsoft.com/office/drawing/2014/main" id="{D6D78562-54D3-4A27-9C10-7B72A96562AF}"/>
              </a:ext>
            </a:extLst>
          </p:cNvPr>
          <p:cNvSpPr>
            <a:spLocks noGrp="1"/>
          </p:cNvSpPr>
          <p:nvPr>
            <p:custDataLst>
              <p:tags r:id="rId3"/>
            </p:custDataLst>
          </p:nvPr>
        </p:nvSpPr>
        <p:spPr bwMode="gray">
          <a:xfrm>
            <a:off x="6472238" y="334327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83245C5-6541-4A9F-B2DA-AB7AF4060865}" type="datetime'''''''''''''''''''''''''''''''''''''''''4''''''9%'''''">
              <a:rPr lang="nl-NL" altLang="en-US" sz="1000" smtClean="0">
                <a:solidFill>
                  <a:schemeClr val="tx1"/>
                </a:solidFill>
              </a:rPr>
              <a:pPr marL="0" indent="0">
                <a:spcBef>
                  <a:spcPct val="0"/>
                </a:spcBef>
                <a:spcAft>
                  <a:spcPct val="0"/>
                </a:spcAft>
                <a:buNone/>
              </a:pPr>
              <a:t>49%</a:t>
            </a:fld>
            <a:endParaRPr lang="nl-NL" sz="1000" noProof="0" dirty="0">
              <a:solidFill>
                <a:schemeClr val="tx1"/>
              </a:solidFill>
              <a:latin typeface="+mn-lt"/>
            </a:endParaRPr>
          </a:p>
        </p:txBody>
      </p:sp>
      <p:sp>
        <p:nvSpPr>
          <p:cNvPr id="71" name="Content 1">
            <a:extLst>
              <a:ext uri="{FF2B5EF4-FFF2-40B4-BE49-F238E27FC236}">
                <a16:creationId xmlns:a16="http://schemas.microsoft.com/office/drawing/2014/main" id="{1698691B-D78F-4852-9560-2B721CF64A09}"/>
              </a:ext>
            </a:extLst>
          </p:cNvPr>
          <p:cNvSpPr>
            <a:spLocks noGrp="1"/>
          </p:cNvSpPr>
          <p:nvPr>
            <p:custDataLst>
              <p:tags r:id="rId4"/>
            </p:custDataLst>
          </p:nvPr>
        </p:nvSpPr>
        <p:spPr bwMode="auto">
          <a:xfrm>
            <a:off x="4108450" y="3343275"/>
            <a:ext cx="352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481F892-3CEE-4ED5-A745-A0224CA56CD5}" type="datetime'''''''''''€0''''''''''-''''7''''''''5''''''''''0'''">
              <a:rPr lang="nl-NL" altLang="en-US" sz="1000" smtClean="0">
                <a:solidFill>
                  <a:schemeClr val="tx1"/>
                </a:solidFill>
              </a:rPr>
              <a:pPr marL="0" indent="0" algn="r">
                <a:spcBef>
                  <a:spcPct val="0"/>
                </a:spcBef>
                <a:spcAft>
                  <a:spcPct val="0"/>
                </a:spcAft>
                <a:buNone/>
              </a:pPr>
              <a:t>€0-750</a:t>
            </a:fld>
            <a:endParaRPr lang="nl-NL" sz="1000" noProof="0" dirty="0">
              <a:solidFill>
                <a:schemeClr val="tx1"/>
              </a:solidFill>
              <a:latin typeface="+mn-lt"/>
            </a:endParaRPr>
          </a:p>
        </p:txBody>
      </p:sp>
      <p:sp>
        <p:nvSpPr>
          <p:cNvPr id="76" name="Content 1">
            <a:extLst>
              <a:ext uri="{FF2B5EF4-FFF2-40B4-BE49-F238E27FC236}">
                <a16:creationId xmlns:a16="http://schemas.microsoft.com/office/drawing/2014/main" id="{308F8473-CED6-4553-9441-C1A64A365C97}"/>
              </a:ext>
            </a:extLst>
          </p:cNvPr>
          <p:cNvSpPr>
            <a:spLocks noGrp="1"/>
          </p:cNvSpPr>
          <p:nvPr>
            <p:custDataLst>
              <p:tags r:id="rId5"/>
            </p:custDataLst>
          </p:nvPr>
        </p:nvSpPr>
        <p:spPr bwMode="auto">
          <a:xfrm>
            <a:off x="3887788" y="3709988"/>
            <a:ext cx="573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52AF311-6163-4799-8CB0-182D94C1B6ED}" type="datetime'''''€''''7''''''''''''''''''''''''50''-''1''.00''''0'">
              <a:rPr lang="nl-NL" altLang="en-US" sz="1000" smtClean="0">
                <a:solidFill>
                  <a:schemeClr val="tx1"/>
                </a:solidFill>
              </a:rPr>
              <a:pPr marL="0" indent="0" algn="r">
                <a:spcBef>
                  <a:spcPct val="0"/>
                </a:spcBef>
                <a:spcAft>
                  <a:spcPct val="0"/>
                </a:spcAft>
                <a:buNone/>
              </a:pPr>
              <a:t>€750-1.000</a:t>
            </a:fld>
            <a:endParaRPr lang="nl-NL" sz="1000" noProof="0" dirty="0">
              <a:solidFill>
                <a:schemeClr val="tx1"/>
              </a:solidFill>
              <a:latin typeface="+mn-lt"/>
            </a:endParaRPr>
          </a:p>
        </p:txBody>
      </p:sp>
      <p:sp>
        <p:nvSpPr>
          <p:cNvPr id="42" name="Content 1">
            <a:extLst>
              <a:ext uri="{FF2B5EF4-FFF2-40B4-BE49-F238E27FC236}">
                <a16:creationId xmlns:a16="http://schemas.microsoft.com/office/drawing/2014/main" id="{7D2D3C97-85D9-4DD9-AEC9-362EDAE09BF7}"/>
              </a:ext>
            </a:extLst>
          </p:cNvPr>
          <p:cNvSpPr>
            <a:spLocks noGrp="1"/>
          </p:cNvSpPr>
          <p:nvPr>
            <p:custDataLst>
              <p:tags r:id="rId6"/>
            </p:custDataLst>
          </p:nvPr>
        </p:nvSpPr>
        <p:spPr bwMode="auto">
          <a:xfrm>
            <a:off x="3802063" y="4806950"/>
            <a:ext cx="6588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B5D3C1C-1740-4EC8-9A3E-41019FE05D31}" type="datetime'''''''''''€1''''''''''''''''''''.500-''''1''.''''''''''''750'">
              <a:rPr lang="nl-NL" altLang="en-US" sz="1000" smtClean="0">
                <a:solidFill>
                  <a:schemeClr val="tx1"/>
                </a:solidFill>
              </a:rPr>
              <a:pPr marL="0" indent="0" algn="r">
                <a:spcBef>
                  <a:spcPct val="0"/>
                </a:spcBef>
                <a:spcAft>
                  <a:spcPct val="0"/>
                </a:spcAft>
                <a:buNone/>
              </a:pPr>
              <a:t>€1.500-1.750</a:t>
            </a:fld>
            <a:endParaRPr lang="nl-NL" sz="1000" noProof="0" dirty="0">
              <a:solidFill>
                <a:schemeClr val="tx1"/>
              </a:solidFill>
              <a:latin typeface="+mn-lt"/>
            </a:endParaRPr>
          </a:p>
        </p:txBody>
      </p:sp>
      <p:sp>
        <p:nvSpPr>
          <p:cNvPr id="74" name="Content 1">
            <a:extLst>
              <a:ext uri="{FF2B5EF4-FFF2-40B4-BE49-F238E27FC236}">
                <a16:creationId xmlns:a16="http://schemas.microsoft.com/office/drawing/2014/main" id="{6A7E1A35-C888-483E-827A-B98DEE129F7A}"/>
              </a:ext>
            </a:extLst>
          </p:cNvPr>
          <p:cNvSpPr>
            <a:spLocks noGrp="1"/>
          </p:cNvSpPr>
          <p:nvPr>
            <p:custDataLst>
              <p:tags r:id="rId7"/>
            </p:custDataLst>
          </p:nvPr>
        </p:nvSpPr>
        <p:spPr bwMode="auto">
          <a:xfrm>
            <a:off x="3786188" y="4075113"/>
            <a:ext cx="674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D68B09EE-3DD7-4F2D-9DCF-C2B841D0D237}" type="datetime'€''''1''''.00''''0''''-''1.2''''5''''''0'''''''''''''">
              <a:rPr lang="nl-NL" altLang="en-US" sz="1000" smtClean="0">
                <a:solidFill>
                  <a:schemeClr val="tx1"/>
                </a:solidFill>
              </a:rPr>
              <a:pPr marL="0" indent="0" algn="r">
                <a:spcBef>
                  <a:spcPct val="0"/>
                </a:spcBef>
                <a:spcAft>
                  <a:spcPct val="0"/>
                </a:spcAft>
                <a:buNone/>
              </a:pPr>
              <a:t>€1.000-1.250</a:t>
            </a:fld>
            <a:endParaRPr lang="nl-NL" sz="1000" noProof="0" dirty="0">
              <a:solidFill>
                <a:schemeClr val="tx1"/>
              </a:solidFill>
              <a:latin typeface="+mn-lt"/>
            </a:endParaRPr>
          </a:p>
        </p:txBody>
      </p:sp>
      <p:sp>
        <p:nvSpPr>
          <p:cNvPr id="44" name="Content 1">
            <a:extLst>
              <a:ext uri="{FF2B5EF4-FFF2-40B4-BE49-F238E27FC236}">
                <a16:creationId xmlns:a16="http://schemas.microsoft.com/office/drawing/2014/main" id="{56DC0975-34D0-4EB4-B75C-BF5BBD95BBF3}"/>
              </a:ext>
            </a:extLst>
          </p:cNvPr>
          <p:cNvSpPr>
            <a:spLocks noGrp="1"/>
          </p:cNvSpPr>
          <p:nvPr>
            <p:custDataLst>
              <p:tags r:id="rId8"/>
            </p:custDataLst>
          </p:nvPr>
        </p:nvSpPr>
        <p:spPr bwMode="auto">
          <a:xfrm>
            <a:off x="3770313" y="5538788"/>
            <a:ext cx="690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A3723D4-3D57-4715-AC20-CA0B3E900B88}" type="datetime'''''€2.''''''0''''0''0-2.''''''''2''''''''''''''50'''''">
              <a:rPr lang="nl-NL" altLang="en-US" sz="1000" smtClean="0">
                <a:solidFill>
                  <a:schemeClr val="tx1"/>
                </a:solidFill>
              </a:rPr>
              <a:pPr marL="0" indent="0" algn="r">
                <a:spcBef>
                  <a:spcPct val="0"/>
                </a:spcBef>
                <a:spcAft>
                  <a:spcPct val="0"/>
                </a:spcAft>
                <a:buNone/>
              </a:pPr>
              <a:t>€2.000-2.250</a:t>
            </a:fld>
            <a:endParaRPr lang="nl-NL" sz="1000" noProof="0" dirty="0">
              <a:solidFill>
                <a:schemeClr val="tx1"/>
              </a:solidFill>
              <a:latin typeface="+mn-lt"/>
            </a:endParaRPr>
          </a:p>
        </p:txBody>
      </p:sp>
      <p:sp>
        <p:nvSpPr>
          <p:cNvPr id="73" name="Content 1">
            <a:extLst>
              <a:ext uri="{FF2B5EF4-FFF2-40B4-BE49-F238E27FC236}">
                <a16:creationId xmlns:a16="http://schemas.microsoft.com/office/drawing/2014/main" id="{34706CA1-4817-40A2-AB75-0C673A2858A3}"/>
              </a:ext>
            </a:extLst>
          </p:cNvPr>
          <p:cNvSpPr>
            <a:spLocks noGrp="1"/>
          </p:cNvSpPr>
          <p:nvPr>
            <p:custDataLst>
              <p:tags r:id="rId9"/>
            </p:custDataLst>
          </p:nvPr>
        </p:nvSpPr>
        <p:spPr bwMode="auto">
          <a:xfrm>
            <a:off x="3790950" y="4441825"/>
            <a:ext cx="669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5434226-8552-4E01-94A9-E8C50D519F4E}" type="datetime'''''''''€1''.''''''''2''50''-1''''''.''''50''''''0'">
              <a:rPr lang="nl-NL" altLang="en-US" sz="1000" smtClean="0">
                <a:solidFill>
                  <a:schemeClr val="tx1"/>
                </a:solidFill>
              </a:rPr>
              <a:pPr marL="0" indent="0" algn="r">
                <a:spcBef>
                  <a:spcPct val="0"/>
                </a:spcBef>
                <a:spcAft>
                  <a:spcPct val="0"/>
                </a:spcAft>
                <a:buNone/>
              </a:pPr>
              <a:t>€1.250-1.500</a:t>
            </a:fld>
            <a:endParaRPr lang="nl-NL" sz="1000" noProof="0" dirty="0">
              <a:solidFill>
                <a:schemeClr val="tx1"/>
              </a:solidFill>
              <a:latin typeface="+mn-lt"/>
            </a:endParaRPr>
          </a:p>
        </p:txBody>
      </p:sp>
      <p:sp>
        <p:nvSpPr>
          <p:cNvPr id="43" name="Content 1">
            <a:extLst>
              <a:ext uri="{FF2B5EF4-FFF2-40B4-BE49-F238E27FC236}">
                <a16:creationId xmlns:a16="http://schemas.microsoft.com/office/drawing/2014/main" id="{D65FB5F3-49F0-4C90-BEF2-F60BDA1E12E6}"/>
              </a:ext>
            </a:extLst>
          </p:cNvPr>
          <p:cNvSpPr>
            <a:spLocks noGrp="1"/>
          </p:cNvSpPr>
          <p:nvPr>
            <p:custDataLst>
              <p:tags r:id="rId10"/>
            </p:custDataLst>
          </p:nvPr>
        </p:nvSpPr>
        <p:spPr bwMode="auto">
          <a:xfrm>
            <a:off x="3789363" y="5173663"/>
            <a:ext cx="6715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4B73EE9-9391-4063-9628-5E6163C9A855}" type="datetime'€1.7''''''5''''''0-2''''.''''''''''''''0''0''''''0'''''''''">
              <a:rPr lang="nl-NL" altLang="en-US" sz="1000" smtClean="0">
                <a:solidFill>
                  <a:schemeClr val="tx1"/>
                </a:solidFill>
              </a:rPr>
              <a:pPr marL="0" indent="0" algn="r">
                <a:spcBef>
                  <a:spcPct val="0"/>
                </a:spcBef>
                <a:spcAft>
                  <a:spcPct val="0"/>
                </a:spcAft>
                <a:buNone/>
              </a:pPr>
              <a:t>€1.750-2.000</a:t>
            </a:fld>
            <a:endParaRPr lang="nl-NL" sz="1000" noProof="0" dirty="0">
              <a:solidFill>
                <a:schemeClr val="tx1"/>
              </a:solidFill>
              <a:latin typeface="+mn-lt"/>
            </a:endParaRPr>
          </a:p>
        </p:txBody>
      </p:sp>
      <p:sp>
        <p:nvSpPr>
          <p:cNvPr id="83" name="Content 1">
            <a:extLst>
              <a:ext uri="{FF2B5EF4-FFF2-40B4-BE49-F238E27FC236}">
                <a16:creationId xmlns:a16="http://schemas.microsoft.com/office/drawing/2014/main" id="{74234D4A-07A1-489E-AD46-8FAA00678255}"/>
              </a:ext>
            </a:extLst>
          </p:cNvPr>
          <p:cNvSpPr>
            <a:spLocks noGrp="1"/>
          </p:cNvSpPr>
          <p:nvPr>
            <p:custDataLst>
              <p:tags r:id="rId11"/>
            </p:custDataLst>
          </p:nvPr>
        </p:nvSpPr>
        <p:spPr bwMode="gray">
          <a:xfrm>
            <a:off x="5873750" y="370998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0A72941-8C26-4062-9BBE-91B090FF4DAF}" type="datetime'''''''''''''''3''4''''''''''''''''''''''''''''''''''''%'">
              <a:rPr lang="nl-NL" altLang="en-US" sz="1000" smtClean="0">
                <a:solidFill>
                  <a:schemeClr val="tx1"/>
                </a:solidFill>
              </a:rPr>
              <a:pPr marL="0" indent="0">
                <a:spcBef>
                  <a:spcPct val="0"/>
                </a:spcBef>
                <a:spcAft>
                  <a:spcPct val="0"/>
                </a:spcAft>
                <a:buNone/>
              </a:pPr>
              <a:t>34%</a:t>
            </a:fld>
            <a:endParaRPr lang="nl-NL" sz="1000" noProof="0" dirty="0">
              <a:solidFill>
                <a:schemeClr val="tx1"/>
              </a:solidFill>
              <a:latin typeface="+mn-lt"/>
            </a:endParaRPr>
          </a:p>
        </p:txBody>
      </p:sp>
      <p:sp>
        <p:nvSpPr>
          <p:cNvPr id="82" name="Content 1">
            <a:extLst>
              <a:ext uri="{FF2B5EF4-FFF2-40B4-BE49-F238E27FC236}">
                <a16:creationId xmlns:a16="http://schemas.microsoft.com/office/drawing/2014/main" id="{6614C97C-B863-4B22-833F-58BCC3BD8BDF}"/>
              </a:ext>
            </a:extLst>
          </p:cNvPr>
          <p:cNvSpPr>
            <a:spLocks noGrp="1"/>
          </p:cNvSpPr>
          <p:nvPr>
            <p:custDataLst>
              <p:tags r:id="rId12"/>
            </p:custDataLst>
          </p:nvPr>
        </p:nvSpPr>
        <p:spPr bwMode="gray">
          <a:xfrm>
            <a:off x="5795963" y="407511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595DCCA-EE76-4C39-BC99-750FC82D8CA4}" type="datetime'3''2''''''''''''''''''''''''''''''''''''''''''''''%'''''''">
              <a:rPr lang="nl-NL" altLang="en-US" sz="1000" smtClean="0">
                <a:solidFill>
                  <a:schemeClr val="tx1"/>
                </a:solidFill>
              </a:rPr>
              <a:pPr marL="0" indent="0">
                <a:spcBef>
                  <a:spcPct val="0"/>
                </a:spcBef>
                <a:spcAft>
                  <a:spcPct val="0"/>
                </a:spcAft>
                <a:buNone/>
              </a:pPr>
              <a:t>32%</a:t>
            </a:fld>
            <a:endParaRPr lang="nl-NL" sz="1000" noProof="0" dirty="0">
              <a:solidFill>
                <a:schemeClr val="tx1"/>
              </a:solidFill>
              <a:latin typeface="+mn-lt"/>
            </a:endParaRPr>
          </a:p>
        </p:txBody>
      </p:sp>
      <p:sp>
        <p:nvSpPr>
          <p:cNvPr id="81" name="Content 1">
            <a:extLst>
              <a:ext uri="{FF2B5EF4-FFF2-40B4-BE49-F238E27FC236}">
                <a16:creationId xmlns:a16="http://schemas.microsoft.com/office/drawing/2014/main" id="{882A7269-ACD8-4404-82D4-F40BFEFE19A3}"/>
              </a:ext>
            </a:extLst>
          </p:cNvPr>
          <p:cNvSpPr>
            <a:spLocks noGrp="1"/>
          </p:cNvSpPr>
          <p:nvPr>
            <p:custDataLst>
              <p:tags r:id="rId13"/>
            </p:custDataLst>
          </p:nvPr>
        </p:nvSpPr>
        <p:spPr bwMode="gray">
          <a:xfrm>
            <a:off x="5691188" y="444182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272919B2-C090-4888-AA84-1E5215138658}" type="datetime'''2''9''''%'''''''''''''''''''''''''''''''''''''''''''''">
              <a:rPr lang="nl-NL" altLang="en-US" sz="1000" smtClean="0">
                <a:solidFill>
                  <a:schemeClr val="tx1"/>
                </a:solidFill>
              </a:rPr>
              <a:pPr marL="0" indent="0">
                <a:spcBef>
                  <a:spcPct val="0"/>
                </a:spcBef>
                <a:spcAft>
                  <a:spcPct val="0"/>
                </a:spcAft>
                <a:buNone/>
              </a:pPr>
              <a:t>29%</a:t>
            </a:fld>
            <a:endParaRPr lang="nl-NL" sz="1000" noProof="0" dirty="0">
              <a:solidFill>
                <a:schemeClr val="tx1"/>
              </a:solidFill>
              <a:latin typeface="+mn-lt"/>
            </a:endParaRPr>
          </a:p>
        </p:txBody>
      </p:sp>
      <p:sp>
        <p:nvSpPr>
          <p:cNvPr id="50" name="Content 1">
            <a:extLst>
              <a:ext uri="{FF2B5EF4-FFF2-40B4-BE49-F238E27FC236}">
                <a16:creationId xmlns:a16="http://schemas.microsoft.com/office/drawing/2014/main" id="{93DE83BE-E671-4E44-94DE-503A3CB69C64}"/>
              </a:ext>
            </a:extLst>
          </p:cNvPr>
          <p:cNvSpPr>
            <a:spLocks noGrp="1"/>
          </p:cNvSpPr>
          <p:nvPr>
            <p:custDataLst>
              <p:tags r:id="rId14"/>
            </p:custDataLst>
          </p:nvPr>
        </p:nvSpPr>
        <p:spPr bwMode="gray">
          <a:xfrm>
            <a:off x="5524500" y="4806950"/>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C485BAE-3C1D-48F7-92CC-ACC13BAC242D}" type="datetime'''''''''''''''''''''''''''''2''5''''%'''">
              <a:rPr lang="nl-NL" altLang="en-US" sz="1000" smtClean="0">
                <a:solidFill>
                  <a:schemeClr val="tx1"/>
                </a:solidFill>
              </a:rPr>
              <a:pPr marL="0" indent="0">
                <a:spcBef>
                  <a:spcPct val="0"/>
                </a:spcBef>
                <a:spcAft>
                  <a:spcPct val="0"/>
                </a:spcAft>
                <a:buNone/>
              </a:pPr>
              <a:t>25%</a:t>
            </a:fld>
            <a:endParaRPr lang="nl-NL" sz="1000" noProof="0" dirty="0">
              <a:solidFill>
                <a:schemeClr val="tx1"/>
              </a:solidFill>
              <a:latin typeface="+mn-lt"/>
            </a:endParaRPr>
          </a:p>
        </p:txBody>
      </p:sp>
      <p:sp>
        <p:nvSpPr>
          <p:cNvPr id="51" name="Content 1">
            <a:extLst>
              <a:ext uri="{FF2B5EF4-FFF2-40B4-BE49-F238E27FC236}">
                <a16:creationId xmlns:a16="http://schemas.microsoft.com/office/drawing/2014/main" id="{6AB4E1B9-F8E4-462D-915A-CE91216095F2}"/>
              </a:ext>
            </a:extLst>
          </p:cNvPr>
          <p:cNvSpPr>
            <a:spLocks noGrp="1"/>
          </p:cNvSpPr>
          <p:nvPr>
            <p:custDataLst>
              <p:tags r:id="rId15"/>
            </p:custDataLst>
          </p:nvPr>
        </p:nvSpPr>
        <p:spPr bwMode="gray">
          <a:xfrm>
            <a:off x="5813425" y="51736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DADA19D-332A-4F51-8234-C57A0849DAA6}" type="datetime'''''''''3''''''''''''''''2''''''''''''''''''''''%'''">
              <a:rPr lang="nl-NL" altLang="en-US" sz="1000" smtClean="0">
                <a:solidFill>
                  <a:schemeClr val="tx1"/>
                </a:solidFill>
              </a:rPr>
              <a:pPr marL="0" indent="0">
                <a:spcBef>
                  <a:spcPct val="0"/>
                </a:spcBef>
                <a:spcAft>
                  <a:spcPct val="0"/>
                </a:spcAft>
                <a:buNone/>
              </a:pPr>
              <a:t>32%</a:t>
            </a:fld>
            <a:endParaRPr lang="nl-NL" sz="1000" noProof="0" dirty="0">
              <a:solidFill>
                <a:schemeClr val="tx1"/>
              </a:solidFill>
              <a:latin typeface="+mn-lt"/>
            </a:endParaRPr>
          </a:p>
        </p:txBody>
      </p:sp>
      <p:sp>
        <p:nvSpPr>
          <p:cNvPr id="52" name="Content 1">
            <a:extLst>
              <a:ext uri="{FF2B5EF4-FFF2-40B4-BE49-F238E27FC236}">
                <a16:creationId xmlns:a16="http://schemas.microsoft.com/office/drawing/2014/main" id="{D3D699C2-3294-4EC2-9A1E-991095D167C7}"/>
              </a:ext>
            </a:extLst>
          </p:cNvPr>
          <p:cNvSpPr>
            <a:spLocks noGrp="1"/>
          </p:cNvSpPr>
          <p:nvPr>
            <p:custDataLst>
              <p:tags r:id="rId16"/>
            </p:custDataLst>
          </p:nvPr>
        </p:nvSpPr>
        <p:spPr bwMode="gray">
          <a:xfrm>
            <a:off x="6067425" y="5538788"/>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9AD37B2-F137-4061-9FB5-E0A25A00A03C}" type="datetime'''''3''''''''''''''''''''9''''''''''''''''''''''%'''">
              <a:rPr lang="nl-NL" altLang="en-US" sz="1000" smtClean="0">
                <a:solidFill>
                  <a:schemeClr val="tx1"/>
                </a:solidFill>
              </a:rPr>
              <a:pPr marL="0" indent="0">
                <a:spcBef>
                  <a:spcPct val="0"/>
                </a:spcBef>
                <a:spcAft>
                  <a:spcPct val="0"/>
                </a:spcAft>
                <a:buNone/>
              </a:pPr>
              <a:t>39%</a:t>
            </a:fld>
            <a:endParaRPr lang="nl-NL" sz="1000" noProof="0" dirty="0">
              <a:solidFill>
                <a:schemeClr val="tx1"/>
              </a:solidFill>
              <a:latin typeface="+mn-lt"/>
            </a:endParaRPr>
          </a:p>
        </p:txBody>
      </p:sp>
      <p:sp>
        <p:nvSpPr>
          <p:cNvPr id="40" name="TextBox 39">
            <a:extLst>
              <a:ext uri="{FF2B5EF4-FFF2-40B4-BE49-F238E27FC236}">
                <a16:creationId xmlns:a16="http://schemas.microsoft.com/office/drawing/2014/main" id="{887FDC4A-163B-4A52-9B75-2DF874C38F93}"/>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Mogelijke verklaring tekorten:          objectieve eigenschappen</a:t>
            </a:r>
            <a:endParaRPr lang="nl-NL" b="1" noProof="0" dirty="0">
              <a:solidFill>
                <a:schemeClr val="tx2"/>
              </a:solidFill>
            </a:endParaRPr>
          </a:p>
        </p:txBody>
      </p:sp>
      <p:pic>
        <p:nvPicPr>
          <p:cNvPr id="33" name="Graphic 32" descr="Basic Shapes with solid fill">
            <a:extLst>
              <a:ext uri="{FF2B5EF4-FFF2-40B4-BE49-F238E27FC236}">
                <a16:creationId xmlns:a16="http://schemas.microsoft.com/office/drawing/2014/main" id="{9BA7B32F-6D86-4781-BE73-1A1170851D0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022036" y="113579"/>
            <a:ext cx="323805" cy="323805"/>
          </a:xfrm>
          <a:prstGeom prst="rect">
            <a:avLst/>
          </a:prstGeom>
        </p:spPr>
      </p:pic>
      <p:sp>
        <p:nvSpPr>
          <p:cNvPr id="58" name="TextBox 57">
            <a:extLst>
              <a:ext uri="{FF2B5EF4-FFF2-40B4-BE49-F238E27FC236}">
                <a16:creationId xmlns:a16="http://schemas.microsoft.com/office/drawing/2014/main" id="{4A6A74D6-2E4D-40C8-A482-4A0F626E67EB}"/>
              </a:ext>
            </a:extLst>
          </p:cNvPr>
          <p:cNvSpPr txBox="1"/>
          <p:nvPr/>
        </p:nvSpPr>
        <p:spPr>
          <a:xfrm>
            <a:off x="3491706" y="2773363"/>
            <a:ext cx="1585912" cy="417513"/>
          </a:xfrm>
          <a:prstGeom prst="rect">
            <a:avLst/>
          </a:prstGeom>
        </p:spPr>
        <p:txBody>
          <a:bodyPr vert="horz" wrap="square" lIns="91440" tIns="45720" rIns="91440" bIns="45720" rtlCol="0">
            <a:noAutofit/>
          </a:bodyPr>
          <a:lstStyle/>
          <a:p>
            <a:pPr marL="0" indent="0" algn="ctr">
              <a:buNone/>
            </a:pPr>
            <a:r>
              <a:rPr lang="nl-NL" sz="1000" dirty="0"/>
              <a:t>Uitkering gemeentefonds jeugd (€ per inw. &lt;18 jaar)</a:t>
            </a:r>
            <a:r>
              <a:rPr lang="nl-NL" sz="1000" baseline="30000" dirty="0"/>
              <a:t>1</a:t>
            </a:r>
            <a:endParaRPr lang="nl-NL" sz="1000" baseline="30000" noProof="0" dirty="0"/>
          </a:p>
        </p:txBody>
      </p:sp>
      <p:graphicFrame>
        <p:nvGraphicFramePr>
          <p:cNvPr id="55" name="Chart 54">
            <a:extLst>
              <a:ext uri="{FF2B5EF4-FFF2-40B4-BE49-F238E27FC236}">
                <a16:creationId xmlns:a16="http://schemas.microsoft.com/office/drawing/2014/main" id="{309D0F0E-3591-427E-B399-E83A5D6A000C}"/>
              </a:ext>
            </a:extLst>
          </p:cNvPr>
          <p:cNvGraphicFramePr/>
          <p:nvPr>
            <p:custDataLst>
              <p:tags r:id="rId17"/>
            </p:custDataLst>
            <p:extLst>
              <p:ext uri="{D42A27DB-BD31-4B8C-83A1-F6EECF244321}">
                <p14:modId xmlns:p14="http://schemas.microsoft.com/office/powerpoint/2010/main" val="3965167004"/>
              </p:ext>
            </p:extLst>
          </p:nvPr>
        </p:nvGraphicFramePr>
        <p:xfrm>
          <a:off x="7237413" y="2614613"/>
          <a:ext cx="4202112" cy="3459162"/>
        </p:xfrm>
        <a:graphic>
          <a:graphicData uri="http://schemas.openxmlformats.org/drawingml/2006/chart">
            <c:chart xmlns:c="http://schemas.openxmlformats.org/drawingml/2006/chart" xmlns:r="http://schemas.openxmlformats.org/officeDocument/2006/relationships" r:id="rId24"/>
          </a:graphicData>
        </a:graphic>
      </p:graphicFrame>
      <p:sp>
        <p:nvSpPr>
          <p:cNvPr id="236" name="TextBox 235">
            <a:extLst>
              <a:ext uri="{FF2B5EF4-FFF2-40B4-BE49-F238E27FC236}">
                <a16:creationId xmlns:a16="http://schemas.microsoft.com/office/drawing/2014/main" id="{4B684C8D-F1AB-4F62-8188-03B8DD669B12}"/>
              </a:ext>
            </a:extLst>
          </p:cNvPr>
          <p:cNvSpPr txBox="1"/>
          <p:nvPr/>
        </p:nvSpPr>
        <p:spPr>
          <a:xfrm>
            <a:off x="8152317" y="6088714"/>
            <a:ext cx="2551693" cy="417513"/>
          </a:xfrm>
          <a:prstGeom prst="rect">
            <a:avLst/>
          </a:prstGeom>
        </p:spPr>
        <p:txBody>
          <a:bodyPr vert="horz" wrap="square" lIns="91440" tIns="45720" rIns="91440" bIns="45720" rtlCol="0">
            <a:noAutofit/>
          </a:bodyPr>
          <a:lstStyle/>
          <a:p>
            <a:pPr marL="0" indent="0" algn="ctr">
              <a:buNone/>
            </a:pPr>
            <a:r>
              <a:rPr lang="nl-NL" sz="1000" dirty="0"/>
              <a:t>Budget gemeentefonds jeugd</a:t>
            </a:r>
            <a:br>
              <a:rPr lang="nl-NL" sz="1000" dirty="0"/>
            </a:br>
            <a:r>
              <a:rPr lang="nl-NL" sz="1000" dirty="0"/>
              <a:t>(€ per inwoner &lt;18 jaar)</a:t>
            </a:r>
            <a:r>
              <a:rPr lang="nl-NL" sz="1000" baseline="30000" dirty="0"/>
              <a:t>1</a:t>
            </a:r>
            <a:endParaRPr lang="nl-NL" sz="1000" noProof="0" dirty="0"/>
          </a:p>
        </p:txBody>
      </p:sp>
      <p:sp>
        <p:nvSpPr>
          <p:cNvPr id="237" name="Content Placeholder 38">
            <a:extLst>
              <a:ext uri="{FF2B5EF4-FFF2-40B4-BE49-F238E27FC236}">
                <a16:creationId xmlns:a16="http://schemas.microsoft.com/office/drawing/2014/main" id="{FC2B5E43-4DE8-4A1A-8604-5A1C81760470}"/>
              </a:ext>
            </a:extLst>
          </p:cNvPr>
          <p:cNvSpPr txBox="1">
            <a:spLocks/>
          </p:cNvSpPr>
          <p:nvPr/>
        </p:nvSpPr>
        <p:spPr>
          <a:xfrm>
            <a:off x="662780" y="2000250"/>
            <a:ext cx="2673595" cy="4284663"/>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spcBef>
                <a:spcPts val="1200"/>
              </a:spcBef>
            </a:pPr>
            <a:r>
              <a:rPr lang="nl-NL" dirty="0"/>
              <a:t>Het zou kunnen dat tekort ontstaat door een mismatch in de daadwerkelijke onderliggende drijvers van behoefte naar jeugdzorg én de verdeling in gemeentefonds</a:t>
            </a:r>
          </a:p>
          <a:p>
            <a:pPr>
              <a:lnSpc>
                <a:spcPct val="100000"/>
              </a:lnSpc>
              <a:spcBef>
                <a:spcPts val="1200"/>
              </a:spcBef>
            </a:pPr>
            <a:r>
              <a:rPr lang="nl-NL" dirty="0"/>
              <a:t>Op het eerste gezicht lijkt er geen uniform verband te bestaan tussen de uitkering in gemeentefonds en de mate van tekort</a:t>
            </a:r>
          </a:p>
          <a:p>
            <a:pPr>
              <a:lnSpc>
                <a:spcPct val="100000"/>
              </a:lnSpc>
              <a:spcBef>
                <a:spcPts val="1200"/>
              </a:spcBef>
            </a:pPr>
            <a:r>
              <a:rPr lang="nl-NL" dirty="0"/>
              <a:t>Er zijn wel interessante verschillen te ontdekken, dus het lijkt relevant om in het kader van herijking gemeentefonds precies te onderzoeken hoe deze uitpakt</a:t>
            </a:r>
          </a:p>
        </p:txBody>
      </p:sp>
      <p:sp>
        <p:nvSpPr>
          <p:cNvPr id="631" name="Rectangle 630" hidden="1">
            <a:extLst>
              <a:ext uri="{FF2B5EF4-FFF2-40B4-BE49-F238E27FC236}">
                <a16:creationId xmlns:a16="http://schemas.microsoft.com/office/drawing/2014/main" id="{C3CE3F47-9B1A-4A7E-B483-134DA2F6820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endParaRPr>
          </a:p>
        </p:txBody>
      </p:sp>
      <p:sp>
        <p:nvSpPr>
          <p:cNvPr id="645" name="Rectangle 644" hidden="1">
            <a:extLst>
              <a:ext uri="{FF2B5EF4-FFF2-40B4-BE49-F238E27FC236}">
                <a16:creationId xmlns:a16="http://schemas.microsoft.com/office/drawing/2014/main" id="{ED74CBEA-E3D6-487A-9FB9-72E9A6A28AE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endParaRPr>
          </a:p>
        </p:txBody>
      </p:sp>
    </p:spTree>
    <p:extLst>
      <p:ext uri="{BB962C8B-B14F-4D97-AF65-F5344CB8AC3E}">
        <p14:creationId xmlns:p14="http://schemas.microsoft.com/office/powerpoint/2010/main" val="4251158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D80B1AB-9E77-4BD9-931E-6C64157BEB45}"/>
              </a:ext>
            </a:extLst>
          </p:cNvPr>
          <p:cNvGraphicFramePr>
            <a:graphicFrameLocks noChangeAspect="1"/>
          </p:cNvGraphicFramePr>
          <p:nvPr>
            <p:custDataLst>
              <p:tags r:id="rId1"/>
            </p:custDataLst>
            <p:extLst>
              <p:ext uri="{D42A27DB-BD31-4B8C-83A1-F6EECF244321}">
                <p14:modId xmlns:p14="http://schemas.microsoft.com/office/powerpoint/2010/main" val="2098713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9" imgW="501" imgH="502" progId="TCLayout.ActiveDocument.1">
                  <p:embed/>
                </p:oleObj>
              </mc:Choice>
              <mc:Fallback>
                <p:oleObj name="think-cell Slide" r:id="rId109" imgW="501" imgH="502" progId="TCLayout.ActiveDocument.1">
                  <p:embed/>
                  <p:pic>
                    <p:nvPicPr>
                      <p:cNvPr id="12" name="Object 11" hidden="1">
                        <a:extLst>
                          <a:ext uri="{FF2B5EF4-FFF2-40B4-BE49-F238E27FC236}">
                            <a16:creationId xmlns:a16="http://schemas.microsoft.com/office/drawing/2014/main" id="{5D80B1AB-9E77-4BD9-931E-6C64157BEB45}"/>
                          </a:ext>
                        </a:extLst>
                      </p:cNvPr>
                      <p:cNvPicPr/>
                      <p:nvPr/>
                    </p:nvPicPr>
                    <p:blipFill>
                      <a:blip r:embed="rId110"/>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5BECFCAE-DEFB-4462-A278-B3D7E03D5EAB}"/>
              </a:ext>
            </a:extLst>
          </p:cNvPr>
          <p:cNvSpPr>
            <a:spLocks noGrp="1"/>
          </p:cNvSpPr>
          <p:nvPr>
            <p:ph type="ftr" sz="quarter" idx="3"/>
          </p:nvPr>
        </p:nvSpPr>
        <p:spPr/>
        <p:txBody>
          <a:bodyPr/>
          <a:lstStyle/>
          <a:p>
            <a:r>
              <a:rPr lang="nl-NL" dirty="0"/>
              <a:t>Bron: Iv3-data; AEF; it’s public analyse</a:t>
            </a:r>
          </a:p>
        </p:txBody>
      </p:sp>
      <p:sp>
        <p:nvSpPr>
          <p:cNvPr id="25" name="Text Placeholder 24">
            <a:extLst>
              <a:ext uri="{FF2B5EF4-FFF2-40B4-BE49-F238E27FC236}">
                <a16:creationId xmlns:a16="http://schemas.microsoft.com/office/drawing/2014/main" id="{7141BAEC-C99A-4163-A4B1-B2DF67345ED7}"/>
              </a:ext>
            </a:extLst>
          </p:cNvPr>
          <p:cNvSpPr>
            <a:spLocks noGrp="1"/>
          </p:cNvSpPr>
          <p:nvPr>
            <p:ph type="body" sz="quarter" idx="14"/>
          </p:nvPr>
        </p:nvSpPr>
        <p:spPr/>
        <p:txBody>
          <a:bodyPr/>
          <a:lstStyle/>
          <a:p>
            <a:r>
              <a:rPr lang="nl-NL" dirty="0"/>
              <a:t>Tekorten jeugdzorg per gemeente per inkoopcombinatie, 2019</a:t>
            </a:r>
          </a:p>
          <a:p>
            <a:r>
              <a:rPr lang="nl-NL" b="0" dirty="0"/>
              <a:t>% tekort t.o.v. budget</a:t>
            </a:r>
          </a:p>
        </p:txBody>
      </p:sp>
      <p:sp>
        <p:nvSpPr>
          <p:cNvPr id="10" name="Title 9">
            <a:extLst>
              <a:ext uri="{FF2B5EF4-FFF2-40B4-BE49-F238E27FC236}">
                <a16:creationId xmlns:a16="http://schemas.microsoft.com/office/drawing/2014/main" id="{AF12105D-D059-45AC-9F56-A2F7C3CAF5EB}"/>
              </a:ext>
            </a:extLst>
          </p:cNvPr>
          <p:cNvSpPr>
            <a:spLocks noGrp="1"/>
          </p:cNvSpPr>
          <p:nvPr>
            <p:ph type="title"/>
          </p:nvPr>
        </p:nvSpPr>
        <p:spPr/>
        <p:txBody>
          <a:bodyPr vert="horz"/>
          <a:lstStyle/>
          <a:p>
            <a:r>
              <a:rPr lang="nl-NL" dirty="0"/>
              <a:t>Bij gemeenten die gezamenlijk aanbesteden zijn er ook aanzienlijk onderling verschillen</a:t>
            </a:r>
          </a:p>
        </p:txBody>
      </p:sp>
      <p:sp>
        <p:nvSpPr>
          <p:cNvPr id="123" name="Content Placeholder 2">
            <a:extLst>
              <a:ext uri="{FF2B5EF4-FFF2-40B4-BE49-F238E27FC236}">
                <a16:creationId xmlns:a16="http://schemas.microsoft.com/office/drawing/2014/main" id="{EDDD1DC4-FE81-4FB5-9B2A-310F5A0D1A68}"/>
              </a:ext>
            </a:extLst>
          </p:cNvPr>
          <p:cNvSpPr txBox="1">
            <a:spLocks/>
          </p:cNvSpPr>
          <p:nvPr/>
        </p:nvSpPr>
        <p:spPr>
          <a:xfrm>
            <a:off x="662780" y="1936729"/>
            <a:ext cx="3672000" cy="4716462"/>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spcBef>
                <a:spcPts val="1200"/>
              </a:spcBef>
            </a:pPr>
            <a:r>
              <a:rPr lang="nl-NL" dirty="0"/>
              <a:t>Het zou niet onlogisch zijn om te verwachten dat verschillen binnen een inkoopcombinaties beperkter zouden moeten zijn, omdat in ieder geval inkoopvoorwaarden hetzelfde zijn (wellicht ook andere beleidskeuzes hetzelfde)</a:t>
            </a:r>
          </a:p>
          <a:p>
            <a:pPr>
              <a:spcBef>
                <a:spcPts val="1200"/>
              </a:spcBef>
            </a:pPr>
            <a:r>
              <a:rPr lang="nl-NL" dirty="0"/>
              <a:t>Uit analyse blijkt dat zelfs binnen inkoopcombinaties er grote verschillen in tekorten per gemeente zitten</a:t>
            </a:r>
          </a:p>
          <a:p>
            <a:pPr>
              <a:spcBef>
                <a:spcPts val="1200"/>
              </a:spcBef>
            </a:pPr>
            <a:r>
              <a:rPr lang="nl-NL" dirty="0"/>
              <a:t>Dit geeft indicatie dat het tekort hoogstwaarschijnlijk niet één perfect beleid bestaat dat alle tekorten oplost, maar dat er altijd verschil zal blijven bestaan </a:t>
            </a:r>
          </a:p>
          <a:p>
            <a:pPr>
              <a:spcBef>
                <a:spcPts val="1200"/>
              </a:spcBef>
            </a:pPr>
            <a:r>
              <a:rPr lang="nl-NL" dirty="0"/>
              <a:t>Het verschil in tekort zal binnen een inkoopcombinatie in grotere mate verklaard worden door ‘kans’ en ‘objectieve eigenschappen’ (zie slide 11)</a:t>
            </a:r>
          </a:p>
        </p:txBody>
      </p:sp>
      <p:sp>
        <p:nvSpPr>
          <p:cNvPr id="9" name="Text Placeholder 8">
            <a:extLst>
              <a:ext uri="{FF2B5EF4-FFF2-40B4-BE49-F238E27FC236}">
                <a16:creationId xmlns:a16="http://schemas.microsoft.com/office/drawing/2014/main" id="{8FE905A3-ECC8-42AD-AF52-32AB6CA0747E}"/>
              </a:ext>
            </a:extLst>
          </p:cNvPr>
          <p:cNvSpPr>
            <a:spLocks noGrp="1"/>
          </p:cNvSpPr>
          <p:nvPr>
            <p:ph type="body" sz="quarter" idx="20"/>
          </p:nvPr>
        </p:nvSpPr>
        <p:spPr/>
        <p:txBody>
          <a:bodyPr/>
          <a:lstStyle/>
          <a:p>
            <a:endParaRPr lang="nl-NL"/>
          </a:p>
        </p:txBody>
      </p:sp>
      <p:sp>
        <p:nvSpPr>
          <p:cNvPr id="206" name="TextBox 205">
            <a:extLst>
              <a:ext uri="{FF2B5EF4-FFF2-40B4-BE49-F238E27FC236}">
                <a16:creationId xmlns:a16="http://schemas.microsoft.com/office/drawing/2014/main" id="{E8BC1315-4325-4FDE-B521-8A2D81B09C89}"/>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Mogelijke verklaring tekorten:          kans-element   </a:t>
            </a:r>
            <a:r>
              <a:rPr lang="nl-NL" sz="1400" b="1" i="1" dirty="0">
                <a:solidFill>
                  <a:schemeClr val="tx2"/>
                </a:solidFill>
              </a:rPr>
              <a:t>en</a:t>
            </a:r>
            <a:endParaRPr lang="nl-NL" b="1" noProof="0" dirty="0">
              <a:solidFill>
                <a:schemeClr val="tx2"/>
              </a:solidFill>
            </a:endParaRPr>
          </a:p>
        </p:txBody>
      </p:sp>
      <p:pic>
        <p:nvPicPr>
          <p:cNvPr id="207" name="Graphic 206" descr="Dice with solid fill">
            <a:extLst>
              <a:ext uri="{FF2B5EF4-FFF2-40B4-BE49-F238E27FC236}">
                <a16:creationId xmlns:a16="http://schemas.microsoft.com/office/drawing/2014/main" id="{8F3DFCE1-39D5-4FA9-B206-D165AF0DCB35}"/>
              </a:ext>
            </a:extLst>
          </p:cNvPr>
          <p:cNvPicPr>
            <a:picLocks noChangeAspect="1"/>
          </p:cNvPicPr>
          <p:nvPr/>
        </p:nvPicPr>
        <p:blipFill>
          <a:blip r:embed="rId111">
            <a:extLst>
              <a:ext uri="{96DAC541-7B7A-43D3-8B79-37D633B846F1}">
                <asvg:svgBlip xmlns:asvg="http://schemas.microsoft.com/office/drawing/2016/SVG/main" r:embed="rId112"/>
              </a:ext>
            </a:extLst>
          </a:blip>
          <a:srcRect/>
          <a:stretch/>
        </p:blipFill>
        <p:spPr>
          <a:xfrm>
            <a:off x="3022036" y="113579"/>
            <a:ext cx="323805" cy="323805"/>
          </a:xfrm>
          <a:prstGeom prst="rect">
            <a:avLst/>
          </a:prstGeom>
        </p:spPr>
      </p:pic>
      <p:graphicFrame>
        <p:nvGraphicFramePr>
          <p:cNvPr id="284" name="Chart 283">
            <a:extLst>
              <a:ext uri="{FF2B5EF4-FFF2-40B4-BE49-F238E27FC236}">
                <a16:creationId xmlns:a16="http://schemas.microsoft.com/office/drawing/2014/main" id="{C72FD21B-2FEB-4F9C-B7EE-6B4F69EB3396}"/>
              </a:ext>
            </a:extLst>
          </p:cNvPr>
          <p:cNvGraphicFramePr/>
          <p:nvPr>
            <p:custDataLst>
              <p:tags r:id="rId2"/>
            </p:custDataLst>
            <p:extLst>
              <p:ext uri="{D42A27DB-BD31-4B8C-83A1-F6EECF244321}">
                <p14:modId xmlns:p14="http://schemas.microsoft.com/office/powerpoint/2010/main" val="714328946"/>
              </p:ext>
            </p:extLst>
          </p:nvPr>
        </p:nvGraphicFramePr>
        <p:xfrm>
          <a:off x="5021263" y="2219325"/>
          <a:ext cx="1347787" cy="3776663"/>
        </p:xfrm>
        <a:graphic>
          <a:graphicData uri="http://schemas.openxmlformats.org/drawingml/2006/chart">
            <c:chart xmlns:c="http://schemas.openxmlformats.org/drawingml/2006/chart" xmlns:r="http://schemas.openxmlformats.org/officeDocument/2006/relationships" r:id="rId113"/>
          </a:graphicData>
        </a:graphic>
      </p:graphicFrame>
      <p:cxnSp>
        <p:nvCxnSpPr>
          <p:cNvPr id="85" name="Straight Connector 84">
            <a:extLst>
              <a:ext uri="{FF2B5EF4-FFF2-40B4-BE49-F238E27FC236}">
                <a16:creationId xmlns:a16="http://schemas.microsoft.com/office/drawing/2014/main" id="{3288433E-17C7-4F90-A171-D6791ABD6F0E}"/>
              </a:ext>
            </a:extLst>
          </p:cNvPr>
          <p:cNvCxnSpPr/>
          <p:nvPr>
            <p:custDataLst>
              <p:tags r:id="rId3"/>
            </p:custDataLst>
          </p:nvPr>
        </p:nvCxnSpPr>
        <p:spPr bwMode="auto">
          <a:xfrm>
            <a:off x="5741988" y="2301875"/>
            <a:ext cx="0" cy="1458913"/>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4" name="Arrow: Right 13">
            <a:extLst>
              <a:ext uri="{FF2B5EF4-FFF2-40B4-BE49-F238E27FC236}">
                <a16:creationId xmlns:a16="http://schemas.microsoft.com/office/drawing/2014/main" id="{F7BF18A9-C18C-4346-AD6D-E8FB4432B0E6}"/>
              </a:ext>
            </a:extLst>
          </p:cNvPr>
          <p:cNvSpPr/>
          <p:nvPr>
            <p:custDataLst>
              <p:tags r:id="rId4"/>
            </p:custDataLst>
          </p:nvPr>
        </p:nvSpPr>
        <p:spPr bwMode="auto">
          <a:xfrm rot="16200000">
            <a:off x="5678488" y="5951538"/>
            <a:ext cx="128588" cy="152400"/>
          </a:xfrm>
          <a:prstGeom prst="rightArrow">
            <a:avLst>
              <a:gd name="adj1" fmla="val 100000"/>
              <a:gd name="adj2" fmla="val 100201"/>
            </a:avLst>
          </a:prstGeom>
          <a:solidFill>
            <a:schemeClr val="tx1"/>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83" name="Straight Connector 82">
            <a:extLst>
              <a:ext uri="{FF2B5EF4-FFF2-40B4-BE49-F238E27FC236}">
                <a16:creationId xmlns:a16="http://schemas.microsoft.com/office/drawing/2014/main" id="{3BE25D01-7D82-44B2-9D2E-4F9BB65D5807}"/>
              </a:ext>
            </a:extLst>
          </p:cNvPr>
          <p:cNvCxnSpPr/>
          <p:nvPr>
            <p:custDataLst>
              <p:tags r:id="rId5"/>
            </p:custDataLst>
          </p:nvPr>
        </p:nvCxnSpPr>
        <p:spPr bwMode="auto">
          <a:xfrm>
            <a:off x="5741988" y="5842000"/>
            <a:ext cx="0" cy="7143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E3FD06A3-34AE-4CE2-B409-FEB57395CE5B}"/>
              </a:ext>
            </a:extLst>
          </p:cNvPr>
          <p:cNvCxnSpPr/>
          <p:nvPr>
            <p:custDataLst>
              <p:tags r:id="rId6"/>
            </p:custDataLst>
          </p:nvPr>
        </p:nvCxnSpPr>
        <p:spPr bwMode="auto">
          <a:xfrm>
            <a:off x="5741988" y="3897313"/>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3F35E31F-44A6-4D55-A2C5-0C454CAD3BAD}"/>
              </a:ext>
            </a:extLst>
          </p:cNvPr>
          <p:cNvCxnSpPr/>
          <p:nvPr>
            <p:custDataLst>
              <p:tags r:id="rId7"/>
            </p:custDataLst>
          </p:nvPr>
        </p:nvCxnSpPr>
        <p:spPr bwMode="auto">
          <a:xfrm>
            <a:off x="5741988" y="4175125"/>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7C2119BA-E9A6-45D6-9BDB-91EAADD136EE}"/>
              </a:ext>
            </a:extLst>
          </p:cNvPr>
          <p:cNvCxnSpPr/>
          <p:nvPr>
            <p:custDataLst>
              <p:tags r:id="rId8"/>
            </p:custDataLst>
          </p:nvPr>
        </p:nvCxnSpPr>
        <p:spPr bwMode="auto">
          <a:xfrm>
            <a:off x="5741988" y="4452938"/>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F43E555C-D6F2-4C51-8180-838C474B6441}"/>
              </a:ext>
            </a:extLst>
          </p:cNvPr>
          <p:cNvCxnSpPr/>
          <p:nvPr>
            <p:custDataLst>
              <p:tags r:id="rId9"/>
            </p:custDataLst>
          </p:nvPr>
        </p:nvCxnSpPr>
        <p:spPr bwMode="auto">
          <a:xfrm>
            <a:off x="5741988" y="4730750"/>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4FCD0527-D3F7-42EB-9DCB-BB76522AF11D}"/>
              </a:ext>
            </a:extLst>
          </p:cNvPr>
          <p:cNvCxnSpPr/>
          <p:nvPr>
            <p:custDataLst>
              <p:tags r:id="rId10"/>
            </p:custDataLst>
          </p:nvPr>
        </p:nvCxnSpPr>
        <p:spPr bwMode="auto">
          <a:xfrm>
            <a:off x="5741988" y="5008563"/>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7CF2126-0841-4ECE-A653-D00C042C57B4}"/>
              </a:ext>
            </a:extLst>
          </p:cNvPr>
          <p:cNvCxnSpPr/>
          <p:nvPr>
            <p:custDataLst>
              <p:tags r:id="rId11"/>
            </p:custDataLst>
          </p:nvPr>
        </p:nvCxnSpPr>
        <p:spPr bwMode="auto">
          <a:xfrm>
            <a:off x="5741988" y="5286375"/>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90BE524-3FE6-4544-923E-81DCA6774BC5}"/>
              </a:ext>
            </a:extLst>
          </p:cNvPr>
          <p:cNvCxnSpPr/>
          <p:nvPr>
            <p:custDataLst>
              <p:tags r:id="rId12"/>
            </p:custDataLst>
          </p:nvPr>
        </p:nvCxnSpPr>
        <p:spPr bwMode="auto">
          <a:xfrm>
            <a:off x="5741988" y="5564188"/>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03" name="Content 1">
            <a:extLst>
              <a:ext uri="{FF2B5EF4-FFF2-40B4-BE49-F238E27FC236}">
                <a16:creationId xmlns:a16="http://schemas.microsoft.com/office/drawing/2014/main" id="{AEE793E6-A076-4444-8568-F112297BA499}"/>
              </a:ext>
            </a:extLst>
          </p:cNvPr>
          <p:cNvSpPr>
            <a:spLocks noGrp="1"/>
          </p:cNvSpPr>
          <p:nvPr>
            <p:custDataLst>
              <p:tags r:id="rId13"/>
            </p:custDataLst>
          </p:nvPr>
        </p:nvSpPr>
        <p:spPr bwMode="auto">
          <a:xfrm>
            <a:off x="4624388" y="4316413"/>
            <a:ext cx="393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805F2DF-9355-49C0-92B5-5D2EAB3B784E}" type="datetime'''B''o''''r''''''''''''''s''''e''''''''''''''le'''''">
              <a:rPr lang="nl-NL" altLang="en-US" sz="1000" smtClean="0">
                <a:solidFill>
                  <a:schemeClr val="tx1"/>
                </a:solidFill>
              </a:rPr>
              <a:pPr/>
              <a:t>Borsele</a:t>
            </a:fld>
            <a:endParaRPr lang="nl-NL" sz="1000" noProof="0" dirty="0">
              <a:solidFill>
                <a:schemeClr val="tx1"/>
              </a:solidFill>
              <a:latin typeface="+mn-lt"/>
            </a:endParaRPr>
          </a:p>
        </p:txBody>
      </p:sp>
      <p:sp>
        <p:nvSpPr>
          <p:cNvPr id="173"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gray">
          <a:xfrm>
            <a:off x="5616575" y="5149850"/>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A68FBAD-ED8B-4765-8EC8-F97DA159B89A}" type="datetime'''46''''''''''''''%'''">
              <a:rPr lang="nl-NL" altLang="en-US" sz="1000" smtClean="0">
                <a:solidFill>
                  <a:schemeClr val="tx1"/>
                </a:solidFill>
                <a:effectLst/>
                <a:latin typeface="+mn-lt"/>
              </a:rPr>
              <a:pPr marL="0" indent="0">
                <a:spcBef>
                  <a:spcPct val="0"/>
                </a:spcBef>
                <a:spcAft>
                  <a:spcPct val="0"/>
                </a:spcAft>
                <a:buNone/>
              </a:pPr>
              <a:t>46%</a:t>
            </a:fld>
            <a:endParaRPr lang="nl-NL" sz="1000" noProof="0" dirty="0">
              <a:solidFill>
                <a:schemeClr val="tx1"/>
              </a:solidFill>
              <a:latin typeface="+mn-lt"/>
            </a:endParaRPr>
          </a:p>
        </p:txBody>
      </p:sp>
      <p:sp>
        <p:nvSpPr>
          <p:cNvPr id="101" name="Content 1">
            <a:extLst>
              <a:ext uri="{FF2B5EF4-FFF2-40B4-BE49-F238E27FC236}">
                <a16:creationId xmlns:a16="http://schemas.microsoft.com/office/drawing/2014/main" id="{0FE177DC-F2E1-4B23-9FCF-02413DE589ED}"/>
              </a:ext>
            </a:extLst>
          </p:cNvPr>
          <p:cNvSpPr>
            <a:spLocks noGrp="1"/>
          </p:cNvSpPr>
          <p:nvPr>
            <p:custDataLst>
              <p:tags r:id="rId15"/>
            </p:custDataLst>
          </p:nvPr>
        </p:nvSpPr>
        <p:spPr bwMode="auto">
          <a:xfrm>
            <a:off x="4343400" y="4038600"/>
            <a:ext cx="674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BCBCB72-5EF1-4185-8248-A3B076274F05}" type="datetime'''''''R''e''''''''im''''''''er''s''''''wa''''''''a''''l'''''''">
              <a:rPr lang="nl-NL" altLang="en-US" sz="1000" smtClean="0">
                <a:solidFill>
                  <a:schemeClr val="tx1"/>
                </a:solidFill>
              </a:rPr>
              <a:pPr/>
              <a:t>Reimerswaal</a:t>
            </a:fld>
            <a:endParaRPr lang="nl-NL" sz="1000" noProof="0" dirty="0">
              <a:solidFill>
                <a:schemeClr val="tx1"/>
              </a:solidFill>
              <a:latin typeface="+mn-lt"/>
            </a:endParaRPr>
          </a:p>
        </p:txBody>
      </p:sp>
      <p:sp>
        <p:nvSpPr>
          <p:cNvPr id="160"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6311900" y="2371725"/>
            <a:ext cx="315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633C679-5EC7-4786-90DE-87DCF33D71EA}" type="datetime'''''1''''''''''''''''12''''''''''''''''''''''%'">
              <a:rPr lang="nl-NL" altLang="en-US" sz="1000" smtClean="0">
                <a:solidFill>
                  <a:schemeClr val="tx1"/>
                </a:solidFill>
                <a:effectLst/>
                <a:latin typeface="+mn-lt"/>
              </a:rPr>
              <a:pPr marL="0" indent="0">
                <a:spcBef>
                  <a:spcPct val="0"/>
                </a:spcBef>
                <a:spcAft>
                  <a:spcPct val="0"/>
                </a:spcAft>
                <a:buNone/>
              </a:pPr>
              <a:t>112%</a:t>
            </a:fld>
            <a:endParaRPr lang="nl-NL" sz="1000" noProof="0" dirty="0">
              <a:solidFill>
                <a:schemeClr val="tx1"/>
              </a:solidFill>
              <a:latin typeface="+mn-lt"/>
            </a:endParaRPr>
          </a:p>
        </p:txBody>
      </p:sp>
      <p:sp>
        <p:nvSpPr>
          <p:cNvPr id="104" name="Content 1">
            <a:extLst>
              <a:ext uri="{FF2B5EF4-FFF2-40B4-BE49-F238E27FC236}">
                <a16:creationId xmlns:a16="http://schemas.microsoft.com/office/drawing/2014/main" id="{C43378CA-F6AA-4597-BBB7-CD0FB2002ABA}"/>
              </a:ext>
            </a:extLst>
          </p:cNvPr>
          <p:cNvSpPr>
            <a:spLocks noGrp="1"/>
          </p:cNvSpPr>
          <p:nvPr>
            <p:custDataLst>
              <p:tags r:id="rId17"/>
            </p:custDataLst>
          </p:nvPr>
        </p:nvSpPr>
        <p:spPr bwMode="auto">
          <a:xfrm>
            <a:off x="4625975" y="4594225"/>
            <a:ext cx="392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4EEA9A7-162E-437D-ABF9-E555CD5A476C}" type="datetime'''''''''K''''''''''''ape''''''''''''''l''''''''''''''le'">
              <a:rPr lang="nl-NL" altLang="en-US" sz="1000" smtClean="0">
                <a:solidFill>
                  <a:schemeClr val="tx1"/>
                </a:solidFill>
              </a:rPr>
              <a:pPr/>
              <a:t>Kapelle</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08ADBD33-1A0B-4152-9617-0C258A06EFD6}"/>
              </a:ext>
            </a:extLst>
          </p:cNvPr>
          <p:cNvSpPr>
            <a:spLocks noGrp="1"/>
          </p:cNvSpPr>
          <p:nvPr>
            <p:custDataLst>
              <p:tags r:id="rId18"/>
            </p:custDataLst>
          </p:nvPr>
        </p:nvSpPr>
        <p:spPr bwMode="auto">
          <a:xfrm>
            <a:off x="4751388" y="51498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0660A26-1475-411D-A25A-0D262B285EBD}" type="datetime'''''''''''''''''''G''''''oes'''''''''''''''''''''''''''">
              <a:rPr lang="nl-NL" altLang="en-US" sz="1000" smtClean="0">
                <a:solidFill>
                  <a:schemeClr val="tx1"/>
                </a:solidFill>
              </a:rPr>
              <a:pPr/>
              <a:t>Goes</a:t>
            </a:fld>
            <a:endParaRPr lang="nl-NL" sz="1000" noProof="0" dirty="0">
              <a:solidFill>
                <a:schemeClr val="tx1"/>
              </a:solidFill>
              <a:latin typeface="+mn-lt"/>
            </a:endParaRPr>
          </a:p>
        </p:txBody>
      </p:sp>
      <p:sp>
        <p:nvSpPr>
          <p:cNvPr id="105" name="Content 1">
            <a:extLst>
              <a:ext uri="{FF2B5EF4-FFF2-40B4-BE49-F238E27FC236}">
                <a16:creationId xmlns:a16="http://schemas.microsoft.com/office/drawing/2014/main" id="{E22FF2C0-4AAD-4928-9396-8ABA064ED778}"/>
              </a:ext>
            </a:extLst>
          </p:cNvPr>
          <p:cNvSpPr>
            <a:spLocks noGrp="1"/>
          </p:cNvSpPr>
          <p:nvPr>
            <p:custDataLst>
              <p:tags r:id="rId19"/>
            </p:custDataLst>
          </p:nvPr>
        </p:nvSpPr>
        <p:spPr bwMode="auto">
          <a:xfrm>
            <a:off x="4706938" y="4872038"/>
            <a:ext cx="3111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0EEB0B0-0804-46B8-9D0A-8D77735FADEE}" type="datetime'V''''e''''''''''''''''''''''''''''''e''''re'''''''''''''">
              <a:rPr lang="nl-NL" altLang="en-US" sz="1000" smtClean="0">
                <a:solidFill>
                  <a:schemeClr val="tx1"/>
                </a:solidFill>
              </a:rPr>
              <a:pPr/>
              <a:t>Veere</a:t>
            </a:fld>
            <a:endParaRPr lang="nl-NL" sz="1000" noProof="0" dirty="0">
              <a:solidFill>
                <a:schemeClr val="tx1"/>
              </a:solidFill>
              <a:latin typeface="+mn-lt"/>
            </a:endParaRPr>
          </a:p>
        </p:txBody>
      </p:sp>
      <p:sp>
        <p:nvSpPr>
          <p:cNvPr id="102" name="Content 1">
            <a:extLst>
              <a:ext uri="{FF2B5EF4-FFF2-40B4-BE49-F238E27FC236}">
                <a16:creationId xmlns:a16="http://schemas.microsoft.com/office/drawing/2014/main" id="{001633BC-443D-4F0C-A93B-CEA0004285DA}"/>
              </a:ext>
            </a:extLst>
          </p:cNvPr>
          <p:cNvSpPr>
            <a:spLocks noGrp="1"/>
          </p:cNvSpPr>
          <p:nvPr>
            <p:custDataLst>
              <p:tags r:id="rId20"/>
            </p:custDataLst>
          </p:nvPr>
        </p:nvSpPr>
        <p:spPr bwMode="auto">
          <a:xfrm>
            <a:off x="4651375" y="5705475"/>
            <a:ext cx="3667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7684E1C-3200-4CD7-9935-364814BC8640}" type="datetime'''T''''''''''''''h''''o''''''''le''''''''''''''''''''''''n'">
              <a:rPr lang="nl-NL" altLang="en-US" sz="1000" smtClean="0">
                <a:solidFill>
                  <a:schemeClr val="tx1"/>
                </a:solidFill>
              </a:rPr>
              <a:pPr/>
              <a:t>Tholen</a:t>
            </a:fld>
            <a:endParaRPr lang="nl-NL" sz="1000" noProof="0" dirty="0">
              <a:solidFill>
                <a:schemeClr val="tx1"/>
              </a:solidFill>
              <a:latin typeface="+mn-lt"/>
            </a:endParaRPr>
          </a:p>
        </p:txBody>
      </p:sp>
      <p:sp>
        <p:nvSpPr>
          <p:cNvPr id="95" name="Content 1">
            <a:extLst>
              <a:ext uri="{FF2B5EF4-FFF2-40B4-BE49-F238E27FC236}">
                <a16:creationId xmlns:a16="http://schemas.microsoft.com/office/drawing/2014/main" id="{0C17FCFF-2600-451F-BAD1-DC142CC39A2A}"/>
              </a:ext>
            </a:extLst>
          </p:cNvPr>
          <p:cNvSpPr>
            <a:spLocks noGrp="1"/>
          </p:cNvSpPr>
          <p:nvPr>
            <p:custDataLst>
              <p:tags r:id="rId21"/>
            </p:custDataLst>
          </p:nvPr>
        </p:nvSpPr>
        <p:spPr bwMode="auto">
          <a:xfrm>
            <a:off x="4530725" y="2303463"/>
            <a:ext cx="4873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3409A37-72FA-4511-83C4-49D993D5A438}" type="datetime'''N''oor''''d''-&#10;''''B''''''''''''e''''''''''''v''''e''''land'">
              <a:rPr lang="nl-NL" altLang="en-US" sz="1000" smtClean="0">
                <a:solidFill>
                  <a:schemeClr val="tx1"/>
                </a:solidFill>
              </a:rPr>
              <a:pPr/>
              <a:t>Noord-
Beveland</a:t>
            </a:fld>
            <a:endParaRPr lang="nl-NL" sz="1000" noProof="0" dirty="0">
              <a:solidFill>
                <a:schemeClr val="tx1"/>
              </a:solidFill>
              <a:latin typeface="+mn-lt"/>
            </a:endParaRPr>
          </a:p>
        </p:txBody>
      </p:sp>
      <p:sp>
        <p:nvSpPr>
          <p:cNvPr id="159"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5570538" y="6143625"/>
            <a:ext cx="342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000" dirty="0">
                <a:solidFill>
                  <a:schemeClr val="tx1"/>
                </a:solidFill>
                <a:effectLst/>
                <a:latin typeface="+mn-lt"/>
              </a:rPr>
              <a:t>Ø </a:t>
            </a:r>
            <a:fld id="{FE3075CB-6844-4369-B595-7AD0A3D6C11A}" type="datetime'''''''61'''''''''''">
              <a:rPr lang="nl-NL" altLang="en-US" sz="1000" smtClean="0">
                <a:solidFill>
                  <a:schemeClr val="tx1"/>
                </a:solidFill>
                <a:effectLst/>
                <a:latin typeface="+mn-lt"/>
              </a:rPr>
              <a:pPr marL="0" indent="0" algn="ctr">
                <a:spcBef>
                  <a:spcPct val="0"/>
                </a:spcBef>
                <a:spcAft>
                  <a:spcPct val="0"/>
                </a:spcAft>
                <a:buNone/>
              </a:pPr>
              <a:t>61</a:t>
            </a:fld>
            <a:r>
              <a:rPr lang="nl-NL" altLang="en-US" sz="1000" dirty="0">
                <a:solidFill>
                  <a:schemeClr val="tx1"/>
                </a:solidFill>
                <a:effectLst/>
                <a:latin typeface="+mn-lt"/>
              </a:rPr>
              <a:t>%</a:t>
            </a:r>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ECAA980A-E2B0-4032-998B-F0D34F501F18}"/>
              </a:ext>
            </a:extLst>
          </p:cNvPr>
          <p:cNvSpPr>
            <a:spLocks noGrp="1"/>
          </p:cNvSpPr>
          <p:nvPr>
            <p:custDataLst>
              <p:tags r:id="rId23"/>
            </p:custDataLst>
          </p:nvPr>
        </p:nvSpPr>
        <p:spPr bwMode="auto">
          <a:xfrm>
            <a:off x="4484688" y="5427663"/>
            <a:ext cx="5334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1449F24-6EC3-4B84-ADFA-43547D46209C}" type="datetime'''V''''''''li''''ss''''i''''''ng''e''''''''''''n'">
              <a:rPr lang="nl-NL" altLang="en-US" sz="1000" smtClean="0">
                <a:solidFill>
                  <a:schemeClr val="tx1"/>
                </a:solidFill>
              </a:rPr>
              <a:pPr/>
              <a:t>Vlissingen</a:t>
            </a:fld>
            <a:endParaRPr lang="nl-NL" sz="1000" noProof="0" dirty="0">
              <a:solidFill>
                <a:schemeClr val="tx1"/>
              </a:solidFill>
              <a:latin typeface="+mn-lt"/>
            </a:endParaRPr>
          </a:p>
        </p:txBody>
      </p:sp>
      <p:sp>
        <p:nvSpPr>
          <p:cNvPr id="170"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gray">
          <a:xfrm>
            <a:off x="5722938" y="4316413"/>
            <a:ext cx="2635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D85B30A9-500A-4422-B358-914C55F94276}" type="datetime'''5''''''''''''''''''6''''''''''''%'''''''''''''''''''">
              <a:rPr lang="nl-NL" altLang="en-US" sz="1000" smtClean="0">
                <a:solidFill>
                  <a:schemeClr val="tx1"/>
                </a:solidFill>
                <a:effectLst/>
                <a:latin typeface="+mn-lt"/>
              </a:rPr>
              <a:pPr marL="0" indent="0">
                <a:spcBef>
                  <a:spcPct val="0"/>
                </a:spcBef>
                <a:spcAft>
                  <a:spcPct val="0"/>
                </a:spcAft>
                <a:buNone/>
              </a:pPr>
              <a:t>56%</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44F22CBF-0A07-4DB3-8804-4B3E7C9621DE}"/>
              </a:ext>
            </a:extLst>
          </p:cNvPr>
          <p:cNvSpPr>
            <a:spLocks noGrp="1"/>
          </p:cNvSpPr>
          <p:nvPr>
            <p:custDataLst>
              <p:tags r:id="rId25"/>
            </p:custDataLst>
          </p:nvPr>
        </p:nvSpPr>
        <p:spPr bwMode="auto">
          <a:xfrm>
            <a:off x="4410075" y="3760788"/>
            <a:ext cx="6080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E0EA015-34D0-4A69-ADE8-056C508B8CC1}" type="datetime'''''''''''Midde''''l''''b''''u''''r''''''''''''''g'''''''''">
              <a:rPr lang="nl-NL" altLang="en-US" sz="1000" smtClean="0">
                <a:solidFill>
                  <a:schemeClr val="tx1"/>
                </a:solidFill>
              </a:rPr>
              <a:pPr/>
              <a:t>Middelburg</a:t>
            </a:fld>
            <a:endParaRPr lang="nl-NL" sz="1000" noProof="0" dirty="0">
              <a:solidFill>
                <a:schemeClr val="tx1"/>
              </a:solidFill>
              <a:latin typeface="+mn-lt"/>
            </a:endParaRPr>
          </a:p>
        </p:txBody>
      </p:sp>
      <p:sp>
        <p:nvSpPr>
          <p:cNvPr id="96" name="Content 1">
            <a:extLst>
              <a:ext uri="{FF2B5EF4-FFF2-40B4-BE49-F238E27FC236}">
                <a16:creationId xmlns:a16="http://schemas.microsoft.com/office/drawing/2014/main" id="{1D141B9A-AFE8-4966-A0DE-A897C5AFB358}"/>
              </a:ext>
            </a:extLst>
          </p:cNvPr>
          <p:cNvSpPr>
            <a:spLocks noGrp="1"/>
          </p:cNvSpPr>
          <p:nvPr>
            <p:custDataLst>
              <p:tags r:id="rId26"/>
            </p:custDataLst>
          </p:nvPr>
        </p:nvSpPr>
        <p:spPr bwMode="auto">
          <a:xfrm>
            <a:off x="4772025" y="2649538"/>
            <a:ext cx="2460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DC552B9-54B0-4232-96FB-ED4950FA0EBE}" type="datetime'S''''''l''''''''''''''''''''''u''''''''''''''''is'">
              <a:rPr lang="nl-NL" altLang="en-US" sz="1000" smtClean="0">
                <a:solidFill>
                  <a:schemeClr val="tx1"/>
                </a:solidFill>
              </a:rPr>
              <a:pPr/>
              <a:t>Sluis</a:t>
            </a:fld>
            <a:endParaRPr lang="nl-NL" sz="1000" noProof="0" dirty="0">
              <a:solidFill>
                <a:schemeClr val="tx1"/>
              </a:solidFill>
              <a:latin typeface="+mn-lt"/>
            </a:endParaRPr>
          </a:p>
        </p:txBody>
      </p:sp>
      <p:sp>
        <p:nvSpPr>
          <p:cNvPr id="175"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5540375" y="5705475"/>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9951834-AA6A-4570-A439-F54216548F8F}" type="datetime'''''''''''''''''''''''3''''''9''''''%'''''''''''''''''''''''">
              <a:rPr lang="nl-NL" altLang="en-US" sz="1000" smtClean="0">
                <a:solidFill>
                  <a:schemeClr val="tx1"/>
                </a:solidFill>
                <a:effectLst/>
                <a:latin typeface="+mn-lt"/>
              </a:rPr>
              <a:pPr marL="0" indent="0">
                <a:spcBef>
                  <a:spcPct val="0"/>
                </a:spcBef>
                <a:spcAft>
                  <a:spcPct val="0"/>
                </a:spcAft>
                <a:buNone/>
              </a:pPr>
              <a:t>39%</a:t>
            </a:fld>
            <a:endParaRPr lang="nl-NL" sz="1000" noProof="0" dirty="0">
              <a:solidFill>
                <a:schemeClr val="tx1"/>
              </a:solidFill>
              <a:latin typeface="+mn-lt"/>
            </a:endParaRPr>
          </a:p>
        </p:txBody>
      </p:sp>
      <p:sp>
        <p:nvSpPr>
          <p:cNvPr id="169"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5727700" y="4038600"/>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540125B-73FD-4B46-A0B0-85BABFC32D0D}" type="datetime'''''''''''''''''''''5''''''''''7''''%'''''''">
              <a:rPr lang="nl-NL" altLang="en-US" sz="1000" smtClean="0">
                <a:solidFill>
                  <a:schemeClr val="tx1"/>
                </a:solidFill>
                <a:effectLst/>
                <a:latin typeface="+mn-lt"/>
              </a:rPr>
              <a:pPr marL="0" indent="0">
                <a:spcBef>
                  <a:spcPct val="0"/>
                </a:spcBef>
                <a:spcAft>
                  <a:spcPct val="0"/>
                </a:spcAft>
                <a:buNone/>
              </a:pPr>
              <a:t>57%</a:t>
            </a:fld>
            <a:endParaRPr lang="nl-NL" sz="1000" noProof="0" dirty="0">
              <a:solidFill>
                <a:schemeClr val="tx1"/>
              </a:solidFill>
              <a:latin typeface="+mn-lt"/>
            </a:endParaRPr>
          </a:p>
        </p:txBody>
      </p:sp>
      <p:sp>
        <p:nvSpPr>
          <p:cNvPr id="97" name="Content 1">
            <a:extLst>
              <a:ext uri="{FF2B5EF4-FFF2-40B4-BE49-F238E27FC236}">
                <a16:creationId xmlns:a16="http://schemas.microsoft.com/office/drawing/2014/main" id="{5E1EF811-1C20-43CE-8E98-9D308A72F897}"/>
              </a:ext>
            </a:extLst>
          </p:cNvPr>
          <p:cNvSpPr>
            <a:spLocks noGrp="1"/>
          </p:cNvSpPr>
          <p:nvPr>
            <p:custDataLst>
              <p:tags r:id="rId29"/>
            </p:custDataLst>
          </p:nvPr>
        </p:nvSpPr>
        <p:spPr bwMode="auto">
          <a:xfrm>
            <a:off x="4743450" y="2927350"/>
            <a:ext cx="2746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4E72C31-3839-46CE-9514-F912C20746A1}" type="datetime'''''''''''''''''''''''''''''''''''''''''''''H''ul''s''''''t'''">
              <a:rPr lang="nl-NL" altLang="en-US" sz="1000" smtClean="0">
                <a:solidFill>
                  <a:schemeClr val="tx1"/>
                </a:solidFill>
              </a:rPr>
              <a:pPr/>
              <a:t>Hulst</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1003B7DE-D7E0-4FE2-9C4F-286E2E6130E5}"/>
              </a:ext>
            </a:extLst>
          </p:cNvPr>
          <p:cNvSpPr>
            <a:spLocks noGrp="1"/>
          </p:cNvSpPr>
          <p:nvPr>
            <p:custDataLst>
              <p:tags r:id="rId30"/>
            </p:custDataLst>
          </p:nvPr>
        </p:nvSpPr>
        <p:spPr bwMode="auto">
          <a:xfrm>
            <a:off x="4427538" y="3414713"/>
            <a:ext cx="5905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B3A3FC40-AC6E-4E56-87BD-743DD4E3C63A}" type="datetime'Sch''o''''''u''w''''''en-''''&#10;Du''i''''ve''la''''nd'''''">
              <a:rPr lang="nl-NL" altLang="en-US" sz="1000" smtClean="0">
                <a:solidFill>
                  <a:schemeClr val="tx1"/>
                </a:solidFill>
              </a:rPr>
              <a:pPr/>
              <a:t>Schouwen-
Duiveland</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01E4D0D1-F82B-4E51-89B1-C63DE1C2153E}"/>
              </a:ext>
            </a:extLst>
          </p:cNvPr>
          <p:cNvSpPr>
            <a:spLocks noGrp="1"/>
          </p:cNvSpPr>
          <p:nvPr>
            <p:custDataLst>
              <p:tags r:id="rId31"/>
            </p:custDataLst>
          </p:nvPr>
        </p:nvSpPr>
        <p:spPr bwMode="auto">
          <a:xfrm>
            <a:off x="4459288" y="3205163"/>
            <a:ext cx="558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E21B7FC-A9D1-4E0E-963E-C136F338C133}" type="datetime'''''T''''''''e''''''''''r''''''''''''n''e''''u''z''''e''n'''">
              <a:rPr lang="nl-NL" altLang="en-US" sz="1000" smtClean="0">
                <a:solidFill>
                  <a:schemeClr val="tx1"/>
                </a:solidFill>
              </a:rPr>
              <a:pPr/>
              <a:t>Terneuzen</a:t>
            </a:fld>
            <a:endParaRPr lang="nl-NL" sz="1000" noProof="0" dirty="0">
              <a:solidFill>
                <a:schemeClr val="tx1"/>
              </a:solidFill>
              <a:latin typeface="+mn-lt"/>
            </a:endParaRPr>
          </a:p>
        </p:txBody>
      </p:sp>
      <p:sp>
        <p:nvSpPr>
          <p:cNvPr id="162"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gray">
          <a:xfrm>
            <a:off x="5884863" y="2649538"/>
            <a:ext cx="255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A9614B9-EB29-4143-92F6-1EBEF6A3E022}" type="datetime'''''''''''7''''''''''''''''''''''''''''''''''''''''''2''''%'''">
              <a:rPr lang="nl-NL" altLang="en-US" sz="1000" smtClean="0">
                <a:solidFill>
                  <a:schemeClr val="tx1"/>
                </a:solidFill>
                <a:effectLst/>
                <a:latin typeface="+mn-lt"/>
              </a:rPr>
              <a:pPr marL="0" indent="0">
                <a:spcBef>
                  <a:spcPct val="0"/>
                </a:spcBef>
                <a:spcAft>
                  <a:spcPct val="0"/>
                </a:spcAft>
                <a:buNone/>
              </a:pPr>
              <a:t>72%</a:t>
            </a:fld>
            <a:endParaRPr lang="nl-NL" sz="1000" noProof="0" dirty="0">
              <a:solidFill>
                <a:schemeClr val="tx1"/>
              </a:solidFill>
              <a:latin typeface="+mn-lt"/>
            </a:endParaRPr>
          </a:p>
        </p:txBody>
      </p:sp>
      <p:sp>
        <p:nvSpPr>
          <p:cNvPr id="164"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gray">
          <a:xfrm>
            <a:off x="5834063" y="2927350"/>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436F7EA-92C8-4EAA-898A-B4C84CFC83B8}" type="datetime'''''''''''''''''''''''''''''''67''''''''''''%'">
              <a:rPr lang="nl-NL" altLang="en-US" sz="1000" smtClean="0">
                <a:solidFill>
                  <a:schemeClr val="tx1"/>
                </a:solidFill>
                <a:effectLst/>
                <a:latin typeface="+mn-lt"/>
              </a:rPr>
              <a:pPr marL="0" indent="0">
                <a:spcBef>
                  <a:spcPct val="0"/>
                </a:spcBef>
                <a:spcAft>
                  <a:spcPct val="0"/>
                </a:spcAft>
                <a:buNone/>
              </a:pPr>
              <a:t>67%</a:t>
            </a:fld>
            <a:endParaRPr lang="nl-NL" sz="1000" noProof="0" dirty="0">
              <a:solidFill>
                <a:schemeClr val="tx1"/>
              </a:solidFill>
              <a:latin typeface="+mn-lt"/>
            </a:endParaRPr>
          </a:p>
        </p:txBody>
      </p:sp>
      <p:sp>
        <p:nvSpPr>
          <p:cNvPr id="166" name="Content 1">
            <a:extLst>
              <a:ext uri="{FF2B5EF4-FFF2-40B4-BE49-F238E27FC236}">
                <a16:creationId xmlns:a16="http://schemas.microsoft.com/office/drawing/2014/main" id="{4B9982FA-94CE-476E-98B9-AED20350F85D}"/>
              </a:ext>
            </a:extLst>
          </p:cNvPr>
          <p:cNvSpPr>
            <a:spLocks noGrp="1"/>
          </p:cNvSpPr>
          <p:nvPr>
            <p:custDataLst>
              <p:tags r:id="rId34"/>
            </p:custDataLst>
          </p:nvPr>
        </p:nvSpPr>
        <p:spPr bwMode="gray">
          <a:xfrm>
            <a:off x="5813425" y="3205163"/>
            <a:ext cx="2635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A5A9640-32CF-43BE-803A-70C8D7EF03F1}" type="datetime'''''''''''''''''''''''''''''''''''''''65''''''''%'''''''">
              <a:rPr lang="nl-NL" altLang="en-US" sz="1000" smtClean="0">
                <a:solidFill>
                  <a:schemeClr val="tx1"/>
                </a:solidFill>
                <a:effectLst/>
                <a:latin typeface="+mn-lt"/>
              </a:rPr>
              <a:pPr marL="0" indent="0">
                <a:spcBef>
                  <a:spcPct val="0"/>
                </a:spcBef>
                <a:spcAft>
                  <a:spcPct val="0"/>
                </a:spcAft>
                <a:buNone/>
              </a:pPr>
              <a:t>65%</a:t>
            </a:fld>
            <a:endParaRPr lang="nl-NL" sz="1000" noProof="0" dirty="0">
              <a:solidFill>
                <a:schemeClr val="tx1"/>
              </a:solidFill>
              <a:latin typeface="+mn-lt"/>
            </a:endParaRPr>
          </a:p>
        </p:txBody>
      </p:sp>
      <p:sp>
        <p:nvSpPr>
          <p:cNvPr id="167" name="Content 1">
            <a:extLst>
              <a:ext uri="{FF2B5EF4-FFF2-40B4-BE49-F238E27FC236}">
                <a16:creationId xmlns:a16="http://schemas.microsoft.com/office/drawing/2014/main" id="{4B9982FA-94CE-476E-98B9-AED20350F85D}"/>
              </a:ext>
            </a:extLst>
          </p:cNvPr>
          <p:cNvSpPr>
            <a:spLocks noGrp="1"/>
          </p:cNvSpPr>
          <p:nvPr>
            <p:custDataLst>
              <p:tags r:id="rId35"/>
            </p:custDataLst>
          </p:nvPr>
        </p:nvSpPr>
        <p:spPr bwMode="gray">
          <a:xfrm>
            <a:off x="5759450" y="348297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B40BED1-0C6E-4D18-BADB-E8698EFD7EA5}" type="datetime'''''''''''''''''''''''''''''''''''''''6''''''0''%'''''">
              <a:rPr lang="nl-NL" altLang="en-US" sz="1000" smtClean="0">
                <a:solidFill>
                  <a:schemeClr val="tx1"/>
                </a:solidFill>
                <a:effectLst/>
                <a:latin typeface="+mn-lt"/>
              </a:rPr>
              <a:pPr marL="0" indent="0">
                <a:spcBef>
                  <a:spcPct val="0"/>
                </a:spcBef>
                <a:spcAft>
                  <a:spcPct val="0"/>
                </a:spcAft>
                <a:buNone/>
              </a:pPr>
              <a:t>60%</a:t>
            </a:fld>
            <a:endParaRPr lang="nl-NL" sz="1000" noProof="0" dirty="0">
              <a:solidFill>
                <a:schemeClr val="tx1"/>
              </a:solidFill>
              <a:latin typeface="+mn-lt"/>
            </a:endParaRPr>
          </a:p>
        </p:txBody>
      </p:sp>
      <p:sp>
        <p:nvSpPr>
          <p:cNvPr id="168" name="Content 1">
            <a:extLst>
              <a:ext uri="{FF2B5EF4-FFF2-40B4-BE49-F238E27FC236}">
                <a16:creationId xmlns:a16="http://schemas.microsoft.com/office/drawing/2014/main" id="{4B9982FA-94CE-476E-98B9-AED20350F85D}"/>
              </a:ext>
            </a:extLst>
          </p:cNvPr>
          <p:cNvSpPr>
            <a:spLocks noGrp="1"/>
          </p:cNvSpPr>
          <p:nvPr>
            <p:custDataLst>
              <p:tags r:id="rId36"/>
            </p:custDataLst>
          </p:nvPr>
        </p:nvSpPr>
        <p:spPr bwMode="gray">
          <a:xfrm>
            <a:off x="5743575" y="3760788"/>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D24BD77-019B-4DDC-A42C-9F42B716EB91}" type="datetime'''''''''''''''''''''''''5''''''''''''''''''''''8%'''''''''">
              <a:rPr lang="nl-NL" altLang="en-US" sz="1000" smtClean="0">
                <a:solidFill>
                  <a:schemeClr val="tx1"/>
                </a:solidFill>
                <a:effectLst/>
                <a:latin typeface="+mn-lt"/>
              </a:rPr>
              <a:pPr marL="0" indent="0">
                <a:spcBef>
                  <a:spcPct val="0"/>
                </a:spcBef>
                <a:spcAft>
                  <a:spcPct val="0"/>
                </a:spcAft>
                <a:buNone/>
              </a:pPr>
              <a:t>58%</a:t>
            </a:fld>
            <a:endParaRPr lang="nl-NL" sz="1000" noProof="0" dirty="0">
              <a:solidFill>
                <a:schemeClr val="tx1"/>
              </a:solidFill>
              <a:latin typeface="+mn-lt"/>
            </a:endParaRPr>
          </a:p>
        </p:txBody>
      </p:sp>
      <p:sp>
        <p:nvSpPr>
          <p:cNvPr id="171" name="Content 1">
            <a:extLst>
              <a:ext uri="{FF2B5EF4-FFF2-40B4-BE49-F238E27FC236}">
                <a16:creationId xmlns:a16="http://schemas.microsoft.com/office/drawing/2014/main" id="{4B9982FA-94CE-476E-98B9-AED20350F85D}"/>
              </a:ext>
            </a:extLst>
          </p:cNvPr>
          <p:cNvSpPr>
            <a:spLocks noGrp="1"/>
          </p:cNvSpPr>
          <p:nvPr>
            <p:custDataLst>
              <p:tags r:id="rId37"/>
            </p:custDataLst>
          </p:nvPr>
        </p:nvSpPr>
        <p:spPr bwMode="gray">
          <a:xfrm>
            <a:off x="5713413" y="4594225"/>
            <a:ext cx="2635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1CDDC080-635F-4B9D-BCF5-B1C9CF076324}" type="datetime'''56''''''''''''''''''''''''''%'''''''''''''''">
              <a:rPr lang="nl-NL" altLang="en-US" sz="1000" smtClean="0">
                <a:solidFill>
                  <a:schemeClr val="tx1"/>
                </a:solidFill>
                <a:effectLst/>
                <a:latin typeface="+mn-lt"/>
              </a:rPr>
              <a:pPr marL="0" indent="0">
                <a:spcBef>
                  <a:spcPct val="0"/>
                </a:spcBef>
                <a:spcAft>
                  <a:spcPct val="0"/>
                </a:spcAft>
                <a:buNone/>
              </a:pPr>
              <a:t>56%</a:t>
            </a:fld>
            <a:endParaRPr lang="nl-NL" sz="1000" noProof="0" dirty="0">
              <a:solidFill>
                <a:schemeClr val="tx1"/>
              </a:solidFill>
              <a:latin typeface="+mn-lt"/>
            </a:endParaRPr>
          </a:p>
        </p:txBody>
      </p:sp>
      <p:sp>
        <p:nvSpPr>
          <p:cNvPr id="172" name="Content 1">
            <a:extLst>
              <a:ext uri="{FF2B5EF4-FFF2-40B4-BE49-F238E27FC236}">
                <a16:creationId xmlns:a16="http://schemas.microsoft.com/office/drawing/2014/main" id="{4B9982FA-94CE-476E-98B9-AED20350F85D}"/>
              </a:ext>
            </a:extLst>
          </p:cNvPr>
          <p:cNvSpPr>
            <a:spLocks noGrp="1"/>
          </p:cNvSpPr>
          <p:nvPr>
            <p:custDataLst>
              <p:tags r:id="rId38"/>
            </p:custDataLst>
          </p:nvPr>
        </p:nvSpPr>
        <p:spPr bwMode="gray">
          <a:xfrm>
            <a:off x="5702300" y="4872038"/>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DE00740-B8A3-4661-B524-39500F9F96D8}" type="datetime'''''''''''''''''5''''5''''''''%'''''''''''''">
              <a:rPr lang="nl-NL" altLang="en-US" sz="1000" smtClean="0">
                <a:solidFill>
                  <a:schemeClr val="tx1"/>
                </a:solidFill>
                <a:effectLst/>
                <a:latin typeface="+mn-lt"/>
              </a:rPr>
              <a:pPr marL="0" indent="0">
                <a:spcBef>
                  <a:spcPct val="0"/>
                </a:spcBef>
                <a:spcAft>
                  <a:spcPct val="0"/>
                </a:spcAft>
                <a:buNone/>
              </a:pPr>
              <a:t>55%</a:t>
            </a:fld>
            <a:endParaRPr lang="nl-NL" sz="1000" noProof="0" dirty="0">
              <a:solidFill>
                <a:schemeClr val="tx1"/>
              </a:solidFill>
              <a:latin typeface="+mn-lt"/>
            </a:endParaRPr>
          </a:p>
        </p:txBody>
      </p:sp>
      <p:sp>
        <p:nvSpPr>
          <p:cNvPr id="174" name="Content 1">
            <a:extLst>
              <a:ext uri="{FF2B5EF4-FFF2-40B4-BE49-F238E27FC236}">
                <a16:creationId xmlns:a16="http://schemas.microsoft.com/office/drawing/2014/main" id="{4B9982FA-94CE-476E-98B9-AED20350F85D}"/>
              </a:ext>
            </a:extLst>
          </p:cNvPr>
          <p:cNvSpPr>
            <a:spLocks noGrp="1"/>
          </p:cNvSpPr>
          <p:nvPr>
            <p:custDataLst>
              <p:tags r:id="rId39"/>
            </p:custDataLst>
          </p:nvPr>
        </p:nvSpPr>
        <p:spPr bwMode="gray">
          <a:xfrm>
            <a:off x="5613400" y="5427663"/>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3C049E1-1946-45BF-889B-32EFDF4E1820}" type="datetime'''''4''''''6''''''''''''''''''''''''''''''''''''''''''%'''''''">
              <a:rPr lang="nl-NL" altLang="en-US" sz="1000" smtClean="0">
                <a:solidFill>
                  <a:schemeClr val="tx1"/>
                </a:solidFill>
                <a:effectLst/>
                <a:latin typeface="+mn-lt"/>
              </a:rPr>
              <a:pPr marL="0" indent="0">
                <a:spcBef>
                  <a:spcPct val="0"/>
                </a:spcBef>
                <a:spcAft>
                  <a:spcPct val="0"/>
                </a:spcAft>
                <a:buNone/>
              </a:pPr>
              <a:t>46%</a:t>
            </a:fld>
            <a:endParaRPr lang="nl-NL" sz="1000" noProof="0" dirty="0">
              <a:solidFill>
                <a:schemeClr val="tx1"/>
              </a:solidFill>
              <a:latin typeface="+mn-lt"/>
            </a:endParaRPr>
          </a:p>
        </p:txBody>
      </p:sp>
      <p:graphicFrame>
        <p:nvGraphicFramePr>
          <p:cNvPr id="300" name="Chart 299">
            <a:extLst>
              <a:ext uri="{FF2B5EF4-FFF2-40B4-BE49-F238E27FC236}">
                <a16:creationId xmlns:a16="http://schemas.microsoft.com/office/drawing/2014/main" id="{7293EC25-5F5A-4BBE-B711-CB9EA749DA02}"/>
              </a:ext>
            </a:extLst>
          </p:cNvPr>
          <p:cNvGraphicFramePr/>
          <p:nvPr>
            <p:custDataLst>
              <p:tags r:id="rId40"/>
            </p:custDataLst>
            <p:extLst>
              <p:ext uri="{D42A27DB-BD31-4B8C-83A1-F6EECF244321}">
                <p14:modId xmlns:p14="http://schemas.microsoft.com/office/powerpoint/2010/main" val="16913104"/>
              </p:ext>
            </p:extLst>
          </p:nvPr>
        </p:nvGraphicFramePr>
        <p:xfrm>
          <a:off x="10163175" y="2219325"/>
          <a:ext cx="677863" cy="1914525"/>
        </p:xfrm>
        <a:graphic>
          <a:graphicData uri="http://schemas.openxmlformats.org/drawingml/2006/chart">
            <c:chart xmlns:c="http://schemas.openxmlformats.org/drawingml/2006/chart" xmlns:r="http://schemas.openxmlformats.org/officeDocument/2006/relationships" r:id="rId114"/>
          </a:graphicData>
        </a:graphic>
      </p:graphicFrame>
      <p:sp>
        <p:nvSpPr>
          <p:cNvPr id="20" name="Arrow: Right 19">
            <a:extLst>
              <a:ext uri="{FF2B5EF4-FFF2-40B4-BE49-F238E27FC236}">
                <a16:creationId xmlns:a16="http://schemas.microsoft.com/office/drawing/2014/main" id="{DF2A32D6-5455-4110-BEB5-06B59B9AF853}"/>
              </a:ext>
            </a:extLst>
          </p:cNvPr>
          <p:cNvSpPr/>
          <p:nvPr>
            <p:custDataLst>
              <p:tags r:id="rId41"/>
            </p:custDataLst>
          </p:nvPr>
        </p:nvSpPr>
        <p:spPr bwMode="auto">
          <a:xfrm rot="16200000">
            <a:off x="10510838" y="4089400"/>
            <a:ext cx="128588" cy="152400"/>
          </a:xfrm>
          <a:prstGeom prst="rightArrow">
            <a:avLst>
              <a:gd name="adj1" fmla="val 100000"/>
              <a:gd name="adj2" fmla="val 100201"/>
            </a:avLst>
          </a:prstGeom>
          <a:solidFill>
            <a:schemeClr val="tx1"/>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109" name="Straight Connector 108">
            <a:extLst>
              <a:ext uri="{FF2B5EF4-FFF2-40B4-BE49-F238E27FC236}">
                <a16:creationId xmlns:a16="http://schemas.microsoft.com/office/drawing/2014/main" id="{3296A42E-CDAF-435D-B839-67A64C05EE78}"/>
              </a:ext>
            </a:extLst>
          </p:cNvPr>
          <p:cNvCxnSpPr/>
          <p:nvPr>
            <p:custDataLst>
              <p:tags r:id="rId42"/>
            </p:custDataLst>
          </p:nvPr>
        </p:nvCxnSpPr>
        <p:spPr bwMode="auto">
          <a:xfrm>
            <a:off x="10574338" y="2301875"/>
            <a:ext cx="0" cy="10556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D0D2E1B9-02ED-4C25-A22C-51146E62A313}"/>
              </a:ext>
            </a:extLst>
          </p:cNvPr>
          <p:cNvCxnSpPr/>
          <p:nvPr>
            <p:custDataLst>
              <p:tags r:id="rId43"/>
            </p:custDataLst>
          </p:nvPr>
        </p:nvCxnSpPr>
        <p:spPr bwMode="auto">
          <a:xfrm>
            <a:off x="10574338" y="3494088"/>
            <a:ext cx="0" cy="114300"/>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89DF6370-C3CA-4921-B742-1092CD589298}"/>
              </a:ext>
            </a:extLst>
          </p:cNvPr>
          <p:cNvCxnSpPr/>
          <p:nvPr>
            <p:custDataLst>
              <p:tags r:id="rId44"/>
            </p:custDataLst>
          </p:nvPr>
        </p:nvCxnSpPr>
        <p:spPr bwMode="auto">
          <a:xfrm>
            <a:off x="10574338" y="3744913"/>
            <a:ext cx="0" cy="3063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5" name="Content 1">
            <a:extLst>
              <a:ext uri="{FF2B5EF4-FFF2-40B4-BE49-F238E27FC236}">
                <a16:creationId xmlns:a16="http://schemas.microsoft.com/office/drawing/2014/main" id="{AE9F2985-67E9-48B8-A03E-374F971132FC}"/>
              </a:ext>
            </a:extLst>
          </p:cNvPr>
          <p:cNvSpPr>
            <a:spLocks noGrp="1"/>
          </p:cNvSpPr>
          <p:nvPr>
            <p:custDataLst>
              <p:tags r:id="rId45"/>
            </p:custDataLst>
          </p:nvPr>
        </p:nvSpPr>
        <p:spPr bwMode="auto">
          <a:xfrm>
            <a:off x="9715500" y="3108325"/>
            <a:ext cx="4445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E0060AA-6AB0-4673-A1F6-8664CEC4BBCA}" type="datetime'''''Leus''''''''d''''''''''e''n'''''''''">
              <a:rPr lang="nl-NL" altLang="en-US" sz="1000" smtClean="0">
                <a:solidFill>
                  <a:schemeClr val="tx1"/>
                </a:solidFill>
              </a:rPr>
              <a:pPr/>
              <a:t>Leusden</a:t>
            </a:fld>
            <a:endParaRPr lang="nl-NL" sz="1000" noProof="0" dirty="0">
              <a:solidFill>
                <a:schemeClr val="tx1"/>
              </a:solidFill>
              <a:latin typeface="+mn-lt"/>
            </a:endParaRPr>
          </a:p>
        </p:txBody>
      </p:sp>
      <p:sp>
        <p:nvSpPr>
          <p:cNvPr id="163" name="Content 1">
            <a:extLst>
              <a:ext uri="{FF2B5EF4-FFF2-40B4-BE49-F238E27FC236}">
                <a16:creationId xmlns:a16="http://schemas.microsoft.com/office/drawing/2014/main" id="{4B9982FA-94CE-476E-98B9-AED20350F85D}"/>
              </a:ext>
            </a:extLst>
          </p:cNvPr>
          <p:cNvSpPr>
            <a:spLocks noGrp="1"/>
          </p:cNvSpPr>
          <p:nvPr>
            <p:custDataLst>
              <p:tags r:id="rId46"/>
            </p:custDataLst>
          </p:nvPr>
        </p:nvSpPr>
        <p:spPr bwMode="auto">
          <a:xfrm>
            <a:off x="10407650" y="4281488"/>
            <a:ext cx="3333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000" dirty="0">
                <a:solidFill>
                  <a:schemeClr val="tx1"/>
                </a:solidFill>
                <a:effectLst/>
                <a:latin typeface="+mn-lt"/>
              </a:rPr>
              <a:t>Ø </a:t>
            </a:r>
            <a:fld id="{5B345A6B-56CB-46B4-97B4-C4043B2E99B8}" type="datetime'''''3''''''''''''''''1'''''''''">
              <a:rPr lang="nl-NL" altLang="en-US" sz="1000" smtClean="0">
                <a:solidFill>
                  <a:schemeClr val="tx1"/>
                </a:solidFill>
                <a:effectLst/>
                <a:latin typeface="+mn-lt"/>
              </a:rPr>
              <a:pPr marL="0" indent="0" algn="ctr">
                <a:spcBef>
                  <a:spcPct val="0"/>
                </a:spcBef>
                <a:spcAft>
                  <a:spcPct val="0"/>
                </a:spcAft>
                <a:buNone/>
              </a:pPr>
              <a:t>31</a:t>
            </a:fld>
            <a:r>
              <a:rPr lang="nl-NL" altLang="en-US" sz="1000" dirty="0">
                <a:solidFill>
                  <a:schemeClr val="tx1"/>
                </a:solidFill>
                <a:effectLst/>
                <a:latin typeface="+mn-lt"/>
              </a:rPr>
              <a:t>%</a:t>
            </a:r>
            <a:endParaRPr lang="nl-NL" sz="1000" noProof="0" dirty="0">
              <a:solidFill>
                <a:schemeClr val="tx1"/>
              </a:solidFill>
              <a:latin typeface="+mn-lt"/>
            </a:endParaRPr>
          </a:p>
        </p:txBody>
      </p:sp>
      <p:sp>
        <p:nvSpPr>
          <p:cNvPr id="111" name="Content 1">
            <a:extLst>
              <a:ext uri="{FF2B5EF4-FFF2-40B4-BE49-F238E27FC236}">
                <a16:creationId xmlns:a16="http://schemas.microsoft.com/office/drawing/2014/main" id="{1B707824-F7A4-4239-851A-A441E42CCB1A}"/>
              </a:ext>
            </a:extLst>
          </p:cNvPr>
          <p:cNvSpPr>
            <a:spLocks noGrp="1"/>
          </p:cNvSpPr>
          <p:nvPr>
            <p:custDataLst>
              <p:tags r:id="rId47"/>
            </p:custDataLst>
          </p:nvPr>
        </p:nvSpPr>
        <p:spPr bwMode="auto">
          <a:xfrm>
            <a:off x="9863138" y="2608263"/>
            <a:ext cx="296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4855CF3-6D50-4B24-A530-DE26AC6C9A66}" type="datetime'''S''''''''''''''''''o''''''e''''''''s''''''''t'''''">
              <a:rPr lang="nl-NL" altLang="en-US" sz="1000" smtClean="0">
                <a:solidFill>
                  <a:schemeClr val="tx1"/>
                </a:solidFill>
              </a:rPr>
              <a:pPr/>
              <a:t>Soest</a:t>
            </a:fld>
            <a:endParaRPr lang="nl-NL" sz="1000" noProof="0" dirty="0">
              <a:solidFill>
                <a:schemeClr val="tx1"/>
              </a:solidFill>
              <a:latin typeface="+mn-lt"/>
            </a:endParaRPr>
          </a:p>
        </p:txBody>
      </p:sp>
      <p:sp>
        <p:nvSpPr>
          <p:cNvPr id="110" name="Content 1">
            <a:extLst>
              <a:ext uri="{FF2B5EF4-FFF2-40B4-BE49-F238E27FC236}">
                <a16:creationId xmlns:a16="http://schemas.microsoft.com/office/drawing/2014/main" id="{5C51CF29-0900-4FAB-A825-ABA243C773F9}"/>
              </a:ext>
            </a:extLst>
          </p:cNvPr>
          <p:cNvSpPr>
            <a:spLocks noGrp="1"/>
          </p:cNvSpPr>
          <p:nvPr>
            <p:custDataLst>
              <p:tags r:id="rId48"/>
            </p:custDataLst>
          </p:nvPr>
        </p:nvSpPr>
        <p:spPr bwMode="auto">
          <a:xfrm>
            <a:off x="9740900" y="2357438"/>
            <a:ext cx="419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B6722AD-361C-486F-A791-65D9211DF5B0}" type="datetime'''''''''E''''''''''''''''''e''m''nes'''''''">
              <a:rPr lang="nl-NL" altLang="en-US" sz="1000" smtClean="0">
                <a:solidFill>
                  <a:schemeClr val="tx1"/>
                </a:solidFill>
              </a:rPr>
              <a:pPr/>
              <a:t>Eemnes</a:t>
            </a:fld>
            <a:endParaRPr lang="nl-NL" sz="1000" noProof="0" dirty="0">
              <a:solidFill>
                <a:schemeClr val="tx1"/>
              </a:solidFill>
              <a:latin typeface="+mn-lt"/>
            </a:endParaRPr>
          </a:p>
        </p:txBody>
      </p:sp>
      <p:sp>
        <p:nvSpPr>
          <p:cNvPr id="113" name="Content 1">
            <a:extLst>
              <a:ext uri="{FF2B5EF4-FFF2-40B4-BE49-F238E27FC236}">
                <a16:creationId xmlns:a16="http://schemas.microsoft.com/office/drawing/2014/main" id="{8F432C31-0DC3-4C94-BC0B-03E6084CA418}"/>
              </a:ext>
            </a:extLst>
          </p:cNvPr>
          <p:cNvSpPr>
            <a:spLocks noGrp="1"/>
          </p:cNvSpPr>
          <p:nvPr>
            <p:custDataLst>
              <p:tags r:id="rId49"/>
            </p:custDataLst>
          </p:nvPr>
        </p:nvSpPr>
        <p:spPr bwMode="auto">
          <a:xfrm>
            <a:off x="9852025" y="3857625"/>
            <a:ext cx="307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B7FFFB4C-B282-456E-9BFD-4C93056E100E}" type="datetime'''''''''B''a''''''''ar''''''''''''n'''''''''''''''''''''">
              <a:rPr lang="nl-NL" altLang="en-US" sz="1000" smtClean="0">
                <a:solidFill>
                  <a:schemeClr val="tx1"/>
                </a:solidFill>
              </a:rPr>
              <a:pPr/>
              <a:t>Baarn</a:t>
            </a:fld>
            <a:endParaRPr lang="nl-NL" sz="1000" noProof="0" dirty="0">
              <a:solidFill>
                <a:schemeClr val="tx1"/>
              </a:solidFill>
              <a:latin typeface="+mn-lt"/>
            </a:endParaRPr>
          </a:p>
        </p:txBody>
      </p:sp>
      <p:sp>
        <p:nvSpPr>
          <p:cNvPr id="112" name="Content 1">
            <a:extLst>
              <a:ext uri="{FF2B5EF4-FFF2-40B4-BE49-F238E27FC236}">
                <a16:creationId xmlns:a16="http://schemas.microsoft.com/office/drawing/2014/main" id="{44BAC7AF-199A-49FB-B9F5-615C7029EFF6}"/>
              </a:ext>
            </a:extLst>
          </p:cNvPr>
          <p:cNvSpPr>
            <a:spLocks noGrp="1"/>
          </p:cNvSpPr>
          <p:nvPr>
            <p:custDataLst>
              <p:tags r:id="rId50"/>
            </p:custDataLst>
          </p:nvPr>
        </p:nvSpPr>
        <p:spPr bwMode="auto">
          <a:xfrm>
            <a:off x="9474200" y="2857500"/>
            <a:ext cx="685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748B662-9D58-4758-89AE-9AC75A9B88B3}" type="datetime'''''W''''''''''o''u''''d''''''e''''nb''''''e''''''''''''rg'''">
              <a:rPr lang="nl-NL" altLang="en-US" sz="1000" smtClean="0">
                <a:solidFill>
                  <a:schemeClr val="tx1"/>
                </a:solidFill>
              </a:rPr>
              <a:pPr/>
              <a:t>Woudenberg</a:t>
            </a:fld>
            <a:endParaRPr lang="nl-NL" sz="1000" noProof="0" dirty="0">
              <a:solidFill>
                <a:schemeClr val="tx1"/>
              </a:solidFill>
              <a:latin typeface="+mn-lt"/>
            </a:endParaRPr>
          </a:p>
        </p:txBody>
      </p:sp>
      <p:sp>
        <p:nvSpPr>
          <p:cNvPr id="114" name="Content 1">
            <a:extLst>
              <a:ext uri="{FF2B5EF4-FFF2-40B4-BE49-F238E27FC236}">
                <a16:creationId xmlns:a16="http://schemas.microsoft.com/office/drawing/2014/main" id="{33B8CD1F-BD78-461D-B68B-FFF947F24F4A}"/>
              </a:ext>
            </a:extLst>
          </p:cNvPr>
          <p:cNvSpPr>
            <a:spLocks noGrp="1"/>
          </p:cNvSpPr>
          <p:nvPr>
            <p:custDataLst>
              <p:tags r:id="rId51"/>
            </p:custDataLst>
          </p:nvPr>
        </p:nvSpPr>
        <p:spPr bwMode="auto">
          <a:xfrm>
            <a:off x="9536113" y="3357563"/>
            <a:ext cx="623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A28B1D1-0ED1-443E-B76D-3269A5A6E3C0}" type="datetime'''''''''''B''''u''nsc''h''ot''''''''''''''e''''''''n'''">
              <a:rPr lang="nl-NL" altLang="en-US" sz="1000" smtClean="0">
                <a:solidFill>
                  <a:schemeClr val="tx1"/>
                </a:solidFill>
              </a:rPr>
              <a:pPr/>
              <a:t>Bunschoten</a:t>
            </a:fld>
            <a:endParaRPr lang="nl-NL" sz="1000" noProof="0" dirty="0">
              <a:solidFill>
                <a:schemeClr val="tx1"/>
              </a:solidFill>
              <a:latin typeface="+mn-lt"/>
            </a:endParaRPr>
          </a:p>
        </p:txBody>
      </p:sp>
      <p:sp>
        <p:nvSpPr>
          <p:cNvPr id="116" name="Content 1">
            <a:extLst>
              <a:ext uri="{FF2B5EF4-FFF2-40B4-BE49-F238E27FC236}">
                <a16:creationId xmlns:a16="http://schemas.microsoft.com/office/drawing/2014/main" id="{401A8F40-C0D2-481D-A77B-885812C464CB}"/>
              </a:ext>
            </a:extLst>
          </p:cNvPr>
          <p:cNvSpPr>
            <a:spLocks noGrp="1"/>
          </p:cNvSpPr>
          <p:nvPr>
            <p:custDataLst>
              <p:tags r:id="rId52"/>
            </p:custDataLst>
          </p:nvPr>
        </p:nvSpPr>
        <p:spPr bwMode="auto">
          <a:xfrm>
            <a:off x="9553575" y="3608388"/>
            <a:ext cx="606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23BCFC4-78D6-46A7-8421-82564C4A22EE}" type="datetime'''''''Amer''''sf''''''''''''''''''o''''''''or''t'''''''''''''">
              <a:rPr lang="nl-NL" altLang="en-US" sz="1000" smtClean="0">
                <a:solidFill>
                  <a:schemeClr val="tx1"/>
                </a:solidFill>
              </a:rPr>
              <a:pPr/>
              <a:t>Amersfoort</a:t>
            </a:fld>
            <a:endParaRPr lang="nl-NL" sz="1000" noProof="0" dirty="0">
              <a:solidFill>
                <a:schemeClr val="tx1"/>
              </a:solidFill>
              <a:latin typeface="+mn-lt"/>
            </a:endParaRPr>
          </a:p>
        </p:txBody>
      </p:sp>
      <p:sp>
        <p:nvSpPr>
          <p:cNvPr id="199" name="Content 1">
            <a:extLst>
              <a:ext uri="{FF2B5EF4-FFF2-40B4-BE49-F238E27FC236}">
                <a16:creationId xmlns:a16="http://schemas.microsoft.com/office/drawing/2014/main" id="{4B9982FA-94CE-476E-98B9-AED20350F85D}"/>
              </a:ext>
            </a:extLst>
          </p:cNvPr>
          <p:cNvSpPr>
            <a:spLocks noGrp="1"/>
          </p:cNvSpPr>
          <p:nvPr>
            <p:custDataLst>
              <p:tags r:id="rId53"/>
            </p:custDataLst>
          </p:nvPr>
        </p:nvSpPr>
        <p:spPr bwMode="gray">
          <a:xfrm>
            <a:off x="10502900" y="3357563"/>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C6045BB-FCFE-42DA-AA3D-66EB8C72DDFC}" type="datetime'''2''''''''''''''''''2''''''''''''''''''''%'''''''''''''''''''">
              <a:rPr lang="nl-NL" altLang="en-US" sz="1000" smtClean="0">
                <a:solidFill>
                  <a:schemeClr val="tx1"/>
                </a:solidFill>
                <a:effectLst/>
                <a:latin typeface="+mn-lt"/>
              </a:rPr>
              <a:pPr marL="0" indent="0">
                <a:spcBef>
                  <a:spcPct val="0"/>
                </a:spcBef>
                <a:spcAft>
                  <a:spcPct val="0"/>
                </a:spcAft>
                <a:buNone/>
              </a:pPr>
              <a:t>22%</a:t>
            </a:fld>
            <a:endParaRPr lang="nl-NL" sz="1000" noProof="0" dirty="0">
              <a:solidFill>
                <a:schemeClr val="tx1"/>
              </a:solidFill>
              <a:latin typeface="+mn-lt"/>
            </a:endParaRPr>
          </a:p>
        </p:txBody>
      </p:sp>
      <p:sp>
        <p:nvSpPr>
          <p:cNvPr id="195" name="Content 1">
            <a:extLst>
              <a:ext uri="{FF2B5EF4-FFF2-40B4-BE49-F238E27FC236}">
                <a16:creationId xmlns:a16="http://schemas.microsoft.com/office/drawing/2014/main" id="{4B9982FA-94CE-476E-98B9-AED20350F85D}"/>
              </a:ext>
            </a:extLst>
          </p:cNvPr>
          <p:cNvSpPr>
            <a:spLocks noGrp="1"/>
          </p:cNvSpPr>
          <p:nvPr>
            <p:custDataLst>
              <p:tags r:id="rId54"/>
            </p:custDataLst>
          </p:nvPr>
        </p:nvSpPr>
        <p:spPr bwMode="gray">
          <a:xfrm>
            <a:off x="10783888" y="235743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17907C6-7DD9-46B5-B778-6332FB629CFF}" type="datetime'''''''''''''''''''4''''''''''''''''''''''''''''''8%'''''''">
              <a:rPr lang="nl-NL" altLang="en-US" sz="1000" smtClean="0">
                <a:solidFill>
                  <a:schemeClr val="tx1"/>
                </a:solidFill>
                <a:effectLst/>
                <a:latin typeface="+mn-lt"/>
              </a:rPr>
              <a:pPr marL="0" indent="0">
                <a:spcBef>
                  <a:spcPct val="0"/>
                </a:spcBef>
                <a:spcAft>
                  <a:spcPct val="0"/>
                </a:spcAft>
                <a:buNone/>
              </a:pPr>
              <a:t>48%</a:t>
            </a:fld>
            <a:endParaRPr lang="nl-NL" sz="1000" noProof="0" dirty="0">
              <a:solidFill>
                <a:schemeClr val="tx1"/>
              </a:solidFill>
              <a:latin typeface="+mn-lt"/>
            </a:endParaRPr>
          </a:p>
        </p:txBody>
      </p:sp>
      <p:sp>
        <p:nvSpPr>
          <p:cNvPr id="196" name="Content 1">
            <a:extLst>
              <a:ext uri="{FF2B5EF4-FFF2-40B4-BE49-F238E27FC236}">
                <a16:creationId xmlns:a16="http://schemas.microsoft.com/office/drawing/2014/main" id="{4B9982FA-94CE-476E-98B9-AED20350F85D}"/>
              </a:ext>
            </a:extLst>
          </p:cNvPr>
          <p:cNvSpPr>
            <a:spLocks noGrp="1"/>
          </p:cNvSpPr>
          <p:nvPr>
            <p:custDataLst>
              <p:tags r:id="rId55"/>
            </p:custDataLst>
          </p:nvPr>
        </p:nvSpPr>
        <p:spPr bwMode="gray">
          <a:xfrm>
            <a:off x="10758488" y="2608263"/>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93DE68F-D406-4F0D-BC5F-EF0F10046C12}" type="datetime'''4''''''''''''''5''%'''''''''''''''''''''''''''''''''''''''''">
              <a:rPr lang="nl-NL" altLang="en-US" sz="1000" smtClean="0">
                <a:solidFill>
                  <a:schemeClr val="tx1"/>
                </a:solidFill>
                <a:effectLst/>
                <a:latin typeface="+mn-lt"/>
              </a:rPr>
              <a:pPr marL="0" indent="0">
                <a:spcBef>
                  <a:spcPct val="0"/>
                </a:spcBef>
                <a:spcAft>
                  <a:spcPct val="0"/>
                </a:spcAft>
                <a:buNone/>
              </a:pPr>
              <a:t>45%</a:t>
            </a:fld>
            <a:endParaRPr lang="nl-NL" sz="1000" noProof="0" dirty="0">
              <a:solidFill>
                <a:schemeClr val="tx1"/>
              </a:solidFill>
              <a:latin typeface="+mn-lt"/>
            </a:endParaRPr>
          </a:p>
        </p:txBody>
      </p:sp>
      <p:sp>
        <p:nvSpPr>
          <p:cNvPr id="197" name="Content 1">
            <a:extLst>
              <a:ext uri="{FF2B5EF4-FFF2-40B4-BE49-F238E27FC236}">
                <a16:creationId xmlns:a16="http://schemas.microsoft.com/office/drawing/2014/main" id="{4B9982FA-94CE-476E-98B9-AED20350F85D}"/>
              </a:ext>
            </a:extLst>
          </p:cNvPr>
          <p:cNvSpPr>
            <a:spLocks noGrp="1"/>
          </p:cNvSpPr>
          <p:nvPr>
            <p:custDataLst>
              <p:tags r:id="rId56"/>
            </p:custDataLst>
          </p:nvPr>
        </p:nvSpPr>
        <p:spPr bwMode="gray">
          <a:xfrm>
            <a:off x="10675938" y="2857500"/>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983BDD4-C626-40DE-9055-0F94DB58B2E8}" type="datetime'''''''''''''''''''38''''''''''''''''''''''''%'''''''''''''''">
              <a:rPr lang="nl-NL" altLang="en-US" sz="1000" smtClean="0">
                <a:solidFill>
                  <a:schemeClr val="tx1"/>
                </a:solidFill>
                <a:effectLst/>
                <a:latin typeface="+mn-lt"/>
              </a:rPr>
              <a:pPr marL="0" indent="0">
                <a:spcBef>
                  <a:spcPct val="0"/>
                </a:spcBef>
                <a:spcAft>
                  <a:spcPct val="0"/>
                </a:spcAft>
                <a:buNone/>
              </a:pPr>
              <a:t>38%</a:t>
            </a:fld>
            <a:endParaRPr lang="nl-NL" sz="1000" noProof="0" dirty="0">
              <a:solidFill>
                <a:schemeClr val="tx1"/>
              </a:solidFill>
              <a:latin typeface="+mn-lt"/>
            </a:endParaRPr>
          </a:p>
        </p:txBody>
      </p:sp>
      <p:sp>
        <p:nvSpPr>
          <p:cNvPr id="198" name="Content 1">
            <a:extLst>
              <a:ext uri="{FF2B5EF4-FFF2-40B4-BE49-F238E27FC236}">
                <a16:creationId xmlns:a16="http://schemas.microsoft.com/office/drawing/2014/main" id="{4B9982FA-94CE-476E-98B9-AED20350F85D}"/>
              </a:ext>
            </a:extLst>
          </p:cNvPr>
          <p:cNvSpPr>
            <a:spLocks noGrp="1"/>
          </p:cNvSpPr>
          <p:nvPr>
            <p:custDataLst>
              <p:tags r:id="rId57"/>
            </p:custDataLst>
          </p:nvPr>
        </p:nvSpPr>
        <p:spPr bwMode="gray">
          <a:xfrm>
            <a:off x="10625138" y="310832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B748CEA-0FF9-4EAD-808D-4B5D884E991E}" type="datetime'''''''''''''''''''''''''33''''''''''''''''''''''''''%'''">
              <a:rPr lang="nl-NL" altLang="en-US" sz="1000" smtClean="0">
                <a:solidFill>
                  <a:schemeClr val="tx1"/>
                </a:solidFill>
                <a:effectLst/>
                <a:latin typeface="+mn-lt"/>
              </a:rPr>
              <a:pPr marL="0" indent="0">
                <a:spcBef>
                  <a:spcPct val="0"/>
                </a:spcBef>
                <a:spcAft>
                  <a:spcPct val="0"/>
                </a:spcAft>
                <a:buNone/>
              </a:pPr>
              <a:t>33%</a:t>
            </a:fld>
            <a:endParaRPr lang="nl-NL" sz="1000" noProof="0" dirty="0">
              <a:solidFill>
                <a:schemeClr val="tx1"/>
              </a:solidFill>
              <a:latin typeface="+mn-lt"/>
            </a:endParaRPr>
          </a:p>
        </p:txBody>
      </p:sp>
      <p:sp>
        <p:nvSpPr>
          <p:cNvPr id="200" name="Content 1">
            <a:extLst>
              <a:ext uri="{FF2B5EF4-FFF2-40B4-BE49-F238E27FC236}">
                <a16:creationId xmlns:a16="http://schemas.microsoft.com/office/drawing/2014/main" id="{4B9982FA-94CE-476E-98B9-AED20350F85D}"/>
              </a:ext>
            </a:extLst>
          </p:cNvPr>
          <p:cNvSpPr>
            <a:spLocks noGrp="1"/>
          </p:cNvSpPr>
          <p:nvPr>
            <p:custDataLst>
              <p:tags r:id="rId58"/>
            </p:custDataLst>
          </p:nvPr>
        </p:nvSpPr>
        <p:spPr bwMode="gray">
          <a:xfrm>
            <a:off x="10501313" y="360838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D75F43D-3DE2-4BD0-BCFB-1B965B3C988F}" type="datetime'''2''1''''''''''''''''%'''''''''''''''">
              <a:rPr lang="nl-NL" altLang="en-US" sz="1000" smtClean="0">
                <a:solidFill>
                  <a:schemeClr val="tx1"/>
                </a:solidFill>
                <a:effectLst/>
                <a:latin typeface="+mn-lt"/>
              </a:rPr>
              <a:pPr marL="0" indent="0">
                <a:spcBef>
                  <a:spcPct val="0"/>
                </a:spcBef>
                <a:spcAft>
                  <a:spcPct val="0"/>
                </a:spcAft>
                <a:buNone/>
              </a:pPr>
              <a:t>21%</a:t>
            </a:fld>
            <a:endParaRPr lang="nl-NL" sz="1000" noProof="0" dirty="0">
              <a:solidFill>
                <a:schemeClr val="tx1"/>
              </a:solidFill>
              <a:latin typeface="+mn-lt"/>
            </a:endParaRPr>
          </a:p>
        </p:txBody>
      </p:sp>
      <p:sp>
        <p:nvSpPr>
          <p:cNvPr id="201" name="Content 1">
            <a:extLst>
              <a:ext uri="{FF2B5EF4-FFF2-40B4-BE49-F238E27FC236}">
                <a16:creationId xmlns:a16="http://schemas.microsoft.com/office/drawing/2014/main" id="{4B9982FA-94CE-476E-98B9-AED20350F85D}"/>
              </a:ext>
            </a:extLst>
          </p:cNvPr>
          <p:cNvSpPr>
            <a:spLocks noGrp="1"/>
          </p:cNvSpPr>
          <p:nvPr>
            <p:custDataLst>
              <p:tags r:id="rId59"/>
            </p:custDataLst>
          </p:nvPr>
        </p:nvSpPr>
        <p:spPr bwMode="gray">
          <a:xfrm>
            <a:off x="10353675" y="3857625"/>
            <a:ext cx="2016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AF22AE8-7595-422D-87A7-9BB4FA06896D}" type="datetime'8''''''%'''''''''''''''''''''''''''''''''">
              <a:rPr lang="nl-NL" altLang="en-US" sz="1000" smtClean="0">
                <a:solidFill>
                  <a:schemeClr val="tx1"/>
                </a:solidFill>
                <a:effectLst/>
                <a:latin typeface="+mn-lt"/>
              </a:rPr>
              <a:pPr marL="0" indent="0">
                <a:spcBef>
                  <a:spcPct val="0"/>
                </a:spcBef>
                <a:spcAft>
                  <a:spcPct val="0"/>
                </a:spcAft>
                <a:buNone/>
              </a:pPr>
              <a:t>8%</a:t>
            </a:fld>
            <a:endParaRPr lang="nl-NL" sz="1000" noProof="0" dirty="0">
              <a:solidFill>
                <a:schemeClr val="tx1"/>
              </a:solidFill>
              <a:latin typeface="+mn-lt"/>
            </a:endParaRPr>
          </a:p>
        </p:txBody>
      </p:sp>
      <p:graphicFrame>
        <p:nvGraphicFramePr>
          <p:cNvPr id="302" name="Chart 301">
            <a:extLst>
              <a:ext uri="{FF2B5EF4-FFF2-40B4-BE49-F238E27FC236}">
                <a16:creationId xmlns:a16="http://schemas.microsoft.com/office/drawing/2014/main" id="{04E963A4-D9B3-440B-90FC-D3CEEC8E64A9}"/>
              </a:ext>
            </a:extLst>
          </p:cNvPr>
          <p:cNvGraphicFramePr/>
          <p:nvPr>
            <p:custDataLst>
              <p:tags r:id="rId60"/>
            </p:custDataLst>
            <p:extLst>
              <p:ext uri="{D42A27DB-BD31-4B8C-83A1-F6EECF244321}">
                <p14:modId xmlns:p14="http://schemas.microsoft.com/office/powerpoint/2010/main" val="10389155"/>
              </p:ext>
            </p:extLst>
          </p:nvPr>
        </p:nvGraphicFramePr>
        <p:xfrm>
          <a:off x="10163175" y="4730750"/>
          <a:ext cx="766763" cy="1574800"/>
        </p:xfrm>
        <a:graphic>
          <a:graphicData uri="http://schemas.openxmlformats.org/drawingml/2006/chart">
            <c:chart xmlns:c="http://schemas.openxmlformats.org/drawingml/2006/chart" xmlns:r="http://schemas.openxmlformats.org/officeDocument/2006/relationships" r:id="rId115"/>
          </a:graphicData>
        </a:graphic>
      </p:graphicFrame>
      <p:sp>
        <p:nvSpPr>
          <p:cNvPr id="23" name="Arrow: Right 22">
            <a:extLst>
              <a:ext uri="{FF2B5EF4-FFF2-40B4-BE49-F238E27FC236}">
                <a16:creationId xmlns:a16="http://schemas.microsoft.com/office/drawing/2014/main" id="{94C4929F-EFBD-4AD0-A727-63441D0C25DA}"/>
              </a:ext>
            </a:extLst>
          </p:cNvPr>
          <p:cNvSpPr/>
          <p:nvPr>
            <p:custDataLst>
              <p:tags r:id="rId61"/>
            </p:custDataLst>
          </p:nvPr>
        </p:nvSpPr>
        <p:spPr bwMode="auto">
          <a:xfrm rot="16200000">
            <a:off x="10647363" y="6261100"/>
            <a:ext cx="128588" cy="152400"/>
          </a:xfrm>
          <a:prstGeom prst="rightArrow">
            <a:avLst>
              <a:gd name="adj1" fmla="val 100000"/>
              <a:gd name="adj2" fmla="val 100201"/>
            </a:avLst>
          </a:prstGeom>
          <a:solidFill>
            <a:schemeClr val="tx1"/>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118" name="Straight Connector 117">
            <a:extLst>
              <a:ext uri="{FF2B5EF4-FFF2-40B4-BE49-F238E27FC236}">
                <a16:creationId xmlns:a16="http://schemas.microsoft.com/office/drawing/2014/main" id="{7DFDEEC8-8B1A-4BAA-BDC3-63CB3B8389D9}"/>
              </a:ext>
            </a:extLst>
          </p:cNvPr>
          <p:cNvCxnSpPr/>
          <p:nvPr>
            <p:custDataLst>
              <p:tags r:id="rId62"/>
            </p:custDataLst>
          </p:nvPr>
        </p:nvCxnSpPr>
        <p:spPr bwMode="auto">
          <a:xfrm>
            <a:off x="10710863" y="4813300"/>
            <a:ext cx="0" cy="987425"/>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DF135AD-6487-4DD6-AC87-4D1944D0801A}"/>
              </a:ext>
            </a:extLst>
          </p:cNvPr>
          <p:cNvCxnSpPr/>
          <p:nvPr>
            <p:custDataLst>
              <p:tags r:id="rId63"/>
            </p:custDataLst>
          </p:nvPr>
        </p:nvCxnSpPr>
        <p:spPr bwMode="auto">
          <a:xfrm>
            <a:off x="10710863" y="5937250"/>
            <a:ext cx="0" cy="98425"/>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3930C48-A301-4927-95F7-44BA79FC5BE5}"/>
              </a:ext>
            </a:extLst>
          </p:cNvPr>
          <p:cNvCxnSpPr/>
          <p:nvPr>
            <p:custDataLst>
              <p:tags r:id="rId64"/>
            </p:custDataLst>
          </p:nvPr>
        </p:nvCxnSpPr>
        <p:spPr bwMode="auto">
          <a:xfrm>
            <a:off x="10710863" y="6172200"/>
            <a:ext cx="0" cy="50800"/>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9" name="Content 1">
            <a:extLst>
              <a:ext uri="{FF2B5EF4-FFF2-40B4-BE49-F238E27FC236}">
                <a16:creationId xmlns:a16="http://schemas.microsoft.com/office/drawing/2014/main" id="{CDEC6BD9-FDD8-420B-8858-F41819624A82}"/>
              </a:ext>
            </a:extLst>
          </p:cNvPr>
          <p:cNvSpPr>
            <a:spLocks noGrp="1"/>
          </p:cNvSpPr>
          <p:nvPr>
            <p:custDataLst>
              <p:tags r:id="rId65"/>
            </p:custDataLst>
          </p:nvPr>
        </p:nvSpPr>
        <p:spPr bwMode="auto">
          <a:xfrm>
            <a:off x="9802813" y="5800725"/>
            <a:ext cx="3571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B81C13B-ABD0-4DC8-96DD-ED9298682149}" type="datetime'''''''P''''''u''''''''t''t''e''''''''''''''''''n'''''''''''">
              <a:rPr lang="nl-NL" altLang="en-US" sz="1000" smtClean="0">
                <a:solidFill>
                  <a:schemeClr val="tx1"/>
                </a:solidFill>
              </a:rPr>
              <a:pPr/>
              <a:t>Putten</a:t>
            </a:fld>
            <a:endParaRPr lang="nl-NL" sz="1000" noProof="0" dirty="0">
              <a:solidFill>
                <a:schemeClr val="tx1"/>
              </a:solidFill>
              <a:latin typeface="+mn-lt"/>
            </a:endParaRPr>
          </a:p>
        </p:txBody>
      </p:sp>
      <p:sp>
        <p:nvSpPr>
          <p:cNvPr id="120" name="Content 1">
            <a:extLst>
              <a:ext uri="{FF2B5EF4-FFF2-40B4-BE49-F238E27FC236}">
                <a16:creationId xmlns:a16="http://schemas.microsoft.com/office/drawing/2014/main" id="{F8212DB1-D2C0-4228-A72B-67492BEEF873}"/>
              </a:ext>
            </a:extLst>
          </p:cNvPr>
          <p:cNvSpPr>
            <a:spLocks noGrp="1"/>
          </p:cNvSpPr>
          <p:nvPr>
            <p:custDataLst>
              <p:tags r:id="rId66"/>
            </p:custDataLst>
          </p:nvPr>
        </p:nvSpPr>
        <p:spPr bwMode="auto">
          <a:xfrm>
            <a:off x="9583738" y="4860925"/>
            <a:ext cx="5762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E8AFDAB-A294-4A79-9D72-EC82D561292D}" type="datetime'H''''''''''a''''r''''d''''''''''''''''''''e''rw''ij''''''''k'">
              <a:rPr lang="nl-NL" altLang="en-US" sz="1000" smtClean="0">
                <a:solidFill>
                  <a:schemeClr val="tx1"/>
                </a:solidFill>
              </a:rPr>
              <a:pPr/>
              <a:t>Harderwijk</a:t>
            </a:fld>
            <a:endParaRPr lang="nl-NL" sz="1000" noProof="0" dirty="0">
              <a:solidFill>
                <a:schemeClr val="tx1"/>
              </a:solidFill>
              <a:latin typeface="+mn-lt"/>
            </a:endParaRPr>
          </a:p>
        </p:txBody>
      </p:sp>
      <p:sp>
        <p:nvSpPr>
          <p:cNvPr id="126" name="Content 1">
            <a:extLst>
              <a:ext uri="{FF2B5EF4-FFF2-40B4-BE49-F238E27FC236}">
                <a16:creationId xmlns:a16="http://schemas.microsoft.com/office/drawing/2014/main" id="{2D656FD1-C1DF-45B2-AAA4-030398090FD9}"/>
              </a:ext>
            </a:extLst>
          </p:cNvPr>
          <p:cNvSpPr>
            <a:spLocks noGrp="1"/>
          </p:cNvSpPr>
          <p:nvPr>
            <p:custDataLst>
              <p:tags r:id="rId67"/>
            </p:custDataLst>
          </p:nvPr>
        </p:nvSpPr>
        <p:spPr bwMode="auto">
          <a:xfrm>
            <a:off x="9780588" y="6035675"/>
            <a:ext cx="3794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037BAED-65BC-4256-8728-527B643DD4AB}" type="datetime'''''''''''E''''''''''r''m''''e''''''''''''''l''''''o'''">
              <a:rPr lang="nl-NL" altLang="en-US" sz="1000" smtClean="0">
                <a:solidFill>
                  <a:schemeClr val="tx1"/>
                </a:solidFill>
              </a:rPr>
              <a:pPr/>
              <a:t>Ermelo</a:t>
            </a:fld>
            <a:endParaRPr lang="nl-NL" sz="1000" noProof="0" dirty="0">
              <a:solidFill>
                <a:schemeClr val="tx1"/>
              </a:solidFill>
              <a:latin typeface="+mn-lt"/>
            </a:endParaRPr>
          </a:p>
        </p:txBody>
      </p:sp>
      <p:sp>
        <p:nvSpPr>
          <p:cNvPr id="125" name="Content 1">
            <a:extLst>
              <a:ext uri="{FF2B5EF4-FFF2-40B4-BE49-F238E27FC236}">
                <a16:creationId xmlns:a16="http://schemas.microsoft.com/office/drawing/2014/main" id="{32DA08ED-13A2-4005-8B56-23BD59D81304}"/>
              </a:ext>
            </a:extLst>
          </p:cNvPr>
          <p:cNvSpPr>
            <a:spLocks noGrp="1"/>
          </p:cNvSpPr>
          <p:nvPr>
            <p:custDataLst>
              <p:tags r:id="rId68"/>
            </p:custDataLst>
          </p:nvPr>
        </p:nvSpPr>
        <p:spPr bwMode="auto">
          <a:xfrm>
            <a:off x="9650413" y="5095875"/>
            <a:ext cx="5095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C82688D-09FD-408E-9F81-09A5DDF7CF37}" type="datetime'''''''''''''N''''''uns''''''''''''p''e''''e''t'''''">
              <a:rPr lang="nl-NL" altLang="en-US" sz="1000" smtClean="0">
                <a:solidFill>
                  <a:schemeClr val="tx1"/>
                </a:solidFill>
              </a:rPr>
              <a:pPr/>
              <a:t>Nunspeet</a:t>
            </a:fld>
            <a:endParaRPr lang="nl-NL" sz="1000" noProof="0" dirty="0">
              <a:solidFill>
                <a:schemeClr val="tx1"/>
              </a:solidFill>
              <a:latin typeface="+mn-lt"/>
            </a:endParaRPr>
          </a:p>
        </p:txBody>
      </p:sp>
      <p:sp>
        <p:nvSpPr>
          <p:cNvPr id="124" name="Content 1">
            <a:extLst>
              <a:ext uri="{FF2B5EF4-FFF2-40B4-BE49-F238E27FC236}">
                <a16:creationId xmlns:a16="http://schemas.microsoft.com/office/drawing/2014/main" id="{ECD08C36-1331-4FD5-A8B9-731C3D6794EF}"/>
              </a:ext>
            </a:extLst>
          </p:cNvPr>
          <p:cNvSpPr>
            <a:spLocks noGrp="1"/>
          </p:cNvSpPr>
          <p:nvPr>
            <p:custDataLst>
              <p:tags r:id="rId69"/>
            </p:custDataLst>
          </p:nvPr>
        </p:nvSpPr>
        <p:spPr bwMode="auto">
          <a:xfrm>
            <a:off x="9601200" y="5330825"/>
            <a:ext cx="558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B9EC2A38-E629-48FA-899A-F6D35B85523C}" type="datetime'O''''l''d''''e''b''''''''''''''''''''''''''r''''''''o''''ek'''">
              <a:rPr lang="nl-NL" altLang="en-US" sz="1000" smtClean="0">
                <a:solidFill>
                  <a:schemeClr val="tx1"/>
                </a:solidFill>
              </a:rPr>
              <a:pPr/>
              <a:t>Oldebroek</a:t>
            </a:fld>
            <a:endParaRPr lang="nl-NL" sz="1000" noProof="0" dirty="0">
              <a:solidFill>
                <a:schemeClr val="tx1"/>
              </a:solidFill>
              <a:latin typeface="+mn-lt"/>
            </a:endParaRPr>
          </a:p>
        </p:txBody>
      </p:sp>
      <p:sp>
        <p:nvSpPr>
          <p:cNvPr id="121" name="Content 1">
            <a:extLst>
              <a:ext uri="{FF2B5EF4-FFF2-40B4-BE49-F238E27FC236}">
                <a16:creationId xmlns:a16="http://schemas.microsoft.com/office/drawing/2014/main" id="{B2E2C551-527C-4116-9C07-BAEA7991CCE1}"/>
              </a:ext>
            </a:extLst>
          </p:cNvPr>
          <p:cNvSpPr>
            <a:spLocks noGrp="1"/>
          </p:cNvSpPr>
          <p:nvPr>
            <p:custDataLst>
              <p:tags r:id="rId70"/>
            </p:custDataLst>
          </p:nvPr>
        </p:nvSpPr>
        <p:spPr bwMode="auto">
          <a:xfrm>
            <a:off x="9817100" y="5565775"/>
            <a:ext cx="3429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B145AFF-AE7F-4B8F-A135-0E10BF4FB886}" type="datetime'''''''''''''''''E''''''''''''''''lb''u''''r''g'''''">
              <a:rPr lang="nl-NL" altLang="en-US" sz="1000" smtClean="0">
                <a:solidFill>
                  <a:schemeClr val="tx1"/>
                </a:solidFill>
              </a:rPr>
              <a:pPr/>
              <a:t>Elburg</a:t>
            </a:fld>
            <a:endParaRPr lang="nl-NL" sz="1000" noProof="0" dirty="0">
              <a:solidFill>
                <a:schemeClr val="tx1"/>
              </a:solidFill>
              <a:latin typeface="+mn-lt"/>
            </a:endParaRPr>
          </a:p>
        </p:txBody>
      </p:sp>
      <p:sp>
        <p:nvSpPr>
          <p:cNvPr id="210" name="Content 1">
            <a:extLst>
              <a:ext uri="{FF2B5EF4-FFF2-40B4-BE49-F238E27FC236}">
                <a16:creationId xmlns:a16="http://schemas.microsoft.com/office/drawing/2014/main" id="{4B9982FA-94CE-476E-98B9-AED20350F85D}"/>
              </a:ext>
            </a:extLst>
          </p:cNvPr>
          <p:cNvSpPr>
            <a:spLocks noGrp="1"/>
          </p:cNvSpPr>
          <p:nvPr>
            <p:custDataLst>
              <p:tags r:id="rId71"/>
            </p:custDataLst>
          </p:nvPr>
        </p:nvSpPr>
        <p:spPr bwMode="gray">
          <a:xfrm>
            <a:off x="10823575" y="5330825"/>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6731E87-CE10-4DCD-ADD1-2325255D854C}" type="datetime'''''''''''''''''''5''''1''''%'''''''''''''''">
              <a:rPr lang="nl-NL" altLang="en-US" sz="1000" smtClean="0">
                <a:solidFill>
                  <a:schemeClr val="tx1"/>
                </a:solidFill>
                <a:effectLst/>
                <a:latin typeface="+mn-lt"/>
              </a:rPr>
              <a:pPr marL="0" indent="0">
                <a:spcBef>
                  <a:spcPct val="0"/>
                </a:spcBef>
                <a:spcAft>
                  <a:spcPct val="0"/>
                </a:spcAft>
                <a:buNone/>
              </a:pPr>
              <a:t>51%</a:t>
            </a:fld>
            <a:endParaRPr lang="nl-NL" sz="1000" noProof="0" dirty="0">
              <a:solidFill>
                <a:schemeClr val="tx1"/>
              </a:solidFill>
              <a:latin typeface="+mn-lt"/>
            </a:endParaRPr>
          </a:p>
        </p:txBody>
      </p:sp>
      <p:sp>
        <p:nvSpPr>
          <p:cNvPr id="165" name="Content 1">
            <a:extLst>
              <a:ext uri="{FF2B5EF4-FFF2-40B4-BE49-F238E27FC236}">
                <a16:creationId xmlns:a16="http://schemas.microsoft.com/office/drawing/2014/main" id="{4B9982FA-94CE-476E-98B9-AED20350F85D}"/>
              </a:ext>
            </a:extLst>
          </p:cNvPr>
          <p:cNvSpPr>
            <a:spLocks noGrp="1"/>
          </p:cNvSpPr>
          <p:nvPr>
            <p:custDataLst>
              <p:tags r:id="rId72"/>
            </p:custDataLst>
          </p:nvPr>
        </p:nvSpPr>
        <p:spPr bwMode="auto">
          <a:xfrm>
            <a:off x="10572750" y="6453188"/>
            <a:ext cx="2746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000" dirty="0">
                <a:solidFill>
                  <a:schemeClr val="tx1"/>
                </a:solidFill>
                <a:effectLst/>
                <a:latin typeface="+mn-lt"/>
              </a:rPr>
              <a:t>Ø </a:t>
            </a:r>
            <a:fld id="{390D95CB-BA43-449D-9788-93FD81D68E2E}" type="datetime'''''''''4''''''''''3'''''''''''''''''''''''">
              <a:rPr lang="nl-NL" altLang="en-US" sz="1000" smtClean="0">
                <a:solidFill>
                  <a:schemeClr val="tx1"/>
                </a:solidFill>
                <a:effectLst/>
                <a:latin typeface="+mn-lt"/>
              </a:rPr>
              <a:pPr marL="0" indent="0" algn="ctr">
                <a:spcBef>
                  <a:spcPct val="0"/>
                </a:spcBef>
                <a:spcAft>
                  <a:spcPct val="0"/>
                </a:spcAft>
                <a:buNone/>
              </a:pPr>
              <a:t>43</a:t>
            </a:fld>
            <a:r>
              <a:rPr lang="nl-NL" altLang="en-US" sz="1000" dirty="0">
                <a:solidFill>
                  <a:schemeClr val="tx1"/>
                </a:solidFill>
                <a:effectLst/>
                <a:latin typeface="+mn-lt"/>
              </a:rPr>
              <a:t>\</a:t>
            </a:r>
            <a:endParaRPr lang="nl-NL" sz="1000" noProof="0" dirty="0">
              <a:solidFill>
                <a:schemeClr val="tx1"/>
              </a:solidFill>
              <a:latin typeface="+mn-lt"/>
            </a:endParaRPr>
          </a:p>
        </p:txBody>
      </p:sp>
      <p:sp>
        <p:nvSpPr>
          <p:cNvPr id="209" name="Content 1">
            <a:extLst>
              <a:ext uri="{FF2B5EF4-FFF2-40B4-BE49-F238E27FC236}">
                <a16:creationId xmlns:a16="http://schemas.microsoft.com/office/drawing/2014/main" id="{4B9982FA-94CE-476E-98B9-AED20350F85D}"/>
              </a:ext>
            </a:extLst>
          </p:cNvPr>
          <p:cNvSpPr>
            <a:spLocks noGrp="1"/>
          </p:cNvSpPr>
          <p:nvPr>
            <p:custDataLst>
              <p:tags r:id="rId73"/>
            </p:custDataLst>
          </p:nvPr>
        </p:nvSpPr>
        <p:spPr bwMode="gray">
          <a:xfrm>
            <a:off x="10823575" y="5095875"/>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9AF04F1-DAAF-4459-B4BC-B283498527E1}" type="datetime'''''''5''''''''''1''%'''''''''''''''''''''''''''">
              <a:rPr lang="nl-NL" altLang="en-US" sz="1000" smtClean="0">
                <a:solidFill>
                  <a:schemeClr val="tx1"/>
                </a:solidFill>
                <a:effectLst/>
                <a:latin typeface="+mn-lt"/>
              </a:rPr>
              <a:pPr marL="0" indent="0">
                <a:spcBef>
                  <a:spcPct val="0"/>
                </a:spcBef>
                <a:spcAft>
                  <a:spcPct val="0"/>
                </a:spcAft>
                <a:buNone/>
              </a:pPr>
              <a:t>51%</a:t>
            </a:fld>
            <a:endParaRPr lang="nl-NL" sz="1000" noProof="0" dirty="0">
              <a:solidFill>
                <a:schemeClr val="tx1"/>
              </a:solidFill>
              <a:latin typeface="+mn-lt"/>
            </a:endParaRPr>
          </a:p>
        </p:txBody>
      </p:sp>
      <p:sp>
        <p:nvSpPr>
          <p:cNvPr id="208" name="Content 1">
            <a:extLst>
              <a:ext uri="{FF2B5EF4-FFF2-40B4-BE49-F238E27FC236}">
                <a16:creationId xmlns:a16="http://schemas.microsoft.com/office/drawing/2014/main" id="{4B9982FA-94CE-476E-98B9-AED20350F85D}"/>
              </a:ext>
            </a:extLst>
          </p:cNvPr>
          <p:cNvSpPr>
            <a:spLocks noGrp="1"/>
          </p:cNvSpPr>
          <p:nvPr>
            <p:custDataLst>
              <p:tags r:id="rId74"/>
            </p:custDataLst>
          </p:nvPr>
        </p:nvSpPr>
        <p:spPr bwMode="gray">
          <a:xfrm>
            <a:off x="10872788" y="4860925"/>
            <a:ext cx="257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4A05400-6953-4204-B071-20673CCBF62D}" type="datetime'''5''''''''''5''''''%'''''''''''''''''''''''''''''''">
              <a:rPr lang="nl-NL" altLang="en-US" sz="1000" smtClean="0">
                <a:solidFill>
                  <a:schemeClr val="tx1"/>
                </a:solidFill>
                <a:effectLst/>
                <a:latin typeface="+mn-lt"/>
              </a:rPr>
              <a:pPr marL="0" indent="0">
                <a:spcBef>
                  <a:spcPct val="0"/>
                </a:spcBef>
                <a:spcAft>
                  <a:spcPct val="0"/>
                </a:spcAft>
                <a:buNone/>
              </a:pPr>
              <a:t>55%</a:t>
            </a:fld>
            <a:endParaRPr lang="nl-NL" sz="1000" noProof="0" dirty="0">
              <a:solidFill>
                <a:schemeClr val="tx1"/>
              </a:solidFill>
              <a:latin typeface="+mn-lt"/>
            </a:endParaRPr>
          </a:p>
        </p:txBody>
      </p:sp>
      <p:sp>
        <p:nvSpPr>
          <p:cNvPr id="211" name="Content 1">
            <a:extLst>
              <a:ext uri="{FF2B5EF4-FFF2-40B4-BE49-F238E27FC236}">
                <a16:creationId xmlns:a16="http://schemas.microsoft.com/office/drawing/2014/main" id="{4B9982FA-94CE-476E-98B9-AED20350F85D}"/>
              </a:ext>
            </a:extLst>
          </p:cNvPr>
          <p:cNvSpPr>
            <a:spLocks noGrp="1"/>
          </p:cNvSpPr>
          <p:nvPr>
            <p:custDataLst>
              <p:tags r:id="rId75"/>
            </p:custDataLst>
          </p:nvPr>
        </p:nvSpPr>
        <p:spPr bwMode="gray">
          <a:xfrm>
            <a:off x="10756900" y="5565775"/>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DBC46B51-6245-4D5F-9E13-6EA5EB9296DC}" type="datetime'''''''''''''''''''''''''''''''''''''45''''''''''''%'''">
              <a:rPr lang="nl-NL" altLang="en-US" sz="1000" smtClean="0">
                <a:solidFill>
                  <a:schemeClr val="tx1"/>
                </a:solidFill>
                <a:effectLst/>
                <a:latin typeface="+mn-lt"/>
              </a:rPr>
              <a:pPr marL="0" indent="0">
                <a:spcBef>
                  <a:spcPct val="0"/>
                </a:spcBef>
                <a:spcAft>
                  <a:spcPct val="0"/>
                </a:spcAft>
                <a:buNone/>
              </a:pPr>
              <a:t>45%</a:t>
            </a:fld>
            <a:endParaRPr lang="nl-NL" sz="1000" noProof="0" dirty="0">
              <a:solidFill>
                <a:schemeClr val="tx1"/>
              </a:solidFill>
              <a:latin typeface="+mn-lt"/>
            </a:endParaRPr>
          </a:p>
        </p:txBody>
      </p:sp>
      <p:sp>
        <p:nvSpPr>
          <p:cNvPr id="212" name="Content 1">
            <a:extLst>
              <a:ext uri="{FF2B5EF4-FFF2-40B4-BE49-F238E27FC236}">
                <a16:creationId xmlns:a16="http://schemas.microsoft.com/office/drawing/2014/main" id="{4B9982FA-94CE-476E-98B9-AED20350F85D}"/>
              </a:ext>
            </a:extLst>
          </p:cNvPr>
          <p:cNvSpPr>
            <a:spLocks noGrp="1"/>
          </p:cNvSpPr>
          <p:nvPr>
            <p:custDataLst>
              <p:tags r:id="rId76"/>
            </p:custDataLst>
          </p:nvPr>
        </p:nvSpPr>
        <p:spPr bwMode="gray">
          <a:xfrm>
            <a:off x="10587038" y="580072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C09AA8F-14DF-46D5-B8F5-50FFF015ECEB}" type="datetime'''''''''''''''2''9''''''''''%'''''''''''''''''''''''">
              <a:rPr lang="nl-NL" altLang="en-US" sz="1000" smtClean="0">
                <a:solidFill>
                  <a:schemeClr val="tx1"/>
                </a:solidFill>
                <a:effectLst/>
                <a:latin typeface="+mn-lt"/>
              </a:rPr>
              <a:pPr marL="0" indent="0">
                <a:spcBef>
                  <a:spcPct val="0"/>
                </a:spcBef>
                <a:spcAft>
                  <a:spcPct val="0"/>
                </a:spcAft>
                <a:buNone/>
              </a:pPr>
              <a:t>29%</a:t>
            </a:fld>
            <a:endParaRPr lang="nl-NL" sz="1000" noProof="0" dirty="0">
              <a:solidFill>
                <a:schemeClr val="tx1"/>
              </a:solidFill>
              <a:latin typeface="+mn-lt"/>
            </a:endParaRPr>
          </a:p>
        </p:txBody>
      </p:sp>
      <p:sp>
        <p:nvSpPr>
          <p:cNvPr id="213" name="Content 1">
            <a:extLst>
              <a:ext uri="{FF2B5EF4-FFF2-40B4-BE49-F238E27FC236}">
                <a16:creationId xmlns:a16="http://schemas.microsoft.com/office/drawing/2014/main" id="{4B9982FA-94CE-476E-98B9-AED20350F85D}"/>
              </a:ext>
            </a:extLst>
          </p:cNvPr>
          <p:cNvSpPr>
            <a:spLocks noGrp="1"/>
          </p:cNvSpPr>
          <p:nvPr>
            <p:custDataLst>
              <p:tags r:id="rId77"/>
            </p:custDataLst>
          </p:nvPr>
        </p:nvSpPr>
        <p:spPr bwMode="gray">
          <a:xfrm>
            <a:off x="10552113" y="603567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6199414-B1B4-42D4-AD89-50E57A2C8D28}" type="datetime'''''''''''''''''''''''2''''''''''6%'''''''">
              <a:rPr lang="nl-NL" altLang="en-US" sz="1000" smtClean="0">
                <a:solidFill>
                  <a:schemeClr val="tx1"/>
                </a:solidFill>
                <a:effectLst/>
                <a:latin typeface="+mn-lt"/>
              </a:rPr>
              <a:pPr marL="0" indent="0">
                <a:spcBef>
                  <a:spcPct val="0"/>
                </a:spcBef>
                <a:spcAft>
                  <a:spcPct val="0"/>
                </a:spcAft>
                <a:buNone/>
              </a:pPr>
              <a:t>26%</a:t>
            </a:fld>
            <a:endParaRPr lang="nl-NL" sz="1000" noProof="0" dirty="0">
              <a:solidFill>
                <a:schemeClr val="tx1"/>
              </a:solidFill>
              <a:latin typeface="+mn-lt"/>
            </a:endParaRPr>
          </a:p>
        </p:txBody>
      </p:sp>
      <p:graphicFrame>
        <p:nvGraphicFramePr>
          <p:cNvPr id="296" name="Chart 295">
            <a:extLst>
              <a:ext uri="{FF2B5EF4-FFF2-40B4-BE49-F238E27FC236}">
                <a16:creationId xmlns:a16="http://schemas.microsoft.com/office/drawing/2014/main" id="{DCFA79C4-17E4-4B5D-B464-ABF24482B3D6}"/>
              </a:ext>
            </a:extLst>
          </p:cNvPr>
          <p:cNvGraphicFramePr/>
          <p:nvPr>
            <p:custDataLst>
              <p:tags r:id="rId78"/>
            </p:custDataLst>
            <p:extLst>
              <p:ext uri="{D42A27DB-BD31-4B8C-83A1-F6EECF244321}">
                <p14:modId xmlns:p14="http://schemas.microsoft.com/office/powerpoint/2010/main" val="684364801"/>
              </p:ext>
            </p:extLst>
          </p:nvPr>
        </p:nvGraphicFramePr>
        <p:xfrm>
          <a:off x="7566025" y="2219325"/>
          <a:ext cx="1401763" cy="3209925"/>
        </p:xfrm>
        <a:graphic>
          <a:graphicData uri="http://schemas.openxmlformats.org/drawingml/2006/chart">
            <c:chart xmlns:c="http://schemas.openxmlformats.org/drawingml/2006/chart" xmlns:r="http://schemas.openxmlformats.org/officeDocument/2006/relationships" r:id="rId116"/>
          </a:graphicData>
        </a:graphic>
      </p:graphicFrame>
      <p:cxnSp>
        <p:nvCxnSpPr>
          <p:cNvPr id="41" name="Straight Connector 40">
            <a:extLst>
              <a:ext uri="{FF2B5EF4-FFF2-40B4-BE49-F238E27FC236}">
                <a16:creationId xmlns:a16="http://schemas.microsoft.com/office/drawing/2014/main" id="{C0AD507F-5E21-44F4-8A0D-ADB6569764CF}"/>
              </a:ext>
            </a:extLst>
          </p:cNvPr>
          <p:cNvCxnSpPr/>
          <p:nvPr>
            <p:custDataLst>
              <p:tags r:id="rId79"/>
            </p:custDataLst>
          </p:nvPr>
        </p:nvCxnSpPr>
        <p:spPr bwMode="auto">
          <a:xfrm>
            <a:off x="8194675" y="4445000"/>
            <a:ext cx="0" cy="139700"/>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7" name="Arrow: Right 16">
            <a:extLst>
              <a:ext uri="{FF2B5EF4-FFF2-40B4-BE49-F238E27FC236}">
                <a16:creationId xmlns:a16="http://schemas.microsoft.com/office/drawing/2014/main" id="{74C6E38B-0174-4F94-ACCE-3E9679E860AC}"/>
              </a:ext>
            </a:extLst>
          </p:cNvPr>
          <p:cNvSpPr/>
          <p:nvPr>
            <p:custDataLst>
              <p:tags r:id="rId80"/>
            </p:custDataLst>
          </p:nvPr>
        </p:nvSpPr>
        <p:spPr bwMode="auto">
          <a:xfrm rot="16200000">
            <a:off x="8131175" y="5384800"/>
            <a:ext cx="128588" cy="152400"/>
          </a:xfrm>
          <a:prstGeom prst="rightArrow">
            <a:avLst>
              <a:gd name="adj1" fmla="val 100000"/>
              <a:gd name="adj2" fmla="val 100201"/>
            </a:avLst>
          </a:prstGeom>
          <a:solidFill>
            <a:schemeClr val="tx1"/>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134" name="Straight Connector 133">
            <a:extLst>
              <a:ext uri="{FF2B5EF4-FFF2-40B4-BE49-F238E27FC236}">
                <a16:creationId xmlns:a16="http://schemas.microsoft.com/office/drawing/2014/main" id="{A211795A-1388-4B3D-82F9-BA3AC9ACF4C1}"/>
              </a:ext>
            </a:extLst>
          </p:cNvPr>
          <p:cNvCxnSpPr/>
          <p:nvPr>
            <p:custDataLst>
              <p:tags r:id="rId81"/>
            </p:custDataLst>
          </p:nvPr>
        </p:nvCxnSpPr>
        <p:spPr bwMode="auto">
          <a:xfrm>
            <a:off x="8194675" y="2301875"/>
            <a:ext cx="0" cy="1730375"/>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DFDE5BF3-DCCD-4F8E-B480-035D57729456}"/>
              </a:ext>
            </a:extLst>
          </p:cNvPr>
          <p:cNvCxnSpPr/>
          <p:nvPr>
            <p:custDataLst>
              <p:tags r:id="rId82"/>
            </p:custDataLst>
          </p:nvPr>
        </p:nvCxnSpPr>
        <p:spPr bwMode="auto">
          <a:xfrm>
            <a:off x="8194675" y="4168775"/>
            <a:ext cx="0" cy="139700"/>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BE7A0231-013E-4E50-AEAD-C1046365A220}"/>
              </a:ext>
            </a:extLst>
          </p:cNvPr>
          <p:cNvCxnSpPr/>
          <p:nvPr>
            <p:custDataLst>
              <p:tags r:id="rId83"/>
            </p:custDataLst>
          </p:nvPr>
        </p:nvCxnSpPr>
        <p:spPr bwMode="auto">
          <a:xfrm>
            <a:off x="8194675" y="4721225"/>
            <a:ext cx="0" cy="141288"/>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C16125D1-2FC6-4FBD-92DD-9B325ADC1EFE}"/>
              </a:ext>
            </a:extLst>
          </p:cNvPr>
          <p:cNvCxnSpPr/>
          <p:nvPr>
            <p:custDataLst>
              <p:tags r:id="rId84"/>
            </p:custDataLst>
          </p:nvPr>
        </p:nvCxnSpPr>
        <p:spPr bwMode="auto">
          <a:xfrm>
            <a:off x="8194675" y="4999038"/>
            <a:ext cx="0" cy="347663"/>
          </a:xfrm>
          <a:prstGeom prst="line">
            <a:avLst/>
          </a:prstGeom>
          <a:ln w="952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44" name="Content 1">
            <a:extLst>
              <a:ext uri="{FF2B5EF4-FFF2-40B4-BE49-F238E27FC236}">
                <a16:creationId xmlns:a16="http://schemas.microsoft.com/office/drawing/2014/main" id="{6A4006E7-0A6D-447E-8EFA-8887326DA4F7}"/>
              </a:ext>
            </a:extLst>
          </p:cNvPr>
          <p:cNvSpPr>
            <a:spLocks noGrp="1"/>
          </p:cNvSpPr>
          <p:nvPr>
            <p:custDataLst>
              <p:tags r:id="rId85"/>
            </p:custDataLst>
          </p:nvPr>
        </p:nvSpPr>
        <p:spPr bwMode="auto">
          <a:xfrm>
            <a:off x="6902450" y="4032250"/>
            <a:ext cx="6604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995C3EC-D186-4D08-8643-A3BEA57FF4C1}" type="datetime'''W''''''''''''''es''''te''''r''''''v''''''o''''or''''''''''t'">
              <a:rPr lang="nl-NL" altLang="en-US" sz="1000" smtClean="0">
                <a:solidFill>
                  <a:schemeClr val="tx1"/>
                </a:solidFill>
              </a:rPr>
              <a:pPr/>
              <a:t>Westervoort</a:t>
            </a:fld>
            <a:endParaRPr lang="nl-NL" sz="1000" noProof="0" dirty="0">
              <a:solidFill>
                <a:schemeClr val="tx1"/>
              </a:solidFill>
              <a:latin typeface="+mn-lt"/>
            </a:endParaRPr>
          </a:p>
        </p:txBody>
      </p:sp>
      <p:sp>
        <p:nvSpPr>
          <p:cNvPr id="143" name="Content 1">
            <a:extLst>
              <a:ext uri="{FF2B5EF4-FFF2-40B4-BE49-F238E27FC236}">
                <a16:creationId xmlns:a16="http://schemas.microsoft.com/office/drawing/2014/main" id="{F0AE48D5-5A5F-4C06-AA79-033CC35ED49C}"/>
              </a:ext>
            </a:extLst>
          </p:cNvPr>
          <p:cNvSpPr>
            <a:spLocks noGrp="1"/>
          </p:cNvSpPr>
          <p:nvPr>
            <p:custDataLst>
              <p:tags r:id="rId86"/>
            </p:custDataLst>
          </p:nvPr>
        </p:nvSpPr>
        <p:spPr bwMode="auto">
          <a:xfrm>
            <a:off x="7069138" y="3478213"/>
            <a:ext cx="4937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4D31107-4898-439B-804C-84E7C24CEE2D}" type="datetime'''''''Z''''''eve''''''''''''''''n''''''''a''''''a''r'''''''">
              <a:rPr lang="nl-NL" altLang="en-US" sz="1000" smtClean="0">
                <a:solidFill>
                  <a:schemeClr val="tx1"/>
                </a:solidFill>
              </a:rPr>
              <a:pPr/>
              <a:t>Zevenaar</a:t>
            </a:fld>
            <a:endParaRPr lang="nl-NL" sz="1000" noProof="0" dirty="0">
              <a:solidFill>
                <a:schemeClr val="tx1"/>
              </a:solidFill>
              <a:latin typeface="+mn-lt"/>
            </a:endParaRPr>
          </a:p>
        </p:txBody>
      </p:sp>
      <p:sp>
        <p:nvSpPr>
          <p:cNvPr id="147" name="Content 1">
            <a:extLst>
              <a:ext uri="{FF2B5EF4-FFF2-40B4-BE49-F238E27FC236}">
                <a16:creationId xmlns:a16="http://schemas.microsoft.com/office/drawing/2014/main" id="{6D8F6D22-BDFC-49F1-9EEC-93CD4CEEAB88}"/>
              </a:ext>
            </a:extLst>
          </p:cNvPr>
          <p:cNvSpPr>
            <a:spLocks noGrp="1"/>
          </p:cNvSpPr>
          <p:nvPr>
            <p:custDataLst>
              <p:tags r:id="rId87"/>
            </p:custDataLst>
          </p:nvPr>
        </p:nvSpPr>
        <p:spPr bwMode="auto">
          <a:xfrm>
            <a:off x="6943725" y="4862513"/>
            <a:ext cx="6191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27DBFEA-D566-4990-B090-DC38CD8A7DF8}" type="datetime'''''''L''''i''''''n''''g''ew''''''a''''a''''''rd'''''''''''''">
              <a:rPr lang="nl-NL" altLang="en-US" sz="1000" smtClean="0">
                <a:solidFill>
                  <a:schemeClr val="tx1"/>
                </a:solidFill>
              </a:rPr>
              <a:pPr/>
              <a:t>Lingewaard</a:t>
            </a:fld>
            <a:endParaRPr lang="nl-NL" sz="1000" noProof="0" dirty="0">
              <a:solidFill>
                <a:schemeClr val="tx1"/>
              </a:solidFill>
              <a:latin typeface="+mn-lt"/>
            </a:endParaRPr>
          </a:p>
        </p:txBody>
      </p:sp>
      <p:sp>
        <p:nvSpPr>
          <p:cNvPr id="137" name="Content 1">
            <a:extLst>
              <a:ext uri="{FF2B5EF4-FFF2-40B4-BE49-F238E27FC236}">
                <a16:creationId xmlns:a16="http://schemas.microsoft.com/office/drawing/2014/main" id="{1D4B6BBC-9BE6-4894-BE76-D94FE10BB506}"/>
              </a:ext>
            </a:extLst>
          </p:cNvPr>
          <p:cNvSpPr>
            <a:spLocks noGrp="1"/>
          </p:cNvSpPr>
          <p:nvPr>
            <p:custDataLst>
              <p:tags r:id="rId88"/>
            </p:custDataLst>
          </p:nvPr>
        </p:nvSpPr>
        <p:spPr bwMode="auto">
          <a:xfrm>
            <a:off x="6897688" y="2924175"/>
            <a:ext cx="665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A2B796A-7870-411F-AA5E-9E7C6A64A963}" type="datetime'''''''''''''''''W''a''ge''n''''''''''''''i''''''n''''gen'''''">
              <a:rPr lang="nl-NL" altLang="en-US" sz="1000" smtClean="0">
                <a:solidFill>
                  <a:schemeClr val="tx1"/>
                </a:solidFill>
              </a:rPr>
              <a:pPr/>
              <a:t>Wageningen</a:t>
            </a:fld>
            <a:endParaRPr lang="nl-NL" sz="1000" noProof="0" dirty="0">
              <a:solidFill>
                <a:schemeClr val="tx1"/>
              </a:solidFill>
              <a:latin typeface="+mn-lt"/>
            </a:endParaRPr>
          </a:p>
        </p:txBody>
      </p:sp>
      <p:sp>
        <p:nvSpPr>
          <p:cNvPr id="180" name="Content 1">
            <a:extLst>
              <a:ext uri="{FF2B5EF4-FFF2-40B4-BE49-F238E27FC236}">
                <a16:creationId xmlns:a16="http://schemas.microsoft.com/office/drawing/2014/main" id="{4B9982FA-94CE-476E-98B9-AED20350F85D}"/>
              </a:ext>
            </a:extLst>
          </p:cNvPr>
          <p:cNvSpPr>
            <a:spLocks noGrp="1"/>
          </p:cNvSpPr>
          <p:nvPr>
            <p:custDataLst>
              <p:tags r:id="rId89"/>
            </p:custDataLst>
          </p:nvPr>
        </p:nvSpPr>
        <p:spPr bwMode="gray">
          <a:xfrm>
            <a:off x="8910638" y="2370138"/>
            <a:ext cx="315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8D291BC-FD7C-4C7B-A388-C65C041F7AF1}" type="datetime'''''''''''''''''''1''''''1''''''''8''''''''''''''''%'''''''">
              <a:rPr lang="nl-NL" altLang="en-US" sz="1000" smtClean="0">
                <a:solidFill>
                  <a:schemeClr val="tx1"/>
                </a:solidFill>
                <a:effectLst/>
                <a:latin typeface="+mn-lt"/>
              </a:rPr>
              <a:pPr marL="0" indent="0">
                <a:spcBef>
                  <a:spcPct val="0"/>
                </a:spcBef>
                <a:spcAft>
                  <a:spcPct val="0"/>
                </a:spcAft>
                <a:buNone/>
              </a:pPr>
              <a:t>118%</a:t>
            </a:fld>
            <a:endParaRPr lang="nl-NL" sz="1000" noProof="0" dirty="0">
              <a:solidFill>
                <a:schemeClr val="tx1"/>
              </a:solidFill>
              <a:latin typeface="+mn-lt"/>
            </a:endParaRPr>
          </a:p>
        </p:txBody>
      </p:sp>
      <p:sp>
        <p:nvSpPr>
          <p:cNvPr id="141" name="Content 1">
            <a:extLst>
              <a:ext uri="{FF2B5EF4-FFF2-40B4-BE49-F238E27FC236}">
                <a16:creationId xmlns:a16="http://schemas.microsoft.com/office/drawing/2014/main" id="{49E9954F-1E35-45C6-9E65-9E6A57E5318B}"/>
              </a:ext>
            </a:extLst>
          </p:cNvPr>
          <p:cNvSpPr>
            <a:spLocks noGrp="1"/>
          </p:cNvSpPr>
          <p:nvPr>
            <p:custDataLst>
              <p:tags r:id="rId90"/>
            </p:custDataLst>
          </p:nvPr>
        </p:nvSpPr>
        <p:spPr bwMode="auto">
          <a:xfrm>
            <a:off x="6910388" y="3754438"/>
            <a:ext cx="6524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6D1C978-668E-457E-BBC2-5C2A579C148E}" type="datetime'''''O''v''''''e''''''r''b''''e''''t''uw''''e'">
              <a:rPr lang="nl-NL" altLang="en-US" sz="1000" smtClean="0">
                <a:solidFill>
                  <a:schemeClr val="tx1"/>
                </a:solidFill>
              </a:rPr>
              <a:pPr/>
              <a:t>Overbetuwe</a:t>
            </a:fld>
            <a:endParaRPr lang="nl-NL" sz="1000" noProof="0" dirty="0">
              <a:solidFill>
                <a:schemeClr val="tx1"/>
              </a:solidFill>
              <a:latin typeface="+mn-lt"/>
            </a:endParaRPr>
          </a:p>
        </p:txBody>
      </p:sp>
      <p:sp>
        <p:nvSpPr>
          <p:cNvPr id="183" name="Content 1">
            <a:extLst>
              <a:ext uri="{FF2B5EF4-FFF2-40B4-BE49-F238E27FC236}">
                <a16:creationId xmlns:a16="http://schemas.microsoft.com/office/drawing/2014/main" id="{4B9982FA-94CE-476E-98B9-AED20350F85D}"/>
              </a:ext>
            </a:extLst>
          </p:cNvPr>
          <p:cNvSpPr>
            <a:spLocks noGrp="1"/>
          </p:cNvSpPr>
          <p:nvPr>
            <p:custDataLst>
              <p:tags r:id="rId91"/>
            </p:custDataLst>
          </p:nvPr>
        </p:nvSpPr>
        <p:spPr bwMode="gray">
          <a:xfrm>
            <a:off x="8235950" y="3200400"/>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A6640B1-E0F0-4FDB-97CB-91EDA10D3291}" type="datetime'''''''''''''''''''''''''''''''''''5''''''''''4%'''''">
              <a:rPr lang="nl-NL" altLang="en-US" sz="1000" smtClean="0">
                <a:solidFill>
                  <a:schemeClr val="tx1"/>
                </a:solidFill>
                <a:effectLst/>
                <a:latin typeface="+mn-lt"/>
              </a:rPr>
              <a:pPr marL="0" indent="0">
                <a:spcBef>
                  <a:spcPct val="0"/>
                </a:spcBef>
                <a:spcAft>
                  <a:spcPct val="0"/>
                </a:spcAft>
                <a:buNone/>
              </a:pPr>
              <a:t>54%</a:t>
            </a:fld>
            <a:endParaRPr lang="nl-NL" sz="1000" noProof="0" dirty="0">
              <a:solidFill>
                <a:schemeClr val="tx1"/>
              </a:solidFill>
              <a:latin typeface="+mn-lt"/>
            </a:endParaRPr>
          </a:p>
        </p:txBody>
      </p:sp>
      <p:sp>
        <p:nvSpPr>
          <p:cNvPr id="140" name="Content 1">
            <a:extLst>
              <a:ext uri="{FF2B5EF4-FFF2-40B4-BE49-F238E27FC236}">
                <a16:creationId xmlns:a16="http://schemas.microsoft.com/office/drawing/2014/main" id="{250EBE06-2DFD-4E52-B6DD-683D6CD884CF}"/>
              </a:ext>
            </a:extLst>
          </p:cNvPr>
          <p:cNvSpPr>
            <a:spLocks noGrp="1"/>
          </p:cNvSpPr>
          <p:nvPr>
            <p:custDataLst>
              <p:tags r:id="rId92"/>
            </p:custDataLst>
          </p:nvPr>
        </p:nvSpPr>
        <p:spPr bwMode="auto">
          <a:xfrm>
            <a:off x="7158038" y="2647950"/>
            <a:ext cx="4048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77C4AC9-6A7F-4AC1-827B-0B796B4A3D73}" type="datetime'''''''R''''''he''''''''''''''''''''d''''''''e''''n'''''''">
              <a:rPr lang="nl-NL" altLang="en-US" sz="1000" smtClean="0">
                <a:solidFill>
                  <a:schemeClr val="tx1"/>
                </a:solidFill>
              </a:rPr>
              <a:pPr/>
              <a:t>Rheden</a:t>
            </a:fld>
            <a:endParaRPr lang="nl-NL" sz="1000" noProof="0" dirty="0">
              <a:solidFill>
                <a:schemeClr val="tx1"/>
              </a:solidFill>
              <a:latin typeface="+mn-lt"/>
            </a:endParaRPr>
          </a:p>
        </p:txBody>
      </p:sp>
      <p:sp>
        <p:nvSpPr>
          <p:cNvPr id="138" name="Content 1">
            <a:extLst>
              <a:ext uri="{FF2B5EF4-FFF2-40B4-BE49-F238E27FC236}">
                <a16:creationId xmlns:a16="http://schemas.microsoft.com/office/drawing/2014/main" id="{9CF8937F-3458-4957-9EF7-F97E8796F3DE}"/>
              </a:ext>
            </a:extLst>
          </p:cNvPr>
          <p:cNvSpPr>
            <a:spLocks noGrp="1"/>
          </p:cNvSpPr>
          <p:nvPr>
            <p:custDataLst>
              <p:tags r:id="rId93"/>
            </p:custDataLst>
          </p:nvPr>
        </p:nvSpPr>
        <p:spPr bwMode="auto">
          <a:xfrm>
            <a:off x="7010400" y="2370138"/>
            <a:ext cx="552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69AEB53-D919-4933-A6E7-FE769FDF6611}" type="datetime'''R''''''''''o''''''''z''e''''nd''aa''l'''''">
              <a:rPr lang="nl-NL" altLang="en-US" sz="1000" smtClean="0">
                <a:solidFill>
                  <a:schemeClr val="tx1"/>
                </a:solidFill>
              </a:rPr>
              <a:pPr/>
              <a:t>Rozendaal</a:t>
            </a:fld>
            <a:endParaRPr lang="nl-NL" sz="1000" noProof="0" dirty="0">
              <a:solidFill>
                <a:schemeClr val="tx1"/>
              </a:solidFill>
              <a:latin typeface="+mn-lt"/>
            </a:endParaRPr>
          </a:p>
        </p:txBody>
      </p:sp>
      <p:sp>
        <p:nvSpPr>
          <p:cNvPr id="142" name="Content 1">
            <a:extLst>
              <a:ext uri="{FF2B5EF4-FFF2-40B4-BE49-F238E27FC236}">
                <a16:creationId xmlns:a16="http://schemas.microsoft.com/office/drawing/2014/main" id="{418D0768-BE2D-4362-93E5-EDED82AD4D12}"/>
              </a:ext>
            </a:extLst>
          </p:cNvPr>
          <p:cNvSpPr>
            <a:spLocks noGrp="1"/>
          </p:cNvSpPr>
          <p:nvPr>
            <p:custDataLst>
              <p:tags r:id="rId94"/>
            </p:custDataLst>
          </p:nvPr>
        </p:nvSpPr>
        <p:spPr bwMode="auto">
          <a:xfrm>
            <a:off x="7192963" y="3200400"/>
            <a:ext cx="369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DCAB3C2-4044-4249-BCF0-86D06D9C7FFF}" type="datetime'D''''''''''''ui''''''''''''''''''''''''''''''''''''v''''e''n'">
              <a:rPr lang="nl-NL" altLang="en-US" sz="1000" smtClean="0">
                <a:solidFill>
                  <a:schemeClr val="tx1"/>
                </a:solidFill>
              </a:rPr>
              <a:pPr/>
              <a:t>Duiven</a:t>
            </a:fld>
            <a:endParaRPr lang="nl-NL" sz="1000" noProof="0" dirty="0">
              <a:solidFill>
                <a:schemeClr val="tx1"/>
              </a:solidFill>
              <a:latin typeface="+mn-lt"/>
            </a:endParaRPr>
          </a:p>
        </p:txBody>
      </p:sp>
      <p:sp>
        <p:nvSpPr>
          <p:cNvPr id="145" name="Content 1">
            <a:extLst>
              <a:ext uri="{FF2B5EF4-FFF2-40B4-BE49-F238E27FC236}">
                <a16:creationId xmlns:a16="http://schemas.microsoft.com/office/drawing/2014/main" id="{939B4485-7CD2-4C4C-99DD-B18DF80F6F36}"/>
              </a:ext>
            </a:extLst>
          </p:cNvPr>
          <p:cNvSpPr>
            <a:spLocks noGrp="1"/>
          </p:cNvSpPr>
          <p:nvPr>
            <p:custDataLst>
              <p:tags r:id="rId95"/>
            </p:custDataLst>
          </p:nvPr>
        </p:nvSpPr>
        <p:spPr bwMode="auto">
          <a:xfrm>
            <a:off x="7126288" y="4308475"/>
            <a:ext cx="436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F93B905-BBBE-4CFD-B84A-E4977B8B1C95}" type="datetime'''''''''''R''''''e''n''k''''''''''''''''''u''''''''m'">
              <a:rPr lang="nl-NL" altLang="en-US" sz="1000" smtClean="0">
                <a:solidFill>
                  <a:schemeClr val="tx1"/>
                </a:solidFill>
              </a:rPr>
              <a:pPr/>
              <a:t>Renkum</a:t>
            </a:fld>
            <a:endParaRPr lang="nl-NL" sz="1000" noProof="0" dirty="0">
              <a:solidFill>
                <a:schemeClr val="tx1"/>
              </a:solidFill>
              <a:latin typeface="+mn-lt"/>
            </a:endParaRPr>
          </a:p>
        </p:txBody>
      </p:sp>
      <p:sp>
        <p:nvSpPr>
          <p:cNvPr id="146" name="Content 1">
            <a:extLst>
              <a:ext uri="{FF2B5EF4-FFF2-40B4-BE49-F238E27FC236}">
                <a16:creationId xmlns:a16="http://schemas.microsoft.com/office/drawing/2014/main" id="{40E447FE-4150-404C-9057-477ADC5B09CC}"/>
              </a:ext>
            </a:extLst>
          </p:cNvPr>
          <p:cNvSpPr>
            <a:spLocks noGrp="1"/>
          </p:cNvSpPr>
          <p:nvPr>
            <p:custDataLst>
              <p:tags r:id="rId96"/>
            </p:custDataLst>
          </p:nvPr>
        </p:nvSpPr>
        <p:spPr bwMode="auto">
          <a:xfrm>
            <a:off x="7051675" y="4584700"/>
            <a:ext cx="511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75066EB-A1D1-4295-82FE-AED66877BB4C}" type="datetime'''''D''''''''''o''''''e''''s''''b''''ur''''''g'''''''''''">
              <a:rPr lang="nl-NL" altLang="en-US" sz="1000" smtClean="0">
                <a:solidFill>
                  <a:schemeClr val="tx1"/>
                </a:solidFill>
              </a:rPr>
              <a:pPr/>
              <a:t>Doesburg</a:t>
            </a:fld>
            <a:endParaRPr lang="nl-NL" sz="1000" noProof="0" dirty="0">
              <a:solidFill>
                <a:schemeClr val="tx1"/>
              </a:solidFill>
              <a:latin typeface="+mn-lt"/>
            </a:endParaRPr>
          </a:p>
        </p:txBody>
      </p:sp>
      <p:sp>
        <p:nvSpPr>
          <p:cNvPr id="148" name="Content 1">
            <a:extLst>
              <a:ext uri="{FF2B5EF4-FFF2-40B4-BE49-F238E27FC236}">
                <a16:creationId xmlns:a16="http://schemas.microsoft.com/office/drawing/2014/main" id="{AE63AEB4-EADB-4636-81F5-172E9A36FFC8}"/>
              </a:ext>
            </a:extLst>
          </p:cNvPr>
          <p:cNvSpPr>
            <a:spLocks noGrp="1"/>
          </p:cNvSpPr>
          <p:nvPr>
            <p:custDataLst>
              <p:tags r:id="rId97"/>
            </p:custDataLst>
          </p:nvPr>
        </p:nvSpPr>
        <p:spPr bwMode="auto">
          <a:xfrm>
            <a:off x="7135813" y="5138738"/>
            <a:ext cx="427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BB4D6917-294B-4604-A713-78FE48C4E988}" type="datetime'A''''''''''''''''''''''''''''''''''rn''h''''''''''''e''''''m'">
              <a:rPr lang="nl-NL" altLang="en-US" sz="1000" smtClean="0">
                <a:solidFill>
                  <a:schemeClr val="tx1"/>
                </a:solidFill>
              </a:rPr>
              <a:pPr/>
              <a:t>Arnhem</a:t>
            </a:fld>
            <a:endParaRPr lang="nl-NL" sz="1000" noProof="0" dirty="0">
              <a:solidFill>
                <a:schemeClr val="tx1"/>
              </a:solidFill>
              <a:latin typeface="+mn-lt"/>
            </a:endParaRPr>
          </a:p>
        </p:txBody>
      </p:sp>
      <p:sp>
        <p:nvSpPr>
          <p:cNvPr id="161" name="Content 1">
            <a:extLst>
              <a:ext uri="{FF2B5EF4-FFF2-40B4-BE49-F238E27FC236}">
                <a16:creationId xmlns:a16="http://schemas.microsoft.com/office/drawing/2014/main" id="{4B9982FA-94CE-476E-98B9-AED20350F85D}"/>
              </a:ext>
            </a:extLst>
          </p:cNvPr>
          <p:cNvSpPr>
            <a:spLocks noGrp="1"/>
          </p:cNvSpPr>
          <p:nvPr>
            <p:custDataLst>
              <p:tags r:id="rId98"/>
            </p:custDataLst>
          </p:nvPr>
        </p:nvSpPr>
        <p:spPr bwMode="auto">
          <a:xfrm>
            <a:off x="8021638" y="5576888"/>
            <a:ext cx="344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000" dirty="0">
                <a:solidFill>
                  <a:schemeClr val="tx1"/>
                </a:solidFill>
              </a:rPr>
              <a:t>Ø </a:t>
            </a:r>
            <a:fld id="{E508D345-49E4-4737-9EE5-5825BF175F05}" type="datetime'''''''''''''''5''''''''''''2'''''''''''''''''''''''''''''''''">
              <a:rPr lang="nl-NL" altLang="en-US" sz="1000" smtClean="0">
                <a:solidFill>
                  <a:schemeClr val="tx1"/>
                </a:solidFill>
              </a:rPr>
              <a:pPr/>
              <a:t>52</a:t>
            </a:fld>
            <a:r>
              <a:rPr lang="nl-NL" altLang="en-US" sz="1000" dirty="0">
                <a:solidFill>
                  <a:schemeClr val="tx1"/>
                </a:solidFill>
              </a:rPr>
              <a:t>%</a:t>
            </a:r>
            <a:endParaRPr lang="nl-NL" sz="1000" noProof="0" dirty="0">
              <a:solidFill>
                <a:schemeClr val="tx1"/>
              </a:solidFill>
              <a:latin typeface="+mn-lt"/>
            </a:endParaRPr>
          </a:p>
        </p:txBody>
      </p:sp>
      <p:sp>
        <p:nvSpPr>
          <p:cNvPr id="181" name="Content 1">
            <a:extLst>
              <a:ext uri="{FF2B5EF4-FFF2-40B4-BE49-F238E27FC236}">
                <a16:creationId xmlns:a16="http://schemas.microsoft.com/office/drawing/2014/main" id="{4B9982FA-94CE-476E-98B9-AED20350F85D}"/>
              </a:ext>
            </a:extLst>
          </p:cNvPr>
          <p:cNvSpPr>
            <a:spLocks noGrp="1"/>
          </p:cNvSpPr>
          <p:nvPr>
            <p:custDataLst>
              <p:tags r:id="rId99"/>
            </p:custDataLst>
          </p:nvPr>
        </p:nvSpPr>
        <p:spPr bwMode="gray">
          <a:xfrm>
            <a:off x="8274050" y="2647950"/>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8EE37F3-F526-4544-B481-4059AE763ACD}" type="datetime'''''''''''''''''''''''''''''''''''''5''''''''7''''''''''''''%'">
              <a:rPr lang="nl-NL" altLang="en-US" sz="1000" smtClean="0">
                <a:solidFill>
                  <a:schemeClr val="tx1"/>
                </a:solidFill>
                <a:effectLst/>
                <a:latin typeface="+mn-lt"/>
              </a:rPr>
              <a:pPr marL="0" indent="0">
                <a:spcBef>
                  <a:spcPct val="0"/>
                </a:spcBef>
                <a:spcAft>
                  <a:spcPct val="0"/>
                </a:spcAft>
                <a:buNone/>
              </a:pPr>
              <a:t>57%</a:t>
            </a:fld>
            <a:endParaRPr lang="nl-NL" sz="1000" noProof="0" dirty="0">
              <a:solidFill>
                <a:schemeClr val="tx1"/>
              </a:solidFill>
              <a:latin typeface="+mn-lt"/>
            </a:endParaRPr>
          </a:p>
        </p:txBody>
      </p:sp>
      <p:sp>
        <p:nvSpPr>
          <p:cNvPr id="185" name="Content 1">
            <a:extLst>
              <a:ext uri="{FF2B5EF4-FFF2-40B4-BE49-F238E27FC236}">
                <a16:creationId xmlns:a16="http://schemas.microsoft.com/office/drawing/2014/main" id="{4B9982FA-94CE-476E-98B9-AED20350F85D}"/>
              </a:ext>
            </a:extLst>
          </p:cNvPr>
          <p:cNvSpPr>
            <a:spLocks noGrp="1"/>
          </p:cNvSpPr>
          <p:nvPr>
            <p:custDataLst>
              <p:tags r:id="rId100"/>
            </p:custDataLst>
          </p:nvPr>
        </p:nvSpPr>
        <p:spPr bwMode="gray">
          <a:xfrm>
            <a:off x="8210550" y="375443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19CEA6E-5B01-4767-BB22-6F8146E396DB}" type="datetime'51''''''''''''''''''''''''%'''''''''''''''">
              <a:rPr lang="nl-NL" altLang="en-US" sz="1000" smtClean="0">
                <a:solidFill>
                  <a:schemeClr val="tx1"/>
                </a:solidFill>
                <a:effectLst/>
                <a:latin typeface="+mn-lt"/>
              </a:rPr>
              <a:pPr marL="0" indent="0">
                <a:spcBef>
                  <a:spcPct val="0"/>
                </a:spcBef>
                <a:spcAft>
                  <a:spcPct val="0"/>
                </a:spcAft>
                <a:buNone/>
              </a:pPr>
              <a:t>51%</a:t>
            </a:fld>
            <a:endParaRPr lang="nl-NL" sz="1000" noProof="0" dirty="0">
              <a:solidFill>
                <a:schemeClr val="tx1"/>
              </a:solidFill>
              <a:latin typeface="+mn-lt"/>
            </a:endParaRPr>
          </a:p>
        </p:txBody>
      </p:sp>
      <p:sp>
        <p:nvSpPr>
          <p:cNvPr id="188" name="Content 1">
            <a:extLst>
              <a:ext uri="{FF2B5EF4-FFF2-40B4-BE49-F238E27FC236}">
                <a16:creationId xmlns:a16="http://schemas.microsoft.com/office/drawing/2014/main" id="{4B9982FA-94CE-476E-98B9-AED20350F85D}"/>
              </a:ext>
            </a:extLst>
          </p:cNvPr>
          <p:cNvSpPr>
            <a:spLocks noGrp="1"/>
          </p:cNvSpPr>
          <p:nvPr>
            <p:custDataLst>
              <p:tags r:id="rId101"/>
            </p:custDataLst>
          </p:nvPr>
        </p:nvSpPr>
        <p:spPr bwMode="gray">
          <a:xfrm>
            <a:off x="8104188" y="4584700"/>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B21FA1D-F2F8-45BE-8DBA-044041EB6ED8}" type="datetime'''''''''''''''''''''4''''1''''''''''''''%'''''''">
              <a:rPr lang="nl-NL" altLang="en-US" sz="1000" smtClean="0">
                <a:solidFill>
                  <a:schemeClr val="tx1"/>
                </a:solidFill>
                <a:effectLst/>
                <a:latin typeface="+mn-lt"/>
              </a:rPr>
              <a:pPr marL="0" indent="0">
                <a:spcBef>
                  <a:spcPct val="0"/>
                </a:spcBef>
                <a:spcAft>
                  <a:spcPct val="0"/>
                </a:spcAft>
                <a:buNone/>
              </a:pPr>
              <a:t>41%</a:t>
            </a:fld>
            <a:endParaRPr lang="nl-NL" sz="1000" noProof="0" dirty="0">
              <a:solidFill>
                <a:schemeClr val="tx1"/>
              </a:solidFill>
              <a:latin typeface="+mn-lt"/>
            </a:endParaRPr>
          </a:p>
        </p:txBody>
      </p:sp>
      <p:sp>
        <p:nvSpPr>
          <p:cNvPr id="182" name="Content 1">
            <a:extLst>
              <a:ext uri="{FF2B5EF4-FFF2-40B4-BE49-F238E27FC236}">
                <a16:creationId xmlns:a16="http://schemas.microsoft.com/office/drawing/2014/main" id="{4B9982FA-94CE-476E-98B9-AED20350F85D}"/>
              </a:ext>
            </a:extLst>
          </p:cNvPr>
          <p:cNvSpPr>
            <a:spLocks noGrp="1"/>
          </p:cNvSpPr>
          <p:nvPr>
            <p:custDataLst>
              <p:tags r:id="rId102"/>
            </p:custDataLst>
          </p:nvPr>
        </p:nvSpPr>
        <p:spPr bwMode="gray">
          <a:xfrm>
            <a:off x="8237538" y="2924175"/>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02C3CC4-E728-4717-94C0-3A5074F220C4}" type="datetime'''''''''''''''''''''''''''''''5''''''''''''''''4%'''''''''''''">
              <a:rPr lang="nl-NL" altLang="en-US" sz="1000" smtClean="0">
                <a:solidFill>
                  <a:schemeClr val="tx1"/>
                </a:solidFill>
                <a:effectLst/>
                <a:latin typeface="+mn-lt"/>
              </a:rPr>
              <a:pPr marL="0" indent="0">
                <a:spcBef>
                  <a:spcPct val="0"/>
                </a:spcBef>
                <a:spcAft>
                  <a:spcPct val="0"/>
                </a:spcAft>
                <a:buNone/>
              </a:pPr>
              <a:t>54%</a:t>
            </a:fld>
            <a:endParaRPr lang="nl-NL" sz="1000" noProof="0" dirty="0">
              <a:solidFill>
                <a:schemeClr val="tx1"/>
              </a:solidFill>
              <a:latin typeface="+mn-lt"/>
            </a:endParaRPr>
          </a:p>
        </p:txBody>
      </p:sp>
      <p:sp>
        <p:nvSpPr>
          <p:cNvPr id="184" name="Content 1">
            <a:extLst>
              <a:ext uri="{FF2B5EF4-FFF2-40B4-BE49-F238E27FC236}">
                <a16:creationId xmlns:a16="http://schemas.microsoft.com/office/drawing/2014/main" id="{4B9982FA-94CE-476E-98B9-AED20350F85D}"/>
              </a:ext>
            </a:extLst>
          </p:cNvPr>
          <p:cNvSpPr>
            <a:spLocks noGrp="1"/>
          </p:cNvSpPr>
          <p:nvPr>
            <p:custDataLst>
              <p:tags r:id="rId103"/>
            </p:custDataLst>
          </p:nvPr>
        </p:nvSpPr>
        <p:spPr bwMode="gray">
          <a:xfrm>
            <a:off x="8221663" y="3478213"/>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70F1261-EF8F-4AE1-9B9E-82621D989E23}" type="datetime'''''''5''2''''''''''''''''''''''''''''''''''''%'''''">
              <a:rPr lang="nl-NL" altLang="en-US" sz="1000" smtClean="0">
                <a:solidFill>
                  <a:schemeClr val="tx1"/>
                </a:solidFill>
                <a:effectLst/>
                <a:latin typeface="+mn-lt"/>
              </a:rPr>
              <a:pPr marL="0" indent="0">
                <a:spcBef>
                  <a:spcPct val="0"/>
                </a:spcBef>
                <a:spcAft>
                  <a:spcPct val="0"/>
                </a:spcAft>
                <a:buNone/>
              </a:pPr>
              <a:t>52%</a:t>
            </a:fld>
            <a:endParaRPr lang="nl-NL" sz="1000" noProof="0" dirty="0">
              <a:solidFill>
                <a:schemeClr val="tx1"/>
              </a:solidFill>
              <a:latin typeface="+mn-lt"/>
            </a:endParaRPr>
          </a:p>
        </p:txBody>
      </p:sp>
      <p:sp>
        <p:nvSpPr>
          <p:cNvPr id="186" name="Content 1">
            <a:extLst>
              <a:ext uri="{FF2B5EF4-FFF2-40B4-BE49-F238E27FC236}">
                <a16:creationId xmlns:a16="http://schemas.microsoft.com/office/drawing/2014/main" id="{4B9982FA-94CE-476E-98B9-AED20350F85D}"/>
              </a:ext>
            </a:extLst>
          </p:cNvPr>
          <p:cNvSpPr>
            <a:spLocks noGrp="1"/>
          </p:cNvSpPr>
          <p:nvPr>
            <p:custDataLst>
              <p:tags r:id="rId104"/>
            </p:custDataLst>
          </p:nvPr>
        </p:nvSpPr>
        <p:spPr bwMode="gray">
          <a:xfrm>
            <a:off x="8175625" y="40322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209717E-52AC-4A50-AFE5-B7AE9F3FD3FF}" type="datetime'''''''''''4''''''''''''''''''''''8''''%'''''''''''''''''">
              <a:rPr lang="nl-NL" altLang="en-US" sz="1000" smtClean="0">
                <a:solidFill>
                  <a:schemeClr val="tx1"/>
                </a:solidFill>
                <a:effectLst/>
                <a:latin typeface="+mn-lt"/>
              </a:rPr>
              <a:pPr marL="0" indent="0">
                <a:spcBef>
                  <a:spcPct val="0"/>
                </a:spcBef>
                <a:spcAft>
                  <a:spcPct val="0"/>
                </a:spcAft>
                <a:buNone/>
              </a:pPr>
              <a:t>48%</a:t>
            </a:fld>
            <a:endParaRPr lang="nl-NL" sz="1000" noProof="0" dirty="0">
              <a:solidFill>
                <a:schemeClr val="tx1"/>
              </a:solidFill>
              <a:latin typeface="+mn-lt"/>
            </a:endParaRPr>
          </a:p>
        </p:txBody>
      </p:sp>
      <p:sp>
        <p:nvSpPr>
          <p:cNvPr id="187" name="Content 1">
            <a:extLst>
              <a:ext uri="{FF2B5EF4-FFF2-40B4-BE49-F238E27FC236}">
                <a16:creationId xmlns:a16="http://schemas.microsoft.com/office/drawing/2014/main" id="{4B9982FA-94CE-476E-98B9-AED20350F85D}"/>
              </a:ext>
            </a:extLst>
          </p:cNvPr>
          <p:cNvSpPr>
            <a:spLocks noGrp="1"/>
          </p:cNvSpPr>
          <p:nvPr>
            <p:custDataLst>
              <p:tags r:id="rId105"/>
            </p:custDataLst>
          </p:nvPr>
        </p:nvSpPr>
        <p:spPr bwMode="gray">
          <a:xfrm>
            <a:off x="8151813" y="4308475"/>
            <a:ext cx="268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4FCB82B1-8226-4F81-ADB0-9D0BFADF682E}" type="datetime'''''''''''''4''''''''''''''''6''''''''''''%'''''''">
              <a:rPr lang="nl-NL" altLang="en-US" sz="1000" smtClean="0">
                <a:solidFill>
                  <a:schemeClr val="tx1"/>
                </a:solidFill>
                <a:effectLst/>
                <a:latin typeface="+mn-lt"/>
              </a:rPr>
              <a:pPr marL="0" indent="0">
                <a:spcBef>
                  <a:spcPct val="0"/>
                </a:spcBef>
                <a:spcAft>
                  <a:spcPct val="0"/>
                </a:spcAft>
                <a:buNone/>
              </a:pPr>
              <a:t>46%</a:t>
            </a:fld>
            <a:endParaRPr lang="nl-NL" sz="1000" noProof="0" dirty="0">
              <a:solidFill>
                <a:schemeClr val="tx1"/>
              </a:solidFill>
              <a:latin typeface="+mn-lt"/>
            </a:endParaRPr>
          </a:p>
        </p:txBody>
      </p:sp>
      <p:sp>
        <p:nvSpPr>
          <p:cNvPr id="189" name="Content 1">
            <a:extLst>
              <a:ext uri="{FF2B5EF4-FFF2-40B4-BE49-F238E27FC236}">
                <a16:creationId xmlns:a16="http://schemas.microsoft.com/office/drawing/2014/main" id="{4B9982FA-94CE-476E-98B9-AED20350F85D}"/>
              </a:ext>
            </a:extLst>
          </p:cNvPr>
          <p:cNvSpPr>
            <a:spLocks noGrp="1"/>
          </p:cNvSpPr>
          <p:nvPr>
            <p:custDataLst>
              <p:tags r:id="rId106"/>
            </p:custDataLst>
          </p:nvPr>
        </p:nvSpPr>
        <p:spPr bwMode="gray">
          <a:xfrm>
            <a:off x="8002588" y="4862513"/>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1C03DED2-0907-4E49-AE84-8C6AA5C5CB41}" type="datetime'''''''''''''''''''''''3''''''''''''''''''''''''''1''''''%'''">
              <a:rPr lang="nl-NL" altLang="en-US" sz="1000" smtClean="0">
                <a:solidFill>
                  <a:schemeClr val="tx1"/>
                </a:solidFill>
                <a:effectLst/>
                <a:latin typeface="+mn-lt"/>
              </a:rPr>
              <a:pPr marL="0" indent="0">
                <a:spcBef>
                  <a:spcPct val="0"/>
                </a:spcBef>
                <a:spcAft>
                  <a:spcPct val="0"/>
                </a:spcAft>
                <a:buNone/>
              </a:pPr>
              <a:t>31%</a:t>
            </a:fld>
            <a:endParaRPr lang="nl-NL" sz="1000" noProof="0" dirty="0">
              <a:solidFill>
                <a:schemeClr val="tx1"/>
              </a:solidFill>
              <a:latin typeface="+mn-lt"/>
            </a:endParaRPr>
          </a:p>
        </p:txBody>
      </p:sp>
      <p:sp>
        <p:nvSpPr>
          <p:cNvPr id="190" name="Content 1">
            <a:extLst>
              <a:ext uri="{FF2B5EF4-FFF2-40B4-BE49-F238E27FC236}">
                <a16:creationId xmlns:a16="http://schemas.microsoft.com/office/drawing/2014/main" id="{4B9982FA-94CE-476E-98B9-AED20350F85D}"/>
              </a:ext>
            </a:extLst>
          </p:cNvPr>
          <p:cNvSpPr>
            <a:spLocks noGrp="1"/>
          </p:cNvSpPr>
          <p:nvPr>
            <p:custDataLst>
              <p:tags r:id="rId107"/>
            </p:custDataLst>
          </p:nvPr>
        </p:nvSpPr>
        <p:spPr bwMode="gray">
          <a:xfrm>
            <a:off x="7904163" y="513873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49185E0-2BDB-4BFB-99B6-54E20C83FD4B}" type="datetime'''''''''''''''''''''''2''''''''''''''''''2''''''''%'''''''''">
              <a:rPr lang="nl-NL" altLang="en-US" sz="1000" smtClean="0">
                <a:solidFill>
                  <a:schemeClr val="tx1"/>
                </a:solidFill>
                <a:effectLst/>
                <a:latin typeface="+mn-lt"/>
              </a:rPr>
              <a:pPr marL="0" indent="0">
                <a:spcBef>
                  <a:spcPct val="0"/>
                </a:spcBef>
                <a:spcAft>
                  <a:spcPct val="0"/>
                </a:spcAft>
                <a:buNone/>
              </a:pPr>
              <a:t>22%</a:t>
            </a:fld>
            <a:endParaRPr lang="nl-NL" sz="1000" noProof="0" dirty="0">
              <a:solidFill>
                <a:schemeClr val="tx1"/>
              </a:solidFill>
              <a:latin typeface="+mn-lt"/>
            </a:endParaRPr>
          </a:p>
        </p:txBody>
      </p:sp>
      <p:grpSp>
        <p:nvGrpSpPr>
          <p:cNvPr id="3" name="Group 2">
            <a:extLst>
              <a:ext uri="{FF2B5EF4-FFF2-40B4-BE49-F238E27FC236}">
                <a16:creationId xmlns:a16="http://schemas.microsoft.com/office/drawing/2014/main" id="{C4BB8060-B8F8-4CBE-BECE-3A4E781B6789}"/>
              </a:ext>
            </a:extLst>
          </p:cNvPr>
          <p:cNvGrpSpPr/>
          <p:nvPr/>
        </p:nvGrpSpPr>
        <p:grpSpPr>
          <a:xfrm>
            <a:off x="4760913" y="102148"/>
            <a:ext cx="2346917" cy="323805"/>
            <a:chOff x="5117507" y="113662"/>
            <a:chExt cx="2346917" cy="323805"/>
          </a:xfrm>
        </p:grpSpPr>
        <p:sp>
          <p:nvSpPr>
            <p:cNvPr id="77" name="TextBox 76">
              <a:extLst>
                <a:ext uri="{FF2B5EF4-FFF2-40B4-BE49-F238E27FC236}">
                  <a16:creationId xmlns:a16="http://schemas.microsoft.com/office/drawing/2014/main" id="{BE675D0F-D398-4D0E-8F01-F82D68A17622}"/>
                </a:ext>
              </a:extLst>
            </p:cNvPr>
            <p:cNvSpPr txBox="1"/>
            <p:nvPr/>
          </p:nvSpPr>
          <p:spPr>
            <a:xfrm>
              <a:off x="5441311" y="180942"/>
              <a:ext cx="2023113" cy="204017"/>
            </a:xfrm>
            <a:prstGeom prst="rect">
              <a:avLst/>
            </a:prstGeom>
          </p:spPr>
          <p:txBody>
            <a:bodyPr vert="horz" wrap="none" lIns="0" tIns="0" rIns="0" bIns="0" rtlCol="0">
              <a:noAutofit/>
            </a:bodyPr>
            <a:lstStyle/>
            <a:p>
              <a:pPr marL="0" indent="0" algn="l">
                <a:buNone/>
              </a:pPr>
              <a:r>
                <a:rPr lang="nl-NL" sz="1400" b="1" dirty="0">
                  <a:solidFill>
                    <a:schemeClr val="tx2"/>
                  </a:solidFill>
                </a:rPr>
                <a:t>  objectieve eigenschappen</a:t>
              </a:r>
              <a:endParaRPr lang="nl-NL" b="1" noProof="0" dirty="0">
                <a:solidFill>
                  <a:schemeClr val="tx2"/>
                </a:solidFill>
              </a:endParaRPr>
            </a:p>
          </p:txBody>
        </p:sp>
        <p:pic>
          <p:nvPicPr>
            <p:cNvPr id="78" name="Graphic 77" descr="Basic Shapes with solid fill">
              <a:extLst>
                <a:ext uri="{FF2B5EF4-FFF2-40B4-BE49-F238E27FC236}">
                  <a16:creationId xmlns:a16="http://schemas.microsoft.com/office/drawing/2014/main" id="{B667F0A1-737A-426E-99A1-FDE575E0B769}"/>
                </a:ext>
              </a:extLst>
            </p:cNvPr>
            <p:cNvPicPr>
              <a:picLocks noChangeAspect="1"/>
            </p:cNvPicPr>
            <p:nvPr/>
          </p:nvPicPr>
          <p:blipFill>
            <a:blip r:embed="rId117">
              <a:extLst>
                <a:ext uri="{96DAC541-7B7A-43D3-8B79-37D633B846F1}">
                  <asvg:svgBlip xmlns:asvg="http://schemas.microsoft.com/office/drawing/2016/SVG/main" r:embed="rId118"/>
                </a:ext>
              </a:extLst>
            </a:blip>
            <a:stretch>
              <a:fillRect/>
            </a:stretch>
          </p:blipFill>
          <p:spPr>
            <a:xfrm>
              <a:off x="5117507" y="113662"/>
              <a:ext cx="323805" cy="323805"/>
            </a:xfrm>
            <a:prstGeom prst="rect">
              <a:avLst/>
            </a:prstGeom>
          </p:spPr>
        </p:pic>
      </p:grpSp>
      <p:sp>
        <p:nvSpPr>
          <p:cNvPr id="6" name="Rectangle 5" hidden="1">
            <a:extLst>
              <a:ext uri="{FF2B5EF4-FFF2-40B4-BE49-F238E27FC236}">
                <a16:creationId xmlns:a16="http://schemas.microsoft.com/office/drawing/2014/main" id="{E4B1FF9C-FC14-47B0-8223-06D56B0D66F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latin typeface="+mn-lt"/>
            </a:endParaRPr>
          </a:p>
        </p:txBody>
      </p:sp>
      <p:sp>
        <p:nvSpPr>
          <p:cNvPr id="43" name="TextBox 42">
            <a:extLst>
              <a:ext uri="{FF2B5EF4-FFF2-40B4-BE49-F238E27FC236}">
                <a16:creationId xmlns:a16="http://schemas.microsoft.com/office/drawing/2014/main" id="{A3AB7C1E-3BC3-452C-A0C2-B5540D849D64}"/>
              </a:ext>
            </a:extLst>
          </p:cNvPr>
          <p:cNvSpPr txBox="1"/>
          <p:nvPr/>
        </p:nvSpPr>
        <p:spPr>
          <a:xfrm>
            <a:off x="6869907" y="1838734"/>
            <a:ext cx="914400" cy="914400"/>
          </a:xfrm>
          <a:prstGeom prst="rect">
            <a:avLst/>
          </a:prstGeom>
        </p:spPr>
        <p:txBody>
          <a:bodyPr vert="horz" wrap="none" lIns="91440" tIns="45720" rIns="91440" bIns="45720" rtlCol="0">
            <a:noAutofit/>
          </a:bodyPr>
          <a:lstStyle/>
          <a:p>
            <a:pPr marL="0" indent="0" algn="l">
              <a:buNone/>
            </a:pPr>
            <a:r>
              <a:rPr lang="nl-NL" b="1" noProof="0" dirty="0"/>
              <a:t>Centraal Gelderland</a:t>
            </a:r>
          </a:p>
        </p:txBody>
      </p:sp>
      <p:sp>
        <p:nvSpPr>
          <p:cNvPr id="233" name="TextBox 232">
            <a:extLst>
              <a:ext uri="{FF2B5EF4-FFF2-40B4-BE49-F238E27FC236}">
                <a16:creationId xmlns:a16="http://schemas.microsoft.com/office/drawing/2014/main" id="{C130BE8A-7910-4B3B-ABCF-CE8EECA05947}"/>
              </a:ext>
            </a:extLst>
          </p:cNvPr>
          <p:cNvSpPr txBox="1"/>
          <p:nvPr/>
        </p:nvSpPr>
        <p:spPr>
          <a:xfrm>
            <a:off x="4367214" y="1838734"/>
            <a:ext cx="914400" cy="914400"/>
          </a:xfrm>
          <a:prstGeom prst="rect">
            <a:avLst/>
          </a:prstGeom>
        </p:spPr>
        <p:txBody>
          <a:bodyPr vert="horz" wrap="none" lIns="91440" tIns="45720" rIns="91440" bIns="45720" rtlCol="0">
            <a:noAutofit/>
          </a:bodyPr>
          <a:lstStyle/>
          <a:p>
            <a:pPr marL="0" indent="0" algn="l">
              <a:buNone/>
            </a:pPr>
            <a:r>
              <a:rPr lang="nl-NL" b="1" noProof="0" dirty="0"/>
              <a:t>Zeeland</a:t>
            </a:r>
          </a:p>
        </p:txBody>
      </p:sp>
      <p:sp>
        <p:nvSpPr>
          <p:cNvPr id="236" name="TextBox 235">
            <a:extLst>
              <a:ext uri="{FF2B5EF4-FFF2-40B4-BE49-F238E27FC236}">
                <a16:creationId xmlns:a16="http://schemas.microsoft.com/office/drawing/2014/main" id="{334D4969-BCDA-4D88-A31E-6A215E989AB2}"/>
              </a:ext>
            </a:extLst>
          </p:cNvPr>
          <p:cNvSpPr txBox="1"/>
          <p:nvPr/>
        </p:nvSpPr>
        <p:spPr>
          <a:xfrm>
            <a:off x="9375776" y="1838734"/>
            <a:ext cx="914400" cy="914400"/>
          </a:xfrm>
          <a:prstGeom prst="rect">
            <a:avLst/>
          </a:prstGeom>
        </p:spPr>
        <p:txBody>
          <a:bodyPr vert="horz" wrap="none" lIns="91440" tIns="45720" rIns="91440" bIns="45720" rtlCol="0">
            <a:noAutofit/>
          </a:bodyPr>
          <a:lstStyle/>
          <a:p>
            <a:pPr marL="0" indent="0" algn="l">
              <a:buNone/>
            </a:pPr>
            <a:r>
              <a:rPr lang="nl-NL" b="1" noProof="0" dirty="0"/>
              <a:t>Eemland</a:t>
            </a:r>
          </a:p>
        </p:txBody>
      </p:sp>
      <p:sp>
        <p:nvSpPr>
          <p:cNvPr id="298" name="TextBox 297">
            <a:extLst>
              <a:ext uri="{FF2B5EF4-FFF2-40B4-BE49-F238E27FC236}">
                <a16:creationId xmlns:a16="http://schemas.microsoft.com/office/drawing/2014/main" id="{C1B05E90-B992-41D4-ACB5-A070C0B73CD7}"/>
              </a:ext>
            </a:extLst>
          </p:cNvPr>
          <p:cNvSpPr txBox="1"/>
          <p:nvPr/>
        </p:nvSpPr>
        <p:spPr>
          <a:xfrm>
            <a:off x="9375776" y="4426723"/>
            <a:ext cx="914400" cy="914400"/>
          </a:xfrm>
          <a:prstGeom prst="rect">
            <a:avLst/>
          </a:prstGeom>
        </p:spPr>
        <p:txBody>
          <a:bodyPr vert="horz" wrap="none" lIns="91440" tIns="45720" rIns="91440" bIns="45720" rtlCol="0">
            <a:noAutofit/>
          </a:bodyPr>
          <a:lstStyle/>
          <a:p>
            <a:pPr marL="0" indent="0">
              <a:buNone/>
            </a:pPr>
            <a:r>
              <a:rPr lang="nl-NL" b="1" noProof="0" dirty="0"/>
              <a:t>Noord Veluwe</a:t>
            </a:r>
          </a:p>
        </p:txBody>
      </p:sp>
    </p:spTree>
    <p:extLst>
      <p:ext uri="{BB962C8B-B14F-4D97-AF65-F5344CB8AC3E}">
        <p14:creationId xmlns:p14="http://schemas.microsoft.com/office/powerpoint/2010/main" val="3313660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BA1877FE-EBF6-4AD1-B70B-088BAAEAD6FD}"/>
              </a:ext>
            </a:extLst>
          </p:cNvPr>
          <p:cNvPicPr>
            <a:picLocks noChangeAspect="1"/>
          </p:cNvPicPr>
          <p:nvPr/>
        </p:nvPicPr>
        <p:blipFill>
          <a:blip r:embed="rId6"/>
          <a:srcRect t="8756" b="8756"/>
          <a:stretch/>
        </p:blipFill>
        <p:spPr>
          <a:xfrm>
            <a:off x="163806" y="166778"/>
            <a:ext cx="11864388" cy="6524444"/>
          </a:xfrm>
          <a:prstGeom prst="roundRect">
            <a:avLst>
              <a:gd name="adj" fmla="val 2247"/>
            </a:avLst>
          </a:prstGeom>
        </p:spPr>
      </p:pic>
      <p:sp>
        <p:nvSpPr>
          <p:cNvPr id="3" name="Rectangle: Rounded Corners 2">
            <a:extLst>
              <a:ext uri="{FF2B5EF4-FFF2-40B4-BE49-F238E27FC236}">
                <a16:creationId xmlns:a16="http://schemas.microsoft.com/office/drawing/2014/main" id="{F742646D-2898-4D66-9983-5C934BDB676D}"/>
              </a:ext>
            </a:extLst>
          </p:cNvPr>
          <p:cNvSpPr/>
          <p:nvPr/>
        </p:nvSpPr>
        <p:spPr>
          <a:xfrm>
            <a:off x="1368284" y="847010"/>
            <a:ext cx="8100000" cy="5211192"/>
          </a:xfrm>
          <a:prstGeom prst="roundRect">
            <a:avLst>
              <a:gd name="adj" fmla="val 2527"/>
            </a:avLst>
          </a:prstGeom>
          <a:solidFill>
            <a:srgbClr val="22777B">
              <a:alpha val="90000"/>
            </a:srgb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sym typeface="Corbel" panose="020B0503020204020204" pitchFamily="34" charset="0"/>
            </a:endParaRPr>
          </a:p>
        </p:txBody>
      </p:sp>
      <p:sp>
        <p:nvSpPr>
          <p:cNvPr id="25" name="Text Placeholder 5">
            <a:extLst>
              <a:ext uri="{FF2B5EF4-FFF2-40B4-BE49-F238E27FC236}">
                <a16:creationId xmlns:a16="http://schemas.microsoft.com/office/drawing/2014/main" id="{60F09069-F494-45CA-8ACC-7993822D5D5C}"/>
              </a:ext>
            </a:extLst>
          </p:cNvPr>
          <p:cNvSpPr txBox="1">
            <a:spLocks/>
          </p:cNvSpPr>
          <p:nvPr/>
        </p:nvSpPr>
        <p:spPr>
          <a:xfrm>
            <a:off x="1761234" y="109902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solidFill>
                  <a:srgbClr val="FFFFFF"/>
                </a:solidFill>
                <a:ea typeface="+mj-ea"/>
                <a:cs typeface="+mj-cs"/>
                <a:sym typeface="Corbel" panose="020B0503020204020204" pitchFamily="34" charset="0"/>
              </a:rPr>
              <a:t>Inhoudsopgave</a:t>
            </a:r>
          </a:p>
        </p:txBody>
      </p:sp>
      <p:pic>
        <p:nvPicPr>
          <p:cNvPr id="16" name="Graphic 15" descr="Arrow: Straight">
            <a:extLst>
              <a:ext uri="{FF2B5EF4-FFF2-40B4-BE49-F238E27FC236}">
                <a16:creationId xmlns:a16="http://schemas.microsoft.com/office/drawing/2014/main" id="{EF7EBCF3-658A-4717-BDE3-F2687284931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1838835" y="3086168"/>
            <a:ext cx="418002" cy="396000"/>
          </a:xfrm>
          <a:prstGeom prst="rect">
            <a:avLst/>
          </a:prstGeom>
        </p:spPr>
      </p:pic>
      <p:sp>
        <p:nvSpPr>
          <p:cNvPr id="15" name="Text Placeholder 5">
            <a:hlinkClick r:id="rId9" action="ppaction://hlinksldjump"/>
            <a:extLst>
              <a:ext uri="{FF2B5EF4-FFF2-40B4-BE49-F238E27FC236}">
                <a16:creationId xmlns:a16="http://schemas.microsoft.com/office/drawing/2014/main" id="{8F4A3C92-A95C-4653-8B8D-05918D5A949E}"/>
              </a:ext>
            </a:extLst>
          </p:cNvPr>
          <p:cNvSpPr txBox="1">
            <a:spLocks/>
          </p:cNvSpPr>
          <p:nvPr/>
        </p:nvSpPr>
        <p:spPr>
          <a:xfrm>
            <a:off x="2341436" y="2980259"/>
            <a:ext cx="6827730"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lang="nl-NL" b="1" dirty="0">
                <a:solidFill>
                  <a:prstClr val="white"/>
                </a:solidFill>
              </a:rPr>
              <a:t>Discussie: kunnen verschillen verminderd worden?</a:t>
            </a:r>
            <a:endPar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8" name="Text Placeholder 5">
            <a:hlinkClick r:id="rId10" action="ppaction://hlinksldjump"/>
            <a:extLst>
              <a:ext uri="{FF2B5EF4-FFF2-40B4-BE49-F238E27FC236}">
                <a16:creationId xmlns:a16="http://schemas.microsoft.com/office/drawing/2014/main" id="{1A8FCB47-B404-403A-8151-40D452BA1A80}"/>
              </a:ext>
            </a:extLst>
          </p:cNvPr>
          <p:cNvSpPr txBox="1">
            <a:spLocks/>
          </p:cNvSpPr>
          <p:nvPr/>
        </p:nvSpPr>
        <p:spPr>
          <a:xfrm>
            <a:off x="2341435" y="3705445"/>
            <a:ext cx="5587221" cy="526393"/>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n</a:t>
            </a:r>
          </a:p>
        </p:txBody>
      </p:sp>
      <p:sp>
        <p:nvSpPr>
          <p:cNvPr id="19" name="Text Placeholder 5">
            <a:hlinkClick r:id="rId11" action="ppaction://hlinksldjump"/>
            <a:extLst>
              <a:ext uri="{FF2B5EF4-FFF2-40B4-BE49-F238E27FC236}">
                <a16:creationId xmlns:a16="http://schemas.microsoft.com/office/drawing/2014/main" id="{03AF05AE-0A44-4D52-873A-EA7C0B8671B9}"/>
              </a:ext>
            </a:extLst>
          </p:cNvPr>
          <p:cNvSpPr txBox="1">
            <a:spLocks/>
          </p:cNvSpPr>
          <p:nvPr/>
        </p:nvSpPr>
        <p:spPr>
          <a:xfrm>
            <a:off x="2341436" y="225507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Resultaten benchmark</a:t>
            </a:r>
          </a:p>
        </p:txBody>
      </p:sp>
      <p:sp>
        <p:nvSpPr>
          <p:cNvPr id="20" name="Text Placeholder 5">
            <a:hlinkClick r:id="rId12" action="ppaction://hlinksldjump"/>
            <a:extLst>
              <a:ext uri="{FF2B5EF4-FFF2-40B4-BE49-F238E27FC236}">
                <a16:creationId xmlns:a16="http://schemas.microsoft.com/office/drawing/2014/main" id="{06F0F478-062C-4DB4-988C-9018C53111F7}"/>
              </a:ext>
            </a:extLst>
          </p:cNvPr>
          <p:cNvSpPr txBox="1">
            <a:spLocks/>
          </p:cNvSpPr>
          <p:nvPr/>
        </p:nvSpPr>
        <p:spPr>
          <a:xfrm>
            <a:off x="2682135" y="460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2: extra uitleg methodologie en achtergrond</a:t>
            </a:r>
          </a:p>
        </p:txBody>
      </p:sp>
      <p:sp>
        <p:nvSpPr>
          <p:cNvPr id="21" name="Text Placeholder 5">
            <a:hlinkClick r:id="rId10" action="ppaction://hlinksldjump"/>
            <a:extLst>
              <a:ext uri="{FF2B5EF4-FFF2-40B4-BE49-F238E27FC236}">
                <a16:creationId xmlns:a16="http://schemas.microsoft.com/office/drawing/2014/main" id="{40A2A0EF-138F-49B0-96F8-6B17BBA74293}"/>
              </a:ext>
            </a:extLst>
          </p:cNvPr>
          <p:cNvSpPr txBox="1">
            <a:spLocks/>
          </p:cNvSpPr>
          <p:nvPr/>
        </p:nvSpPr>
        <p:spPr>
          <a:xfrm>
            <a:off x="2682135" y="424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1: tekort per gemeente (groot-klein &amp; alfabetisch)</a:t>
            </a:r>
          </a:p>
        </p:txBody>
      </p:sp>
    </p:spTree>
    <p:extLst>
      <p:ext uri="{BB962C8B-B14F-4D97-AF65-F5344CB8AC3E}">
        <p14:creationId xmlns:p14="http://schemas.microsoft.com/office/powerpoint/2010/main" val="2299896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D80B1AB-9E77-4BD9-931E-6C64157BEB45}"/>
              </a:ext>
            </a:extLst>
          </p:cNvPr>
          <p:cNvGraphicFramePr>
            <a:graphicFrameLocks noChangeAspect="1"/>
          </p:cNvGraphicFramePr>
          <p:nvPr>
            <p:custDataLst>
              <p:tags r:id="rId1"/>
            </p:custDataLst>
            <p:extLst>
              <p:ext uri="{D42A27DB-BD31-4B8C-83A1-F6EECF244321}">
                <p14:modId xmlns:p14="http://schemas.microsoft.com/office/powerpoint/2010/main" val="424839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501" imgH="502" progId="TCLayout.ActiveDocument.1">
                  <p:embed/>
                </p:oleObj>
              </mc:Choice>
              <mc:Fallback>
                <p:oleObj name="think-cell Slide" r:id="rId87" imgW="501" imgH="502" progId="TCLayout.ActiveDocument.1">
                  <p:embed/>
                  <p:pic>
                    <p:nvPicPr>
                      <p:cNvPr id="0" name=""/>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84828620-31DA-41A2-9F5E-6896E785C22B}"/>
              </a:ext>
            </a:extLst>
          </p:cNvPr>
          <p:cNvSpPr>
            <a:spLocks noGrp="1"/>
          </p:cNvSpPr>
          <p:nvPr>
            <p:ph sz="quarter" idx="31"/>
          </p:nvPr>
        </p:nvSpPr>
        <p:spPr>
          <a:xfrm>
            <a:off x="662780" y="1936729"/>
            <a:ext cx="3287137" cy="4701775"/>
          </a:xfrm>
        </p:spPr>
        <p:txBody>
          <a:bodyPr>
            <a:noAutofit/>
          </a:bodyPr>
          <a:lstStyle/>
          <a:p>
            <a:pPr>
              <a:spcBef>
                <a:spcPts val="1200"/>
              </a:spcBef>
            </a:pPr>
            <a:r>
              <a:rPr lang="nl-NL" dirty="0"/>
              <a:t>Stel: het totale tekort op jeugdzorg wordt opgelost door het Rijk (bijv. door een combinatie van extra middelen en aanvullende maatregelen)</a:t>
            </a:r>
          </a:p>
          <a:p>
            <a:pPr>
              <a:spcBef>
                <a:spcPts val="1200"/>
              </a:spcBef>
            </a:pPr>
            <a:r>
              <a:rPr lang="nl-NL" dirty="0"/>
              <a:t>Zoals aangetoond in deze publicatie, verschilt het tekort enorm tussen gemeenten, terwijl de extra middelen </a:t>
            </a:r>
            <a:r>
              <a:rPr lang="nl-NL" i="1" dirty="0"/>
              <a:t>gelijkmatig</a:t>
            </a:r>
            <a:r>
              <a:rPr lang="nl-NL" i="1" baseline="30000" dirty="0"/>
              <a:t>1</a:t>
            </a:r>
            <a:r>
              <a:rPr lang="nl-NL" i="1" dirty="0"/>
              <a:t> </a:t>
            </a:r>
            <a:r>
              <a:rPr lang="nl-NL" dirty="0"/>
              <a:t>verdeeld zullen worden over alle gemeenten</a:t>
            </a:r>
          </a:p>
          <a:p>
            <a:pPr>
              <a:spcBef>
                <a:spcPts val="1200"/>
              </a:spcBef>
            </a:pPr>
            <a:r>
              <a:rPr lang="nl-NL" dirty="0"/>
              <a:t>Gemeenten met een groter tekort krijgen dus niet een groter gedeelte van het extra budget</a:t>
            </a:r>
          </a:p>
          <a:p>
            <a:pPr>
              <a:spcBef>
                <a:spcPts val="1200"/>
              </a:spcBef>
            </a:pPr>
            <a:r>
              <a:rPr lang="nl-NL" dirty="0"/>
              <a:t>Uit berekeningen blijkt dat ca. 60% van de gemeenten nog steeds een tekort zou overhouden, al zijn deze tekorten natuurlijk wel veel lager én houden ca. 40% van gemeenten dan geld over </a:t>
            </a:r>
          </a:p>
          <a:p>
            <a:pPr>
              <a:spcBef>
                <a:spcPts val="1200"/>
              </a:spcBef>
            </a:pPr>
            <a:endParaRPr lang="nl-NL" dirty="0"/>
          </a:p>
        </p:txBody>
      </p:sp>
      <p:sp>
        <p:nvSpPr>
          <p:cNvPr id="7" name="Footer Placeholder 6">
            <a:extLst>
              <a:ext uri="{FF2B5EF4-FFF2-40B4-BE49-F238E27FC236}">
                <a16:creationId xmlns:a16="http://schemas.microsoft.com/office/drawing/2014/main" id="{5BECFCAE-DEFB-4462-A278-B3D7E03D5EAB}"/>
              </a:ext>
            </a:extLst>
          </p:cNvPr>
          <p:cNvSpPr>
            <a:spLocks noGrp="1"/>
          </p:cNvSpPr>
          <p:nvPr>
            <p:ph type="ftr" sz="quarter" idx="3"/>
          </p:nvPr>
        </p:nvSpPr>
        <p:spPr/>
        <p:txBody>
          <a:bodyPr/>
          <a:lstStyle/>
          <a:p>
            <a:r>
              <a:rPr lang="nl-NL" dirty="0"/>
              <a:t>Bron: Iv3-data; AEF; it’s public analyse</a:t>
            </a:r>
          </a:p>
        </p:txBody>
      </p:sp>
      <p:sp>
        <p:nvSpPr>
          <p:cNvPr id="8" name="Slide Number Placeholder 7">
            <a:extLst>
              <a:ext uri="{FF2B5EF4-FFF2-40B4-BE49-F238E27FC236}">
                <a16:creationId xmlns:a16="http://schemas.microsoft.com/office/drawing/2014/main" id="{7E57B418-3505-41E5-99D6-A1FEF81ED55C}"/>
              </a:ext>
            </a:extLst>
          </p:cNvPr>
          <p:cNvSpPr>
            <a:spLocks noGrp="1"/>
          </p:cNvSpPr>
          <p:nvPr>
            <p:ph type="sldNum" sz="quarter" idx="12"/>
          </p:nvPr>
        </p:nvSpPr>
        <p:spPr/>
        <p:txBody>
          <a:bodyPr/>
          <a:lstStyle/>
          <a:p>
            <a:fld id="{992CD0B2-8AB2-4C6C-8876-E15753662C9B}" type="slidenum">
              <a:rPr lang="nl-NL" noProof="0" smtClean="0"/>
              <a:pPr/>
              <a:t>17</a:t>
            </a:fld>
            <a:endParaRPr lang="nl-NL" noProof="0" dirty="0"/>
          </a:p>
        </p:txBody>
      </p:sp>
      <p:sp>
        <p:nvSpPr>
          <p:cNvPr id="57" name="Text Placeholder 56">
            <a:extLst>
              <a:ext uri="{FF2B5EF4-FFF2-40B4-BE49-F238E27FC236}">
                <a16:creationId xmlns:a16="http://schemas.microsoft.com/office/drawing/2014/main" id="{A9D3473D-AC9B-4BA8-8F82-B1CC737492BB}"/>
              </a:ext>
            </a:extLst>
          </p:cNvPr>
          <p:cNvSpPr>
            <a:spLocks noGrp="1"/>
          </p:cNvSpPr>
          <p:nvPr>
            <p:ph type="body" sz="quarter" idx="14"/>
          </p:nvPr>
        </p:nvSpPr>
        <p:spPr/>
        <p:txBody>
          <a:bodyPr/>
          <a:lstStyle/>
          <a:p>
            <a:r>
              <a:rPr lang="nl-NL" dirty="0"/>
              <a:t>Hypothetisch tekort per gemeente als totale tekort wordt opgelost</a:t>
            </a:r>
          </a:p>
        </p:txBody>
      </p:sp>
      <p:sp>
        <p:nvSpPr>
          <p:cNvPr id="10" name="Title 9">
            <a:extLst>
              <a:ext uri="{FF2B5EF4-FFF2-40B4-BE49-F238E27FC236}">
                <a16:creationId xmlns:a16="http://schemas.microsoft.com/office/drawing/2014/main" id="{AF12105D-D059-45AC-9F56-A2F7C3CAF5EB}"/>
              </a:ext>
            </a:extLst>
          </p:cNvPr>
          <p:cNvSpPr>
            <a:spLocks noGrp="1"/>
          </p:cNvSpPr>
          <p:nvPr>
            <p:ph type="title"/>
          </p:nvPr>
        </p:nvSpPr>
        <p:spPr/>
        <p:txBody>
          <a:bodyPr vert="horz"/>
          <a:lstStyle/>
          <a:p>
            <a:r>
              <a:rPr lang="nl-NL" dirty="0"/>
              <a:t>Zelfs als het rijk het totale landelijke tekort ‘oplost’, behoudt meer dan de helft van de gemeenten nog steeds een tekort (!)</a:t>
            </a:r>
          </a:p>
        </p:txBody>
      </p:sp>
      <p:sp>
        <p:nvSpPr>
          <p:cNvPr id="5" name="Text Placeholder 4">
            <a:extLst>
              <a:ext uri="{FF2B5EF4-FFF2-40B4-BE49-F238E27FC236}">
                <a16:creationId xmlns:a16="http://schemas.microsoft.com/office/drawing/2014/main" id="{C34F8E1F-A766-498C-9460-AC0C61A4A4D0}"/>
              </a:ext>
            </a:extLst>
          </p:cNvPr>
          <p:cNvSpPr>
            <a:spLocks noGrp="1"/>
          </p:cNvSpPr>
          <p:nvPr>
            <p:ph type="body" sz="quarter" idx="20"/>
          </p:nvPr>
        </p:nvSpPr>
        <p:spPr/>
        <p:txBody>
          <a:bodyPr/>
          <a:lstStyle/>
          <a:p>
            <a:r>
              <a:rPr lang="nl-NL" dirty="0"/>
              <a:t>De verdeling van het fictieve extra budget gebeurt </a:t>
            </a:r>
            <a:r>
              <a:rPr lang="nl-NL" dirty="0" err="1"/>
              <a:t>obv</a:t>
            </a:r>
            <a:r>
              <a:rPr lang="nl-NL" dirty="0"/>
              <a:t> de daadwerkelijk uitgekeerde extra middelen van 400 </a:t>
            </a:r>
            <a:r>
              <a:rPr lang="nl-NL" dirty="0" err="1"/>
              <a:t>mln</a:t>
            </a:r>
            <a:r>
              <a:rPr lang="nl-NL" dirty="0"/>
              <a:t> in 2019.</a:t>
            </a:r>
          </a:p>
        </p:txBody>
      </p:sp>
      <p:sp>
        <p:nvSpPr>
          <p:cNvPr id="373" name="Rectangle 372">
            <a:extLst>
              <a:ext uri="{FF2B5EF4-FFF2-40B4-BE49-F238E27FC236}">
                <a16:creationId xmlns:a16="http://schemas.microsoft.com/office/drawing/2014/main" id="{13C447E4-4B69-446A-8C5F-69F74FAA16DE}"/>
              </a:ext>
            </a:extLst>
          </p:cNvPr>
          <p:cNvSpPr/>
          <p:nvPr>
            <p:custDataLst>
              <p:tags r:id="rId2"/>
            </p:custDataLst>
          </p:nvPr>
        </p:nvSpPr>
        <p:spPr bwMode="auto">
          <a:xfrm>
            <a:off x="10744200" y="2981325"/>
            <a:ext cx="457200" cy="4921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4" name="Rectangle 373">
            <a:extLst>
              <a:ext uri="{FF2B5EF4-FFF2-40B4-BE49-F238E27FC236}">
                <a16:creationId xmlns:a16="http://schemas.microsoft.com/office/drawing/2014/main" id="{5A868F20-CCD0-4CA3-B5DD-0BE06329010E}"/>
              </a:ext>
            </a:extLst>
          </p:cNvPr>
          <p:cNvSpPr/>
          <p:nvPr>
            <p:custDataLst>
              <p:tags r:id="rId3"/>
            </p:custDataLst>
          </p:nvPr>
        </p:nvSpPr>
        <p:spPr bwMode="auto">
          <a:xfrm>
            <a:off x="10285413" y="2944813"/>
            <a:ext cx="458788" cy="8572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5" name="Rectangle 374">
            <a:extLst>
              <a:ext uri="{FF2B5EF4-FFF2-40B4-BE49-F238E27FC236}">
                <a16:creationId xmlns:a16="http://schemas.microsoft.com/office/drawing/2014/main" id="{7E79CEA1-986E-4ED9-B28C-46EDFA7B5EB8}"/>
              </a:ext>
            </a:extLst>
          </p:cNvPr>
          <p:cNvSpPr/>
          <p:nvPr>
            <p:custDataLst>
              <p:tags r:id="rId4"/>
            </p:custDataLst>
          </p:nvPr>
        </p:nvSpPr>
        <p:spPr bwMode="auto">
          <a:xfrm>
            <a:off x="9828213" y="2981325"/>
            <a:ext cx="457200" cy="4921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6" name="Rectangle 375">
            <a:extLst>
              <a:ext uri="{FF2B5EF4-FFF2-40B4-BE49-F238E27FC236}">
                <a16:creationId xmlns:a16="http://schemas.microsoft.com/office/drawing/2014/main" id="{446A912C-1514-40EC-928F-724D2DAD2CA6}"/>
              </a:ext>
            </a:extLst>
          </p:cNvPr>
          <p:cNvSpPr/>
          <p:nvPr>
            <p:custDataLst>
              <p:tags r:id="rId5"/>
            </p:custDataLst>
          </p:nvPr>
        </p:nvSpPr>
        <p:spPr bwMode="auto">
          <a:xfrm>
            <a:off x="9371013" y="2822575"/>
            <a:ext cx="457200" cy="2079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7" name="Rectangle 376">
            <a:extLst>
              <a:ext uri="{FF2B5EF4-FFF2-40B4-BE49-F238E27FC236}">
                <a16:creationId xmlns:a16="http://schemas.microsoft.com/office/drawing/2014/main" id="{5117647F-06C4-4378-8E16-77E703D5BA83}"/>
              </a:ext>
            </a:extLst>
          </p:cNvPr>
          <p:cNvSpPr/>
          <p:nvPr>
            <p:custDataLst>
              <p:tags r:id="rId6"/>
            </p:custDataLst>
          </p:nvPr>
        </p:nvSpPr>
        <p:spPr bwMode="auto">
          <a:xfrm>
            <a:off x="8912225" y="2406650"/>
            <a:ext cx="458788" cy="62388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8" name="Rectangle 377">
            <a:extLst>
              <a:ext uri="{FF2B5EF4-FFF2-40B4-BE49-F238E27FC236}">
                <a16:creationId xmlns:a16="http://schemas.microsoft.com/office/drawing/2014/main" id="{8B24C27F-830E-4767-9B02-30DB38B07D5E}"/>
              </a:ext>
            </a:extLst>
          </p:cNvPr>
          <p:cNvSpPr/>
          <p:nvPr>
            <p:custDataLst>
              <p:tags r:id="rId7"/>
            </p:custDataLst>
          </p:nvPr>
        </p:nvSpPr>
        <p:spPr bwMode="auto">
          <a:xfrm>
            <a:off x="8455025" y="2393950"/>
            <a:ext cx="457200" cy="63658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9" name="Rectangle 378">
            <a:extLst>
              <a:ext uri="{FF2B5EF4-FFF2-40B4-BE49-F238E27FC236}">
                <a16:creationId xmlns:a16="http://schemas.microsoft.com/office/drawing/2014/main" id="{499F256D-4623-4BF3-9B7D-E15C20F8F048}"/>
              </a:ext>
            </a:extLst>
          </p:cNvPr>
          <p:cNvSpPr/>
          <p:nvPr>
            <p:custDataLst>
              <p:tags r:id="rId8"/>
            </p:custDataLst>
          </p:nvPr>
        </p:nvSpPr>
        <p:spPr bwMode="auto">
          <a:xfrm>
            <a:off x="7997825" y="2087563"/>
            <a:ext cx="457200" cy="94297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0" name="Rectangle 379">
            <a:extLst>
              <a:ext uri="{FF2B5EF4-FFF2-40B4-BE49-F238E27FC236}">
                <a16:creationId xmlns:a16="http://schemas.microsoft.com/office/drawing/2014/main" id="{6086A035-EF37-4E8E-81BC-BCAEE44D95CF}"/>
              </a:ext>
            </a:extLst>
          </p:cNvPr>
          <p:cNvSpPr/>
          <p:nvPr>
            <p:custDataLst>
              <p:tags r:id="rId9"/>
            </p:custDataLst>
          </p:nvPr>
        </p:nvSpPr>
        <p:spPr bwMode="auto">
          <a:xfrm>
            <a:off x="7539038" y="2185988"/>
            <a:ext cx="458788" cy="844550"/>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1" name="Rectangle 380">
            <a:extLst>
              <a:ext uri="{FF2B5EF4-FFF2-40B4-BE49-F238E27FC236}">
                <a16:creationId xmlns:a16="http://schemas.microsoft.com/office/drawing/2014/main" id="{18E24A6F-4C58-4BFF-83E1-6738100E6DF1}"/>
              </a:ext>
            </a:extLst>
          </p:cNvPr>
          <p:cNvSpPr/>
          <p:nvPr>
            <p:custDataLst>
              <p:tags r:id="rId10"/>
            </p:custDataLst>
          </p:nvPr>
        </p:nvSpPr>
        <p:spPr bwMode="auto">
          <a:xfrm>
            <a:off x="7081838" y="2492375"/>
            <a:ext cx="457200" cy="5381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2" name="Rectangle 381">
            <a:extLst>
              <a:ext uri="{FF2B5EF4-FFF2-40B4-BE49-F238E27FC236}">
                <a16:creationId xmlns:a16="http://schemas.microsoft.com/office/drawing/2014/main" id="{D7F93E42-4CD8-4747-9B25-851D50C07EB8}"/>
              </a:ext>
            </a:extLst>
          </p:cNvPr>
          <p:cNvSpPr/>
          <p:nvPr>
            <p:custDataLst>
              <p:tags r:id="rId11"/>
            </p:custDataLst>
          </p:nvPr>
        </p:nvSpPr>
        <p:spPr bwMode="auto">
          <a:xfrm>
            <a:off x="6623050" y="2835275"/>
            <a:ext cx="458788" cy="1952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3" name="Rectangle 382">
            <a:extLst>
              <a:ext uri="{FF2B5EF4-FFF2-40B4-BE49-F238E27FC236}">
                <a16:creationId xmlns:a16="http://schemas.microsoft.com/office/drawing/2014/main" id="{B6DC95EE-A444-4204-8248-30C75255E021}"/>
              </a:ext>
            </a:extLst>
          </p:cNvPr>
          <p:cNvSpPr/>
          <p:nvPr>
            <p:custDataLst>
              <p:tags r:id="rId12"/>
            </p:custDataLst>
          </p:nvPr>
        </p:nvSpPr>
        <p:spPr bwMode="auto">
          <a:xfrm>
            <a:off x="6165850" y="2944813"/>
            <a:ext cx="457200" cy="85725"/>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4" name="Rectangle 383">
            <a:extLst>
              <a:ext uri="{FF2B5EF4-FFF2-40B4-BE49-F238E27FC236}">
                <a16:creationId xmlns:a16="http://schemas.microsoft.com/office/drawing/2014/main" id="{0080C6AF-C79C-41D8-9D20-E29F096EDA19}"/>
              </a:ext>
            </a:extLst>
          </p:cNvPr>
          <p:cNvSpPr/>
          <p:nvPr>
            <p:custDataLst>
              <p:tags r:id="rId13"/>
            </p:custDataLst>
          </p:nvPr>
        </p:nvSpPr>
        <p:spPr bwMode="auto">
          <a:xfrm>
            <a:off x="5708650" y="2994025"/>
            <a:ext cx="457200" cy="36513"/>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E7479A97-5C8A-4EE6-B88C-EDD05DDBB22C}"/>
              </a:ext>
            </a:extLst>
          </p:cNvPr>
          <p:cNvSpPr/>
          <p:nvPr>
            <p:custDataLst>
              <p:tags r:id="rId14"/>
            </p:custDataLst>
          </p:nvPr>
        </p:nvSpPr>
        <p:spPr bwMode="auto">
          <a:xfrm>
            <a:off x="5249863" y="3017838"/>
            <a:ext cx="458788" cy="12700"/>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385" name="Straight Connector 384">
            <a:extLst>
              <a:ext uri="{FF2B5EF4-FFF2-40B4-BE49-F238E27FC236}">
                <a16:creationId xmlns:a16="http://schemas.microsoft.com/office/drawing/2014/main" id="{C22304A1-E537-42D9-BFA3-E0094B7045EB}"/>
              </a:ext>
            </a:extLst>
          </p:cNvPr>
          <p:cNvCxnSpPr/>
          <p:nvPr>
            <p:custDataLst>
              <p:tags r:id="rId15"/>
            </p:custDataLst>
          </p:nvPr>
        </p:nvCxnSpPr>
        <p:spPr bwMode="auto">
          <a:xfrm>
            <a:off x="4787900" y="3030538"/>
            <a:ext cx="641826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765" name="Content 1">
            <a:extLst>
              <a:ext uri="{FF2B5EF4-FFF2-40B4-BE49-F238E27FC236}">
                <a16:creationId xmlns:a16="http://schemas.microsoft.com/office/drawing/2014/main" id="{6BF7675A-11F8-4BE6-AEB8-9E1DDEF863D6}"/>
              </a:ext>
            </a:extLst>
          </p:cNvPr>
          <p:cNvSpPr>
            <a:spLocks noGrp="1"/>
          </p:cNvSpPr>
          <p:nvPr>
            <p:custDataLst>
              <p:tags r:id="rId16"/>
            </p:custDataLst>
          </p:nvPr>
        </p:nvSpPr>
        <p:spPr bwMode="gray">
          <a:xfrm>
            <a:off x="5878513" y="2803525"/>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78B86EA-71CB-4CD2-8EF6-360075E45759}" type="datetime'''''''''''''''''''''''''''''''3'''''''''''''''''''''''''''">
              <a:rPr lang="nl-NL" altLang="en-US" sz="1200" b="1" smtClean="0">
                <a:solidFill>
                  <a:schemeClr val="tx1"/>
                </a:solidFill>
              </a:rPr>
              <a:pPr/>
              <a:t>3</a:t>
            </a:fld>
            <a:endParaRPr lang="nl-NL" sz="1200" b="1" noProof="0" dirty="0">
              <a:solidFill>
                <a:schemeClr val="tx1"/>
              </a:solidFill>
              <a:latin typeface="+mn-lt"/>
            </a:endParaRPr>
          </a:p>
        </p:txBody>
      </p:sp>
      <p:sp>
        <p:nvSpPr>
          <p:cNvPr id="786" name="Content 1">
            <a:extLst>
              <a:ext uri="{FF2B5EF4-FFF2-40B4-BE49-F238E27FC236}">
                <a16:creationId xmlns:a16="http://schemas.microsoft.com/office/drawing/2014/main" id="{1EBC1F30-90A3-4EDF-A76B-2883FE1EBF2E}"/>
              </a:ext>
            </a:extLst>
          </p:cNvPr>
          <p:cNvSpPr>
            <a:spLocks noGrp="1"/>
          </p:cNvSpPr>
          <p:nvPr>
            <p:custDataLst>
              <p:tags r:id="rId17"/>
            </p:custDataLst>
          </p:nvPr>
        </p:nvSpPr>
        <p:spPr bwMode="gray">
          <a:xfrm>
            <a:off x="4960938" y="2840038"/>
            <a:ext cx="1222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C402519-08CD-479C-B03E-8648D693C3BD}" type="datetime'''''''''''''0'''''''''''''''''''''''''''">
              <a:rPr lang="nl-NL" altLang="en-US" sz="1200" b="1" smtClean="0">
                <a:solidFill>
                  <a:schemeClr val="tx1"/>
                </a:solidFill>
                <a:latin typeface="+mn-lt"/>
              </a:rPr>
              <a:pPr/>
              <a:t>0</a:t>
            </a:fld>
            <a:endParaRPr lang="nl-NL" sz="1200" b="1" noProof="0" dirty="0">
              <a:solidFill>
                <a:schemeClr val="tx1"/>
              </a:solidFill>
              <a:latin typeface="+mn-lt"/>
            </a:endParaRPr>
          </a:p>
        </p:txBody>
      </p:sp>
      <p:sp>
        <p:nvSpPr>
          <p:cNvPr id="806" name="Content 1">
            <a:extLst>
              <a:ext uri="{FF2B5EF4-FFF2-40B4-BE49-F238E27FC236}">
                <a16:creationId xmlns:a16="http://schemas.microsoft.com/office/drawing/2014/main" id="{CE92009A-C9C3-4CBF-8AE5-857BBB22D485}"/>
              </a:ext>
            </a:extLst>
          </p:cNvPr>
          <p:cNvSpPr>
            <a:spLocks noGrp="1"/>
          </p:cNvSpPr>
          <p:nvPr>
            <p:custDataLst>
              <p:tags r:id="rId18"/>
            </p:custDataLst>
          </p:nvPr>
        </p:nvSpPr>
        <p:spPr bwMode="auto">
          <a:xfrm>
            <a:off x="5280025" y="3073400"/>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6A8B3CE-F2F1-45EF-9720-A3AAFF5014D3}" type="datetime'''''3''0''''-''''''''''''2''''''0''''''''''''''%&#10;ov''''e''r'''">
              <a:rPr lang="nl-NL" altLang="en-US" sz="1000" smtClean="0">
                <a:solidFill>
                  <a:schemeClr val="tx1"/>
                </a:solidFill>
                <a:latin typeface="+mn-lt"/>
              </a:rPr>
              <a:pPr/>
              <a:t>30-20%
over</a:t>
            </a:fld>
            <a:endParaRPr lang="nl-NL" sz="1000" noProof="0" dirty="0">
              <a:solidFill>
                <a:schemeClr val="tx1"/>
              </a:solidFill>
              <a:latin typeface="+mn-lt"/>
            </a:endParaRPr>
          </a:p>
        </p:txBody>
      </p:sp>
      <p:sp>
        <p:nvSpPr>
          <p:cNvPr id="794"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6686549" y="3073400"/>
            <a:ext cx="3317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65FA349-0E65-4B2E-83FA-9D1791516D38}" type="datetime'''''''''0''-1''''''''0%''''''&#10;''''''t''ek''or''''''''''''''t'">
              <a:rPr lang="nl-NL" altLang="en-US" sz="1000" smtClean="0">
                <a:solidFill>
                  <a:schemeClr val="tx1"/>
                </a:solidFill>
                <a:latin typeface="+mn-lt"/>
              </a:rPr>
              <a:pPr/>
              <a:t>0-10%
tekort</a:t>
            </a:fld>
            <a:endParaRPr lang="nl-NL" sz="1000" noProof="0" dirty="0">
              <a:solidFill>
                <a:schemeClr val="tx1"/>
              </a:solidFill>
              <a:latin typeface="+mn-lt"/>
            </a:endParaRPr>
          </a:p>
        </p:txBody>
      </p:sp>
      <p:sp>
        <p:nvSpPr>
          <p:cNvPr id="795"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7112000" y="3073400"/>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6F956E0-4D25-48C4-A414-5F6AD64EE34F}" type="datetime'''''''''''''''1''''''''''0''''''''-2''0''%&#10;''''t''e''ko''r''t'">
              <a:rPr lang="nl-NL" altLang="en-US" sz="1000" smtClean="0">
                <a:solidFill>
                  <a:schemeClr val="tx1"/>
                </a:solidFill>
                <a:latin typeface="+mn-lt"/>
              </a:rPr>
              <a:pPr/>
              <a:t>10-20%
tekort</a:t>
            </a:fld>
            <a:endParaRPr lang="nl-NL" sz="1000" noProof="0" dirty="0">
              <a:solidFill>
                <a:schemeClr val="tx1"/>
              </a:solidFill>
              <a:latin typeface="+mn-lt"/>
            </a:endParaRPr>
          </a:p>
        </p:txBody>
      </p:sp>
      <p:sp>
        <p:nvSpPr>
          <p:cNvPr id="796"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auto">
          <a:xfrm>
            <a:off x="7569200" y="3073400"/>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5786DD3-CD03-4464-A445-DD5366BB396D}" type="datetime'''''''''''2''''0''''-30''%''''''''''&#10;t''e''''k''''ort'''''''''">
              <a:rPr lang="nl-NL" altLang="en-US" sz="1000" smtClean="0">
                <a:solidFill>
                  <a:schemeClr val="tx1"/>
                </a:solidFill>
                <a:latin typeface="+mn-lt"/>
              </a:rPr>
              <a:pPr/>
              <a:t>20-30%
tekort</a:t>
            </a:fld>
            <a:endParaRPr lang="nl-NL" sz="1000" noProof="0" dirty="0">
              <a:solidFill>
                <a:schemeClr val="tx1"/>
              </a:solidFill>
              <a:latin typeface="+mn-lt"/>
            </a:endParaRPr>
          </a:p>
        </p:txBody>
      </p:sp>
      <p:sp>
        <p:nvSpPr>
          <p:cNvPr id="797"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8027988" y="3073400"/>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2F79603-EC3C-4075-83C3-E2EB31C372C4}" type="datetime'30''''''''-40''%&#10;te''''''''''''''k''o''''''''''''rt'''''">
              <a:rPr lang="nl-NL" altLang="en-US" sz="1000" smtClean="0">
                <a:solidFill>
                  <a:schemeClr val="tx1"/>
                </a:solidFill>
                <a:latin typeface="+mn-lt"/>
              </a:rPr>
              <a:pPr/>
              <a:t>30-40%
tekort</a:t>
            </a:fld>
            <a:endParaRPr lang="nl-NL" sz="1000" noProof="0" dirty="0">
              <a:solidFill>
                <a:schemeClr val="tx1"/>
              </a:solidFill>
              <a:latin typeface="+mn-lt"/>
            </a:endParaRPr>
          </a:p>
        </p:txBody>
      </p:sp>
      <p:sp>
        <p:nvSpPr>
          <p:cNvPr id="788"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5738813" y="3073400"/>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B6A4FC-9669-4542-AB16-D1574DA1C811}" type="datetime'20''''''''-''''10%''''&#10;''''o''''''''''''v''''e''''r'''">
              <a:rPr lang="nl-NL" altLang="en-US" sz="1000" smtClean="0">
                <a:solidFill>
                  <a:schemeClr val="tx1"/>
                </a:solidFill>
                <a:latin typeface="+mn-lt"/>
              </a:rPr>
              <a:pPr/>
              <a:t>20-10%
over</a:t>
            </a:fld>
            <a:endParaRPr lang="nl-NL" sz="1000" noProof="0" dirty="0">
              <a:solidFill>
                <a:schemeClr val="tx1"/>
              </a:solidFill>
              <a:latin typeface="+mn-lt"/>
            </a:endParaRPr>
          </a:p>
        </p:txBody>
      </p:sp>
      <p:sp>
        <p:nvSpPr>
          <p:cNvPr id="802"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9859962" y="3073400"/>
            <a:ext cx="393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E1DA531-4EED-4623-89A0-96AE8CCF14F8}" type="datetime'7''0''''''-80''%''''&#10;''t''''ek''''''''or''t'''">
              <a:rPr lang="nl-NL" altLang="en-US" sz="1000" smtClean="0">
                <a:solidFill>
                  <a:schemeClr val="tx1"/>
                </a:solidFill>
                <a:latin typeface="+mn-lt"/>
              </a:rPr>
              <a:pPr/>
              <a:t>70-80%
tekort</a:t>
            </a:fld>
            <a:endParaRPr lang="nl-NL" sz="1000" noProof="0" dirty="0">
              <a:solidFill>
                <a:schemeClr val="tx1"/>
              </a:solidFill>
              <a:latin typeface="+mn-lt"/>
            </a:endParaRPr>
          </a:p>
        </p:txBody>
      </p:sp>
      <p:sp>
        <p:nvSpPr>
          <p:cNvPr id="798"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8483600" y="3073400"/>
            <a:ext cx="400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C670314-D750-41C9-BF9A-496570C58A11}" type="datetime'4''0-''''''''''''''50%''&#10;''t''''''e''''k''''''o''r''t'''''''''">
              <a:rPr lang="nl-NL" altLang="en-US" sz="1000" smtClean="0">
                <a:solidFill>
                  <a:schemeClr val="tx1"/>
                </a:solidFill>
                <a:latin typeface="+mn-lt"/>
              </a:rPr>
              <a:pPr/>
              <a:t>40-50%
tekort</a:t>
            </a:fld>
            <a:endParaRPr lang="nl-NL" sz="1000" noProof="0" dirty="0">
              <a:solidFill>
                <a:schemeClr val="tx1"/>
              </a:solidFill>
              <a:latin typeface="+mn-lt"/>
            </a:endParaRPr>
          </a:p>
        </p:txBody>
      </p:sp>
      <p:sp>
        <p:nvSpPr>
          <p:cNvPr id="801"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9402762" y="3073400"/>
            <a:ext cx="3952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380F4BD-10FE-4576-A479-55830A04CA7E}" type="datetime'60''''-''''''''7''0''''''%''''&#10;''t''''''''ek''o''''rt'">
              <a:rPr lang="nl-NL" altLang="en-US" sz="1000" smtClean="0">
                <a:solidFill>
                  <a:schemeClr val="tx1"/>
                </a:solidFill>
                <a:latin typeface="+mn-lt"/>
              </a:rPr>
              <a:pPr/>
              <a:t>60-70%
tekort</a:t>
            </a:fld>
            <a:endParaRPr lang="nl-NL" sz="1000" noProof="0" dirty="0">
              <a:solidFill>
                <a:schemeClr val="tx1"/>
              </a:solidFill>
              <a:latin typeface="+mn-lt"/>
            </a:endParaRPr>
          </a:p>
        </p:txBody>
      </p:sp>
      <p:sp>
        <p:nvSpPr>
          <p:cNvPr id="799"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8940800" y="3073400"/>
            <a:ext cx="4016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F001495-83D6-45F2-93C9-688748CC2455}" type="datetime'''''5''0''''''''''''-''60''''''''''''''%''''&#10;t''ek''or''''''t'">
              <a:rPr lang="nl-NL" altLang="en-US" sz="1000" smtClean="0">
                <a:solidFill>
                  <a:schemeClr val="tx1"/>
                </a:solidFill>
                <a:latin typeface="+mn-lt"/>
              </a:rPr>
              <a:pPr/>
              <a:t>50-60%
tekort</a:t>
            </a:fld>
            <a:endParaRPr lang="nl-NL" sz="1000" noProof="0" dirty="0">
              <a:solidFill>
                <a:schemeClr val="tx1"/>
              </a:solidFill>
              <a:latin typeface="+mn-lt"/>
            </a:endParaRPr>
          </a:p>
        </p:txBody>
      </p:sp>
      <p:sp>
        <p:nvSpPr>
          <p:cNvPr id="398" name="Content 1">
            <a:extLst>
              <a:ext uri="{FF2B5EF4-FFF2-40B4-BE49-F238E27FC236}">
                <a16:creationId xmlns:a16="http://schemas.microsoft.com/office/drawing/2014/main" id="{0856F98F-CA77-418C-B032-B225197147F2}"/>
              </a:ext>
            </a:extLst>
          </p:cNvPr>
          <p:cNvSpPr>
            <a:spLocks noGrp="1"/>
          </p:cNvSpPr>
          <p:nvPr>
            <p:custDataLst>
              <p:tags r:id="rId28"/>
            </p:custDataLst>
          </p:nvPr>
        </p:nvSpPr>
        <p:spPr bwMode="gray">
          <a:xfrm>
            <a:off x="9504363" y="2632075"/>
            <a:ext cx="19050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49F8DDC-2DD2-4166-BAB1-2D4DBA15AF22}" type="datetime'''''''''''''''''''''''''''''''''1''''''''''''''''''''''''''7'">
              <a:rPr lang="nl-NL" altLang="en-US" sz="1200" b="1" smtClean="0">
                <a:solidFill>
                  <a:schemeClr val="tx1"/>
                </a:solidFill>
              </a:rPr>
              <a:pPr/>
              <a:t>17</a:t>
            </a:fld>
            <a:endParaRPr lang="nl-NL" sz="1200" b="1" noProof="0" dirty="0">
              <a:solidFill>
                <a:schemeClr val="tx1"/>
              </a:solidFill>
              <a:latin typeface="+mn-lt"/>
            </a:endParaRPr>
          </a:p>
        </p:txBody>
      </p:sp>
      <p:sp>
        <p:nvSpPr>
          <p:cNvPr id="389" name="Content 1">
            <a:extLst>
              <a:ext uri="{FF2B5EF4-FFF2-40B4-BE49-F238E27FC236}">
                <a16:creationId xmlns:a16="http://schemas.microsoft.com/office/drawing/2014/main" id="{C3883C1C-1D4F-4AF9-9902-805B94FC34CE}"/>
              </a:ext>
            </a:extLst>
          </p:cNvPr>
          <p:cNvSpPr>
            <a:spLocks noGrp="1"/>
          </p:cNvSpPr>
          <p:nvPr>
            <p:custDataLst>
              <p:tags r:id="rId29"/>
            </p:custDataLst>
          </p:nvPr>
        </p:nvSpPr>
        <p:spPr bwMode="gray">
          <a:xfrm>
            <a:off x="6335713" y="2754313"/>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3FC5075-0698-4C1C-855F-5FC6239709FF}" type="datetime'''''''''''''''''''''7'''''''''''''''''''">
              <a:rPr lang="nl-NL" altLang="en-US" sz="1200" b="1" smtClean="0">
                <a:solidFill>
                  <a:schemeClr val="tx1"/>
                </a:solidFill>
              </a:rPr>
              <a:pPr/>
              <a:t>7</a:t>
            </a:fld>
            <a:endParaRPr lang="nl-NL" sz="1200" b="1" noProof="0" dirty="0">
              <a:solidFill>
                <a:schemeClr val="tx1"/>
              </a:solidFill>
              <a:latin typeface="+mn-lt"/>
            </a:endParaRPr>
          </a:p>
        </p:txBody>
      </p:sp>
      <p:sp>
        <p:nvSpPr>
          <p:cNvPr id="805" name="Content 1">
            <a:extLst>
              <a:ext uri="{FF2B5EF4-FFF2-40B4-BE49-F238E27FC236}">
                <a16:creationId xmlns:a16="http://schemas.microsoft.com/office/drawing/2014/main" id="{5D6D1DF6-2317-4752-A2BB-826A3CABE026}"/>
              </a:ext>
            </a:extLst>
          </p:cNvPr>
          <p:cNvSpPr>
            <a:spLocks noGrp="1"/>
          </p:cNvSpPr>
          <p:nvPr>
            <p:custDataLst>
              <p:tags r:id="rId30"/>
            </p:custDataLst>
          </p:nvPr>
        </p:nvSpPr>
        <p:spPr bwMode="auto">
          <a:xfrm>
            <a:off x="4876800" y="3073400"/>
            <a:ext cx="2889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0DCBF89-87FE-4AA5-AD60-F24A6A43D4BE}" type="datetime'''&gt;''''3''''''0''%&#10;''''''''''''''''''''ov''''er'''''''''">
              <a:rPr lang="nl-NL" altLang="en-US" sz="1000" smtClean="0">
                <a:solidFill>
                  <a:schemeClr val="tx1"/>
                </a:solidFill>
                <a:latin typeface="+mn-lt"/>
              </a:rPr>
              <a:pPr/>
              <a:t>&gt;30%
over</a:t>
            </a:fld>
            <a:endParaRPr lang="nl-NL" sz="1000" noProof="0" dirty="0">
              <a:solidFill>
                <a:schemeClr val="tx1"/>
              </a:solidFill>
              <a:latin typeface="+mn-lt"/>
            </a:endParaRPr>
          </a:p>
        </p:txBody>
      </p:sp>
      <p:sp>
        <p:nvSpPr>
          <p:cNvPr id="803"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auto">
          <a:xfrm>
            <a:off x="10310812" y="3073400"/>
            <a:ext cx="4064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114BD6-2BA1-496C-A6AB-A305C848AD75}" type="datetime'8''''''''0-''''''''9''''0''''%''''''''''''&#10;''''''''''t''ekort'">
              <a:rPr lang="nl-NL" altLang="en-US" sz="1000" smtClean="0">
                <a:solidFill>
                  <a:schemeClr val="tx1"/>
                </a:solidFill>
                <a:latin typeface="+mn-lt"/>
              </a:rPr>
              <a:pPr/>
              <a:t>80-90%
tekort</a:t>
            </a:fld>
            <a:endParaRPr lang="nl-NL" sz="1000" noProof="0" dirty="0">
              <a:solidFill>
                <a:schemeClr val="tx1"/>
              </a:solidFill>
              <a:latin typeface="+mn-lt"/>
            </a:endParaRPr>
          </a:p>
        </p:txBody>
      </p:sp>
      <p:sp>
        <p:nvSpPr>
          <p:cNvPr id="792"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auto">
          <a:xfrm>
            <a:off x="6229349" y="3073400"/>
            <a:ext cx="3317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86907A-1871-4A90-9BF5-C50A55B50238}" type="datetime'''1''0''''-''''0''''''''''%&#10;o''''''ve''''r'">
              <a:rPr lang="nl-NL" altLang="en-US" sz="1000" smtClean="0">
                <a:solidFill>
                  <a:schemeClr val="tx1"/>
                </a:solidFill>
                <a:latin typeface="+mn-lt"/>
              </a:rPr>
              <a:pPr/>
              <a:t>10-0%
over</a:t>
            </a:fld>
            <a:endParaRPr lang="nl-NL" sz="1000" noProof="0" dirty="0">
              <a:solidFill>
                <a:schemeClr val="tx1"/>
              </a:solidFill>
              <a:latin typeface="+mn-lt"/>
            </a:endParaRPr>
          </a:p>
        </p:txBody>
      </p:sp>
      <p:sp>
        <p:nvSpPr>
          <p:cNvPr id="804"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auto">
          <a:xfrm>
            <a:off x="10810874" y="3073400"/>
            <a:ext cx="3254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728A449-331B-43C6-84B0-D0C5EE311CEB}" type="datetime'''''''''''''''''''&gt;''''90''%''''''&#10;''''''''''''t''e''k''''ort'">
              <a:rPr lang="nl-NL" altLang="en-US" sz="1000" smtClean="0">
                <a:solidFill>
                  <a:schemeClr val="tx1"/>
                </a:solidFill>
                <a:latin typeface="+mn-lt"/>
              </a:rPr>
              <a:pPr/>
              <a:t>&gt;90%
tekort</a:t>
            </a:fld>
            <a:endParaRPr lang="nl-NL" sz="1000" noProof="0" dirty="0">
              <a:solidFill>
                <a:schemeClr val="tx1"/>
              </a:solidFill>
              <a:latin typeface="+mn-lt"/>
            </a:endParaRPr>
          </a:p>
        </p:txBody>
      </p:sp>
      <p:sp>
        <p:nvSpPr>
          <p:cNvPr id="787" name="Content 1">
            <a:extLst>
              <a:ext uri="{FF2B5EF4-FFF2-40B4-BE49-F238E27FC236}">
                <a16:creationId xmlns:a16="http://schemas.microsoft.com/office/drawing/2014/main" id="{E309E133-FEB5-4BF5-9C30-C25F431E92E8}"/>
              </a:ext>
            </a:extLst>
          </p:cNvPr>
          <p:cNvSpPr>
            <a:spLocks noGrp="1"/>
          </p:cNvSpPr>
          <p:nvPr>
            <p:custDataLst>
              <p:tags r:id="rId34"/>
            </p:custDataLst>
          </p:nvPr>
        </p:nvSpPr>
        <p:spPr bwMode="gray">
          <a:xfrm>
            <a:off x="5419725" y="2827338"/>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D0C1840-F734-4BAF-B274-DD630C7EBEFB}" type="datetime'''''''1'''''''''''''''''''''''''''''''">
              <a:rPr lang="nl-NL" altLang="en-US" sz="1200" b="1" smtClean="0">
                <a:solidFill>
                  <a:schemeClr val="tx1"/>
                </a:solidFill>
              </a:rPr>
              <a:pPr/>
              <a:t>1</a:t>
            </a:fld>
            <a:endParaRPr lang="nl-NL" sz="1200" b="1" noProof="0" dirty="0">
              <a:solidFill>
                <a:schemeClr val="tx1"/>
              </a:solidFill>
              <a:latin typeface="+mn-lt"/>
            </a:endParaRPr>
          </a:p>
        </p:txBody>
      </p:sp>
      <p:sp>
        <p:nvSpPr>
          <p:cNvPr id="390" name="Content 1">
            <a:extLst>
              <a:ext uri="{FF2B5EF4-FFF2-40B4-BE49-F238E27FC236}">
                <a16:creationId xmlns:a16="http://schemas.microsoft.com/office/drawing/2014/main" id="{56F10AE4-4101-4248-AAC4-E289BBAB0D97}"/>
              </a:ext>
            </a:extLst>
          </p:cNvPr>
          <p:cNvSpPr>
            <a:spLocks noGrp="1"/>
          </p:cNvSpPr>
          <p:nvPr>
            <p:custDataLst>
              <p:tags r:id="rId35"/>
            </p:custDataLst>
          </p:nvPr>
        </p:nvSpPr>
        <p:spPr bwMode="gray">
          <a:xfrm>
            <a:off x="6750050" y="2644775"/>
            <a:ext cx="20320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C6F5CEB-81A4-4D06-8656-C796AFF6886D}" type="datetime'''''''''''''''''''1''''''''''''''''6'''''''''''''">
              <a:rPr lang="nl-NL" altLang="en-US" sz="1200" b="1" smtClean="0">
                <a:solidFill>
                  <a:schemeClr val="tx1"/>
                </a:solidFill>
              </a:rPr>
              <a:pPr/>
              <a:t>16</a:t>
            </a:fld>
            <a:endParaRPr lang="nl-NL" sz="1200" b="1" noProof="0" dirty="0">
              <a:solidFill>
                <a:schemeClr val="tx1"/>
              </a:solidFill>
              <a:latin typeface="+mn-lt"/>
            </a:endParaRPr>
          </a:p>
        </p:txBody>
      </p:sp>
      <p:sp>
        <p:nvSpPr>
          <p:cNvPr id="391" name="Content 1">
            <a:extLst>
              <a:ext uri="{FF2B5EF4-FFF2-40B4-BE49-F238E27FC236}">
                <a16:creationId xmlns:a16="http://schemas.microsoft.com/office/drawing/2014/main" id="{8440147B-DD06-4F31-A188-90587831BE6E}"/>
              </a:ext>
            </a:extLst>
          </p:cNvPr>
          <p:cNvSpPr>
            <a:spLocks noGrp="1"/>
          </p:cNvSpPr>
          <p:nvPr>
            <p:custDataLst>
              <p:tags r:id="rId36"/>
            </p:custDataLst>
          </p:nvPr>
        </p:nvSpPr>
        <p:spPr bwMode="gray">
          <a:xfrm>
            <a:off x="7207250" y="2301875"/>
            <a:ext cx="20637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4BDC41A-A335-4753-B96D-F26A1DC27D22}" type="datetime'''''''''4''''''''''''''''''''''''''4'''''''''''''''''''''">
              <a:rPr lang="nl-NL" altLang="en-US" sz="1200" b="1" smtClean="0">
                <a:solidFill>
                  <a:schemeClr val="tx1"/>
                </a:solidFill>
              </a:rPr>
              <a:pPr/>
              <a:t>44</a:t>
            </a:fld>
            <a:endParaRPr lang="nl-NL" sz="1200" b="1" noProof="0" dirty="0">
              <a:solidFill>
                <a:schemeClr val="tx1"/>
              </a:solidFill>
              <a:latin typeface="+mn-lt"/>
            </a:endParaRPr>
          </a:p>
        </p:txBody>
      </p:sp>
      <p:sp>
        <p:nvSpPr>
          <p:cNvPr id="394" name="Content 1">
            <a:extLst>
              <a:ext uri="{FF2B5EF4-FFF2-40B4-BE49-F238E27FC236}">
                <a16:creationId xmlns:a16="http://schemas.microsoft.com/office/drawing/2014/main" id="{9B4C83F4-28A8-4EBF-B667-A590964A9C7A}"/>
              </a:ext>
            </a:extLst>
          </p:cNvPr>
          <p:cNvSpPr>
            <a:spLocks noGrp="1"/>
          </p:cNvSpPr>
          <p:nvPr>
            <p:custDataLst>
              <p:tags r:id="rId37"/>
            </p:custDataLst>
          </p:nvPr>
        </p:nvSpPr>
        <p:spPr bwMode="gray">
          <a:xfrm>
            <a:off x="7661275" y="1995488"/>
            <a:ext cx="21272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D453ED2-A992-4BE7-BBF9-5C5D8CE2788C}" type="datetime'''''''6''''''''''''''''9'''''''''''''">
              <a:rPr lang="nl-NL" altLang="en-US" sz="1200" b="1" smtClean="0">
                <a:solidFill>
                  <a:schemeClr val="tx1"/>
                </a:solidFill>
              </a:rPr>
              <a:pPr/>
              <a:t>69</a:t>
            </a:fld>
            <a:endParaRPr lang="nl-NL" sz="1200" b="1" noProof="0" dirty="0">
              <a:solidFill>
                <a:schemeClr val="tx1"/>
              </a:solidFill>
              <a:latin typeface="+mn-lt"/>
            </a:endParaRPr>
          </a:p>
        </p:txBody>
      </p:sp>
      <p:sp>
        <p:nvSpPr>
          <p:cNvPr id="388" name="Content 1">
            <a:extLst>
              <a:ext uri="{FF2B5EF4-FFF2-40B4-BE49-F238E27FC236}">
                <a16:creationId xmlns:a16="http://schemas.microsoft.com/office/drawing/2014/main" id="{736446A3-1C49-4ECA-BD2A-B608338343B1}"/>
              </a:ext>
            </a:extLst>
          </p:cNvPr>
          <p:cNvSpPr>
            <a:spLocks noGrp="1"/>
          </p:cNvSpPr>
          <p:nvPr>
            <p:custDataLst>
              <p:tags r:id="rId38"/>
            </p:custDataLst>
          </p:nvPr>
        </p:nvSpPr>
        <p:spPr bwMode="gray">
          <a:xfrm>
            <a:off x="9043988" y="2216150"/>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49B83B-B8DB-467E-B9B3-DB78D1435BA3}" type="datetime'''5''''''''''''''''''''''1'''''''''''''''''''''''''">
              <a:rPr lang="nl-NL" altLang="en-US" sz="1200" b="1" smtClean="0">
                <a:solidFill>
                  <a:schemeClr val="tx1"/>
                </a:solidFill>
              </a:rPr>
              <a:pPr/>
              <a:t>51</a:t>
            </a:fld>
            <a:endParaRPr lang="nl-NL" sz="1200" b="1" noProof="0" dirty="0">
              <a:solidFill>
                <a:schemeClr val="tx1"/>
              </a:solidFill>
              <a:latin typeface="+mn-lt"/>
            </a:endParaRPr>
          </a:p>
        </p:txBody>
      </p:sp>
      <p:sp>
        <p:nvSpPr>
          <p:cNvPr id="396" name="Content 1">
            <a:extLst>
              <a:ext uri="{FF2B5EF4-FFF2-40B4-BE49-F238E27FC236}">
                <a16:creationId xmlns:a16="http://schemas.microsoft.com/office/drawing/2014/main" id="{566B353D-CDB2-460D-8202-C738CB6E67F8}"/>
              </a:ext>
            </a:extLst>
          </p:cNvPr>
          <p:cNvSpPr>
            <a:spLocks noGrp="1"/>
          </p:cNvSpPr>
          <p:nvPr>
            <p:custDataLst>
              <p:tags r:id="rId39"/>
            </p:custDataLst>
          </p:nvPr>
        </p:nvSpPr>
        <p:spPr bwMode="gray">
          <a:xfrm>
            <a:off x="8129588" y="1897063"/>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D58780-7F7A-41CF-B964-5C725ACD83D3}" type="datetime'''''''''''''''''''''''''''''''''''''''''''7''7'''''''''">
              <a:rPr lang="nl-NL" altLang="en-US" sz="1200" b="1" smtClean="0">
                <a:solidFill>
                  <a:schemeClr val="tx1"/>
                </a:solidFill>
              </a:rPr>
              <a:pPr/>
              <a:t>77</a:t>
            </a:fld>
            <a:endParaRPr lang="nl-NL" sz="1200" b="1" noProof="0" dirty="0">
              <a:solidFill>
                <a:schemeClr val="tx1"/>
              </a:solidFill>
              <a:latin typeface="+mn-lt"/>
            </a:endParaRPr>
          </a:p>
        </p:txBody>
      </p:sp>
      <p:sp>
        <p:nvSpPr>
          <p:cNvPr id="387" name="Content 1">
            <a:extLst>
              <a:ext uri="{FF2B5EF4-FFF2-40B4-BE49-F238E27FC236}">
                <a16:creationId xmlns:a16="http://schemas.microsoft.com/office/drawing/2014/main" id="{A06BE3B1-D95B-4452-89CD-5E79FAFCD627}"/>
              </a:ext>
            </a:extLst>
          </p:cNvPr>
          <p:cNvSpPr>
            <a:spLocks noGrp="1"/>
          </p:cNvSpPr>
          <p:nvPr>
            <p:custDataLst>
              <p:tags r:id="rId40"/>
            </p:custDataLst>
          </p:nvPr>
        </p:nvSpPr>
        <p:spPr bwMode="gray">
          <a:xfrm>
            <a:off x="8586788" y="2203450"/>
            <a:ext cx="1952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FA6E7F1-0CB9-422D-BEED-A4B8000F15A7}" type="datetime'''''''''''''''''''''''''5''''''''''''2'''''''''''''''">
              <a:rPr lang="nl-NL" altLang="en-US" sz="1200" b="1" smtClean="0">
                <a:solidFill>
                  <a:schemeClr val="tx1"/>
                </a:solidFill>
              </a:rPr>
              <a:pPr/>
              <a:t>52</a:t>
            </a:fld>
            <a:endParaRPr lang="nl-NL" sz="1200" b="1" noProof="0" dirty="0">
              <a:solidFill>
                <a:schemeClr val="tx1"/>
              </a:solidFill>
              <a:latin typeface="+mn-lt"/>
            </a:endParaRPr>
          </a:p>
        </p:txBody>
      </p:sp>
      <p:sp>
        <p:nvSpPr>
          <p:cNvPr id="393" name="Content 1">
            <a:extLst>
              <a:ext uri="{FF2B5EF4-FFF2-40B4-BE49-F238E27FC236}">
                <a16:creationId xmlns:a16="http://schemas.microsoft.com/office/drawing/2014/main" id="{EDF03ABC-1BA8-4741-9406-1DA0ECA1FE3B}"/>
              </a:ext>
            </a:extLst>
          </p:cNvPr>
          <p:cNvSpPr>
            <a:spLocks noGrp="1"/>
          </p:cNvSpPr>
          <p:nvPr>
            <p:custDataLst>
              <p:tags r:id="rId41"/>
            </p:custDataLst>
          </p:nvPr>
        </p:nvSpPr>
        <p:spPr bwMode="gray">
          <a:xfrm>
            <a:off x="9994900" y="2790825"/>
            <a:ext cx="1254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C944E2B-0191-45A0-9CCF-249241F4BB1F}" type="datetime'''''''''''''''''''''''''''''''''''''4'''''''''''''''''''''''">
              <a:rPr lang="nl-NL" altLang="en-US" sz="1200" b="1" smtClean="0">
                <a:solidFill>
                  <a:schemeClr val="tx1"/>
                </a:solidFill>
              </a:rPr>
              <a:pPr/>
              <a:t>4</a:t>
            </a:fld>
            <a:endParaRPr lang="nl-NL" sz="1200" b="1" noProof="0" dirty="0">
              <a:solidFill>
                <a:schemeClr val="tx1"/>
              </a:solidFill>
              <a:latin typeface="+mn-lt"/>
            </a:endParaRPr>
          </a:p>
        </p:txBody>
      </p:sp>
      <p:sp>
        <p:nvSpPr>
          <p:cNvPr id="395" name="Content 1">
            <a:extLst>
              <a:ext uri="{FF2B5EF4-FFF2-40B4-BE49-F238E27FC236}">
                <a16:creationId xmlns:a16="http://schemas.microsoft.com/office/drawing/2014/main" id="{247E4034-AB84-428B-B8B0-2BC87269A999}"/>
              </a:ext>
            </a:extLst>
          </p:cNvPr>
          <p:cNvSpPr>
            <a:spLocks noGrp="1"/>
          </p:cNvSpPr>
          <p:nvPr>
            <p:custDataLst>
              <p:tags r:id="rId42"/>
            </p:custDataLst>
          </p:nvPr>
        </p:nvSpPr>
        <p:spPr bwMode="gray">
          <a:xfrm>
            <a:off x="10455275" y="2754313"/>
            <a:ext cx="1190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67E4B31-BAE3-42DD-A661-0DBE3D61B691}" type="datetime'''''''''''''''''''''''''''''''''''''7'''''">
              <a:rPr lang="nl-NL" altLang="en-US" sz="1200" b="1" smtClean="0">
                <a:solidFill>
                  <a:schemeClr val="tx1"/>
                </a:solidFill>
              </a:rPr>
              <a:pPr/>
              <a:t>7</a:t>
            </a:fld>
            <a:endParaRPr lang="nl-NL" sz="1200" b="1" noProof="0" dirty="0">
              <a:solidFill>
                <a:schemeClr val="tx1"/>
              </a:solidFill>
              <a:latin typeface="+mn-lt"/>
            </a:endParaRPr>
          </a:p>
        </p:txBody>
      </p:sp>
      <p:sp>
        <p:nvSpPr>
          <p:cNvPr id="397" name="Content 1">
            <a:extLst>
              <a:ext uri="{FF2B5EF4-FFF2-40B4-BE49-F238E27FC236}">
                <a16:creationId xmlns:a16="http://schemas.microsoft.com/office/drawing/2014/main" id="{A4564FE9-0CF4-45FA-8DA2-4391C84D294A}"/>
              </a:ext>
            </a:extLst>
          </p:cNvPr>
          <p:cNvSpPr>
            <a:spLocks noGrp="1"/>
          </p:cNvSpPr>
          <p:nvPr>
            <p:custDataLst>
              <p:tags r:id="rId43"/>
            </p:custDataLst>
          </p:nvPr>
        </p:nvSpPr>
        <p:spPr bwMode="gray">
          <a:xfrm>
            <a:off x="10910888" y="2790825"/>
            <a:ext cx="1254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A364CC4-F094-42EB-9401-EF19299051AD}" type="datetime'4'''''''''''''''''''''''''''''''">
              <a:rPr lang="nl-NL" altLang="en-US" sz="1200" b="1" smtClean="0">
                <a:solidFill>
                  <a:schemeClr val="tx1"/>
                </a:solidFill>
              </a:rPr>
              <a:pPr/>
              <a:t>4</a:t>
            </a:fld>
            <a:endParaRPr lang="nl-NL" sz="1200" b="1" noProof="0" dirty="0">
              <a:solidFill>
                <a:schemeClr val="tx1"/>
              </a:solidFill>
              <a:latin typeface="+mn-lt"/>
            </a:endParaRPr>
          </a:p>
        </p:txBody>
      </p:sp>
      <p:sp>
        <p:nvSpPr>
          <p:cNvPr id="23" name="Rectangle 22" hidden="1">
            <a:extLst>
              <a:ext uri="{FF2B5EF4-FFF2-40B4-BE49-F238E27FC236}">
                <a16:creationId xmlns:a16="http://schemas.microsoft.com/office/drawing/2014/main" id="{A549B4CB-B625-49BF-80C8-2955E8A77EF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800" name="Content Placeholder 2">
            <a:extLst>
              <a:ext uri="{FF2B5EF4-FFF2-40B4-BE49-F238E27FC236}">
                <a16:creationId xmlns:a16="http://schemas.microsoft.com/office/drawing/2014/main" id="{0D3F2A61-2233-4B50-9666-4ECBE0EA4298}"/>
              </a:ext>
            </a:extLst>
          </p:cNvPr>
          <p:cNvSpPr txBox="1">
            <a:spLocks/>
          </p:cNvSpPr>
          <p:nvPr/>
        </p:nvSpPr>
        <p:spPr>
          <a:xfrm>
            <a:off x="4377483" y="1606951"/>
            <a:ext cx="3672000" cy="31710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Situatie 2019</a:t>
            </a:r>
          </a:p>
        </p:txBody>
      </p:sp>
      <p:sp>
        <p:nvSpPr>
          <p:cNvPr id="893" name="Content Placeholder 2">
            <a:extLst>
              <a:ext uri="{FF2B5EF4-FFF2-40B4-BE49-F238E27FC236}">
                <a16:creationId xmlns:a16="http://schemas.microsoft.com/office/drawing/2014/main" id="{FFBDC46A-D0E5-4348-8EC5-36CCD6B30CA1}"/>
              </a:ext>
            </a:extLst>
          </p:cNvPr>
          <p:cNvSpPr txBox="1">
            <a:spLocks/>
          </p:cNvSpPr>
          <p:nvPr/>
        </p:nvSpPr>
        <p:spPr>
          <a:xfrm>
            <a:off x="4377483" y="3989988"/>
            <a:ext cx="3672000" cy="31710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Scenario: wat als Rijk totale tekort ‘oplost’? </a:t>
            </a:r>
          </a:p>
        </p:txBody>
      </p:sp>
      <p:sp>
        <p:nvSpPr>
          <p:cNvPr id="53" name="Right Brace 52">
            <a:extLst>
              <a:ext uri="{FF2B5EF4-FFF2-40B4-BE49-F238E27FC236}">
                <a16:creationId xmlns:a16="http://schemas.microsoft.com/office/drawing/2014/main" id="{D4968467-0C76-489E-9D07-2B98B50A6CA0}"/>
              </a:ext>
            </a:extLst>
          </p:cNvPr>
          <p:cNvSpPr/>
          <p:nvPr/>
        </p:nvSpPr>
        <p:spPr>
          <a:xfrm rot="5400000">
            <a:off x="8804237" y="1201981"/>
            <a:ext cx="221560" cy="4572764"/>
          </a:xfrm>
          <a:prstGeom prst="rightBrace">
            <a:avLst>
              <a:gd name="adj1" fmla="val 42726"/>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4" name="TextBox 53">
            <a:extLst>
              <a:ext uri="{FF2B5EF4-FFF2-40B4-BE49-F238E27FC236}">
                <a16:creationId xmlns:a16="http://schemas.microsoft.com/office/drawing/2014/main" id="{FF22B0ED-380C-413B-A5B1-EBAB44488872}"/>
              </a:ext>
            </a:extLst>
          </p:cNvPr>
          <p:cNvSpPr txBox="1"/>
          <p:nvPr/>
        </p:nvSpPr>
        <p:spPr>
          <a:xfrm>
            <a:off x="8105775" y="3663949"/>
            <a:ext cx="1633259" cy="239713"/>
          </a:xfrm>
          <a:prstGeom prst="rect">
            <a:avLst/>
          </a:prstGeom>
        </p:spPr>
        <p:txBody>
          <a:bodyPr vert="horz" wrap="none" lIns="91440" tIns="45720" rIns="91440" bIns="45720" rtlCol="0">
            <a:noAutofit/>
          </a:bodyPr>
          <a:lstStyle/>
          <a:p>
            <a:pPr marL="0" indent="0" algn="ctr">
              <a:buNone/>
            </a:pPr>
            <a:r>
              <a:rPr lang="nl-NL" sz="1000" dirty="0"/>
              <a:t>97</a:t>
            </a:r>
            <a:r>
              <a:rPr lang="nl-NL" sz="1000" noProof="0" dirty="0"/>
              <a:t>% gemeenten tekort</a:t>
            </a:r>
          </a:p>
        </p:txBody>
      </p:sp>
      <p:sp>
        <p:nvSpPr>
          <p:cNvPr id="2" name="Rectangle 1" hidden="1">
            <a:extLst>
              <a:ext uri="{FF2B5EF4-FFF2-40B4-BE49-F238E27FC236}">
                <a16:creationId xmlns:a16="http://schemas.microsoft.com/office/drawing/2014/main" id="{3E4F48C7-1B77-4EE5-A6AA-8CC5E22A4A2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459" name="Right Brace 458">
            <a:extLst>
              <a:ext uri="{FF2B5EF4-FFF2-40B4-BE49-F238E27FC236}">
                <a16:creationId xmlns:a16="http://schemas.microsoft.com/office/drawing/2014/main" id="{83B64D24-898B-45DF-AB96-79B342686ED8}"/>
              </a:ext>
            </a:extLst>
          </p:cNvPr>
          <p:cNvSpPr/>
          <p:nvPr/>
        </p:nvSpPr>
        <p:spPr>
          <a:xfrm rot="5400000">
            <a:off x="5588345" y="2573025"/>
            <a:ext cx="221560" cy="1822450"/>
          </a:xfrm>
          <a:prstGeom prst="rightBrace">
            <a:avLst>
              <a:gd name="adj1" fmla="val 42726"/>
              <a:gd name="adj2" fmla="val 50000"/>
            </a:avLst>
          </a:prstGeom>
          <a:ln>
            <a:solidFill>
              <a:srgbClr val="8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460" name="TextBox 459">
            <a:extLst>
              <a:ext uri="{FF2B5EF4-FFF2-40B4-BE49-F238E27FC236}">
                <a16:creationId xmlns:a16="http://schemas.microsoft.com/office/drawing/2014/main" id="{7FBB9B62-5755-4235-969C-0E24A53EFD9F}"/>
              </a:ext>
            </a:extLst>
          </p:cNvPr>
          <p:cNvSpPr txBox="1"/>
          <p:nvPr/>
        </p:nvSpPr>
        <p:spPr>
          <a:xfrm>
            <a:off x="4884470" y="3619399"/>
            <a:ext cx="1633259" cy="239713"/>
          </a:xfrm>
          <a:prstGeom prst="rect">
            <a:avLst/>
          </a:prstGeom>
        </p:spPr>
        <p:txBody>
          <a:bodyPr vert="horz" wrap="none" lIns="91440" tIns="45720" rIns="91440" bIns="45720" rtlCol="0">
            <a:noAutofit/>
          </a:bodyPr>
          <a:lstStyle/>
          <a:p>
            <a:pPr marL="0" indent="0" algn="ctr">
              <a:buNone/>
            </a:pPr>
            <a:r>
              <a:rPr lang="nl-NL" sz="1000" dirty="0"/>
              <a:t>3</a:t>
            </a:r>
            <a:r>
              <a:rPr lang="nl-NL" sz="1000" noProof="0" dirty="0"/>
              <a:t>% gemeenten overschot</a:t>
            </a:r>
          </a:p>
        </p:txBody>
      </p:sp>
      <p:sp>
        <p:nvSpPr>
          <p:cNvPr id="513" name="Rectangle 512">
            <a:extLst>
              <a:ext uri="{FF2B5EF4-FFF2-40B4-BE49-F238E27FC236}">
                <a16:creationId xmlns:a16="http://schemas.microsoft.com/office/drawing/2014/main" id="{22E525BC-3DAA-4353-919E-C1D8B7F3A32C}"/>
              </a:ext>
            </a:extLst>
          </p:cNvPr>
          <p:cNvSpPr/>
          <p:nvPr>
            <p:custDataLst>
              <p:tags r:id="rId44"/>
            </p:custDataLst>
          </p:nvPr>
        </p:nvSpPr>
        <p:spPr bwMode="auto">
          <a:xfrm>
            <a:off x="10744200" y="5467350"/>
            <a:ext cx="457200" cy="1111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5" name="Rectangle 514">
            <a:extLst>
              <a:ext uri="{FF2B5EF4-FFF2-40B4-BE49-F238E27FC236}">
                <a16:creationId xmlns:a16="http://schemas.microsoft.com/office/drawing/2014/main" id="{003BB53A-34F5-4A3E-8451-FC9F48E2123D}"/>
              </a:ext>
            </a:extLst>
          </p:cNvPr>
          <p:cNvSpPr/>
          <p:nvPr>
            <p:custDataLst>
              <p:tags r:id="rId45"/>
            </p:custDataLst>
          </p:nvPr>
        </p:nvSpPr>
        <p:spPr bwMode="auto">
          <a:xfrm>
            <a:off x="9828213" y="5467350"/>
            <a:ext cx="457200" cy="1111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6" name="Rectangle 515">
            <a:extLst>
              <a:ext uri="{FF2B5EF4-FFF2-40B4-BE49-F238E27FC236}">
                <a16:creationId xmlns:a16="http://schemas.microsoft.com/office/drawing/2014/main" id="{30BEA4D4-71CD-46F1-A951-192DFF6905C4}"/>
              </a:ext>
            </a:extLst>
          </p:cNvPr>
          <p:cNvSpPr/>
          <p:nvPr>
            <p:custDataLst>
              <p:tags r:id="rId46"/>
            </p:custDataLst>
          </p:nvPr>
        </p:nvSpPr>
        <p:spPr bwMode="auto">
          <a:xfrm>
            <a:off x="9371013" y="5467350"/>
            <a:ext cx="457200" cy="1111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7" name="Rectangle 516">
            <a:extLst>
              <a:ext uri="{FF2B5EF4-FFF2-40B4-BE49-F238E27FC236}">
                <a16:creationId xmlns:a16="http://schemas.microsoft.com/office/drawing/2014/main" id="{D2157125-DAB3-4BDC-AF9C-8157C2D87040}"/>
              </a:ext>
            </a:extLst>
          </p:cNvPr>
          <p:cNvSpPr/>
          <p:nvPr>
            <p:custDataLst>
              <p:tags r:id="rId47"/>
            </p:custDataLst>
          </p:nvPr>
        </p:nvSpPr>
        <p:spPr bwMode="auto">
          <a:xfrm>
            <a:off x="8912225" y="5457825"/>
            <a:ext cx="458788" cy="2063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8" name="Rectangle 517">
            <a:extLst>
              <a:ext uri="{FF2B5EF4-FFF2-40B4-BE49-F238E27FC236}">
                <a16:creationId xmlns:a16="http://schemas.microsoft.com/office/drawing/2014/main" id="{471B8769-08E2-4CDF-BFC8-F4407843DC6D}"/>
              </a:ext>
            </a:extLst>
          </p:cNvPr>
          <p:cNvSpPr/>
          <p:nvPr>
            <p:custDataLst>
              <p:tags r:id="rId48"/>
            </p:custDataLst>
          </p:nvPr>
        </p:nvSpPr>
        <p:spPr bwMode="auto">
          <a:xfrm>
            <a:off x="8455025" y="5437189"/>
            <a:ext cx="457200" cy="4127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9" name="Rectangle 518">
            <a:extLst>
              <a:ext uri="{FF2B5EF4-FFF2-40B4-BE49-F238E27FC236}">
                <a16:creationId xmlns:a16="http://schemas.microsoft.com/office/drawing/2014/main" id="{31E338F4-3C4F-41B9-B4BE-6C7C5A60884D}"/>
              </a:ext>
            </a:extLst>
          </p:cNvPr>
          <p:cNvSpPr/>
          <p:nvPr>
            <p:custDataLst>
              <p:tags r:id="rId49"/>
            </p:custDataLst>
          </p:nvPr>
        </p:nvSpPr>
        <p:spPr bwMode="auto">
          <a:xfrm>
            <a:off x="7997825" y="5384800"/>
            <a:ext cx="457200" cy="936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0" name="Rectangle 519">
            <a:extLst>
              <a:ext uri="{FF2B5EF4-FFF2-40B4-BE49-F238E27FC236}">
                <a16:creationId xmlns:a16="http://schemas.microsoft.com/office/drawing/2014/main" id="{D2D01669-287E-49FB-8F11-D0AC9A093817}"/>
              </a:ext>
            </a:extLst>
          </p:cNvPr>
          <p:cNvSpPr/>
          <p:nvPr>
            <p:custDataLst>
              <p:tags r:id="rId50"/>
            </p:custDataLst>
          </p:nvPr>
        </p:nvSpPr>
        <p:spPr bwMode="auto">
          <a:xfrm>
            <a:off x="7539038" y="5164139"/>
            <a:ext cx="458788" cy="31432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1" name="Rectangle 520">
            <a:extLst>
              <a:ext uri="{FF2B5EF4-FFF2-40B4-BE49-F238E27FC236}">
                <a16:creationId xmlns:a16="http://schemas.microsoft.com/office/drawing/2014/main" id="{B54723EF-9FB4-4ABD-B95D-40DFF9415254}"/>
              </a:ext>
            </a:extLst>
          </p:cNvPr>
          <p:cNvSpPr/>
          <p:nvPr>
            <p:custDataLst>
              <p:tags r:id="rId51"/>
            </p:custDataLst>
          </p:nvPr>
        </p:nvSpPr>
        <p:spPr bwMode="auto">
          <a:xfrm>
            <a:off x="7081838" y="4745038"/>
            <a:ext cx="457200" cy="73342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2" name="Rectangle 521">
            <a:extLst>
              <a:ext uri="{FF2B5EF4-FFF2-40B4-BE49-F238E27FC236}">
                <a16:creationId xmlns:a16="http://schemas.microsoft.com/office/drawing/2014/main" id="{5D830E17-F52D-446A-9913-D504DD2B7E57}"/>
              </a:ext>
            </a:extLst>
          </p:cNvPr>
          <p:cNvSpPr/>
          <p:nvPr>
            <p:custDataLst>
              <p:tags r:id="rId52"/>
            </p:custDataLst>
          </p:nvPr>
        </p:nvSpPr>
        <p:spPr bwMode="auto">
          <a:xfrm>
            <a:off x="6623050" y="4535488"/>
            <a:ext cx="458788" cy="94297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3" name="Rectangle 522">
            <a:extLst>
              <a:ext uri="{FF2B5EF4-FFF2-40B4-BE49-F238E27FC236}">
                <a16:creationId xmlns:a16="http://schemas.microsoft.com/office/drawing/2014/main" id="{61F3A6B3-70D5-41E3-AF1F-D96AA16EF39E}"/>
              </a:ext>
            </a:extLst>
          </p:cNvPr>
          <p:cNvSpPr/>
          <p:nvPr>
            <p:custDataLst>
              <p:tags r:id="rId53"/>
            </p:custDataLst>
          </p:nvPr>
        </p:nvSpPr>
        <p:spPr bwMode="auto">
          <a:xfrm>
            <a:off x="6165850" y="4619624"/>
            <a:ext cx="457200" cy="858838"/>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4" name="Rectangle 523">
            <a:extLst>
              <a:ext uri="{FF2B5EF4-FFF2-40B4-BE49-F238E27FC236}">
                <a16:creationId xmlns:a16="http://schemas.microsoft.com/office/drawing/2014/main" id="{BE62B761-5A0D-4772-989B-4FE662D1062A}"/>
              </a:ext>
            </a:extLst>
          </p:cNvPr>
          <p:cNvSpPr/>
          <p:nvPr>
            <p:custDataLst>
              <p:tags r:id="rId54"/>
            </p:custDataLst>
          </p:nvPr>
        </p:nvSpPr>
        <p:spPr bwMode="auto">
          <a:xfrm>
            <a:off x="5708650" y="4986338"/>
            <a:ext cx="457200" cy="492125"/>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25" name="Rectangle 524">
            <a:extLst>
              <a:ext uri="{FF2B5EF4-FFF2-40B4-BE49-F238E27FC236}">
                <a16:creationId xmlns:a16="http://schemas.microsoft.com/office/drawing/2014/main" id="{56B1EDB3-E0F3-4733-97BD-DFC28ABEB4B7}"/>
              </a:ext>
            </a:extLst>
          </p:cNvPr>
          <p:cNvSpPr/>
          <p:nvPr>
            <p:custDataLst>
              <p:tags r:id="rId55"/>
            </p:custDataLst>
          </p:nvPr>
        </p:nvSpPr>
        <p:spPr bwMode="auto">
          <a:xfrm>
            <a:off x="5249863" y="5353050"/>
            <a:ext cx="458788" cy="125413"/>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0FE3BC60-DA21-42A3-95FB-FE8453B66F2E}"/>
              </a:ext>
            </a:extLst>
          </p:cNvPr>
          <p:cNvSpPr/>
          <p:nvPr>
            <p:custDataLst>
              <p:tags r:id="rId56"/>
            </p:custDataLst>
          </p:nvPr>
        </p:nvSpPr>
        <p:spPr bwMode="auto">
          <a:xfrm>
            <a:off x="4792663" y="5446713"/>
            <a:ext cx="457200" cy="31750"/>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526" name="Straight Connector 525">
            <a:extLst>
              <a:ext uri="{FF2B5EF4-FFF2-40B4-BE49-F238E27FC236}">
                <a16:creationId xmlns:a16="http://schemas.microsoft.com/office/drawing/2014/main" id="{CEEED758-3A28-4F71-9B43-9C985B00DCB9}"/>
              </a:ext>
            </a:extLst>
          </p:cNvPr>
          <p:cNvCxnSpPr/>
          <p:nvPr>
            <p:custDataLst>
              <p:tags r:id="rId57"/>
            </p:custDataLst>
          </p:nvPr>
        </p:nvCxnSpPr>
        <p:spPr bwMode="auto">
          <a:xfrm>
            <a:off x="4787900" y="5478463"/>
            <a:ext cx="641826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34" name="Content 1">
            <a:extLst>
              <a:ext uri="{FF2B5EF4-FFF2-40B4-BE49-F238E27FC236}">
                <a16:creationId xmlns:a16="http://schemas.microsoft.com/office/drawing/2014/main" id="{73DE5B11-FA25-44CD-8BE5-CEC2B524924C}"/>
              </a:ext>
            </a:extLst>
          </p:cNvPr>
          <p:cNvSpPr>
            <a:spLocks noGrp="1"/>
          </p:cNvSpPr>
          <p:nvPr>
            <p:custDataLst>
              <p:tags r:id="rId58"/>
            </p:custDataLst>
          </p:nvPr>
        </p:nvSpPr>
        <p:spPr bwMode="auto">
          <a:xfrm>
            <a:off x="5280025" y="552132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FFEBD3-A0D4-40EB-85C3-D72C4C5B5A11}" type="datetime'''''''3''0-''''''''2''''''''0%''''&#10;''''ov''''''''''er'''''''">
              <a:rPr lang="nl-NL" altLang="en-US" sz="1000" smtClean="0">
                <a:solidFill>
                  <a:schemeClr val="tx1"/>
                </a:solidFill>
              </a:rPr>
              <a:pPr/>
              <a:t>30-20%
over</a:t>
            </a:fld>
            <a:endParaRPr lang="nl-NL" sz="1000" noProof="0" dirty="0">
              <a:solidFill>
                <a:schemeClr val="tx1"/>
              </a:solidFill>
              <a:latin typeface="+mn-lt"/>
            </a:endParaRPr>
          </a:p>
        </p:txBody>
      </p:sp>
      <p:sp>
        <p:nvSpPr>
          <p:cNvPr id="551" name="Content 1">
            <a:extLst>
              <a:ext uri="{FF2B5EF4-FFF2-40B4-BE49-F238E27FC236}">
                <a16:creationId xmlns:a16="http://schemas.microsoft.com/office/drawing/2014/main" id="{1F824A91-E024-40FF-9516-B71CA5B8362C}"/>
              </a:ext>
            </a:extLst>
          </p:cNvPr>
          <p:cNvSpPr>
            <a:spLocks noGrp="1"/>
          </p:cNvSpPr>
          <p:nvPr>
            <p:custDataLst>
              <p:tags r:id="rId59"/>
            </p:custDataLst>
          </p:nvPr>
        </p:nvSpPr>
        <p:spPr bwMode="gray">
          <a:xfrm>
            <a:off x="9540876" y="5276850"/>
            <a:ext cx="11906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4D25ACB-F865-4B85-8D27-B2DA66473861}" type="datetime'''''''''''''''''''''''''''''''''''1'''''''''">
              <a:rPr lang="nl-NL" altLang="en-US" sz="1200" b="1" smtClean="0">
                <a:solidFill>
                  <a:schemeClr val="tx1"/>
                </a:solidFill>
              </a:rPr>
              <a:pPr/>
              <a:t>1</a:t>
            </a:fld>
            <a:endParaRPr lang="nl-NL" sz="1200" b="1" noProof="0" dirty="0">
              <a:solidFill>
                <a:schemeClr val="tx1"/>
              </a:solidFill>
              <a:latin typeface="+mn-lt"/>
            </a:endParaRPr>
          </a:p>
        </p:txBody>
      </p:sp>
      <p:sp>
        <p:nvSpPr>
          <p:cNvPr id="527" name="Content 1">
            <a:extLst>
              <a:ext uri="{FF2B5EF4-FFF2-40B4-BE49-F238E27FC236}">
                <a16:creationId xmlns:a16="http://schemas.microsoft.com/office/drawing/2014/main" id="{7826CF74-C0EC-4493-99B1-614DB865B0D5}"/>
              </a:ext>
            </a:extLst>
          </p:cNvPr>
          <p:cNvSpPr>
            <a:spLocks noGrp="1"/>
          </p:cNvSpPr>
          <p:nvPr>
            <p:custDataLst>
              <p:tags r:id="rId60"/>
            </p:custDataLst>
          </p:nvPr>
        </p:nvSpPr>
        <p:spPr bwMode="auto">
          <a:xfrm>
            <a:off x="5738813" y="552132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0AD4F4C-174F-451E-AA65-7D1A4E38CFCF}" type="datetime'''''''''''''''20''''-10''%&#10;''''ove''''''''''''r'''''">
              <a:rPr lang="nl-NL" altLang="en-US" sz="1000" smtClean="0">
                <a:solidFill>
                  <a:schemeClr val="tx1"/>
                </a:solidFill>
              </a:rPr>
              <a:pPr/>
              <a:t>20-10%
over</a:t>
            </a:fld>
            <a:endParaRPr lang="nl-NL" sz="1000" noProof="0" dirty="0">
              <a:solidFill>
                <a:schemeClr val="tx1"/>
              </a:solidFill>
              <a:latin typeface="+mn-lt"/>
            </a:endParaRPr>
          </a:p>
        </p:txBody>
      </p:sp>
      <p:sp>
        <p:nvSpPr>
          <p:cNvPr id="529" name="Content 1">
            <a:extLst>
              <a:ext uri="{FF2B5EF4-FFF2-40B4-BE49-F238E27FC236}">
                <a16:creationId xmlns:a16="http://schemas.microsoft.com/office/drawing/2014/main" id="{113BB595-856F-4D51-A607-D2D649ECA827}"/>
              </a:ext>
            </a:extLst>
          </p:cNvPr>
          <p:cNvSpPr>
            <a:spLocks noGrp="1"/>
          </p:cNvSpPr>
          <p:nvPr>
            <p:custDataLst>
              <p:tags r:id="rId61"/>
            </p:custDataLst>
          </p:nvPr>
        </p:nvSpPr>
        <p:spPr bwMode="auto">
          <a:xfrm>
            <a:off x="6686550" y="5521325"/>
            <a:ext cx="3317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0D79B06-0CE2-433E-8BD7-8EF1379CB861}" type="datetime'''0-''''''''''''''''''1''''0''%''&#10;''t''e''k''''''''ort'''''">
              <a:rPr lang="nl-NL" altLang="en-US" sz="1000" smtClean="0">
                <a:solidFill>
                  <a:schemeClr val="tx1"/>
                </a:solidFill>
              </a:rPr>
              <a:pPr/>
              <a:t>0-10%
tekort</a:t>
            </a:fld>
            <a:endParaRPr lang="nl-NL" sz="1000" noProof="0" dirty="0">
              <a:solidFill>
                <a:schemeClr val="tx1"/>
              </a:solidFill>
              <a:latin typeface="+mn-lt"/>
            </a:endParaRPr>
          </a:p>
        </p:txBody>
      </p:sp>
      <p:sp>
        <p:nvSpPr>
          <p:cNvPr id="530" name="Content 1">
            <a:extLst>
              <a:ext uri="{FF2B5EF4-FFF2-40B4-BE49-F238E27FC236}">
                <a16:creationId xmlns:a16="http://schemas.microsoft.com/office/drawing/2014/main" id="{73F4AA4D-1A5C-45D7-AEE0-EAB16E9180B6}"/>
              </a:ext>
            </a:extLst>
          </p:cNvPr>
          <p:cNvSpPr>
            <a:spLocks noGrp="1"/>
          </p:cNvSpPr>
          <p:nvPr>
            <p:custDataLst>
              <p:tags r:id="rId62"/>
            </p:custDataLst>
          </p:nvPr>
        </p:nvSpPr>
        <p:spPr bwMode="auto">
          <a:xfrm>
            <a:off x="7112000" y="552132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59FC96-6E16-444B-8FC1-81E7B21C02C4}" type="datetime'1''0''''''''-''''''2''''0%''&#10;t''''''''eko''r''t'''''''''">
              <a:rPr lang="nl-NL" altLang="en-US" sz="1000" smtClean="0">
                <a:solidFill>
                  <a:schemeClr val="tx1"/>
                </a:solidFill>
              </a:rPr>
              <a:pPr/>
              <a:t>10-20%
tekort</a:t>
            </a:fld>
            <a:endParaRPr lang="nl-NL" sz="1000" noProof="0" dirty="0">
              <a:solidFill>
                <a:schemeClr val="tx1"/>
              </a:solidFill>
              <a:latin typeface="+mn-lt"/>
            </a:endParaRPr>
          </a:p>
        </p:txBody>
      </p:sp>
      <p:sp>
        <p:nvSpPr>
          <p:cNvPr id="533" name="Content 1">
            <a:extLst>
              <a:ext uri="{FF2B5EF4-FFF2-40B4-BE49-F238E27FC236}">
                <a16:creationId xmlns:a16="http://schemas.microsoft.com/office/drawing/2014/main" id="{A4B0E0D2-E1C8-44D0-88BC-1EF540093A09}"/>
              </a:ext>
            </a:extLst>
          </p:cNvPr>
          <p:cNvSpPr>
            <a:spLocks noGrp="1"/>
          </p:cNvSpPr>
          <p:nvPr>
            <p:custDataLst>
              <p:tags r:id="rId63"/>
            </p:custDataLst>
          </p:nvPr>
        </p:nvSpPr>
        <p:spPr bwMode="auto">
          <a:xfrm>
            <a:off x="8027988" y="552132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4483E39-6526-4B58-B875-772E2A20E882}" type="datetime'''''''''30''-4''''''0%''''''''''''''&#10;''t''eko''''''''''rt'">
              <a:rPr lang="nl-NL" altLang="en-US" sz="1000" smtClean="0">
                <a:solidFill>
                  <a:schemeClr val="tx1"/>
                </a:solidFill>
              </a:rPr>
              <a:pPr/>
              <a:t>30-40%
tekort</a:t>
            </a:fld>
            <a:endParaRPr lang="nl-NL" sz="1000" noProof="0" dirty="0">
              <a:solidFill>
                <a:schemeClr val="tx1"/>
              </a:solidFill>
              <a:latin typeface="+mn-lt"/>
            </a:endParaRPr>
          </a:p>
        </p:txBody>
      </p:sp>
      <p:sp>
        <p:nvSpPr>
          <p:cNvPr id="553" name="Content 1">
            <a:extLst>
              <a:ext uri="{FF2B5EF4-FFF2-40B4-BE49-F238E27FC236}">
                <a16:creationId xmlns:a16="http://schemas.microsoft.com/office/drawing/2014/main" id="{4D6FA6B5-D83A-464F-BF69-8353D35CE64D}"/>
              </a:ext>
            </a:extLst>
          </p:cNvPr>
          <p:cNvSpPr>
            <a:spLocks noGrp="1"/>
          </p:cNvSpPr>
          <p:nvPr>
            <p:custDataLst>
              <p:tags r:id="rId64"/>
            </p:custDataLst>
          </p:nvPr>
        </p:nvSpPr>
        <p:spPr bwMode="gray">
          <a:xfrm>
            <a:off x="10453687" y="5287963"/>
            <a:ext cx="122238"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339E279-4331-4630-B2BD-697AA9203DB0}" type="datetime'''''''''''''''''0'''''''''''''''''''''''''''''''''''''''">
              <a:rPr lang="nl-NL" altLang="en-US" sz="1200" b="1" smtClean="0">
                <a:solidFill>
                  <a:schemeClr val="tx1"/>
                </a:solidFill>
              </a:rPr>
              <a:pPr/>
              <a:t>0</a:t>
            </a:fld>
            <a:endParaRPr lang="nl-NL" sz="1200" b="1" noProof="0" dirty="0">
              <a:solidFill>
                <a:schemeClr val="tx1"/>
              </a:solidFill>
              <a:latin typeface="+mn-lt"/>
            </a:endParaRPr>
          </a:p>
        </p:txBody>
      </p:sp>
      <p:sp>
        <p:nvSpPr>
          <p:cNvPr id="531" name="Content 1">
            <a:extLst>
              <a:ext uri="{FF2B5EF4-FFF2-40B4-BE49-F238E27FC236}">
                <a16:creationId xmlns:a16="http://schemas.microsoft.com/office/drawing/2014/main" id="{0EC13208-78C5-4E22-9137-622B1D7D47A8}"/>
              </a:ext>
            </a:extLst>
          </p:cNvPr>
          <p:cNvSpPr>
            <a:spLocks noGrp="1"/>
          </p:cNvSpPr>
          <p:nvPr>
            <p:custDataLst>
              <p:tags r:id="rId65"/>
            </p:custDataLst>
          </p:nvPr>
        </p:nvSpPr>
        <p:spPr bwMode="auto">
          <a:xfrm>
            <a:off x="7569200" y="552132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0A6ED9F-FB32-44C2-AF12-403FE89E0B9D}" type="datetime'''''''''20''''''-''''30%&#10;''''''''''''''t''''''ek''ort'''''''">
              <a:rPr lang="nl-NL" altLang="en-US" sz="1000" smtClean="0">
                <a:solidFill>
                  <a:schemeClr val="tx1"/>
                </a:solidFill>
              </a:rPr>
              <a:pPr/>
              <a:t>20-30%
tekort</a:t>
            </a:fld>
            <a:endParaRPr lang="nl-NL" sz="1000" noProof="0" dirty="0">
              <a:solidFill>
                <a:schemeClr val="tx1"/>
              </a:solidFill>
              <a:latin typeface="+mn-lt"/>
            </a:endParaRPr>
          </a:p>
        </p:txBody>
      </p:sp>
      <p:sp>
        <p:nvSpPr>
          <p:cNvPr id="538" name="Content 1">
            <a:extLst>
              <a:ext uri="{FF2B5EF4-FFF2-40B4-BE49-F238E27FC236}">
                <a16:creationId xmlns:a16="http://schemas.microsoft.com/office/drawing/2014/main" id="{02F280A2-99C7-4202-92E4-99ADD94236D2}"/>
              </a:ext>
            </a:extLst>
          </p:cNvPr>
          <p:cNvSpPr>
            <a:spLocks noGrp="1"/>
          </p:cNvSpPr>
          <p:nvPr>
            <p:custDataLst>
              <p:tags r:id="rId66"/>
            </p:custDataLst>
          </p:nvPr>
        </p:nvSpPr>
        <p:spPr bwMode="gray">
          <a:xfrm>
            <a:off x="6748463" y="4344988"/>
            <a:ext cx="20637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F18728B-E4FE-4373-8C4F-F1F05B9670E4}" type="datetime'''''''''''''''''''''''9''''''''''''''0'''''''">
              <a:rPr lang="nl-NL" altLang="en-US" sz="1200" b="1" smtClean="0">
                <a:solidFill>
                  <a:schemeClr val="tx1"/>
                </a:solidFill>
              </a:rPr>
              <a:pPr/>
              <a:t>90</a:t>
            </a:fld>
            <a:endParaRPr lang="nl-NL" sz="1200" b="1" noProof="0" dirty="0">
              <a:solidFill>
                <a:schemeClr val="tx1"/>
              </a:solidFill>
              <a:latin typeface="+mn-lt"/>
            </a:endParaRPr>
          </a:p>
        </p:txBody>
      </p:sp>
      <p:sp>
        <p:nvSpPr>
          <p:cNvPr id="528" name="Content 1">
            <a:extLst>
              <a:ext uri="{FF2B5EF4-FFF2-40B4-BE49-F238E27FC236}">
                <a16:creationId xmlns:a16="http://schemas.microsoft.com/office/drawing/2014/main" id="{9F8743D5-26A2-47DC-90C4-729384FF7E09}"/>
              </a:ext>
            </a:extLst>
          </p:cNvPr>
          <p:cNvSpPr>
            <a:spLocks noGrp="1"/>
          </p:cNvSpPr>
          <p:nvPr>
            <p:custDataLst>
              <p:tags r:id="rId67"/>
            </p:custDataLst>
          </p:nvPr>
        </p:nvSpPr>
        <p:spPr bwMode="auto">
          <a:xfrm>
            <a:off x="6229350" y="5521325"/>
            <a:ext cx="3317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2A5ABE-6ACE-43B8-AC18-0D7F9EADFE64}" type="datetime'1''''0''-''0%''''&#10;''''''''''ov''''''''''''''''e''''''''r'''''">
              <a:rPr lang="nl-NL" altLang="en-US" sz="1000" smtClean="0">
                <a:solidFill>
                  <a:schemeClr val="tx1"/>
                </a:solidFill>
              </a:rPr>
              <a:pPr/>
              <a:t>10-0%
over</a:t>
            </a:fld>
            <a:endParaRPr lang="nl-NL" sz="1000" noProof="0" dirty="0">
              <a:solidFill>
                <a:schemeClr val="tx1"/>
              </a:solidFill>
              <a:latin typeface="+mn-lt"/>
            </a:endParaRPr>
          </a:p>
        </p:txBody>
      </p:sp>
      <p:sp>
        <p:nvSpPr>
          <p:cNvPr id="550" name="Content 1">
            <a:extLst>
              <a:ext uri="{FF2B5EF4-FFF2-40B4-BE49-F238E27FC236}">
                <a16:creationId xmlns:a16="http://schemas.microsoft.com/office/drawing/2014/main" id="{1C076BB8-F49D-4ED2-A9CD-E79BC572023F}"/>
              </a:ext>
            </a:extLst>
          </p:cNvPr>
          <p:cNvSpPr>
            <a:spLocks noGrp="1"/>
          </p:cNvSpPr>
          <p:nvPr>
            <p:custDataLst>
              <p:tags r:id="rId68"/>
            </p:custDataLst>
          </p:nvPr>
        </p:nvSpPr>
        <p:spPr bwMode="gray">
          <a:xfrm>
            <a:off x="9080500" y="5267325"/>
            <a:ext cx="1206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118F9A9-2167-4EEA-BCD4-5E0F9C28CCB5}" type="datetime'''''''''''''''''''''2'''''''''''''''''''''''''''''''''''''''">
              <a:rPr lang="nl-NL" altLang="en-US" sz="1200" b="1" smtClean="0">
                <a:solidFill>
                  <a:schemeClr val="tx1"/>
                </a:solidFill>
              </a:rPr>
              <a:pPr/>
              <a:t>2</a:t>
            </a:fld>
            <a:endParaRPr lang="nl-NL" sz="1200" b="1" noProof="0" dirty="0">
              <a:solidFill>
                <a:schemeClr val="tx1"/>
              </a:solidFill>
              <a:latin typeface="+mn-lt"/>
            </a:endParaRPr>
          </a:p>
        </p:txBody>
      </p:sp>
      <p:sp>
        <p:nvSpPr>
          <p:cNvPr id="537" name="Content 1">
            <a:extLst>
              <a:ext uri="{FF2B5EF4-FFF2-40B4-BE49-F238E27FC236}">
                <a16:creationId xmlns:a16="http://schemas.microsoft.com/office/drawing/2014/main" id="{22E95365-6398-4755-9D52-B33F2657BB37}"/>
              </a:ext>
            </a:extLst>
          </p:cNvPr>
          <p:cNvSpPr>
            <a:spLocks noGrp="1"/>
          </p:cNvSpPr>
          <p:nvPr>
            <p:custDataLst>
              <p:tags r:id="rId69"/>
            </p:custDataLst>
          </p:nvPr>
        </p:nvSpPr>
        <p:spPr bwMode="auto">
          <a:xfrm>
            <a:off x="8940800" y="5521325"/>
            <a:ext cx="4016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BF3AF4A-E7E2-4D64-82AE-7E95BCF1E174}" type="datetime'''50-''60''''%''&#10;te''''kor''''''''''''''''''''''t'''">
              <a:rPr lang="nl-NL" altLang="en-US" sz="1000" smtClean="0">
                <a:solidFill>
                  <a:schemeClr val="tx1"/>
                </a:solidFill>
              </a:rPr>
              <a:pPr/>
              <a:t>50-60%
tekort</a:t>
            </a:fld>
            <a:endParaRPr lang="nl-NL" sz="1000" noProof="0" dirty="0">
              <a:solidFill>
                <a:schemeClr val="tx1"/>
              </a:solidFill>
              <a:latin typeface="+mn-lt"/>
            </a:endParaRPr>
          </a:p>
        </p:txBody>
      </p:sp>
      <p:sp>
        <p:nvSpPr>
          <p:cNvPr id="535" name="Content 1">
            <a:extLst>
              <a:ext uri="{FF2B5EF4-FFF2-40B4-BE49-F238E27FC236}">
                <a16:creationId xmlns:a16="http://schemas.microsoft.com/office/drawing/2014/main" id="{CFEEF2F2-4279-4FDC-8F02-E1CEDCB72D8C}"/>
              </a:ext>
            </a:extLst>
          </p:cNvPr>
          <p:cNvSpPr>
            <a:spLocks noGrp="1"/>
          </p:cNvSpPr>
          <p:nvPr>
            <p:custDataLst>
              <p:tags r:id="rId70"/>
            </p:custDataLst>
          </p:nvPr>
        </p:nvSpPr>
        <p:spPr bwMode="auto">
          <a:xfrm>
            <a:off x="8483600" y="5521325"/>
            <a:ext cx="400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39503D-587D-4BA8-BFBD-D3B59FDB3173}" type="datetime'''''40''''''''''''-5''0%&#10;te''k''''o''''''''''''''r''t'''''''">
              <a:rPr lang="nl-NL" altLang="en-US" sz="1000" smtClean="0">
                <a:solidFill>
                  <a:schemeClr val="tx1"/>
                </a:solidFill>
              </a:rPr>
              <a:pPr/>
              <a:t>40-50%
tekort</a:t>
            </a:fld>
            <a:endParaRPr lang="nl-NL" sz="1000" noProof="0" dirty="0">
              <a:solidFill>
                <a:schemeClr val="tx1"/>
              </a:solidFill>
              <a:latin typeface="+mn-lt"/>
            </a:endParaRPr>
          </a:p>
        </p:txBody>
      </p:sp>
      <p:sp>
        <p:nvSpPr>
          <p:cNvPr id="536" name="Content 1">
            <a:extLst>
              <a:ext uri="{FF2B5EF4-FFF2-40B4-BE49-F238E27FC236}">
                <a16:creationId xmlns:a16="http://schemas.microsoft.com/office/drawing/2014/main" id="{2E411077-8CE4-4FE3-822C-AAB8A41154AE}"/>
              </a:ext>
            </a:extLst>
          </p:cNvPr>
          <p:cNvSpPr>
            <a:spLocks noGrp="1"/>
          </p:cNvSpPr>
          <p:nvPr>
            <p:custDataLst>
              <p:tags r:id="rId71"/>
            </p:custDataLst>
          </p:nvPr>
        </p:nvSpPr>
        <p:spPr bwMode="auto">
          <a:xfrm>
            <a:off x="9402763" y="5521325"/>
            <a:ext cx="3952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9FE1717-41A6-446D-A414-28ED4D59C3E9}" type="datetime'6''''0''''-70''%''&#10;''''''t''''e''k''''''o''''''''r''t'''">
              <a:rPr lang="nl-NL" altLang="en-US" sz="1000" smtClean="0">
                <a:solidFill>
                  <a:schemeClr val="tx1"/>
                </a:solidFill>
              </a:rPr>
              <a:pPr/>
              <a:t>60-70%
tekort</a:t>
            </a:fld>
            <a:endParaRPr lang="nl-NL" sz="1000" noProof="0" dirty="0">
              <a:solidFill>
                <a:schemeClr val="tx1"/>
              </a:solidFill>
              <a:latin typeface="+mn-lt"/>
            </a:endParaRPr>
          </a:p>
        </p:txBody>
      </p:sp>
      <p:sp>
        <p:nvSpPr>
          <p:cNvPr id="542" name="Content 1">
            <a:extLst>
              <a:ext uri="{FF2B5EF4-FFF2-40B4-BE49-F238E27FC236}">
                <a16:creationId xmlns:a16="http://schemas.microsoft.com/office/drawing/2014/main" id="{527EF354-F39E-44C7-8391-C1A10D1AA153}"/>
              </a:ext>
            </a:extLst>
          </p:cNvPr>
          <p:cNvSpPr>
            <a:spLocks noGrp="1"/>
          </p:cNvSpPr>
          <p:nvPr>
            <p:custDataLst>
              <p:tags r:id="rId72"/>
            </p:custDataLst>
          </p:nvPr>
        </p:nvSpPr>
        <p:spPr bwMode="auto">
          <a:xfrm>
            <a:off x="4876800" y="5521325"/>
            <a:ext cx="2889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C5E796-9742-453D-87A9-AEBFC6F388F9}" type="datetime'&gt;''3''''0''''''''''''%''''''''&#10;''''''''''ove''''r'">
              <a:rPr lang="nl-NL" altLang="en-US" sz="1000" smtClean="0">
                <a:solidFill>
                  <a:schemeClr val="tx1"/>
                </a:solidFill>
              </a:rPr>
              <a:pPr/>
              <a:t>&gt;30%
over</a:t>
            </a:fld>
            <a:endParaRPr lang="nl-NL" sz="1000" noProof="0" dirty="0">
              <a:solidFill>
                <a:schemeClr val="tx1"/>
              </a:solidFill>
              <a:latin typeface="+mn-lt"/>
            </a:endParaRPr>
          </a:p>
        </p:txBody>
      </p:sp>
      <p:sp>
        <p:nvSpPr>
          <p:cNvPr id="540" name="Content 1">
            <a:extLst>
              <a:ext uri="{FF2B5EF4-FFF2-40B4-BE49-F238E27FC236}">
                <a16:creationId xmlns:a16="http://schemas.microsoft.com/office/drawing/2014/main" id="{2A856E3E-884C-407D-BC8F-2C5E5532F21E}"/>
              </a:ext>
            </a:extLst>
          </p:cNvPr>
          <p:cNvSpPr>
            <a:spLocks noGrp="1"/>
          </p:cNvSpPr>
          <p:nvPr>
            <p:custDataLst>
              <p:tags r:id="rId73"/>
            </p:custDataLst>
          </p:nvPr>
        </p:nvSpPr>
        <p:spPr bwMode="auto">
          <a:xfrm>
            <a:off x="9859963" y="5521325"/>
            <a:ext cx="393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620ACC-5F4F-41F5-A8BF-25754A81AC30}" type="datetime'''''''''''7''''''''0-''''''''''8''''''''''0%&#10;teko''''rt'''''">
              <a:rPr lang="nl-NL" altLang="en-US" sz="1000" smtClean="0">
                <a:solidFill>
                  <a:schemeClr val="tx1"/>
                </a:solidFill>
              </a:rPr>
              <a:pPr/>
              <a:t>70-80%
tekort</a:t>
            </a:fld>
            <a:endParaRPr lang="nl-NL" sz="1000" noProof="0" dirty="0">
              <a:solidFill>
                <a:schemeClr val="tx1"/>
              </a:solidFill>
              <a:latin typeface="+mn-lt"/>
            </a:endParaRPr>
          </a:p>
        </p:txBody>
      </p:sp>
      <p:sp>
        <p:nvSpPr>
          <p:cNvPr id="545" name="Content 1">
            <a:extLst>
              <a:ext uri="{FF2B5EF4-FFF2-40B4-BE49-F238E27FC236}">
                <a16:creationId xmlns:a16="http://schemas.microsoft.com/office/drawing/2014/main" id="{735DE20C-C461-462E-8D8D-C7F7DE79034F}"/>
              </a:ext>
            </a:extLst>
          </p:cNvPr>
          <p:cNvSpPr>
            <a:spLocks noGrp="1"/>
          </p:cNvSpPr>
          <p:nvPr>
            <p:custDataLst>
              <p:tags r:id="rId74"/>
            </p:custDataLst>
          </p:nvPr>
        </p:nvSpPr>
        <p:spPr bwMode="gray">
          <a:xfrm>
            <a:off x="5381625" y="5162550"/>
            <a:ext cx="1952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690378C-CD93-452F-870A-876678D19518}" type="datetime'''''''''''''1''''''''''''''''''2'''''''''''''">
              <a:rPr lang="nl-NL" altLang="en-US" sz="1200" b="1" smtClean="0">
                <a:solidFill>
                  <a:schemeClr val="tx1"/>
                </a:solidFill>
              </a:rPr>
              <a:pPr/>
              <a:t>12</a:t>
            </a:fld>
            <a:endParaRPr lang="nl-NL" sz="1200" b="1" noProof="0" dirty="0">
              <a:solidFill>
                <a:schemeClr val="tx1"/>
              </a:solidFill>
              <a:latin typeface="+mn-lt"/>
            </a:endParaRPr>
          </a:p>
        </p:txBody>
      </p:sp>
      <p:sp>
        <p:nvSpPr>
          <p:cNvPr id="549" name="Content 1">
            <a:extLst>
              <a:ext uri="{FF2B5EF4-FFF2-40B4-BE49-F238E27FC236}">
                <a16:creationId xmlns:a16="http://schemas.microsoft.com/office/drawing/2014/main" id="{1392EB93-0F0C-457C-B252-87FF978F275A}"/>
              </a:ext>
            </a:extLst>
          </p:cNvPr>
          <p:cNvSpPr>
            <a:spLocks noGrp="1"/>
          </p:cNvSpPr>
          <p:nvPr>
            <p:custDataLst>
              <p:tags r:id="rId75"/>
            </p:custDataLst>
          </p:nvPr>
        </p:nvSpPr>
        <p:spPr bwMode="gray">
          <a:xfrm>
            <a:off x="8162925" y="5194300"/>
            <a:ext cx="128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848F991-497B-4675-A44E-4CFB80A7F2CE}" type="datetime'''''''''''''9'''''''''''''''''''">
              <a:rPr lang="nl-NL" altLang="en-US" sz="1200" b="1" smtClean="0">
                <a:solidFill>
                  <a:schemeClr val="tx1"/>
                </a:solidFill>
              </a:rPr>
              <a:pPr/>
              <a:t>9</a:t>
            </a:fld>
            <a:endParaRPr lang="nl-NL" sz="1200" b="1" noProof="0" dirty="0">
              <a:solidFill>
                <a:schemeClr val="tx1"/>
              </a:solidFill>
              <a:latin typeface="+mn-lt"/>
            </a:endParaRPr>
          </a:p>
        </p:txBody>
      </p:sp>
      <p:sp>
        <p:nvSpPr>
          <p:cNvPr id="552" name="Content 1">
            <a:extLst>
              <a:ext uri="{FF2B5EF4-FFF2-40B4-BE49-F238E27FC236}">
                <a16:creationId xmlns:a16="http://schemas.microsoft.com/office/drawing/2014/main" id="{AB686A8B-E427-4016-85EC-E777EB65870E}"/>
              </a:ext>
            </a:extLst>
          </p:cNvPr>
          <p:cNvSpPr>
            <a:spLocks noGrp="1"/>
          </p:cNvSpPr>
          <p:nvPr>
            <p:custDataLst>
              <p:tags r:id="rId76"/>
            </p:custDataLst>
          </p:nvPr>
        </p:nvSpPr>
        <p:spPr bwMode="gray">
          <a:xfrm>
            <a:off x="9998075" y="5276850"/>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898B502-0F28-4B93-BE18-580D4D43A6E9}" type="datetime'''''1'''''''''''''''''">
              <a:rPr lang="nl-NL" altLang="en-US" sz="1200" b="1" smtClean="0">
                <a:solidFill>
                  <a:schemeClr val="tx1"/>
                </a:solidFill>
              </a:rPr>
              <a:pPr/>
              <a:t>1</a:t>
            </a:fld>
            <a:endParaRPr lang="nl-NL" sz="1200" b="1" noProof="0" dirty="0">
              <a:solidFill>
                <a:schemeClr val="tx1"/>
              </a:solidFill>
              <a:latin typeface="+mn-lt"/>
            </a:endParaRPr>
          </a:p>
        </p:txBody>
      </p:sp>
      <p:sp>
        <p:nvSpPr>
          <p:cNvPr id="543" name="Content 1">
            <a:extLst>
              <a:ext uri="{FF2B5EF4-FFF2-40B4-BE49-F238E27FC236}">
                <a16:creationId xmlns:a16="http://schemas.microsoft.com/office/drawing/2014/main" id="{59A85191-5FDB-4D71-8709-FDCDBDA51FCF}"/>
              </a:ext>
            </a:extLst>
          </p:cNvPr>
          <p:cNvSpPr>
            <a:spLocks noGrp="1"/>
          </p:cNvSpPr>
          <p:nvPr>
            <p:custDataLst>
              <p:tags r:id="rId77"/>
            </p:custDataLst>
          </p:nvPr>
        </p:nvSpPr>
        <p:spPr bwMode="auto">
          <a:xfrm>
            <a:off x="10810875" y="5521325"/>
            <a:ext cx="3254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F95BAEF-EBA9-482B-B14D-C56123F5246E}" type="datetime'''''''&gt;9''''0''''%&#10;te''''''''k''''''''''''''''''or''''t'">
              <a:rPr lang="nl-NL" altLang="en-US" sz="1000" smtClean="0">
                <a:solidFill>
                  <a:schemeClr val="tx1"/>
                </a:solidFill>
              </a:rPr>
              <a:pPr/>
              <a:t>&gt;90%
tekort</a:t>
            </a:fld>
            <a:endParaRPr lang="nl-NL" sz="1000" noProof="0" dirty="0">
              <a:solidFill>
                <a:schemeClr val="tx1"/>
              </a:solidFill>
              <a:latin typeface="+mn-lt"/>
            </a:endParaRPr>
          </a:p>
        </p:txBody>
      </p:sp>
      <p:sp>
        <p:nvSpPr>
          <p:cNvPr id="544" name="Content 1">
            <a:extLst>
              <a:ext uri="{FF2B5EF4-FFF2-40B4-BE49-F238E27FC236}">
                <a16:creationId xmlns:a16="http://schemas.microsoft.com/office/drawing/2014/main" id="{6A4B67D4-8109-4D5D-9950-25DF08043E53}"/>
              </a:ext>
            </a:extLst>
          </p:cNvPr>
          <p:cNvSpPr>
            <a:spLocks noGrp="1"/>
          </p:cNvSpPr>
          <p:nvPr>
            <p:custDataLst>
              <p:tags r:id="rId78"/>
            </p:custDataLst>
          </p:nvPr>
        </p:nvSpPr>
        <p:spPr bwMode="gray">
          <a:xfrm>
            <a:off x="4962526" y="5256213"/>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414DA3B-31FF-436B-BF8A-95E764F405DE}" type="datetime'''''''3'''''''''''''''''''''''''''''''''''''''''''''''''''''">
              <a:rPr lang="nl-NL" altLang="en-US" sz="1200" b="1" smtClean="0">
                <a:solidFill>
                  <a:schemeClr val="tx1"/>
                </a:solidFill>
              </a:rPr>
              <a:pPr/>
              <a:t>3</a:t>
            </a:fld>
            <a:endParaRPr lang="nl-NL" sz="1200" b="1" noProof="0" dirty="0">
              <a:solidFill>
                <a:schemeClr val="tx1"/>
              </a:solidFill>
              <a:latin typeface="+mn-lt"/>
            </a:endParaRPr>
          </a:p>
        </p:txBody>
      </p:sp>
      <p:sp>
        <p:nvSpPr>
          <p:cNvPr id="539" name="Content 1">
            <a:extLst>
              <a:ext uri="{FF2B5EF4-FFF2-40B4-BE49-F238E27FC236}">
                <a16:creationId xmlns:a16="http://schemas.microsoft.com/office/drawing/2014/main" id="{D84074C1-E764-4174-BE0A-3226F1B6DD59}"/>
              </a:ext>
            </a:extLst>
          </p:cNvPr>
          <p:cNvSpPr>
            <a:spLocks noGrp="1"/>
          </p:cNvSpPr>
          <p:nvPr>
            <p:custDataLst>
              <p:tags r:id="rId79"/>
            </p:custDataLst>
          </p:nvPr>
        </p:nvSpPr>
        <p:spPr bwMode="gray">
          <a:xfrm>
            <a:off x="5837238" y="4795838"/>
            <a:ext cx="2000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C8EAD8F-3EDD-475B-81B1-685BC219E8B4}" type="datetime'4''''''''''''''''''''''7'''''''''''''''''''''''''''''''''''">
              <a:rPr lang="nl-NL" altLang="en-US" sz="1200" b="1" smtClean="0">
                <a:solidFill>
                  <a:schemeClr val="tx1"/>
                </a:solidFill>
              </a:rPr>
              <a:pPr/>
              <a:t>47</a:t>
            </a:fld>
            <a:endParaRPr lang="nl-NL" sz="1200" b="1" noProof="0" dirty="0">
              <a:solidFill>
                <a:schemeClr val="tx1"/>
              </a:solidFill>
              <a:latin typeface="+mn-lt"/>
            </a:endParaRPr>
          </a:p>
        </p:txBody>
      </p:sp>
      <p:sp>
        <p:nvSpPr>
          <p:cNvPr id="541" name="Content 1">
            <a:extLst>
              <a:ext uri="{FF2B5EF4-FFF2-40B4-BE49-F238E27FC236}">
                <a16:creationId xmlns:a16="http://schemas.microsoft.com/office/drawing/2014/main" id="{9DA6F516-CB75-453F-A91D-7E6117E8D6AF}"/>
              </a:ext>
            </a:extLst>
          </p:cNvPr>
          <p:cNvSpPr>
            <a:spLocks noGrp="1"/>
          </p:cNvSpPr>
          <p:nvPr>
            <p:custDataLst>
              <p:tags r:id="rId80"/>
            </p:custDataLst>
          </p:nvPr>
        </p:nvSpPr>
        <p:spPr bwMode="auto">
          <a:xfrm>
            <a:off x="10310813" y="5521325"/>
            <a:ext cx="4064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57E6EF9-46D9-40CB-80AD-7898826875C8}" type="datetime'''''8''0''''-90''''%''''''''''&#10;te''''''''''kor''''t'''''''">
              <a:rPr lang="nl-NL" altLang="en-US" sz="1000" smtClean="0">
                <a:solidFill>
                  <a:schemeClr val="tx1"/>
                </a:solidFill>
              </a:rPr>
              <a:pPr/>
              <a:t>80-90%
tekort</a:t>
            </a:fld>
            <a:endParaRPr lang="nl-NL" sz="1000" noProof="0" dirty="0">
              <a:solidFill>
                <a:schemeClr val="tx1"/>
              </a:solidFill>
              <a:latin typeface="+mn-lt"/>
            </a:endParaRPr>
          </a:p>
        </p:txBody>
      </p:sp>
      <p:sp>
        <p:nvSpPr>
          <p:cNvPr id="547" name="Content 1">
            <a:extLst>
              <a:ext uri="{FF2B5EF4-FFF2-40B4-BE49-F238E27FC236}">
                <a16:creationId xmlns:a16="http://schemas.microsoft.com/office/drawing/2014/main" id="{B260F3BE-5A3F-49A9-9F3E-5AAD10D56DF2}"/>
              </a:ext>
            </a:extLst>
          </p:cNvPr>
          <p:cNvSpPr>
            <a:spLocks noGrp="1"/>
          </p:cNvSpPr>
          <p:nvPr>
            <p:custDataLst>
              <p:tags r:id="rId81"/>
            </p:custDataLst>
          </p:nvPr>
        </p:nvSpPr>
        <p:spPr bwMode="gray">
          <a:xfrm>
            <a:off x="7212013" y="4554538"/>
            <a:ext cx="1968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6521E7D-779E-4680-8901-FEA7CD8A34EE}" type="datetime'''7''''''''''''''''''''''''''''''''''''0'''''''''''''''''''">
              <a:rPr lang="nl-NL" altLang="en-US" sz="1200" b="1" smtClean="0">
                <a:solidFill>
                  <a:schemeClr val="tx1"/>
                </a:solidFill>
              </a:rPr>
              <a:pPr/>
              <a:t>70</a:t>
            </a:fld>
            <a:endParaRPr lang="nl-NL" sz="1200" b="1" noProof="0" dirty="0">
              <a:solidFill>
                <a:schemeClr val="tx1"/>
              </a:solidFill>
              <a:latin typeface="+mn-lt"/>
            </a:endParaRPr>
          </a:p>
        </p:txBody>
      </p:sp>
      <p:sp>
        <p:nvSpPr>
          <p:cNvPr id="548" name="Content 1">
            <a:extLst>
              <a:ext uri="{FF2B5EF4-FFF2-40B4-BE49-F238E27FC236}">
                <a16:creationId xmlns:a16="http://schemas.microsoft.com/office/drawing/2014/main" id="{EC33DC65-CC42-4106-9887-533DE529C348}"/>
              </a:ext>
            </a:extLst>
          </p:cNvPr>
          <p:cNvSpPr>
            <a:spLocks noGrp="1"/>
          </p:cNvSpPr>
          <p:nvPr>
            <p:custDataLst>
              <p:tags r:id="rId82"/>
            </p:custDataLst>
          </p:nvPr>
        </p:nvSpPr>
        <p:spPr bwMode="gray">
          <a:xfrm>
            <a:off x="7669213" y="4973638"/>
            <a:ext cx="1968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DAF27AE-7DE4-4C60-8F1C-40915C91E288}" type="datetime'''''3''''''''''''''''''''''''''''''''''''0'''''''''''''''''''">
              <a:rPr lang="nl-NL" altLang="en-US" sz="1200" b="1" smtClean="0">
                <a:solidFill>
                  <a:schemeClr val="tx1"/>
                </a:solidFill>
              </a:rPr>
              <a:pPr/>
              <a:t>30</a:t>
            </a:fld>
            <a:endParaRPr lang="nl-NL" sz="1200" b="1" noProof="0" dirty="0">
              <a:solidFill>
                <a:schemeClr val="tx1"/>
              </a:solidFill>
              <a:latin typeface="+mn-lt"/>
            </a:endParaRPr>
          </a:p>
        </p:txBody>
      </p:sp>
      <p:sp>
        <p:nvSpPr>
          <p:cNvPr id="532" name="Content 1">
            <a:extLst>
              <a:ext uri="{FF2B5EF4-FFF2-40B4-BE49-F238E27FC236}">
                <a16:creationId xmlns:a16="http://schemas.microsoft.com/office/drawing/2014/main" id="{4E1B4F44-9D2D-41EF-A186-CCFCF9DF72FD}"/>
              </a:ext>
            </a:extLst>
          </p:cNvPr>
          <p:cNvSpPr>
            <a:spLocks noGrp="1"/>
          </p:cNvSpPr>
          <p:nvPr>
            <p:custDataLst>
              <p:tags r:id="rId83"/>
            </p:custDataLst>
          </p:nvPr>
        </p:nvSpPr>
        <p:spPr bwMode="gray">
          <a:xfrm>
            <a:off x="8621713" y="5246688"/>
            <a:ext cx="125413"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E48953-BC16-46C8-B8DA-1FFE9E26743A}" type="datetime'''4'''''''''''''''''''''''''''''">
              <a:rPr lang="nl-NL" altLang="en-US" sz="1200" b="1" smtClean="0">
                <a:solidFill>
                  <a:schemeClr val="tx1"/>
                </a:solidFill>
              </a:rPr>
              <a:pPr/>
              <a:t>4</a:t>
            </a:fld>
            <a:endParaRPr lang="nl-NL" sz="1200" b="1" noProof="0" dirty="0">
              <a:solidFill>
                <a:schemeClr val="tx1"/>
              </a:solidFill>
              <a:latin typeface="+mn-lt"/>
            </a:endParaRPr>
          </a:p>
        </p:txBody>
      </p:sp>
      <p:sp>
        <p:nvSpPr>
          <p:cNvPr id="554" name="Content 1">
            <a:extLst>
              <a:ext uri="{FF2B5EF4-FFF2-40B4-BE49-F238E27FC236}">
                <a16:creationId xmlns:a16="http://schemas.microsoft.com/office/drawing/2014/main" id="{A675183A-5460-48AE-8E47-21666001C7AF}"/>
              </a:ext>
            </a:extLst>
          </p:cNvPr>
          <p:cNvSpPr>
            <a:spLocks noGrp="1"/>
          </p:cNvSpPr>
          <p:nvPr>
            <p:custDataLst>
              <p:tags r:id="rId84"/>
            </p:custDataLst>
          </p:nvPr>
        </p:nvSpPr>
        <p:spPr bwMode="gray">
          <a:xfrm>
            <a:off x="10914063" y="5276850"/>
            <a:ext cx="1190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E45883C-24C6-4DAA-92BB-AD33C7AF22C1}" type="datetime'''''1'''''''''''''''''''''''''''''''">
              <a:rPr lang="nl-NL" altLang="en-US" sz="1200" b="1" smtClean="0">
                <a:solidFill>
                  <a:schemeClr val="tx1"/>
                </a:solidFill>
              </a:rPr>
              <a:pPr/>
              <a:t>1</a:t>
            </a:fld>
            <a:endParaRPr lang="nl-NL" sz="1200" b="1" noProof="0" dirty="0">
              <a:solidFill>
                <a:schemeClr val="tx1"/>
              </a:solidFill>
              <a:latin typeface="+mn-lt"/>
            </a:endParaRPr>
          </a:p>
        </p:txBody>
      </p:sp>
      <p:sp>
        <p:nvSpPr>
          <p:cNvPr id="546" name="Content 1">
            <a:extLst>
              <a:ext uri="{FF2B5EF4-FFF2-40B4-BE49-F238E27FC236}">
                <a16:creationId xmlns:a16="http://schemas.microsoft.com/office/drawing/2014/main" id="{062A685C-68EC-4669-AB41-E3004F68E473}"/>
              </a:ext>
            </a:extLst>
          </p:cNvPr>
          <p:cNvSpPr>
            <a:spLocks noGrp="1"/>
          </p:cNvSpPr>
          <p:nvPr>
            <p:custDataLst>
              <p:tags r:id="rId85"/>
            </p:custDataLst>
          </p:nvPr>
        </p:nvSpPr>
        <p:spPr bwMode="gray">
          <a:xfrm>
            <a:off x="6294438" y="4429125"/>
            <a:ext cx="2016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3BF84E4-7A88-42FA-887D-D57FE2464B12}" type="datetime'8''''''''''''''''''''''''''''''''''''''''''''''''2'''">
              <a:rPr lang="nl-NL" altLang="en-US" sz="1200" b="1" smtClean="0">
                <a:solidFill>
                  <a:schemeClr val="tx1"/>
                </a:solidFill>
              </a:rPr>
              <a:pPr/>
              <a:t>82</a:t>
            </a:fld>
            <a:endParaRPr lang="nl-NL" sz="1200" b="1" noProof="0" dirty="0">
              <a:solidFill>
                <a:schemeClr val="tx1"/>
              </a:solidFill>
              <a:latin typeface="+mn-lt"/>
            </a:endParaRPr>
          </a:p>
        </p:txBody>
      </p:sp>
      <p:sp>
        <p:nvSpPr>
          <p:cNvPr id="555" name="Right Brace 554">
            <a:extLst>
              <a:ext uri="{FF2B5EF4-FFF2-40B4-BE49-F238E27FC236}">
                <a16:creationId xmlns:a16="http://schemas.microsoft.com/office/drawing/2014/main" id="{DD78868F-7679-4411-8F51-FE48D0E521DE}"/>
              </a:ext>
            </a:extLst>
          </p:cNvPr>
          <p:cNvSpPr/>
          <p:nvPr/>
        </p:nvSpPr>
        <p:spPr>
          <a:xfrm rot="5400000">
            <a:off x="8804275" y="3649663"/>
            <a:ext cx="222250" cy="4573588"/>
          </a:xfrm>
          <a:prstGeom prst="rightBrace">
            <a:avLst>
              <a:gd name="adj1" fmla="val 42726"/>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56" name="TextBox 555">
            <a:extLst>
              <a:ext uri="{FF2B5EF4-FFF2-40B4-BE49-F238E27FC236}">
                <a16:creationId xmlns:a16="http://schemas.microsoft.com/office/drawing/2014/main" id="{A93FA642-E333-4F9B-80FB-71462F4CBDBA}"/>
              </a:ext>
            </a:extLst>
          </p:cNvPr>
          <p:cNvSpPr txBox="1"/>
          <p:nvPr/>
        </p:nvSpPr>
        <p:spPr>
          <a:xfrm>
            <a:off x="8105774" y="6111875"/>
            <a:ext cx="1633538" cy="239713"/>
          </a:xfrm>
          <a:prstGeom prst="rect">
            <a:avLst/>
          </a:prstGeom>
        </p:spPr>
        <p:txBody>
          <a:bodyPr vert="horz" wrap="none" lIns="91440" tIns="45720" rIns="91440" bIns="45720" rtlCol="0">
            <a:noAutofit/>
          </a:bodyPr>
          <a:lstStyle/>
          <a:p>
            <a:pPr marL="0" indent="0" algn="ctr">
              <a:buNone/>
            </a:pPr>
            <a:r>
              <a:rPr lang="nl-NL" sz="1000" dirty="0"/>
              <a:t>59</a:t>
            </a:r>
            <a:r>
              <a:rPr lang="nl-NL" sz="1000" noProof="0" dirty="0"/>
              <a:t>% gemeenten tekort</a:t>
            </a:r>
          </a:p>
        </p:txBody>
      </p:sp>
      <p:sp>
        <p:nvSpPr>
          <p:cNvPr id="557" name="Right Brace 556">
            <a:extLst>
              <a:ext uri="{FF2B5EF4-FFF2-40B4-BE49-F238E27FC236}">
                <a16:creationId xmlns:a16="http://schemas.microsoft.com/office/drawing/2014/main" id="{343E1A9C-D7D7-4005-9CC4-76AE06F8012D}"/>
              </a:ext>
            </a:extLst>
          </p:cNvPr>
          <p:cNvSpPr/>
          <p:nvPr/>
        </p:nvSpPr>
        <p:spPr>
          <a:xfrm rot="5400000">
            <a:off x="5588000" y="5021263"/>
            <a:ext cx="222250" cy="1822450"/>
          </a:xfrm>
          <a:prstGeom prst="rightBrace">
            <a:avLst>
              <a:gd name="adj1" fmla="val 42726"/>
              <a:gd name="adj2" fmla="val 50000"/>
            </a:avLst>
          </a:prstGeom>
          <a:ln>
            <a:solidFill>
              <a:srgbClr val="8080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58" name="TextBox 557">
            <a:extLst>
              <a:ext uri="{FF2B5EF4-FFF2-40B4-BE49-F238E27FC236}">
                <a16:creationId xmlns:a16="http://schemas.microsoft.com/office/drawing/2014/main" id="{2684710E-C1B9-4B65-AA5E-045CE48C8EBF}"/>
              </a:ext>
            </a:extLst>
          </p:cNvPr>
          <p:cNvSpPr txBox="1"/>
          <p:nvPr/>
        </p:nvSpPr>
        <p:spPr>
          <a:xfrm>
            <a:off x="4884737" y="6067425"/>
            <a:ext cx="1633538" cy="239713"/>
          </a:xfrm>
          <a:prstGeom prst="rect">
            <a:avLst/>
          </a:prstGeom>
        </p:spPr>
        <p:txBody>
          <a:bodyPr vert="horz" wrap="none" lIns="91440" tIns="45720" rIns="91440" bIns="45720" rtlCol="0">
            <a:noAutofit/>
          </a:bodyPr>
          <a:lstStyle/>
          <a:p>
            <a:pPr marL="0" indent="0" algn="ctr">
              <a:buNone/>
            </a:pPr>
            <a:r>
              <a:rPr lang="nl-NL" sz="1000" dirty="0"/>
              <a:t>41</a:t>
            </a:r>
            <a:r>
              <a:rPr lang="nl-NL" sz="1000" noProof="0" dirty="0"/>
              <a:t>% gemeenten overschot</a:t>
            </a:r>
          </a:p>
        </p:txBody>
      </p:sp>
      <p:sp>
        <p:nvSpPr>
          <p:cNvPr id="22" name="Rectangle 21" hidden="1">
            <a:extLst>
              <a:ext uri="{FF2B5EF4-FFF2-40B4-BE49-F238E27FC236}">
                <a16:creationId xmlns:a16="http://schemas.microsoft.com/office/drawing/2014/main" id="{66BD3F41-EF67-4AF2-B302-6FE90903E98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Tree>
    <p:extLst>
      <p:ext uri="{BB962C8B-B14F-4D97-AF65-F5344CB8AC3E}">
        <p14:creationId xmlns:p14="http://schemas.microsoft.com/office/powerpoint/2010/main" val="3812877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7223FC0-DB87-4E4E-B512-F04B28E3D9C2}"/>
              </a:ext>
            </a:extLst>
          </p:cNvPr>
          <p:cNvGraphicFramePr>
            <a:graphicFrameLocks noChangeAspect="1"/>
          </p:cNvGraphicFramePr>
          <p:nvPr>
            <p:custDataLst>
              <p:tags r:id="rId1"/>
            </p:custDataLst>
            <p:extLst>
              <p:ext uri="{D42A27DB-BD31-4B8C-83A1-F6EECF244321}">
                <p14:modId xmlns:p14="http://schemas.microsoft.com/office/powerpoint/2010/main" val="322511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ext Placeholder 56">
            <a:extLst>
              <a:ext uri="{FF2B5EF4-FFF2-40B4-BE49-F238E27FC236}">
                <a16:creationId xmlns:a16="http://schemas.microsoft.com/office/drawing/2014/main" id="{067E9F48-AA04-4106-AB9D-03A503824470}"/>
              </a:ext>
            </a:extLst>
          </p:cNvPr>
          <p:cNvSpPr>
            <a:spLocks noGrp="1"/>
          </p:cNvSpPr>
          <p:nvPr>
            <p:ph type="body" sz="quarter" idx="34"/>
          </p:nvPr>
        </p:nvSpPr>
        <p:spPr>
          <a:xfrm>
            <a:off x="4487547" y="1595677"/>
            <a:ext cx="7041673" cy="360000"/>
          </a:xfrm>
        </p:spPr>
        <p:txBody>
          <a:bodyPr/>
          <a:lstStyle/>
          <a:p>
            <a:r>
              <a:rPr lang="nl-NL" dirty="0"/>
              <a:t>Voorspelling en daadwerkelijke kosten cluster Jeugd, na herijking gemeentefonds</a:t>
            </a:r>
            <a:br>
              <a:rPr lang="nl-NL" dirty="0"/>
            </a:br>
            <a:r>
              <a:rPr lang="nl-NL" b="0" dirty="0"/>
              <a:t>€ per jeugdige</a:t>
            </a:r>
          </a:p>
        </p:txBody>
      </p:sp>
      <p:sp>
        <p:nvSpPr>
          <p:cNvPr id="8" name="Text Placeholder 7">
            <a:extLst>
              <a:ext uri="{FF2B5EF4-FFF2-40B4-BE49-F238E27FC236}">
                <a16:creationId xmlns:a16="http://schemas.microsoft.com/office/drawing/2014/main" id="{F218B909-16C4-4580-893B-8BDB64CDAE6C}"/>
              </a:ext>
            </a:extLst>
          </p:cNvPr>
          <p:cNvSpPr>
            <a:spLocks noGrp="1"/>
          </p:cNvSpPr>
          <p:nvPr>
            <p:ph type="body" sz="quarter" idx="20"/>
          </p:nvPr>
        </p:nvSpPr>
        <p:spPr/>
        <p:txBody>
          <a:bodyPr/>
          <a:lstStyle/>
          <a:p>
            <a:r>
              <a:rPr lang="nl-NL" dirty="0"/>
              <a:t>De herverdeling leidt wel tot verbetering op andere vlakken voor cluster Jeugd, zoals toename van budget voor jeugd (ten koste van budget andere onderdelen, netto geen extra budget), versimpeling van maatstaven en stabielere uitkomsten</a:t>
            </a:r>
          </a:p>
        </p:txBody>
      </p:sp>
      <p:sp>
        <p:nvSpPr>
          <p:cNvPr id="9" name="Footer Placeholder 8">
            <a:extLst>
              <a:ext uri="{FF2B5EF4-FFF2-40B4-BE49-F238E27FC236}">
                <a16:creationId xmlns:a16="http://schemas.microsoft.com/office/drawing/2014/main" id="{1168C5F2-16D9-49CC-86BE-1ED13BA284AC}"/>
              </a:ext>
            </a:extLst>
          </p:cNvPr>
          <p:cNvSpPr>
            <a:spLocks noGrp="1"/>
          </p:cNvSpPr>
          <p:nvPr>
            <p:ph type="ftr" sz="quarter" idx="3"/>
          </p:nvPr>
        </p:nvSpPr>
        <p:spPr/>
        <p:txBody>
          <a:bodyPr/>
          <a:lstStyle/>
          <a:p>
            <a:r>
              <a:rPr lang="nl-NL" dirty="0"/>
              <a:t>Bron: AEF; it’s public analyse</a:t>
            </a:r>
          </a:p>
        </p:txBody>
      </p:sp>
      <p:sp>
        <p:nvSpPr>
          <p:cNvPr id="10" name="Slide Number Placeholder 9">
            <a:extLst>
              <a:ext uri="{FF2B5EF4-FFF2-40B4-BE49-F238E27FC236}">
                <a16:creationId xmlns:a16="http://schemas.microsoft.com/office/drawing/2014/main" id="{EB2E619C-42E3-4181-9B96-8D84402CF64D}"/>
              </a:ext>
            </a:extLst>
          </p:cNvPr>
          <p:cNvSpPr>
            <a:spLocks noGrp="1"/>
          </p:cNvSpPr>
          <p:nvPr>
            <p:ph type="sldNum" sz="quarter" idx="12"/>
          </p:nvPr>
        </p:nvSpPr>
        <p:spPr/>
        <p:txBody>
          <a:bodyPr/>
          <a:lstStyle/>
          <a:p>
            <a:fld id="{992CD0B2-8AB2-4C6C-8876-E15753662C9B}" type="slidenum">
              <a:rPr lang="nl-NL" noProof="0" smtClean="0"/>
              <a:pPr/>
              <a:t>18</a:t>
            </a:fld>
            <a:endParaRPr lang="nl-NL" noProof="0"/>
          </a:p>
        </p:txBody>
      </p:sp>
      <p:sp>
        <p:nvSpPr>
          <p:cNvPr id="11" name="Text Placeholder 10">
            <a:extLst>
              <a:ext uri="{FF2B5EF4-FFF2-40B4-BE49-F238E27FC236}">
                <a16:creationId xmlns:a16="http://schemas.microsoft.com/office/drawing/2014/main" id="{46B44028-A342-45B2-AC85-CB1F57595380}"/>
              </a:ext>
            </a:extLst>
          </p:cNvPr>
          <p:cNvSpPr>
            <a:spLocks noGrp="1"/>
          </p:cNvSpPr>
          <p:nvPr>
            <p:ph type="body" sz="quarter" idx="14"/>
          </p:nvPr>
        </p:nvSpPr>
        <p:spPr/>
        <p:txBody>
          <a:bodyPr/>
          <a:lstStyle/>
          <a:p>
            <a:r>
              <a:rPr lang="nl-NL" dirty="0"/>
              <a:t>Impact van herverdeling gemeentefonds</a:t>
            </a:r>
          </a:p>
        </p:txBody>
      </p:sp>
      <p:sp>
        <p:nvSpPr>
          <p:cNvPr id="12" name="Title 11">
            <a:extLst>
              <a:ext uri="{FF2B5EF4-FFF2-40B4-BE49-F238E27FC236}">
                <a16:creationId xmlns:a16="http://schemas.microsoft.com/office/drawing/2014/main" id="{FE047E35-9978-4A50-8FBB-2308E45A9FBA}"/>
              </a:ext>
            </a:extLst>
          </p:cNvPr>
          <p:cNvSpPr>
            <a:spLocks noGrp="1"/>
          </p:cNvSpPr>
          <p:nvPr>
            <p:ph type="title"/>
          </p:nvPr>
        </p:nvSpPr>
        <p:spPr/>
        <p:txBody>
          <a:bodyPr vert="horz"/>
          <a:lstStyle/>
          <a:p>
            <a:r>
              <a:rPr lang="nl-NL" dirty="0"/>
              <a:t>De herijking van het gemeentefonds zal de grote verschillen tussen gemeenten ook niet verminderen</a:t>
            </a:r>
          </a:p>
        </p:txBody>
      </p:sp>
      <p:sp>
        <p:nvSpPr>
          <p:cNvPr id="20" name="Content Placeholder 2">
            <a:extLst>
              <a:ext uri="{FF2B5EF4-FFF2-40B4-BE49-F238E27FC236}">
                <a16:creationId xmlns:a16="http://schemas.microsoft.com/office/drawing/2014/main" id="{2A2F5DA8-13CC-4459-9F00-E5ADA56EE939}"/>
              </a:ext>
            </a:extLst>
          </p:cNvPr>
          <p:cNvSpPr txBox="1">
            <a:spLocks/>
          </p:cNvSpPr>
          <p:nvPr/>
        </p:nvSpPr>
        <p:spPr>
          <a:xfrm>
            <a:off x="662780" y="1936729"/>
            <a:ext cx="3287137" cy="470177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spcBef>
                <a:spcPts val="1200"/>
              </a:spcBef>
            </a:pPr>
            <a:r>
              <a:rPr lang="nl-NL" dirty="0"/>
              <a:t>De herijking van het gemeentefonds zal uiteraard ook impact hebben op verschillen in tekorten per gemeente</a:t>
            </a:r>
          </a:p>
          <a:p>
            <a:pPr>
              <a:spcBef>
                <a:spcPts val="1200"/>
              </a:spcBef>
            </a:pPr>
            <a:r>
              <a:rPr lang="nl-NL" dirty="0"/>
              <a:t>Voor cluster jeugd leidt de herijking slechts tot zeer beperkte verbetering van voorspelbaarheid</a:t>
            </a:r>
            <a:r>
              <a:rPr lang="nl-NL" baseline="30000" dirty="0"/>
              <a:t>1</a:t>
            </a:r>
            <a:r>
              <a:rPr lang="nl-NL" dirty="0"/>
              <a:t>:</a:t>
            </a:r>
          </a:p>
          <a:p>
            <a:pPr lvl="1">
              <a:spcBef>
                <a:spcPts val="600"/>
              </a:spcBef>
            </a:pPr>
            <a:r>
              <a:rPr lang="nl-NL" dirty="0"/>
              <a:t>Oude model: 76% verklaring</a:t>
            </a:r>
          </a:p>
          <a:p>
            <a:pPr lvl="1">
              <a:spcBef>
                <a:spcPts val="600"/>
              </a:spcBef>
            </a:pPr>
            <a:r>
              <a:rPr lang="nl-NL" dirty="0"/>
              <a:t>Nieuwe model: 77% verklaring </a:t>
            </a:r>
          </a:p>
          <a:p>
            <a:pPr>
              <a:spcBef>
                <a:spcPts val="1200"/>
              </a:spcBef>
            </a:pPr>
            <a:r>
              <a:rPr lang="nl-NL" dirty="0"/>
              <a:t>De verschillen die getoond worden in deze benchmark zullen dus waarschijnlijk blijven bestaan (al kunnen er wel verschuivingen zijn in de precieze verdeling naar gemeentetype)</a:t>
            </a:r>
            <a:br>
              <a:rPr lang="nl-NL" dirty="0"/>
            </a:br>
            <a:endParaRPr lang="nl-NL" dirty="0"/>
          </a:p>
        </p:txBody>
      </p:sp>
      <p:sp>
        <p:nvSpPr>
          <p:cNvPr id="25" name="Speech Bubble: Rectangle with Corners Rounded 24">
            <a:extLst>
              <a:ext uri="{FF2B5EF4-FFF2-40B4-BE49-F238E27FC236}">
                <a16:creationId xmlns:a16="http://schemas.microsoft.com/office/drawing/2014/main" id="{BA0114EB-3DE0-4CCB-B02C-F08E4B04BB40}"/>
              </a:ext>
            </a:extLst>
          </p:cNvPr>
          <p:cNvSpPr/>
          <p:nvPr/>
        </p:nvSpPr>
        <p:spPr>
          <a:xfrm>
            <a:off x="9033668" y="2319626"/>
            <a:ext cx="2506080" cy="1212235"/>
          </a:xfrm>
          <a:prstGeom prst="wedgeRoundRectCallout">
            <a:avLst>
              <a:gd name="adj1" fmla="val -38219"/>
              <a:gd name="adj2" fmla="val 71981"/>
              <a:gd name="adj3" fmla="val 16667"/>
            </a:avLst>
          </a:prstGeom>
          <a:solidFill>
            <a:schemeClr val="accent6"/>
          </a:solidFill>
          <a:ln>
            <a:solidFill>
              <a:schemeClr val="accent1"/>
            </a:solidFill>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indent="0">
              <a:spcBef>
                <a:spcPts val="600"/>
              </a:spcBef>
              <a:buNone/>
            </a:pPr>
            <a:r>
              <a:rPr lang="nl-NL" sz="1200" dirty="0">
                <a:latin typeface="+mj-lt"/>
              </a:rPr>
              <a:t>“De mate van </a:t>
            </a:r>
            <a:r>
              <a:rPr lang="nl-NL" sz="1200" dirty="0" err="1">
                <a:latin typeface="+mj-lt"/>
              </a:rPr>
              <a:t>passendheid</a:t>
            </a:r>
            <a:r>
              <a:rPr lang="nl-NL" sz="1200" dirty="0">
                <a:latin typeface="+mj-lt"/>
              </a:rPr>
              <a:t> van het model [is voor cluster Jeugd] slechts licht verbeterd”</a:t>
            </a:r>
          </a:p>
          <a:p>
            <a:pPr marL="0" indent="0">
              <a:spcBef>
                <a:spcPts val="600"/>
              </a:spcBef>
              <a:buNone/>
            </a:pPr>
            <a:r>
              <a:rPr lang="nl-NL" sz="1200" i="1" dirty="0">
                <a:latin typeface="+mj-lt"/>
              </a:rPr>
              <a:t>– </a:t>
            </a:r>
            <a:r>
              <a:rPr lang="nl-NL" sz="1200" i="1" dirty="0" err="1">
                <a:latin typeface="+mj-lt"/>
              </a:rPr>
              <a:t>Onderzoeksverantwoording</a:t>
            </a:r>
            <a:r>
              <a:rPr lang="nl-NL" sz="1200" i="1" dirty="0">
                <a:latin typeface="+mj-lt"/>
              </a:rPr>
              <a:t> Herijking Gemeentefonds Sociaal Domein, AEF (22 april 2020)</a:t>
            </a:r>
          </a:p>
        </p:txBody>
      </p:sp>
      <p:sp>
        <p:nvSpPr>
          <p:cNvPr id="28" name="TextBox 27">
            <a:extLst>
              <a:ext uri="{FF2B5EF4-FFF2-40B4-BE49-F238E27FC236}">
                <a16:creationId xmlns:a16="http://schemas.microsoft.com/office/drawing/2014/main" id="{F2687FC9-EE15-4C83-8E9C-8444D4A29BBE}"/>
              </a:ext>
            </a:extLst>
          </p:cNvPr>
          <p:cNvSpPr txBox="1"/>
          <p:nvPr/>
        </p:nvSpPr>
        <p:spPr>
          <a:xfrm>
            <a:off x="6060808" y="5685380"/>
            <a:ext cx="914400" cy="914400"/>
          </a:xfrm>
          <a:prstGeom prst="rect">
            <a:avLst/>
          </a:prstGeom>
        </p:spPr>
        <p:txBody>
          <a:bodyPr vert="horz" wrap="none" lIns="91440" tIns="45720" rIns="91440" bIns="45720" rtlCol="0">
            <a:noAutofit/>
          </a:bodyPr>
          <a:lstStyle/>
          <a:p>
            <a:pPr marL="0" indent="0" algn="l">
              <a:buNone/>
            </a:pPr>
            <a:r>
              <a:rPr lang="nl-NL" sz="1200" noProof="0" dirty="0"/>
              <a:t>Voorspelling / budget gemeentefonds</a:t>
            </a:r>
            <a:br>
              <a:rPr lang="nl-NL" sz="1200" noProof="0" dirty="0"/>
            </a:br>
            <a:r>
              <a:rPr lang="nl-NL" sz="1200" noProof="0" dirty="0"/>
              <a:t>(na herijking)</a:t>
            </a:r>
          </a:p>
        </p:txBody>
      </p:sp>
      <p:cxnSp>
        <p:nvCxnSpPr>
          <p:cNvPr id="30" name="Straight Arrow Connector 29">
            <a:extLst>
              <a:ext uri="{FF2B5EF4-FFF2-40B4-BE49-F238E27FC236}">
                <a16:creationId xmlns:a16="http://schemas.microsoft.com/office/drawing/2014/main" id="{BEB71B46-8657-484C-BED1-1C7543FDA475}"/>
              </a:ext>
            </a:extLst>
          </p:cNvPr>
          <p:cNvCxnSpPr>
            <a:cxnSpLocks/>
          </p:cNvCxnSpPr>
          <p:nvPr/>
        </p:nvCxnSpPr>
        <p:spPr>
          <a:xfrm>
            <a:off x="6125275" y="5602012"/>
            <a:ext cx="1969221" cy="0"/>
          </a:xfrm>
          <a:prstGeom prst="straightConnector1">
            <a:avLst/>
          </a:prstGeom>
          <a:noFill/>
          <a:ln w="9525" cap="flat" cmpd="sng" algn="ctr">
            <a:solidFill>
              <a:srgbClr val="4F4F4F"/>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977B44D-6A85-4156-BF6E-E127CBF90AF3}"/>
              </a:ext>
            </a:extLst>
          </p:cNvPr>
          <p:cNvCxnSpPr>
            <a:cxnSpLocks/>
          </p:cNvCxnSpPr>
          <p:nvPr/>
        </p:nvCxnSpPr>
        <p:spPr>
          <a:xfrm flipV="1">
            <a:off x="5455641" y="4021889"/>
            <a:ext cx="0" cy="1223965"/>
          </a:xfrm>
          <a:prstGeom prst="straightConnector1">
            <a:avLst/>
          </a:prstGeom>
          <a:noFill/>
          <a:ln w="9525" cap="flat" cmpd="sng" algn="ctr">
            <a:solidFill>
              <a:srgbClr val="4F4F4F"/>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F1F8F05-DBB5-49F6-9DC4-C580269C3484}"/>
              </a:ext>
            </a:extLst>
          </p:cNvPr>
          <p:cNvSpPr txBox="1"/>
          <p:nvPr/>
        </p:nvSpPr>
        <p:spPr>
          <a:xfrm>
            <a:off x="4326036" y="4386849"/>
            <a:ext cx="1290833" cy="914400"/>
          </a:xfrm>
          <a:prstGeom prst="rect">
            <a:avLst/>
          </a:prstGeom>
        </p:spPr>
        <p:txBody>
          <a:bodyPr vert="horz" wrap="none" lIns="91440" tIns="45720" rIns="91440" bIns="45720" rtlCol="0" anchor="b">
            <a:noAutofit/>
          </a:bodyPr>
          <a:lstStyle/>
          <a:p>
            <a:pPr marL="0" indent="0" algn="l">
              <a:buNone/>
            </a:pPr>
            <a:r>
              <a:rPr lang="nl-NL" sz="1200" noProof="0" dirty="0"/>
              <a:t>Daadwerkelijke </a:t>
            </a:r>
            <a:br>
              <a:rPr lang="nl-NL" sz="1200" noProof="0" dirty="0"/>
            </a:br>
            <a:r>
              <a:rPr lang="nl-NL" sz="1200" noProof="0" dirty="0"/>
              <a:t>kosten</a:t>
            </a:r>
          </a:p>
        </p:txBody>
      </p:sp>
      <p:grpSp>
        <p:nvGrpSpPr>
          <p:cNvPr id="49" name="Group 48">
            <a:extLst>
              <a:ext uri="{FF2B5EF4-FFF2-40B4-BE49-F238E27FC236}">
                <a16:creationId xmlns:a16="http://schemas.microsoft.com/office/drawing/2014/main" id="{8833B1EA-32B3-41F3-8444-32430B1E2B39}"/>
              </a:ext>
            </a:extLst>
          </p:cNvPr>
          <p:cNvGrpSpPr/>
          <p:nvPr/>
        </p:nvGrpSpPr>
        <p:grpSpPr>
          <a:xfrm>
            <a:off x="5717101" y="2495300"/>
            <a:ext cx="3163787" cy="2961484"/>
            <a:chOff x="6279193" y="2566184"/>
            <a:chExt cx="3071142" cy="2874763"/>
          </a:xfrm>
        </p:grpSpPr>
        <p:pic>
          <p:nvPicPr>
            <p:cNvPr id="24" name="Picture 23">
              <a:extLst>
                <a:ext uri="{FF2B5EF4-FFF2-40B4-BE49-F238E27FC236}">
                  <a16:creationId xmlns:a16="http://schemas.microsoft.com/office/drawing/2014/main" id="{382D2968-36CA-498E-96B7-11674EA2433D}"/>
                </a:ext>
              </a:extLst>
            </p:cNvPr>
            <p:cNvPicPr>
              <a:picLocks noChangeAspect="1"/>
            </p:cNvPicPr>
            <p:nvPr/>
          </p:nvPicPr>
          <p:blipFill rotWithShape="1">
            <a:blip r:embed="rId5">
              <a:duotone>
                <a:schemeClr val="accent1">
                  <a:shade val="45000"/>
                  <a:satMod val="135000"/>
                </a:schemeClr>
                <a:prstClr val="white"/>
              </a:duotone>
            </a:blip>
            <a:srcRect l="21259" t="10499" r="13398" b="14507"/>
            <a:stretch/>
          </p:blipFill>
          <p:spPr>
            <a:xfrm>
              <a:off x="6592681" y="2626037"/>
              <a:ext cx="2609339" cy="2660754"/>
            </a:xfrm>
            <a:prstGeom prst="rect">
              <a:avLst/>
            </a:prstGeom>
          </p:spPr>
        </p:pic>
        <p:sp>
          <p:nvSpPr>
            <p:cNvPr id="35" name="TextBox 34">
              <a:extLst>
                <a:ext uri="{FF2B5EF4-FFF2-40B4-BE49-F238E27FC236}">
                  <a16:creationId xmlns:a16="http://schemas.microsoft.com/office/drawing/2014/main" id="{B0164DA1-89C8-46D5-B042-0C68FC7D230E}"/>
                </a:ext>
              </a:extLst>
            </p:cNvPr>
            <p:cNvSpPr txBox="1"/>
            <p:nvPr/>
          </p:nvSpPr>
          <p:spPr>
            <a:xfrm>
              <a:off x="6900011" y="5230017"/>
              <a:ext cx="395494" cy="210930"/>
            </a:xfrm>
            <a:prstGeom prst="rect">
              <a:avLst/>
            </a:prstGeom>
          </p:spPr>
          <p:txBody>
            <a:bodyPr vert="horz" wrap="none" lIns="91440" tIns="45720" rIns="91440" bIns="45720" rtlCol="0">
              <a:noAutofit/>
            </a:bodyPr>
            <a:lstStyle/>
            <a:p>
              <a:pPr marL="0" indent="0" algn="ctr">
                <a:buNone/>
              </a:pPr>
              <a:r>
                <a:rPr lang="nl-NL" sz="1000" noProof="0" dirty="0"/>
                <a:t>€500</a:t>
              </a:r>
            </a:p>
          </p:txBody>
        </p:sp>
        <p:sp>
          <p:nvSpPr>
            <p:cNvPr id="36" name="TextBox 35">
              <a:extLst>
                <a:ext uri="{FF2B5EF4-FFF2-40B4-BE49-F238E27FC236}">
                  <a16:creationId xmlns:a16="http://schemas.microsoft.com/office/drawing/2014/main" id="{B4E2575D-E73F-4EFB-A403-F4D1DAE0AEC6}"/>
                </a:ext>
              </a:extLst>
            </p:cNvPr>
            <p:cNvSpPr txBox="1"/>
            <p:nvPr/>
          </p:nvSpPr>
          <p:spPr>
            <a:xfrm>
              <a:off x="7310977" y="5230017"/>
              <a:ext cx="395494" cy="210930"/>
            </a:xfrm>
            <a:prstGeom prst="rect">
              <a:avLst/>
            </a:prstGeom>
          </p:spPr>
          <p:txBody>
            <a:bodyPr vert="horz" wrap="none" lIns="91440" tIns="45720" rIns="91440" bIns="45720" rtlCol="0">
              <a:noAutofit/>
            </a:bodyPr>
            <a:lstStyle/>
            <a:p>
              <a:pPr marL="0" indent="0" algn="ctr">
                <a:buNone/>
              </a:pPr>
              <a:r>
                <a:rPr lang="nl-NL" sz="1000" noProof="0" dirty="0"/>
                <a:t>€1.000</a:t>
              </a:r>
            </a:p>
          </p:txBody>
        </p:sp>
        <p:sp>
          <p:nvSpPr>
            <p:cNvPr id="37" name="TextBox 36">
              <a:extLst>
                <a:ext uri="{FF2B5EF4-FFF2-40B4-BE49-F238E27FC236}">
                  <a16:creationId xmlns:a16="http://schemas.microsoft.com/office/drawing/2014/main" id="{879A3BED-0E43-495F-AE0D-1FD0F038298F}"/>
                </a:ext>
              </a:extLst>
            </p:cNvPr>
            <p:cNvSpPr txBox="1"/>
            <p:nvPr/>
          </p:nvSpPr>
          <p:spPr>
            <a:xfrm>
              <a:off x="7721943" y="5230017"/>
              <a:ext cx="395494" cy="210930"/>
            </a:xfrm>
            <a:prstGeom prst="rect">
              <a:avLst/>
            </a:prstGeom>
          </p:spPr>
          <p:txBody>
            <a:bodyPr vert="horz" wrap="none" lIns="91440" tIns="45720" rIns="91440" bIns="45720" rtlCol="0">
              <a:noAutofit/>
            </a:bodyPr>
            <a:lstStyle/>
            <a:p>
              <a:pPr marL="0" indent="0" algn="ctr">
                <a:buNone/>
              </a:pPr>
              <a:r>
                <a:rPr lang="nl-NL" sz="1000" noProof="0" dirty="0"/>
                <a:t>€1.500</a:t>
              </a:r>
            </a:p>
          </p:txBody>
        </p:sp>
        <p:sp>
          <p:nvSpPr>
            <p:cNvPr id="38" name="TextBox 37">
              <a:extLst>
                <a:ext uri="{FF2B5EF4-FFF2-40B4-BE49-F238E27FC236}">
                  <a16:creationId xmlns:a16="http://schemas.microsoft.com/office/drawing/2014/main" id="{283678BD-A6AB-42D4-99F6-CA4471947003}"/>
                </a:ext>
              </a:extLst>
            </p:cNvPr>
            <p:cNvSpPr txBox="1"/>
            <p:nvPr/>
          </p:nvSpPr>
          <p:spPr>
            <a:xfrm>
              <a:off x="8132909" y="5230017"/>
              <a:ext cx="395494" cy="210930"/>
            </a:xfrm>
            <a:prstGeom prst="rect">
              <a:avLst/>
            </a:prstGeom>
          </p:spPr>
          <p:txBody>
            <a:bodyPr vert="horz" wrap="none" lIns="91440" tIns="45720" rIns="91440" bIns="45720" rtlCol="0">
              <a:noAutofit/>
            </a:bodyPr>
            <a:lstStyle/>
            <a:p>
              <a:pPr marL="0" indent="0" algn="ctr">
                <a:buNone/>
              </a:pPr>
              <a:r>
                <a:rPr lang="nl-NL" sz="1000" noProof="0" dirty="0"/>
                <a:t>€2.000</a:t>
              </a:r>
            </a:p>
          </p:txBody>
        </p:sp>
        <p:sp>
          <p:nvSpPr>
            <p:cNvPr id="39" name="TextBox 38">
              <a:extLst>
                <a:ext uri="{FF2B5EF4-FFF2-40B4-BE49-F238E27FC236}">
                  <a16:creationId xmlns:a16="http://schemas.microsoft.com/office/drawing/2014/main" id="{0A0BC55B-E653-492B-A1BB-E8B75D787740}"/>
                </a:ext>
              </a:extLst>
            </p:cNvPr>
            <p:cNvSpPr txBox="1"/>
            <p:nvPr/>
          </p:nvSpPr>
          <p:spPr>
            <a:xfrm>
              <a:off x="8543875" y="5230017"/>
              <a:ext cx="395494" cy="210930"/>
            </a:xfrm>
            <a:prstGeom prst="rect">
              <a:avLst/>
            </a:prstGeom>
          </p:spPr>
          <p:txBody>
            <a:bodyPr vert="horz" wrap="none" lIns="91440" tIns="45720" rIns="91440" bIns="45720" rtlCol="0">
              <a:noAutofit/>
            </a:bodyPr>
            <a:lstStyle/>
            <a:p>
              <a:pPr marL="0" indent="0" algn="ctr">
                <a:buNone/>
              </a:pPr>
              <a:r>
                <a:rPr lang="nl-NL" sz="1000" noProof="0" dirty="0"/>
                <a:t>€2.500</a:t>
              </a:r>
            </a:p>
          </p:txBody>
        </p:sp>
        <p:sp>
          <p:nvSpPr>
            <p:cNvPr id="40" name="TextBox 39">
              <a:extLst>
                <a:ext uri="{FF2B5EF4-FFF2-40B4-BE49-F238E27FC236}">
                  <a16:creationId xmlns:a16="http://schemas.microsoft.com/office/drawing/2014/main" id="{3470E85B-515F-4637-9D61-6BFC77BD10C6}"/>
                </a:ext>
              </a:extLst>
            </p:cNvPr>
            <p:cNvSpPr txBox="1"/>
            <p:nvPr/>
          </p:nvSpPr>
          <p:spPr>
            <a:xfrm>
              <a:off x="8954841" y="5230017"/>
              <a:ext cx="395494" cy="210930"/>
            </a:xfrm>
            <a:prstGeom prst="rect">
              <a:avLst/>
            </a:prstGeom>
          </p:spPr>
          <p:txBody>
            <a:bodyPr vert="horz" wrap="none" lIns="91440" tIns="45720" rIns="91440" bIns="45720" rtlCol="0">
              <a:noAutofit/>
            </a:bodyPr>
            <a:lstStyle/>
            <a:p>
              <a:pPr marL="0" indent="0" algn="ctr">
                <a:buNone/>
              </a:pPr>
              <a:r>
                <a:rPr lang="nl-NL" sz="1000" noProof="0" dirty="0"/>
                <a:t>€3.000</a:t>
              </a:r>
            </a:p>
          </p:txBody>
        </p:sp>
        <p:sp>
          <p:nvSpPr>
            <p:cNvPr id="41" name="TextBox 40">
              <a:extLst>
                <a:ext uri="{FF2B5EF4-FFF2-40B4-BE49-F238E27FC236}">
                  <a16:creationId xmlns:a16="http://schemas.microsoft.com/office/drawing/2014/main" id="{DD366BD3-D14F-4D23-A3BD-268E99C3E99E}"/>
                </a:ext>
              </a:extLst>
            </p:cNvPr>
            <p:cNvSpPr txBox="1"/>
            <p:nvPr/>
          </p:nvSpPr>
          <p:spPr>
            <a:xfrm>
              <a:off x="6489045" y="5230017"/>
              <a:ext cx="395494" cy="210930"/>
            </a:xfrm>
            <a:prstGeom prst="rect">
              <a:avLst/>
            </a:prstGeom>
          </p:spPr>
          <p:txBody>
            <a:bodyPr vert="horz" wrap="none" lIns="91440" tIns="45720" rIns="91440" bIns="45720" rtlCol="0">
              <a:noAutofit/>
            </a:bodyPr>
            <a:lstStyle/>
            <a:p>
              <a:pPr marL="0" indent="0" algn="ctr">
                <a:buNone/>
              </a:pPr>
              <a:r>
                <a:rPr lang="nl-NL" sz="1000" noProof="0" dirty="0"/>
                <a:t>€0</a:t>
              </a:r>
            </a:p>
          </p:txBody>
        </p:sp>
        <p:sp>
          <p:nvSpPr>
            <p:cNvPr id="42" name="TextBox 41">
              <a:extLst>
                <a:ext uri="{FF2B5EF4-FFF2-40B4-BE49-F238E27FC236}">
                  <a16:creationId xmlns:a16="http://schemas.microsoft.com/office/drawing/2014/main" id="{911B44EC-4B53-4D40-824D-9E4B0FC2FC39}"/>
                </a:ext>
              </a:extLst>
            </p:cNvPr>
            <p:cNvSpPr txBox="1"/>
            <p:nvPr/>
          </p:nvSpPr>
          <p:spPr>
            <a:xfrm>
              <a:off x="6279193" y="5108094"/>
              <a:ext cx="395494" cy="210930"/>
            </a:xfrm>
            <a:prstGeom prst="rect">
              <a:avLst/>
            </a:prstGeom>
          </p:spPr>
          <p:txBody>
            <a:bodyPr vert="horz" wrap="none" lIns="91440" tIns="45720" rIns="91440" bIns="45720" rtlCol="0">
              <a:noAutofit/>
            </a:bodyPr>
            <a:lstStyle/>
            <a:p>
              <a:pPr marL="0" indent="0" algn="r">
                <a:buNone/>
              </a:pPr>
              <a:r>
                <a:rPr lang="nl-NL" sz="1000" noProof="0" dirty="0"/>
                <a:t>€0</a:t>
              </a:r>
            </a:p>
          </p:txBody>
        </p:sp>
        <p:sp>
          <p:nvSpPr>
            <p:cNvPr id="43" name="TextBox 42">
              <a:extLst>
                <a:ext uri="{FF2B5EF4-FFF2-40B4-BE49-F238E27FC236}">
                  <a16:creationId xmlns:a16="http://schemas.microsoft.com/office/drawing/2014/main" id="{7FD820A3-8D50-425A-9AA2-6AEAE5AB69F5}"/>
                </a:ext>
              </a:extLst>
            </p:cNvPr>
            <p:cNvSpPr txBox="1"/>
            <p:nvPr/>
          </p:nvSpPr>
          <p:spPr>
            <a:xfrm>
              <a:off x="6279193" y="4684444"/>
              <a:ext cx="395494" cy="210930"/>
            </a:xfrm>
            <a:prstGeom prst="rect">
              <a:avLst/>
            </a:prstGeom>
          </p:spPr>
          <p:txBody>
            <a:bodyPr vert="horz" wrap="none" lIns="91440" tIns="45720" rIns="91440" bIns="45720" rtlCol="0">
              <a:noAutofit/>
            </a:bodyPr>
            <a:lstStyle/>
            <a:p>
              <a:pPr marL="0" indent="0" algn="r">
                <a:buNone/>
              </a:pPr>
              <a:r>
                <a:rPr lang="nl-NL" sz="1000" noProof="0" dirty="0"/>
                <a:t>€500</a:t>
              </a:r>
            </a:p>
          </p:txBody>
        </p:sp>
        <p:sp>
          <p:nvSpPr>
            <p:cNvPr id="44" name="TextBox 43">
              <a:extLst>
                <a:ext uri="{FF2B5EF4-FFF2-40B4-BE49-F238E27FC236}">
                  <a16:creationId xmlns:a16="http://schemas.microsoft.com/office/drawing/2014/main" id="{BBAE107A-49C0-40BA-B439-5949FC464488}"/>
                </a:ext>
              </a:extLst>
            </p:cNvPr>
            <p:cNvSpPr txBox="1"/>
            <p:nvPr/>
          </p:nvSpPr>
          <p:spPr>
            <a:xfrm>
              <a:off x="6279193" y="3837140"/>
              <a:ext cx="395494" cy="210930"/>
            </a:xfrm>
            <a:prstGeom prst="rect">
              <a:avLst/>
            </a:prstGeom>
          </p:spPr>
          <p:txBody>
            <a:bodyPr vert="horz" wrap="none" lIns="91440" tIns="45720" rIns="91440" bIns="45720" rtlCol="0">
              <a:noAutofit/>
            </a:bodyPr>
            <a:lstStyle/>
            <a:p>
              <a:pPr marL="0" indent="0" algn="r">
                <a:buNone/>
              </a:pPr>
              <a:r>
                <a:rPr lang="nl-NL" sz="1000" noProof="0" dirty="0"/>
                <a:t>€1.500</a:t>
              </a:r>
            </a:p>
          </p:txBody>
        </p:sp>
        <p:sp>
          <p:nvSpPr>
            <p:cNvPr id="45" name="TextBox 44">
              <a:extLst>
                <a:ext uri="{FF2B5EF4-FFF2-40B4-BE49-F238E27FC236}">
                  <a16:creationId xmlns:a16="http://schemas.microsoft.com/office/drawing/2014/main" id="{D4D9F879-CD35-423E-BB85-CC5CB4F4BBC6}"/>
                </a:ext>
              </a:extLst>
            </p:cNvPr>
            <p:cNvSpPr txBox="1"/>
            <p:nvPr/>
          </p:nvSpPr>
          <p:spPr>
            <a:xfrm>
              <a:off x="6279193" y="3413488"/>
              <a:ext cx="395494" cy="210930"/>
            </a:xfrm>
            <a:prstGeom prst="rect">
              <a:avLst/>
            </a:prstGeom>
          </p:spPr>
          <p:txBody>
            <a:bodyPr vert="horz" wrap="none" lIns="91440" tIns="45720" rIns="91440" bIns="45720" rtlCol="0">
              <a:noAutofit/>
            </a:bodyPr>
            <a:lstStyle/>
            <a:p>
              <a:pPr marL="0" indent="0" algn="r">
                <a:buNone/>
              </a:pPr>
              <a:r>
                <a:rPr lang="nl-NL" sz="1000" noProof="0" dirty="0"/>
                <a:t>€2.000</a:t>
              </a:r>
            </a:p>
          </p:txBody>
        </p:sp>
        <p:sp>
          <p:nvSpPr>
            <p:cNvPr id="46" name="TextBox 45">
              <a:extLst>
                <a:ext uri="{FF2B5EF4-FFF2-40B4-BE49-F238E27FC236}">
                  <a16:creationId xmlns:a16="http://schemas.microsoft.com/office/drawing/2014/main" id="{DAD36014-0D5A-49BB-9A47-65090E290EFA}"/>
                </a:ext>
              </a:extLst>
            </p:cNvPr>
            <p:cNvSpPr txBox="1"/>
            <p:nvPr/>
          </p:nvSpPr>
          <p:spPr>
            <a:xfrm>
              <a:off x="6279193" y="2989836"/>
              <a:ext cx="395494" cy="210930"/>
            </a:xfrm>
            <a:prstGeom prst="rect">
              <a:avLst/>
            </a:prstGeom>
          </p:spPr>
          <p:txBody>
            <a:bodyPr vert="horz" wrap="none" lIns="91440" tIns="45720" rIns="91440" bIns="45720" rtlCol="0">
              <a:noAutofit/>
            </a:bodyPr>
            <a:lstStyle/>
            <a:p>
              <a:pPr marL="0" indent="0" algn="r">
                <a:buNone/>
              </a:pPr>
              <a:r>
                <a:rPr lang="nl-NL" sz="1000" noProof="0" dirty="0"/>
                <a:t>€2.500</a:t>
              </a:r>
            </a:p>
          </p:txBody>
        </p:sp>
        <p:sp>
          <p:nvSpPr>
            <p:cNvPr id="47" name="TextBox 46">
              <a:extLst>
                <a:ext uri="{FF2B5EF4-FFF2-40B4-BE49-F238E27FC236}">
                  <a16:creationId xmlns:a16="http://schemas.microsoft.com/office/drawing/2014/main" id="{5B68517D-1A1B-4E0D-BE8C-D4D97B1D4EDE}"/>
                </a:ext>
              </a:extLst>
            </p:cNvPr>
            <p:cNvSpPr txBox="1"/>
            <p:nvPr/>
          </p:nvSpPr>
          <p:spPr>
            <a:xfrm>
              <a:off x="6279193" y="2566184"/>
              <a:ext cx="395494" cy="210930"/>
            </a:xfrm>
            <a:prstGeom prst="rect">
              <a:avLst/>
            </a:prstGeom>
          </p:spPr>
          <p:txBody>
            <a:bodyPr vert="horz" wrap="none" lIns="91440" tIns="45720" rIns="91440" bIns="45720" rtlCol="0">
              <a:noAutofit/>
            </a:bodyPr>
            <a:lstStyle/>
            <a:p>
              <a:pPr marL="0" indent="0" algn="r">
                <a:buNone/>
              </a:pPr>
              <a:r>
                <a:rPr lang="nl-NL" sz="1000" noProof="0" dirty="0"/>
                <a:t>€3.000</a:t>
              </a:r>
            </a:p>
          </p:txBody>
        </p:sp>
        <p:sp>
          <p:nvSpPr>
            <p:cNvPr id="48" name="TextBox 47">
              <a:extLst>
                <a:ext uri="{FF2B5EF4-FFF2-40B4-BE49-F238E27FC236}">
                  <a16:creationId xmlns:a16="http://schemas.microsoft.com/office/drawing/2014/main" id="{5948C791-100C-40F5-BC1E-01AF773140DE}"/>
                </a:ext>
              </a:extLst>
            </p:cNvPr>
            <p:cNvSpPr txBox="1"/>
            <p:nvPr/>
          </p:nvSpPr>
          <p:spPr>
            <a:xfrm>
              <a:off x="6279193" y="4260792"/>
              <a:ext cx="395494" cy="210930"/>
            </a:xfrm>
            <a:prstGeom prst="rect">
              <a:avLst/>
            </a:prstGeom>
          </p:spPr>
          <p:txBody>
            <a:bodyPr vert="horz" wrap="none" lIns="91440" tIns="45720" rIns="91440" bIns="45720" rtlCol="0">
              <a:noAutofit/>
            </a:bodyPr>
            <a:lstStyle/>
            <a:p>
              <a:pPr marL="0" indent="0" algn="r">
                <a:buNone/>
              </a:pPr>
              <a:r>
                <a:rPr lang="nl-NL" sz="1000" noProof="0" dirty="0"/>
                <a:t>€1.000</a:t>
              </a:r>
            </a:p>
          </p:txBody>
        </p:sp>
      </p:grpSp>
    </p:spTree>
    <p:extLst>
      <p:ext uri="{BB962C8B-B14F-4D97-AF65-F5344CB8AC3E}">
        <p14:creationId xmlns:p14="http://schemas.microsoft.com/office/powerpoint/2010/main" val="1141780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6AE0E5F-FC52-42AC-8572-FDCBA7AF3910}"/>
              </a:ext>
            </a:extLst>
          </p:cNvPr>
          <p:cNvGraphicFramePr>
            <a:graphicFrameLocks noChangeAspect="1"/>
          </p:cNvGraphicFramePr>
          <p:nvPr>
            <p:custDataLst>
              <p:tags r:id="rId1"/>
            </p:custDataLst>
            <p:extLst>
              <p:ext uri="{D42A27DB-BD31-4B8C-83A1-F6EECF244321}">
                <p14:modId xmlns:p14="http://schemas.microsoft.com/office/powerpoint/2010/main" val="386165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815DCD6F-3630-471C-91D3-2327F89DC7E4}"/>
              </a:ext>
            </a:extLst>
          </p:cNvPr>
          <p:cNvPicPr>
            <a:picLocks noChangeAspect="1"/>
          </p:cNvPicPr>
          <p:nvPr/>
        </p:nvPicPr>
        <p:blipFill>
          <a:blip r:embed="rId5"/>
          <a:stretch>
            <a:fillRect/>
          </a:stretch>
        </p:blipFill>
        <p:spPr>
          <a:xfrm rot="21080011">
            <a:off x="5451758" y="2018630"/>
            <a:ext cx="3960000" cy="2227933"/>
          </a:xfrm>
          <a:prstGeom prst="rect">
            <a:avLst/>
          </a:prstGeom>
          <a:ln w="9525">
            <a:solidFill>
              <a:srgbClr val="22777B"/>
            </a:solidFill>
          </a:ln>
        </p:spPr>
      </p:pic>
      <p:sp>
        <p:nvSpPr>
          <p:cNvPr id="14" name="Content Placeholder 2">
            <a:extLst>
              <a:ext uri="{FF2B5EF4-FFF2-40B4-BE49-F238E27FC236}">
                <a16:creationId xmlns:a16="http://schemas.microsoft.com/office/drawing/2014/main" id="{EBC748CB-F956-4701-B14B-9DE18886B5D2}"/>
              </a:ext>
            </a:extLst>
          </p:cNvPr>
          <p:cNvSpPr txBox="1">
            <a:spLocks noGrp="1"/>
          </p:cNvSpPr>
          <p:nvPr>
            <p:ph sz="quarter" idx="31"/>
          </p:nvPr>
        </p:nvSpPr>
        <p:spPr>
          <a:xfrm>
            <a:off x="661987" y="1936729"/>
            <a:ext cx="3900488" cy="4643687"/>
          </a:xfr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spcBef>
                <a:spcPts val="900"/>
              </a:spcBef>
            </a:pPr>
            <a:r>
              <a:rPr lang="nl-NL" dirty="0"/>
              <a:t>De resultaten uit deze publicatie roepen de vraag op of de mate van spreiding in tekorten acceptabel is</a:t>
            </a:r>
          </a:p>
          <a:p>
            <a:pPr>
              <a:spcBef>
                <a:spcPts val="900"/>
              </a:spcBef>
            </a:pPr>
            <a:r>
              <a:rPr lang="nl-NL" dirty="0"/>
              <a:t>Hoewel gemeenten meer kunnen doen om tekorten terug te dringen, lijkt de mate van spreiding tussen gemeenten mede inherent aan een combinatie van factoren:</a:t>
            </a:r>
          </a:p>
          <a:p>
            <a:pPr lvl="1">
              <a:spcBef>
                <a:spcPts val="300"/>
              </a:spcBef>
            </a:pPr>
            <a:r>
              <a:rPr lang="nl-NL" dirty="0"/>
              <a:t>Objectieve verdeelmodel uit het gemeentefonds </a:t>
            </a:r>
          </a:p>
          <a:p>
            <a:pPr lvl="1">
              <a:spcBef>
                <a:spcPts val="300"/>
              </a:spcBef>
            </a:pPr>
            <a:r>
              <a:rPr lang="nl-NL" dirty="0"/>
              <a:t>Woonplaatsbeginsel/zorgplicht/open einde</a:t>
            </a:r>
          </a:p>
          <a:p>
            <a:pPr lvl="1">
              <a:spcBef>
                <a:spcPts val="300"/>
              </a:spcBef>
            </a:pPr>
            <a:r>
              <a:rPr lang="nl-NL" dirty="0"/>
              <a:t>Toegang door verschillende instanties (huisarts, gecertificeerde instellingen, etc.)</a:t>
            </a:r>
          </a:p>
          <a:p>
            <a:pPr>
              <a:spcBef>
                <a:spcPts val="900"/>
              </a:spcBef>
            </a:pPr>
            <a:r>
              <a:rPr lang="nl-NL" i="1" dirty="0"/>
              <a:t>Als gedachteprikkel: </a:t>
            </a:r>
            <a:r>
              <a:rPr lang="nl-NL" dirty="0"/>
              <a:t>bij de Zorgverzekeringswet worden verzekeraars veel meer gecompenseerd voor zware doelgroepen dan gemeenten in de Jeugdwet</a:t>
            </a:r>
          </a:p>
          <a:p>
            <a:pPr>
              <a:spcBef>
                <a:spcPts val="1200"/>
              </a:spcBef>
            </a:pPr>
            <a:r>
              <a:rPr lang="nl-NL" dirty="0"/>
              <a:t>Zou dit ook wenselijk zijn in het kader van budgetten Jeugd in het licht van de bevindingen in deze publicatie?</a:t>
            </a:r>
          </a:p>
        </p:txBody>
      </p:sp>
      <p:sp>
        <p:nvSpPr>
          <p:cNvPr id="9" name="Footer Placeholder 8">
            <a:extLst>
              <a:ext uri="{FF2B5EF4-FFF2-40B4-BE49-F238E27FC236}">
                <a16:creationId xmlns:a16="http://schemas.microsoft.com/office/drawing/2014/main" id="{F7A993C7-45C9-44F7-9974-C07DE42056EC}"/>
              </a:ext>
            </a:extLst>
          </p:cNvPr>
          <p:cNvSpPr>
            <a:spLocks noGrp="1"/>
          </p:cNvSpPr>
          <p:nvPr>
            <p:ph type="ftr" sz="quarter" idx="3"/>
          </p:nvPr>
        </p:nvSpPr>
        <p:spPr>
          <a:xfrm>
            <a:off x="661800" y="6624637"/>
            <a:ext cx="10868400" cy="122400"/>
          </a:xfrm>
        </p:spPr>
        <p:txBody>
          <a:bodyPr/>
          <a:lstStyle/>
          <a:p>
            <a:r>
              <a:rPr lang="nl-NL" noProof="0" dirty="0"/>
              <a:t>Bron: it’s public analyse</a:t>
            </a:r>
          </a:p>
        </p:txBody>
      </p:sp>
      <p:sp>
        <p:nvSpPr>
          <p:cNvPr id="10" name="Slide Number Placeholder 9">
            <a:extLst>
              <a:ext uri="{FF2B5EF4-FFF2-40B4-BE49-F238E27FC236}">
                <a16:creationId xmlns:a16="http://schemas.microsoft.com/office/drawing/2014/main" id="{8493EB9B-3DA2-45A9-89A2-74D832903CF8}"/>
              </a:ext>
            </a:extLst>
          </p:cNvPr>
          <p:cNvSpPr>
            <a:spLocks noGrp="1"/>
          </p:cNvSpPr>
          <p:nvPr>
            <p:ph type="sldNum" sz="quarter" idx="12"/>
          </p:nvPr>
        </p:nvSpPr>
        <p:spPr>
          <a:xfrm>
            <a:off x="10510048" y="6583524"/>
            <a:ext cx="1023140" cy="163513"/>
          </a:xfrm>
        </p:spPr>
        <p:txBody>
          <a:bodyPr/>
          <a:lstStyle/>
          <a:p>
            <a:fld id="{992CD0B2-8AB2-4C6C-8876-E15753662C9B}" type="slidenum">
              <a:rPr lang="nl-NL" noProof="0" smtClean="0"/>
              <a:pPr/>
              <a:t>19</a:t>
            </a:fld>
            <a:endParaRPr lang="nl-NL" noProof="0"/>
          </a:p>
        </p:txBody>
      </p:sp>
      <p:sp>
        <p:nvSpPr>
          <p:cNvPr id="25" name="Text Placeholder 24">
            <a:extLst>
              <a:ext uri="{FF2B5EF4-FFF2-40B4-BE49-F238E27FC236}">
                <a16:creationId xmlns:a16="http://schemas.microsoft.com/office/drawing/2014/main" id="{55107AF6-9077-4267-BC30-E450ECA7312F}"/>
              </a:ext>
            </a:extLst>
          </p:cNvPr>
          <p:cNvSpPr>
            <a:spLocks noGrp="1"/>
          </p:cNvSpPr>
          <p:nvPr>
            <p:ph type="body" sz="quarter" idx="14"/>
          </p:nvPr>
        </p:nvSpPr>
        <p:spPr/>
        <p:txBody>
          <a:bodyPr/>
          <a:lstStyle/>
          <a:p>
            <a:r>
              <a:rPr lang="nl-NL" dirty="0"/>
              <a:t>Discussie over verevening van tekorten tussen gemeenten</a:t>
            </a:r>
          </a:p>
        </p:txBody>
      </p:sp>
      <p:sp>
        <p:nvSpPr>
          <p:cNvPr id="12" name="Title 11">
            <a:extLst>
              <a:ext uri="{FF2B5EF4-FFF2-40B4-BE49-F238E27FC236}">
                <a16:creationId xmlns:a16="http://schemas.microsoft.com/office/drawing/2014/main" id="{D049FDD6-DDFE-448F-932D-C4CB05EF2967}"/>
              </a:ext>
            </a:extLst>
          </p:cNvPr>
          <p:cNvSpPr>
            <a:spLocks noGrp="1"/>
          </p:cNvSpPr>
          <p:nvPr>
            <p:ph type="title"/>
          </p:nvPr>
        </p:nvSpPr>
        <p:spPr>
          <a:xfrm>
            <a:off x="662780" y="384876"/>
            <a:ext cx="10866441" cy="774000"/>
          </a:xfrm>
        </p:spPr>
        <p:txBody>
          <a:bodyPr vert="horz"/>
          <a:lstStyle/>
          <a:p>
            <a:r>
              <a:rPr lang="nl-NL" dirty="0"/>
              <a:t>Voor discussie: is de mate van spreiding in tekorten acceptabel of is meer verevening wenselijk?</a:t>
            </a:r>
          </a:p>
        </p:txBody>
      </p:sp>
      <p:sp>
        <p:nvSpPr>
          <p:cNvPr id="4" name="Text Placeholder 3">
            <a:extLst>
              <a:ext uri="{FF2B5EF4-FFF2-40B4-BE49-F238E27FC236}">
                <a16:creationId xmlns:a16="http://schemas.microsoft.com/office/drawing/2014/main" id="{9057C203-A5BA-4D71-97C1-B0D341B1FAD0}"/>
              </a:ext>
            </a:extLst>
          </p:cNvPr>
          <p:cNvSpPr>
            <a:spLocks noGrp="1"/>
          </p:cNvSpPr>
          <p:nvPr>
            <p:ph type="body" sz="quarter" idx="20"/>
          </p:nvPr>
        </p:nvSpPr>
        <p:spPr/>
        <p:txBody>
          <a:bodyPr/>
          <a:lstStyle/>
          <a:p>
            <a:endParaRPr lang="nl-NL"/>
          </a:p>
        </p:txBody>
      </p:sp>
      <p:pic>
        <p:nvPicPr>
          <p:cNvPr id="2" name="Picture 1">
            <a:extLst>
              <a:ext uri="{FF2B5EF4-FFF2-40B4-BE49-F238E27FC236}">
                <a16:creationId xmlns:a16="http://schemas.microsoft.com/office/drawing/2014/main" id="{E21BB776-4A06-4DD4-98AF-48A149DC1BB5}"/>
              </a:ext>
            </a:extLst>
          </p:cNvPr>
          <p:cNvPicPr>
            <a:picLocks noChangeAspect="1"/>
          </p:cNvPicPr>
          <p:nvPr/>
        </p:nvPicPr>
        <p:blipFill>
          <a:blip r:embed="rId6"/>
          <a:stretch>
            <a:fillRect/>
          </a:stretch>
        </p:blipFill>
        <p:spPr>
          <a:xfrm rot="261288">
            <a:off x="6878245" y="3279726"/>
            <a:ext cx="3960000" cy="2227933"/>
          </a:xfrm>
          <a:prstGeom prst="rect">
            <a:avLst/>
          </a:prstGeom>
          <a:ln w="9525">
            <a:solidFill>
              <a:srgbClr val="22777B"/>
            </a:solidFill>
          </a:ln>
        </p:spPr>
      </p:pic>
    </p:spTree>
    <p:extLst>
      <p:ext uri="{BB962C8B-B14F-4D97-AF65-F5344CB8AC3E}">
        <p14:creationId xmlns:p14="http://schemas.microsoft.com/office/powerpoint/2010/main" val="2649061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058A099-2812-4F6A-BE7D-B948CA55F7DD}"/>
              </a:ext>
            </a:extLst>
          </p:cNvPr>
          <p:cNvGraphicFramePr>
            <a:graphicFrameLocks noChangeAspect="1"/>
          </p:cNvGraphicFramePr>
          <p:nvPr>
            <p:custDataLst>
              <p:tags r:id="rId1"/>
            </p:custDataLst>
            <p:extLst>
              <p:ext uri="{D42A27DB-BD31-4B8C-83A1-F6EECF244321}">
                <p14:modId xmlns:p14="http://schemas.microsoft.com/office/powerpoint/2010/main" val="67450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8" name="Object 7" hidden="1">
                        <a:extLst>
                          <a:ext uri="{FF2B5EF4-FFF2-40B4-BE49-F238E27FC236}">
                            <a16:creationId xmlns:a16="http://schemas.microsoft.com/office/drawing/2014/main" id="{5058A099-2812-4F6A-BE7D-B948CA55F7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ntent Placeholder 17">
            <a:extLst>
              <a:ext uri="{FF2B5EF4-FFF2-40B4-BE49-F238E27FC236}">
                <a16:creationId xmlns:a16="http://schemas.microsoft.com/office/drawing/2014/main" id="{41D0A72F-16B4-49CD-9F96-1FE8508AD118}"/>
              </a:ext>
            </a:extLst>
          </p:cNvPr>
          <p:cNvSpPr>
            <a:spLocks noGrp="1"/>
          </p:cNvSpPr>
          <p:nvPr>
            <p:ph sz="quarter" idx="31"/>
          </p:nvPr>
        </p:nvSpPr>
        <p:spPr>
          <a:xfrm>
            <a:off x="662780" y="1936729"/>
            <a:ext cx="4488332" cy="4995294"/>
          </a:xfrm>
          <a:noFill/>
        </p:spPr>
        <p:txBody>
          <a:bodyPr>
            <a:normAutofit/>
          </a:bodyPr>
          <a:lstStyle/>
          <a:p>
            <a:pPr>
              <a:spcBef>
                <a:spcPts val="300"/>
              </a:spcBef>
            </a:pPr>
            <a:r>
              <a:rPr lang="nl-NL" sz="1600" dirty="0"/>
              <a:t>Veel gemeenten hebben een omvangrijk tekort op jeugdzorg, maar het is lastig om gemeenten onderling te vergelijken. Dit komt o.a. door:</a:t>
            </a:r>
          </a:p>
          <a:p>
            <a:pPr lvl="1">
              <a:spcBef>
                <a:spcPts val="600"/>
              </a:spcBef>
            </a:pPr>
            <a:r>
              <a:rPr lang="nl-NL" sz="1600" dirty="0"/>
              <a:t>Verschil in bevolkingsmix</a:t>
            </a:r>
          </a:p>
          <a:p>
            <a:pPr lvl="1">
              <a:spcBef>
                <a:spcPts val="600"/>
              </a:spcBef>
            </a:pPr>
            <a:r>
              <a:rPr lang="nl-NL" sz="1600" dirty="0"/>
              <a:t>Verschil in keuzes gemeentebegroting</a:t>
            </a:r>
          </a:p>
          <a:p>
            <a:pPr>
              <a:spcBef>
                <a:spcPts val="1200"/>
              </a:spcBef>
            </a:pPr>
            <a:r>
              <a:rPr lang="nl-NL" sz="1600" dirty="0"/>
              <a:t>Het doel van dit onderzoek is om deze tekorten in alle Nederlandse gemeenten objectief te vergelijken</a:t>
            </a:r>
          </a:p>
          <a:p>
            <a:pPr>
              <a:spcBef>
                <a:spcPts val="600"/>
              </a:spcBef>
            </a:pPr>
            <a:r>
              <a:rPr lang="nl-NL" sz="1600" dirty="0"/>
              <a:t>Dit geeft belangrijke stuurinformatie voor gemeenteraden in heel Nederland: het beleid zal mede gebaseerd kunnen worden op het feit of een gemeente het relatief goed of slecht doet</a:t>
            </a:r>
          </a:p>
          <a:p>
            <a:pPr>
              <a:spcBef>
                <a:spcPts val="600"/>
              </a:spcBef>
            </a:pPr>
            <a:r>
              <a:rPr lang="nl-NL" sz="1600" dirty="0"/>
              <a:t>Ook is het wellicht mogelijk om in vervolgonderzoek succesfactoren te identificeren bij gemeenten met relatief lage tekorten</a:t>
            </a:r>
          </a:p>
        </p:txBody>
      </p:sp>
      <p:sp>
        <p:nvSpPr>
          <p:cNvPr id="5" name="Slide Number Placeholder 4">
            <a:extLst>
              <a:ext uri="{FF2B5EF4-FFF2-40B4-BE49-F238E27FC236}">
                <a16:creationId xmlns:a16="http://schemas.microsoft.com/office/drawing/2014/main" id="{445697F4-E4CE-409A-B005-7265293CD60B}"/>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6" name="Text Placeholder 5">
            <a:extLst>
              <a:ext uri="{FF2B5EF4-FFF2-40B4-BE49-F238E27FC236}">
                <a16:creationId xmlns:a16="http://schemas.microsoft.com/office/drawing/2014/main" id="{C59D7733-776B-4A8C-8907-A55475C6EDE0}"/>
              </a:ext>
            </a:extLst>
          </p:cNvPr>
          <p:cNvSpPr>
            <a:spLocks noGrp="1"/>
          </p:cNvSpPr>
          <p:nvPr>
            <p:ph type="body" sz="quarter" idx="14"/>
          </p:nvPr>
        </p:nvSpPr>
        <p:spPr>
          <a:xfrm>
            <a:off x="662780" y="1203211"/>
            <a:ext cx="10866440" cy="388800"/>
          </a:xfrm>
        </p:spPr>
        <p:txBody>
          <a:bodyPr/>
          <a:lstStyle/>
          <a:p>
            <a:r>
              <a:rPr lang="nl-NL" dirty="0"/>
              <a:t>Achtergrond en doel van dit onderzoek</a:t>
            </a:r>
          </a:p>
        </p:txBody>
      </p:sp>
      <p:sp>
        <p:nvSpPr>
          <p:cNvPr id="7" name="Title 6">
            <a:extLst>
              <a:ext uri="{FF2B5EF4-FFF2-40B4-BE49-F238E27FC236}">
                <a16:creationId xmlns:a16="http://schemas.microsoft.com/office/drawing/2014/main" id="{7FB5A4A7-0DFB-452F-A05E-1D20C0A597D1}"/>
              </a:ext>
            </a:extLst>
          </p:cNvPr>
          <p:cNvSpPr>
            <a:spLocks noGrp="1"/>
          </p:cNvSpPr>
          <p:nvPr>
            <p:ph type="title"/>
          </p:nvPr>
        </p:nvSpPr>
        <p:spPr/>
        <p:txBody>
          <a:bodyPr vert="horz"/>
          <a:lstStyle/>
          <a:p>
            <a:r>
              <a:rPr lang="nl-NL" dirty="0"/>
              <a:t>Hoe zijn tekorten jeugdzorg verdeeld over Nederland?</a:t>
            </a:r>
          </a:p>
        </p:txBody>
      </p:sp>
      <p:grpSp>
        <p:nvGrpSpPr>
          <p:cNvPr id="44" name="Group 43">
            <a:extLst>
              <a:ext uri="{FF2B5EF4-FFF2-40B4-BE49-F238E27FC236}">
                <a16:creationId xmlns:a16="http://schemas.microsoft.com/office/drawing/2014/main" id="{BBD0FEB5-9431-447A-88F5-58087E4B9910}"/>
              </a:ext>
            </a:extLst>
          </p:cNvPr>
          <p:cNvGrpSpPr/>
          <p:nvPr/>
        </p:nvGrpSpPr>
        <p:grpSpPr>
          <a:xfrm>
            <a:off x="6319560" y="1837441"/>
            <a:ext cx="3883983" cy="4302076"/>
            <a:chOff x="4060817" y="1174739"/>
            <a:chExt cx="4070365" cy="4508521"/>
          </a:xfrm>
          <a:solidFill>
            <a:schemeClr val="accent5"/>
          </a:solidFill>
        </p:grpSpPr>
        <p:sp>
          <p:nvSpPr>
            <p:cNvPr id="45" name="Raalte">
              <a:extLst>
                <a:ext uri="{FF2B5EF4-FFF2-40B4-BE49-F238E27FC236}">
                  <a16:creationId xmlns:a16="http://schemas.microsoft.com/office/drawing/2014/main" id="{B2D33004-8E98-4AB6-A759-30721445AE15}"/>
                </a:ext>
              </a:extLst>
            </p:cNvPr>
            <p:cNvSpPr/>
            <p:nvPr/>
          </p:nvSpPr>
          <p:spPr>
            <a:xfrm>
              <a:off x="7018492" y="2907799"/>
              <a:ext cx="273729" cy="281887"/>
            </a:xfrm>
            <a:custGeom>
              <a:avLst/>
              <a:gdLst/>
              <a:ahLst/>
              <a:cxnLst/>
              <a:rect l="l" t="t" r="r" b="b"/>
              <a:pathLst>
                <a:path w="398077" h="422910" extrusionOk="0">
                  <a:moveTo>
                    <a:pt x="31194" y="4114"/>
                  </a:moveTo>
                  <a:lnTo>
                    <a:pt x="44684" y="17281"/>
                  </a:lnTo>
                  <a:lnTo>
                    <a:pt x="49742" y="18927"/>
                  </a:lnTo>
                  <a:lnTo>
                    <a:pt x="54801" y="12344"/>
                  </a:lnTo>
                  <a:lnTo>
                    <a:pt x="68291" y="18927"/>
                  </a:lnTo>
                  <a:lnTo>
                    <a:pt x="91898" y="17281"/>
                  </a:lnTo>
                  <a:lnTo>
                    <a:pt x="108760" y="27156"/>
                  </a:lnTo>
                  <a:lnTo>
                    <a:pt x="142485" y="23865"/>
                  </a:lnTo>
                  <a:lnTo>
                    <a:pt x="169464" y="30448"/>
                  </a:lnTo>
                  <a:lnTo>
                    <a:pt x="206561" y="43615"/>
                  </a:lnTo>
                  <a:lnTo>
                    <a:pt x="206561" y="68303"/>
                  </a:lnTo>
                  <a:lnTo>
                    <a:pt x="225110" y="69949"/>
                  </a:lnTo>
                  <a:lnTo>
                    <a:pt x="226796" y="97928"/>
                  </a:lnTo>
                  <a:lnTo>
                    <a:pt x="241972" y="96283"/>
                  </a:lnTo>
                  <a:lnTo>
                    <a:pt x="243658" y="106158"/>
                  </a:lnTo>
                  <a:lnTo>
                    <a:pt x="262207" y="101220"/>
                  </a:lnTo>
                  <a:lnTo>
                    <a:pt x="268951" y="102866"/>
                  </a:lnTo>
                  <a:lnTo>
                    <a:pt x="292559" y="120971"/>
                  </a:lnTo>
                  <a:lnTo>
                    <a:pt x="295931" y="114387"/>
                  </a:lnTo>
                  <a:lnTo>
                    <a:pt x="306049" y="119325"/>
                  </a:lnTo>
                  <a:lnTo>
                    <a:pt x="314480" y="120971"/>
                  </a:lnTo>
                  <a:lnTo>
                    <a:pt x="316166" y="116033"/>
                  </a:lnTo>
                  <a:lnTo>
                    <a:pt x="324597" y="117679"/>
                  </a:lnTo>
                  <a:lnTo>
                    <a:pt x="324597" y="109449"/>
                  </a:lnTo>
                  <a:lnTo>
                    <a:pt x="343145" y="112741"/>
                  </a:lnTo>
                  <a:lnTo>
                    <a:pt x="361694" y="112741"/>
                  </a:lnTo>
                  <a:lnTo>
                    <a:pt x="361694" y="107803"/>
                  </a:lnTo>
                  <a:lnTo>
                    <a:pt x="376870" y="111095"/>
                  </a:lnTo>
                  <a:lnTo>
                    <a:pt x="400477" y="142367"/>
                  </a:lnTo>
                  <a:lnTo>
                    <a:pt x="375184" y="227952"/>
                  </a:lnTo>
                  <a:lnTo>
                    <a:pt x="366753" y="226306"/>
                  </a:lnTo>
                  <a:lnTo>
                    <a:pt x="327969" y="236181"/>
                  </a:lnTo>
                  <a:lnTo>
                    <a:pt x="307735" y="252639"/>
                  </a:lnTo>
                  <a:lnTo>
                    <a:pt x="292559" y="298724"/>
                  </a:lnTo>
                  <a:lnTo>
                    <a:pt x="307735" y="341516"/>
                  </a:lnTo>
                  <a:lnTo>
                    <a:pt x="327969" y="377725"/>
                  </a:lnTo>
                  <a:lnTo>
                    <a:pt x="284128" y="418872"/>
                  </a:lnTo>
                  <a:lnTo>
                    <a:pt x="252089" y="422163"/>
                  </a:lnTo>
                  <a:lnTo>
                    <a:pt x="194758" y="422163"/>
                  </a:lnTo>
                  <a:lnTo>
                    <a:pt x="145857" y="389246"/>
                  </a:lnTo>
                  <a:lnTo>
                    <a:pt x="145857" y="354683"/>
                  </a:lnTo>
                  <a:lnTo>
                    <a:pt x="140798" y="353037"/>
                  </a:lnTo>
                  <a:lnTo>
                    <a:pt x="139112" y="338225"/>
                  </a:lnTo>
                  <a:lnTo>
                    <a:pt x="145857" y="328349"/>
                  </a:lnTo>
                  <a:lnTo>
                    <a:pt x="125622" y="310245"/>
                  </a:lnTo>
                  <a:lnTo>
                    <a:pt x="86839" y="298724"/>
                  </a:lnTo>
                  <a:lnTo>
                    <a:pt x="83467" y="290494"/>
                  </a:lnTo>
                  <a:lnTo>
                    <a:pt x="85153" y="283911"/>
                  </a:lnTo>
                  <a:lnTo>
                    <a:pt x="81780" y="282265"/>
                  </a:lnTo>
                  <a:lnTo>
                    <a:pt x="73349" y="269098"/>
                  </a:lnTo>
                  <a:lnTo>
                    <a:pt x="75036" y="241118"/>
                  </a:lnTo>
                  <a:lnTo>
                    <a:pt x="83467" y="246056"/>
                  </a:lnTo>
                  <a:lnTo>
                    <a:pt x="85153" y="250994"/>
                  </a:lnTo>
                  <a:lnTo>
                    <a:pt x="91898" y="252639"/>
                  </a:lnTo>
                  <a:lnTo>
                    <a:pt x="91898" y="246056"/>
                  </a:lnTo>
                  <a:lnTo>
                    <a:pt x="90212" y="244410"/>
                  </a:lnTo>
                  <a:lnTo>
                    <a:pt x="95270" y="241118"/>
                  </a:lnTo>
                  <a:lnTo>
                    <a:pt x="95270" y="236181"/>
                  </a:lnTo>
                  <a:lnTo>
                    <a:pt x="88525" y="231243"/>
                  </a:lnTo>
                  <a:lnTo>
                    <a:pt x="91898" y="231243"/>
                  </a:lnTo>
                  <a:lnTo>
                    <a:pt x="91898" y="223014"/>
                  </a:lnTo>
                  <a:lnTo>
                    <a:pt x="102015" y="223014"/>
                  </a:lnTo>
                  <a:lnTo>
                    <a:pt x="100329" y="219722"/>
                  </a:lnTo>
                  <a:lnTo>
                    <a:pt x="93584" y="219722"/>
                  </a:lnTo>
                  <a:lnTo>
                    <a:pt x="96957" y="214785"/>
                  </a:lnTo>
                  <a:lnTo>
                    <a:pt x="115505" y="216431"/>
                  </a:lnTo>
                  <a:lnTo>
                    <a:pt x="118878" y="218076"/>
                  </a:lnTo>
                  <a:lnTo>
                    <a:pt x="135740" y="206555"/>
                  </a:lnTo>
                  <a:lnTo>
                    <a:pt x="139112" y="198326"/>
                  </a:lnTo>
                  <a:lnTo>
                    <a:pt x="135740" y="188451"/>
                  </a:lnTo>
                  <a:lnTo>
                    <a:pt x="137426" y="188451"/>
                  </a:lnTo>
                  <a:lnTo>
                    <a:pt x="122250" y="160471"/>
                  </a:lnTo>
                  <a:lnTo>
                    <a:pt x="135740" y="125908"/>
                  </a:lnTo>
                  <a:lnTo>
                    <a:pt x="100329" y="120971"/>
                  </a:lnTo>
                  <a:lnTo>
                    <a:pt x="102015" y="116033"/>
                  </a:lnTo>
                  <a:lnTo>
                    <a:pt x="98643" y="114387"/>
                  </a:lnTo>
                  <a:lnTo>
                    <a:pt x="83467" y="117679"/>
                  </a:lnTo>
                  <a:lnTo>
                    <a:pt x="78408" y="114387"/>
                  </a:lnTo>
                  <a:lnTo>
                    <a:pt x="78408" y="107803"/>
                  </a:lnTo>
                  <a:lnTo>
                    <a:pt x="75036" y="109449"/>
                  </a:lnTo>
                  <a:lnTo>
                    <a:pt x="75036" y="104512"/>
                  </a:lnTo>
                  <a:lnTo>
                    <a:pt x="54801" y="107803"/>
                  </a:lnTo>
                  <a:lnTo>
                    <a:pt x="24449" y="55136"/>
                  </a:lnTo>
                  <a:lnTo>
                    <a:pt x="19390" y="55136"/>
                  </a:lnTo>
                  <a:lnTo>
                    <a:pt x="16018" y="45261"/>
                  </a:lnTo>
                  <a:lnTo>
                    <a:pt x="16018" y="37031"/>
                  </a:lnTo>
                  <a:lnTo>
                    <a:pt x="4214" y="20573"/>
                  </a:lnTo>
                  <a:lnTo>
                    <a:pt x="14332" y="12344"/>
                  </a:lnTo>
                  <a:lnTo>
                    <a:pt x="3119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46" name="Hilvarenbeek">
              <a:extLst>
                <a:ext uri="{FF2B5EF4-FFF2-40B4-BE49-F238E27FC236}">
                  <a16:creationId xmlns:a16="http://schemas.microsoft.com/office/drawing/2014/main" id="{7D346B8D-10D4-4749-B3B8-6C2A2D2E792F}"/>
                </a:ext>
              </a:extLst>
            </p:cNvPr>
            <p:cNvSpPr/>
            <p:nvPr/>
          </p:nvSpPr>
          <p:spPr>
            <a:xfrm>
              <a:off x="5860745" y="4405423"/>
              <a:ext cx="228214" cy="193898"/>
            </a:xfrm>
            <a:custGeom>
              <a:avLst/>
              <a:gdLst/>
              <a:ahLst/>
              <a:cxnLst/>
              <a:rect l="l" t="t" r="r" b="b"/>
              <a:pathLst>
                <a:path w="316120" h="285750" extrusionOk="0">
                  <a:moveTo>
                    <a:pt x="125622" y="33740"/>
                  </a:moveTo>
                  <a:lnTo>
                    <a:pt x="154288" y="63365"/>
                  </a:lnTo>
                  <a:lnTo>
                    <a:pt x="159347" y="58428"/>
                  </a:lnTo>
                  <a:lnTo>
                    <a:pt x="176209" y="74886"/>
                  </a:lnTo>
                  <a:lnTo>
                    <a:pt x="177895" y="73241"/>
                  </a:lnTo>
                  <a:lnTo>
                    <a:pt x="182954" y="79824"/>
                  </a:lnTo>
                  <a:lnTo>
                    <a:pt x="186326" y="79824"/>
                  </a:lnTo>
                  <a:lnTo>
                    <a:pt x="193071" y="89699"/>
                  </a:lnTo>
                  <a:lnTo>
                    <a:pt x="201503" y="88053"/>
                  </a:lnTo>
                  <a:lnTo>
                    <a:pt x="206561" y="94637"/>
                  </a:lnTo>
                  <a:lnTo>
                    <a:pt x="223423" y="97928"/>
                  </a:lnTo>
                  <a:lnTo>
                    <a:pt x="231855" y="92991"/>
                  </a:lnTo>
                  <a:lnTo>
                    <a:pt x="260520" y="88053"/>
                  </a:lnTo>
                  <a:lnTo>
                    <a:pt x="275696" y="74886"/>
                  </a:lnTo>
                  <a:lnTo>
                    <a:pt x="279069" y="97928"/>
                  </a:lnTo>
                  <a:lnTo>
                    <a:pt x="289186" y="94637"/>
                  </a:lnTo>
                  <a:lnTo>
                    <a:pt x="294245" y="83116"/>
                  </a:lnTo>
                  <a:lnTo>
                    <a:pt x="317852" y="92991"/>
                  </a:lnTo>
                  <a:lnTo>
                    <a:pt x="317852" y="101220"/>
                  </a:lnTo>
                  <a:lnTo>
                    <a:pt x="312793" y="101220"/>
                  </a:lnTo>
                  <a:lnTo>
                    <a:pt x="311107" y="119325"/>
                  </a:lnTo>
                  <a:lnTo>
                    <a:pt x="282441" y="119325"/>
                  </a:lnTo>
                  <a:lnTo>
                    <a:pt x="285814" y="137429"/>
                  </a:lnTo>
                  <a:lnTo>
                    <a:pt x="284128" y="140721"/>
                  </a:lnTo>
                  <a:lnTo>
                    <a:pt x="277382" y="142367"/>
                  </a:lnTo>
                  <a:lnTo>
                    <a:pt x="270638" y="181867"/>
                  </a:lnTo>
                  <a:lnTo>
                    <a:pt x="253776" y="198326"/>
                  </a:lnTo>
                  <a:lnTo>
                    <a:pt x="225109" y="283911"/>
                  </a:lnTo>
                  <a:lnTo>
                    <a:pt x="214992" y="287203"/>
                  </a:lnTo>
                  <a:lnTo>
                    <a:pt x="204875" y="283911"/>
                  </a:lnTo>
                  <a:lnTo>
                    <a:pt x="196444" y="288849"/>
                  </a:lnTo>
                  <a:lnTo>
                    <a:pt x="193071" y="285557"/>
                  </a:lnTo>
                  <a:lnTo>
                    <a:pt x="174523" y="278973"/>
                  </a:lnTo>
                  <a:lnTo>
                    <a:pt x="172837" y="287203"/>
                  </a:lnTo>
                  <a:lnTo>
                    <a:pt x="166092" y="288849"/>
                  </a:lnTo>
                  <a:lnTo>
                    <a:pt x="164405" y="287203"/>
                  </a:lnTo>
                  <a:lnTo>
                    <a:pt x="113819" y="288849"/>
                  </a:lnTo>
                  <a:lnTo>
                    <a:pt x="86839" y="287203"/>
                  </a:lnTo>
                  <a:lnTo>
                    <a:pt x="90212" y="280619"/>
                  </a:lnTo>
                  <a:lnTo>
                    <a:pt x="51428" y="185159"/>
                  </a:lnTo>
                  <a:lnTo>
                    <a:pt x="5900" y="185159"/>
                  </a:lnTo>
                  <a:lnTo>
                    <a:pt x="4214" y="183513"/>
                  </a:lnTo>
                  <a:lnTo>
                    <a:pt x="9273" y="145658"/>
                  </a:lnTo>
                  <a:lnTo>
                    <a:pt x="34566" y="150596"/>
                  </a:lnTo>
                  <a:lnTo>
                    <a:pt x="36253" y="147304"/>
                  </a:lnTo>
                  <a:lnTo>
                    <a:pt x="26135" y="132492"/>
                  </a:lnTo>
                  <a:lnTo>
                    <a:pt x="48056" y="112741"/>
                  </a:lnTo>
                  <a:lnTo>
                    <a:pt x="42997" y="107803"/>
                  </a:lnTo>
                  <a:lnTo>
                    <a:pt x="66605" y="88053"/>
                  </a:lnTo>
                  <a:lnTo>
                    <a:pt x="78408" y="91345"/>
                  </a:lnTo>
                  <a:lnTo>
                    <a:pt x="81780" y="78178"/>
                  </a:lnTo>
                  <a:lnTo>
                    <a:pt x="76722" y="73241"/>
                  </a:lnTo>
                  <a:lnTo>
                    <a:pt x="85153" y="66657"/>
                  </a:lnTo>
                  <a:lnTo>
                    <a:pt x="81780" y="61719"/>
                  </a:lnTo>
                  <a:lnTo>
                    <a:pt x="85153" y="60074"/>
                  </a:lnTo>
                  <a:lnTo>
                    <a:pt x="81780" y="55136"/>
                  </a:lnTo>
                  <a:lnTo>
                    <a:pt x="91898" y="46907"/>
                  </a:lnTo>
                  <a:lnTo>
                    <a:pt x="85153" y="40323"/>
                  </a:lnTo>
                  <a:lnTo>
                    <a:pt x="91898" y="33740"/>
                  </a:lnTo>
                  <a:lnTo>
                    <a:pt x="93584" y="35386"/>
                  </a:lnTo>
                  <a:lnTo>
                    <a:pt x="98643" y="27156"/>
                  </a:lnTo>
                  <a:lnTo>
                    <a:pt x="100329" y="20573"/>
                  </a:lnTo>
                  <a:lnTo>
                    <a:pt x="105388" y="17281"/>
                  </a:lnTo>
                  <a:lnTo>
                    <a:pt x="105388" y="13989"/>
                  </a:lnTo>
                  <a:lnTo>
                    <a:pt x="113819" y="4114"/>
                  </a:lnTo>
                  <a:lnTo>
                    <a:pt x="125622" y="3374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47" name="Eijsden-Margraten">
              <a:extLst>
                <a:ext uri="{FF2B5EF4-FFF2-40B4-BE49-F238E27FC236}">
                  <a16:creationId xmlns:a16="http://schemas.microsoft.com/office/drawing/2014/main" id="{BBC5D0A4-1F1D-4872-9297-26A1FD49BD25}"/>
                </a:ext>
              </a:extLst>
            </p:cNvPr>
            <p:cNvSpPr/>
            <p:nvPr/>
          </p:nvSpPr>
          <p:spPr>
            <a:xfrm>
              <a:off x="6546680" y="5516609"/>
              <a:ext cx="196608" cy="163656"/>
            </a:xfrm>
            <a:custGeom>
              <a:avLst/>
              <a:gdLst/>
              <a:ahLst/>
              <a:cxnLst/>
              <a:rect l="l" t="t" r="r" b="b"/>
              <a:pathLst>
                <a:path w="280996" h="240030" extrusionOk="0">
                  <a:moveTo>
                    <a:pt x="125622" y="4114"/>
                  </a:moveTo>
                  <a:lnTo>
                    <a:pt x="142485" y="10697"/>
                  </a:lnTo>
                  <a:lnTo>
                    <a:pt x="149230" y="9051"/>
                  </a:lnTo>
                  <a:lnTo>
                    <a:pt x="154288" y="10697"/>
                  </a:lnTo>
                  <a:lnTo>
                    <a:pt x="157661" y="17280"/>
                  </a:lnTo>
                  <a:lnTo>
                    <a:pt x="174523" y="17280"/>
                  </a:lnTo>
                  <a:lnTo>
                    <a:pt x="188013" y="20573"/>
                  </a:lnTo>
                  <a:lnTo>
                    <a:pt x="189699" y="17280"/>
                  </a:lnTo>
                  <a:lnTo>
                    <a:pt x="199816" y="37031"/>
                  </a:lnTo>
                  <a:lnTo>
                    <a:pt x="204875" y="40323"/>
                  </a:lnTo>
                  <a:lnTo>
                    <a:pt x="208247" y="37031"/>
                  </a:lnTo>
                  <a:lnTo>
                    <a:pt x="221737" y="43615"/>
                  </a:lnTo>
                  <a:lnTo>
                    <a:pt x="220051" y="60073"/>
                  </a:lnTo>
                  <a:lnTo>
                    <a:pt x="226796" y="65011"/>
                  </a:lnTo>
                  <a:lnTo>
                    <a:pt x="245344" y="65011"/>
                  </a:lnTo>
                  <a:lnTo>
                    <a:pt x="247030" y="61719"/>
                  </a:lnTo>
                  <a:lnTo>
                    <a:pt x="243658" y="50198"/>
                  </a:lnTo>
                  <a:lnTo>
                    <a:pt x="255462" y="56781"/>
                  </a:lnTo>
                  <a:lnTo>
                    <a:pt x="257148" y="55135"/>
                  </a:lnTo>
                  <a:lnTo>
                    <a:pt x="267265" y="60073"/>
                  </a:lnTo>
                  <a:lnTo>
                    <a:pt x="277383" y="60073"/>
                  </a:lnTo>
                  <a:lnTo>
                    <a:pt x="280755" y="55135"/>
                  </a:lnTo>
                  <a:lnTo>
                    <a:pt x="287500" y="79823"/>
                  </a:lnTo>
                  <a:lnTo>
                    <a:pt x="277383" y="88053"/>
                  </a:lnTo>
                  <a:lnTo>
                    <a:pt x="275697" y="84761"/>
                  </a:lnTo>
                  <a:lnTo>
                    <a:pt x="270638" y="86407"/>
                  </a:lnTo>
                  <a:lnTo>
                    <a:pt x="267265" y="89699"/>
                  </a:lnTo>
                  <a:lnTo>
                    <a:pt x="270638" y="92990"/>
                  </a:lnTo>
                  <a:lnTo>
                    <a:pt x="263893" y="101220"/>
                  </a:lnTo>
                  <a:lnTo>
                    <a:pt x="258834" y="99574"/>
                  </a:lnTo>
                  <a:lnTo>
                    <a:pt x="250403" y="119324"/>
                  </a:lnTo>
                  <a:lnTo>
                    <a:pt x="238599" y="116032"/>
                  </a:lnTo>
                  <a:lnTo>
                    <a:pt x="218365" y="124262"/>
                  </a:lnTo>
                  <a:lnTo>
                    <a:pt x="221737" y="132491"/>
                  </a:lnTo>
                  <a:lnTo>
                    <a:pt x="221737" y="145658"/>
                  </a:lnTo>
                  <a:lnTo>
                    <a:pt x="231855" y="160471"/>
                  </a:lnTo>
                  <a:lnTo>
                    <a:pt x="238599" y="163762"/>
                  </a:lnTo>
                  <a:lnTo>
                    <a:pt x="240286" y="168700"/>
                  </a:lnTo>
                  <a:lnTo>
                    <a:pt x="245344" y="168700"/>
                  </a:lnTo>
                  <a:lnTo>
                    <a:pt x="243658" y="173638"/>
                  </a:lnTo>
                  <a:lnTo>
                    <a:pt x="241972" y="175284"/>
                  </a:lnTo>
                  <a:lnTo>
                    <a:pt x="243658" y="180221"/>
                  </a:lnTo>
                  <a:lnTo>
                    <a:pt x="248717" y="181867"/>
                  </a:lnTo>
                  <a:lnTo>
                    <a:pt x="257148" y="196680"/>
                  </a:lnTo>
                  <a:lnTo>
                    <a:pt x="255462" y="199971"/>
                  </a:lnTo>
                  <a:lnTo>
                    <a:pt x="258834" y="208201"/>
                  </a:lnTo>
                  <a:lnTo>
                    <a:pt x="258834" y="219722"/>
                  </a:lnTo>
                  <a:lnTo>
                    <a:pt x="248717" y="224659"/>
                  </a:lnTo>
                  <a:lnTo>
                    <a:pt x="236913" y="237826"/>
                  </a:lnTo>
                  <a:lnTo>
                    <a:pt x="223424" y="236181"/>
                  </a:lnTo>
                  <a:lnTo>
                    <a:pt x="211620" y="242764"/>
                  </a:lnTo>
                  <a:lnTo>
                    <a:pt x="199816" y="242764"/>
                  </a:lnTo>
                  <a:lnTo>
                    <a:pt x="177895" y="209846"/>
                  </a:lnTo>
                  <a:lnTo>
                    <a:pt x="164406" y="216430"/>
                  </a:lnTo>
                  <a:lnTo>
                    <a:pt x="155974" y="199971"/>
                  </a:lnTo>
                  <a:lnTo>
                    <a:pt x="152602" y="178575"/>
                  </a:lnTo>
                  <a:lnTo>
                    <a:pt x="147543" y="178575"/>
                  </a:lnTo>
                  <a:lnTo>
                    <a:pt x="134053" y="180221"/>
                  </a:lnTo>
                  <a:lnTo>
                    <a:pt x="102015" y="213138"/>
                  </a:lnTo>
                  <a:lnTo>
                    <a:pt x="95270" y="226306"/>
                  </a:lnTo>
                  <a:lnTo>
                    <a:pt x="96957" y="231243"/>
                  </a:lnTo>
                  <a:lnTo>
                    <a:pt x="93584" y="241118"/>
                  </a:lnTo>
                  <a:lnTo>
                    <a:pt x="80094" y="241118"/>
                  </a:lnTo>
                  <a:lnTo>
                    <a:pt x="69977" y="232888"/>
                  </a:lnTo>
                  <a:lnTo>
                    <a:pt x="68291" y="224659"/>
                  </a:lnTo>
                  <a:lnTo>
                    <a:pt x="63232" y="223013"/>
                  </a:lnTo>
                  <a:lnTo>
                    <a:pt x="56487" y="234535"/>
                  </a:lnTo>
                  <a:lnTo>
                    <a:pt x="51428" y="232888"/>
                  </a:lnTo>
                  <a:lnTo>
                    <a:pt x="42997" y="239472"/>
                  </a:lnTo>
                  <a:lnTo>
                    <a:pt x="36252" y="237826"/>
                  </a:lnTo>
                  <a:lnTo>
                    <a:pt x="31194" y="246056"/>
                  </a:lnTo>
                  <a:lnTo>
                    <a:pt x="14332" y="244410"/>
                  </a:lnTo>
                  <a:lnTo>
                    <a:pt x="12645" y="239472"/>
                  </a:lnTo>
                  <a:lnTo>
                    <a:pt x="4214" y="239472"/>
                  </a:lnTo>
                  <a:lnTo>
                    <a:pt x="4214" y="229597"/>
                  </a:lnTo>
                  <a:lnTo>
                    <a:pt x="27821" y="203264"/>
                  </a:lnTo>
                  <a:lnTo>
                    <a:pt x="26135" y="195034"/>
                  </a:lnTo>
                  <a:lnTo>
                    <a:pt x="29507" y="195034"/>
                  </a:lnTo>
                  <a:lnTo>
                    <a:pt x="31194" y="186804"/>
                  </a:lnTo>
                  <a:lnTo>
                    <a:pt x="34566" y="181867"/>
                  </a:lnTo>
                  <a:lnTo>
                    <a:pt x="32880" y="173638"/>
                  </a:lnTo>
                  <a:lnTo>
                    <a:pt x="17704" y="148950"/>
                  </a:lnTo>
                  <a:lnTo>
                    <a:pt x="17704" y="142367"/>
                  </a:lnTo>
                  <a:lnTo>
                    <a:pt x="31194" y="125908"/>
                  </a:lnTo>
                  <a:lnTo>
                    <a:pt x="26135" y="117678"/>
                  </a:lnTo>
                  <a:lnTo>
                    <a:pt x="46370" y="117678"/>
                  </a:lnTo>
                  <a:lnTo>
                    <a:pt x="44684" y="125908"/>
                  </a:lnTo>
                  <a:lnTo>
                    <a:pt x="58173" y="129199"/>
                  </a:lnTo>
                  <a:lnTo>
                    <a:pt x="58173" y="102866"/>
                  </a:lnTo>
                  <a:lnTo>
                    <a:pt x="68291" y="102866"/>
                  </a:lnTo>
                  <a:lnTo>
                    <a:pt x="76722" y="94636"/>
                  </a:lnTo>
                  <a:lnTo>
                    <a:pt x="98643" y="86407"/>
                  </a:lnTo>
                  <a:lnTo>
                    <a:pt x="103701" y="65011"/>
                  </a:lnTo>
                  <a:lnTo>
                    <a:pt x="102015" y="51844"/>
                  </a:lnTo>
                  <a:lnTo>
                    <a:pt x="103701" y="51844"/>
                  </a:lnTo>
                  <a:lnTo>
                    <a:pt x="103701" y="46906"/>
                  </a:lnTo>
                  <a:lnTo>
                    <a:pt x="93584" y="45260"/>
                  </a:lnTo>
                  <a:lnTo>
                    <a:pt x="95270" y="43615"/>
                  </a:lnTo>
                  <a:lnTo>
                    <a:pt x="95270" y="40323"/>
                  </a:lnTo>
                  <a:lnTo>
                    <a:pt x="117191" y="37031"/>
                  </a:lnTo>
                  <a:lnTo>
                    <a:pt x="120564" y="28802"/>
                  </a:lnTo>
                  <a:lnTo>
                    <a:pt x="120564" y="4114"/>
                  </a:lnTo>
                  <a:lnTo>
                    <a:pt x="12562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48" name="Laarbeek">
              <a:extLst>
                <a:ext uri="{FF2B5EF4-FFF2-40B4-BE49-F238E27FC236}">
                  <a16:creationId xmlns:a16="http://schemas.microsoft.com/office/drawing/2014/main" id="{5A252EB8-3A46-476B-A5F8-37E58839D46F}"/>
                </a:ext>
              </a:extLst>
            </p:cNvPr>
            <p:cNvSpPr/>
            <p:nvPr/>
          </p:nvSpPr>
          <p:spPr>
            <a:xfrm>
              <a:off x="6382424" y="4365432"/>
              <a:ext cx="161801" cy="125852"/>
            </a:xfrm>
            <a:custGeom>
              <a:avLst/>
              <a:gdLst/>
              <a:ahLst/>
              <a:cxnLst/>
              <a:rect l="l" t="t" r="r" b="b"/>
              <a:pathLst>
                <a:path w="234163" h="182880" extrusionOk="0">
                  <a:moveTo>
                    <a:pt x="191385" y="13989"/>
                  </a:moveTo>
                  <a:lnTo>
                    <a:pt x="199816" y="46906"/>
                  </a:lnTo>
                  <a:lnTo>
                    <a:pt x="209934" y="73240"/>
                  </a:lnTo>
                  <a:lnTo>
                    <a:pt x="223423" y="92991"/>
                  </a:lnTo>
                  <a:lnTo>
                    <a:pt x="233541" y="104512"/>
                  </a:lnTo>
                  <a:lnTo>
                    <a:pt x="228482" y="102866"/>
                  </a:lnTo>
                  <a:lnTo>
                    <a:pt x="226796" y="106158"/>
                  </a:lnTo>
                  <a:lnTo>
                    <a:pt x="231854" y="107803"/>
                  </a:lnTo>
                  <a:lnTo>
                    <a:pt x="221737" y="109449"/>
                  </a:lnTo>
                  <a:lnTo>
                    <a:pt x="221737" y="111095"/>
                  </a:lnTo>
                  <a:lnTo>
                    <a:pt x="225109" y="112741"/>
                  </a:lnTo>
                  <a:lnTo>
                    <a:pt x="238599" y="132491"/>
                  </a:lnTo>
                  <a:lnTo>
                    <a:pt x="236913" y="139075"/>
                  </a:lnTo>
                  <a:lnTo>
                    <a:pt x="240286" y="140720"/>
                  </a:lnTo>
                  <a:lnTo>
                    <a:pt x="235227" y="160471"/>
                  </a:lnTo>
                  <a:lnTo>
                    <a:pt x="220051" y="158825"/>
                  </a:lnTo>
                  <a:lnTo>
                    <a:pt x="214992" y="162117"/>
                  </a:lnTo>
                  <a:lnTo>
                    <a:pt x="223423" y="173638"/>
                  </a:lnTo>
                  <a:lnTo>
                    <a:pt x="204875" y="165409"/>
                  </a:lnTo>
                  <a:lnTo>
                    <a:pt x="194757" y="153888"/>
                  </a:lnTo>
                  <a:lnTo>
                    <a:pt x="189699" y="162117"/>
                  </a:lnTo>
                  <a:lnTo>
                    <a:pt x="176209" y="167054"/>
                  </a:lnTo>
                  <a:lnTo>
                    <a:pt x="161033" y="183513"/>
                  </a:lnTo>
                  <a:lnTo>
                    <a:pt x="149229" y="181867"/>
                  </a:lnTo>
                  <a:lnTo>
                    <a:pt x="147543" y="175284"/>
                  </a:lnTo>
                  <a:lnTo>
                    <a:pt x="135740" y="175284"/>
                  </a:lnTo>
                  <a:lnTo>
                    <a:pt x="130681" y="170346"/>
                  </a:lnTo>
                  <a:lnTo>
                    <a:pt x="123936" y="160471"/>
                  </a:lnTo>
                  <a:lnTo>
                    <a:pt x="125622" y="152242"/>
                  </a:lnTo>
                  <a:lnTo>
                    <a:pt x="122250" y="148950"/>
                  </a:lnTo>
                  <a:lnTo>
                    <a:pt x="76722" y="175284"/>
                  </a:lnTo>
                  <a:lnTo>
                    <a:pt x="56487" y="168700"/>
                  </a:lnTo>
                  <a:lnTo>
                    <a:pt x="41311" y="148950"/>
                  </a:lnTo>
                  <a:lnTo>
                    <a:pt x="26135" y="79824"/>
                  </a:lnTo>
                  <a:lnTo>
                    <a:pt x="19390" y="74886"/>
                  </a:lnTo>
                  <a:lnTo>
                    <a:pt x="22763" y="71594"/>
                  </a:lnTo>
                  <a:lnTo>
                    <a:pt x="4214" y="32094"/>
                  </a:lnTo>
                  <a:lnTo>
                    <a:pt x="34566" y="30448"/>
                  </a:lnTo>
                  <a:lnTo>
                    <a:pt x="83467" y="20573"/>
                  </a:lnTo>
                  <a:lnTo>
                    <a:pt x="120563" y="27156"/>
                  </a:lnTo>
                  <a:lnTo>
                    <a:pt x="128995" y="40323"/>
                  </a:lnTo>
                  <a:lnTo>
                    <a:pt x="135740" y="37031"/>
                  </a:lnTo>
                  <a:lnTo>
                    <a:pt x="137426" y="41969"/>
                  </a:lnTo>
                  <a:lnTo>
                    <a:pt x="140798" y="43615"/>
                  </a:lnTo>
                  <a:lnTo>
                    <a:pt x="149229" y="38677"/>
                  </a:lnTo>
                  <a:lnTo>
                    <a:pt x="169464" y="15635"/>
                  </a:lnTo>
                  <a:lnTo>
                    <a:pt x="188013" y="4114"/>
                  </a:lnTo>
                  <a:lnTo>
                    <a:pt x="191385"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49" name="Beuningen">
              <a:extLst>
                <a:ext uri="{FF2B5EF4-FFF2-40B4-BE49-F238E27FC236}">
                  <a16:creationId xmlns:a16="http://schemas.microsoft.com/office/drawing/2014/main" id="{CA20980C-071E-40C9-8051-45A94F9E737D}"/>
                </a:ext>
              </a:extLst>
            </p:cNvPr>
            <p:cNvSpPr/>
            <p:nvPr/>
          </p:nvSpPr>
          <p:spPr>
            <a:xfrm>
              <a:off x="6517937" y="3847513"/>
              <a:ext cx="171701" cy="102041"/>
            </a:xfrm>
            <a:custGeom>
              <a:avLst/>
              <a:gdLst/>
              <a:ahLst/>
              <a:cxnLst/>
              <a:rect l="l" t="t" r="r" b="b"/>
              <a:pathLst>
                <a:path w="245871" h="160020" extrusionOk="0">
                  <a:moveTo>
                    <a:pt x="243658" y="94637"/>
                  </a:moveTo>
                  <a:lnTo>
                    <a:pt x="233541" y="114387"/>
                  </a:lnTo>
                  <a:lnTo>
                    <a:pt x="226796" y="114387"/>
                  </a:lnTo>
                  <a:lnTo>
                    <a:pt x="218365" y="109449"/>
                  </a:lnTo>
                  <a:lnTo>
                    <a:pt x="214992" y="114387"/>
                  </a:lnTo>
                  <a:lnTo>
                    <a:pt x="188013" y="135783"/>
                  </a:lnTo>
                  <a:lnTo>
                    <a:pt x="179582" y="132492"/>
                  </a:lnTo>
                  <a:lnTo>
                    <a:pt x="176209" y="127554"/>
                  </a:lnTo>
                  <a:lnTo>
                    <a:pt x="169464" y="127554"/>
                  </a:lnTo>
                  <a:lnTo>
                    <a:pt x="154288" y="157179"/>
                  </a:lnTo>
                  <a:lnTo>
                    <a:pt x="98643" y="142367"/>
                  </a:lnTo>
                  <a:lnTo>
                    <a:pt x="21076" y="130845"/>
                  </a:lnTo>
                  <a:lnTo>
                    <a:pt x="19390" y="124262"/>
                  </a:lnTo>
                  <a:lnTo>
                    <a:pt x="26135" y="124262"/>
                  </a:lnTo>
                  <a:lnTo>
                    <a:pt x="26135" y="117679"/>
                  </a:lnTo>
                  <a:lnTo>
                    <a:pt x="31194" y="117679"/>
                  </a:lnTo>
                  <a:lnTo>
                    <a:pt x="24449" y="106158"/>
                  </a:lnTo>
                  <a:lnTo>
                    <a:pt x="26135" y="97928"/>
                  </a:lnTo>
                  <a:lnTo>
                    <a:pt x="21076" y="94637"/>
                  </a:lnTo>
                  <a:lnTo>
                    <a:pt x="22763" y="89699"/>
                  </a:lnTo>
                  <a:lnTo>
                    <a:pt x="10959" y="86407"/>
                  </a:lnTo>
                  <a:lnTo>
                    <a:pt x="9273" y="79824"/>
                  </a:lnTo>
                  <a:lnTo>
                    <a:pt x="4214" y="76532"/>
                  </a:lnTo>
                  <a:lnTo>
                    <a:pt x="19390" y="45261"/>
                  </a:lnTo>
                  <a:lnTo>
                    <a:pt x="31194" y="4114"/>
                  </a:lnTo>
                  <a:lnTo>
                    <a:pt x="41311" y="4114"/>
                  </a:lnTo>
                  <a:lnTo>
                    <a:pt x="63232" y="10698"/>
                  </a:lnTo>
                  <a:lnTo>
                    <a:pt x="100329" y="27156"/>
                  </a:lnTo>
                  <a:lnTo>
                    <a:pt x="128995" y="32094"/>
                  </a:lnTo>
                  <a:lnTo>
                    <a:pt x="166092" y="45261"/>
                  </a:lnTo>
                  <a:lnTo>
                    <a:pt x="208247" y="51844"/>
                  </a:lnTo>
                  <a:lnTo>
                    <a:pt x="223424" y="58427"/>
                  </a:lnTo>
                  <a:lnTo>
                    <a:pt x="247031" y="74886"/>
                  </a:lnTo>
                  <a:lnTo>
                    <a:pt x="243658" y="79824"/>
                  </a:lnTo>
                  <a:lnTo>
                    <a:pt x="247031" y="86407"/>
                  </a:lnTo>
                  <a:lnTo>
                    <a:pt x="243658" y="9463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0" name="Reimerswaal">
              <a:extLst>
                <a:ext uri="{FF2B5EF4-FFF2-40B4-BE49-F238E27FC236}">
                  <a16:creationId xmlns:a16="http://schemas.microsoft.com/office/drawing/2014/main" id="{458F3926-C140-40C6-BC65-9127E0978112}"/>
                </a:ext>
              </a:extLst>
            </p:cNvPr>
            <p:cNvSpPr/>
            <p:nvPr/>
          </p:nvSpPr>
          <p:spPr>
            <a:xfrm>
              <a:off x="4740681" y="4432913"/>
              <a:ext cx="303803" cy="241168"/>
            </a:xfrm>
            <a:custGeom>
              <a:avLst/>
              <a:gdLst/>
              <a:ahLst/>
              <a:cxnLst/>
              <a:rect l="l" t="t" r="r" b="b"/>
              <a:pathLst>
                <a:path w="444910" h="354330" extrusionOk="0">
                  <a:moveTo>
                    <a:pt x="39625" y="4114"/>
                  </a:moveTo>
                  <a:lnTo>
                    <a:pt x="44684" y="7406"/>
                  </a:lnTo>
                  <a:lnTo>
                    <a:pt x="49742" y="22219"/>
                  </a:lnTo>
                  <a:lnTo>
                    <a:pt x="75036" y="38677"/>
                  </a:lnTo>
                  <a:lnTo>
                    <a:pt x="81781" y="46906"/>
                  </a:lnTo>
                  <a:lnTo>
                    <a:pt x="90212" y="48552"/>
                  </a:lnTo>
                  <a:lnTo>
                    <a:pt x="96957" y="45261"/>
                  </a:lnTo>
                  <a:lnTo>
                    <a:pt x="103701" y="53490"/>
                  </a:lnTo>
                  <a:lnTo>
                    <a:pt x="105388" y="56782"/>
                  </a:lnTo>
                  <a:lnTo>
                    <a:pt x="98643" y="48552"/>
                  </a:lnTo>
                  <a:lnTo>
                    <a:pt x="100329" y="56782"/>
                  </a:lnTo>
                  <a:lnTo>
                    <a:pt x="105388" y="60074"/>
                  </a:lnTo>
                  <a:lnTo>
                    <a:pt x="100329" y="58427"/>
                  </a:lnTo>
                  <a:lnTo>
                    <a:pt x="100329" y="61719"/>
                  </a:lnTo>
                  <a:lnTo>
                    <a:pt x="103701" y="61719"/>
                  </a:lnTo>
                  <a:lnTo>
                    <a:pt x="102015" y="63365"/>
                  </a:lnTo>
                  <a:lnTo>
                    <a:pt x="98643" y="61719"/>
                  </a:lnTo>
                  <a:lnTo>
                    <a:pt x="96957" y="63365"/>
                  </a:lnTo>
                  <a:lnTo>
                    <a:pt x="100329" y="63365"/>
                  </a:lnTo>
                  <a:lnTo>
                    <a:pt x="98643" y="63365"/>
                  </a:lnTo>
                  <a:lnTo>
                    <a:pt x="100329" y="69949"/>
                  </a:lnTo>
                  <a:lnTo>
                    <a:pt x="98643" y="71595"/>
                  </a:lnTo>
                  <a:lnTo>
                    <a:pt x="105388" y="83116"/>
                  </a:lnTo>
                  <a:lnTo>
                    <a:pt x="105388" y="91345"/>
                  </a:lnTo>
                  <a:lnTo>
                    <a:pt x="100329" y="97928"/>
                  </a:lnTo>
                  <a:lnTo>
                    <a:pt x="107074" y="112741"/>
                  </a:lnTo>
                  <a:lnTo>
                    <a:pt x="123936" y="132491"/>
                  </a:lnTo>
                  <a:lnTo>
                    <a:pt x="135740" y="153888"/>
                  </a:lnTo>
                  <a:lnTo>
                    <a:pt x="144171" y="155533"/>
                  </a:lnTo>
                  <a:lnTo>
                    <a:pt x="157661" y="183513"/>
                  </a:lnTo>
                  <a:lnTo>
                    <a:pt x="174523" y="190097"/>
                  </a:lnTo>
                  <a:lnTo>
                    <a:pt x="204875" y="209847"/>
                  </a:lnTo>
                  <a:lnTo>
                    <a:pt x="209934" y="208201"/>
                  </a:lnTo>
                  <a:lnTo>
                    <a:pt x="214992" y="211493"/>
                  </a:lnTo>
                  <a:lnTo>
                    <a:pt x="216679" y="209847"/>
                  </a:lnTo>
                  <a:lnTo>
                    <a:pt x="213306" y="209847"/>
                  </a:lnTo>
                  <a:lnTo>
                    <a:pt x="214992" y="208201"/>
                  </a:lnTo>
                  <a:lnTo>
                    <a:pt x="216679" y="209847"/>
                  </a:lnTo>
                  <a:lnTo>
                    <a:pt x="214992" y="213139"/>
                  </a:lnTo>
                  <a:lnTo>
                    <a:pt x="220051" y="221368"/>
                  </a:lnTo>
                  <a:lnTo>
                    <a:pt x="226796" y="223014"/>
                  </a:lnTo>
                  <a:lnTo>
                    <a:pt x="238599" y="219722"/>
                  </a:lnTo>
                  <a:lnTo>
                    <a:pt x="245344" y="221368"/>
                  </a:lnTo>
                  <a:lnTo>
                    <a:pt x="245344" y="223014"/>
                  </a:lnTo>
                  <a:lnTo>
                    <a:pt x="247031" y="218076"/>
                  </a:lnTo>
                  <a:lnTo>
                    <a:pt x="270638" y="206555"/>
                  </a:lnTo>
                  <a:lnTo>
                    <a:pt x="280755" y="199972"/>
                  </a:lnTo>
                  <a:lnTo>
                    <a:pt x="282441" y="196680"/>
                  </a:lnTo>
                  <a:lnTo>
                    <a:pt x="292559" y="193388"/>
                  </a:lnTo>
                  <a:lnTo>
                    <a:pt x="304362" y="195034"/>
                  </a:lnTo>
                  <a:lnTo>
                    <a:pt x="304362" y="204909"/>
                  </a:lnTo>
                  <a:lnTo>
                    <a:pt x="306048" y="193388"/>
                  </a:lnTo>
                  <a:lnTo>
                    <a:pt x="312793" y="199972"/>
                  </a:lnTo>
                  <a:lnTo>
                    <a:pt x="324597" y="199972"/>
                  </a:lnTo>
                  <a:lnTo>
                    <a:pt x="317852" y="206555"/>
                  </a:lnTo>
                  <a:lnTo>
                    <a:pt x="322911" y="203264"/>
                  </a:lnTo>
                  <a:lnTo>
                    <a:pt x="317852" y="213139"/>
                  </a:lnTo>
                  <a:lnTo>
                    <a:pt x="316166" y="213139"/>
                  </a:lnTo>
                  <a:lnTo>
                    <a:pt x="314480" y="209847"/>
                  </a:lnTo>
                  <a:lnTo>
                    <a:pt x="314480" y="214785"/>
                  </a:lnTo>
                  <a:lnTo>
                    <a:pt x="319538" y="213139"/>
                  </a:lnTo>
                  <a:lnTo>
                    <a:pt x="324597" y="203264"/>
                  </a:lnTo>
                  <a:lnTo>
                    <a:pt x="324597" y="206555"/>
                  </a:lnTo>
                  <a:lnTo>
                    <a:pt x="326283" y="199972"/>
                  </a:lnTo>
                  <a:lnTo>
                    <a:pt x="329656" y="206555"/>
                  </a:lnTo>
                  <a:lnTo>
                    <a:pt x="338087" y="208201"/>
                  </a:lnTo>
                  <a:lnTo>
                    <a:pt x="343145" y="204909"/>
                  </a:lnTo>
                  <a:lnTo>
                    <a:pt x="346518" y="216430"/>
                  </a:lnTo>
                  <a:lnTo>
                    <a:pt x="346518" y="209847"/>
                  </a:lnTo>
                  <a:lnTo>
                    <a:pt x="349890" y="213139"/>
                  </a:lnTo>
                  <a:lnTo>
                    <a:pt x="348204" y="209847"/>
                  </a:lnTo>
                  <a:lnTo>
                    <a:pt x="356635" y="209847"/>
                  </a:lnTo>
                  <a:lnTo>
                    <a:pt x="358321" y="204909"/>
                  </a:lnTo>
                  <a:lnTo>
                    <a:pt x="353263" y="162117"/>
                  </a:lnTo>
                  <a:lnTo>
                    <a:pt x="358321" y="145658"/>
                  </a:lnTo>
                  <a:lnTo>
                    <a:pt x="351577" y="88053"/>
                  </a:lnTo>
                  <a:lnTo>
                    <a:pt x="371811" y="84761"/>
                  </a:lnTo>
                  <a:lnTo>
                    <a:pt x="439260" y="239472"/>
                  </a:lnTo>
                  <a:lnTo>
                    <a:pt x="424084" y="252639"/>
                  </a:lnTo>
                  <a:lnTo>
                    <a:pt x="420712" y="260869"/>
                  </a:lnTo>
                  <a:lnTo>
                    <a:pt x="427457" y="298724"/>
                  </a:lnTo>
                  <a:lnTo>
                    <a:pt x="427457" y="328349"/>
                  </a:lnTo>
                  <a:lnTo>
                    <a:pt x="424084" y="333287"/>
                  </a:lnTo>
                  <a:lnTo>
                    <a:pt x="425770" y="339870"/>
                  </a:lnTo>
                  <a:lnTo>
                    <a:pt x="434201" y="341516"/>
                  </a:lnTo>
                  <a:lnTo>
                    <a:pt x="440946" y="357975"/>
                  </a:lnTo>
                  <a:lnTo>
                    <a:pt x="386987" y="361266"/>
                  </a:lnTo>
                  <a:lnTo>
                    <a:pt x="388673" y="351391"/>
                  </a:lnTo>
                  <a:lnTo>
                    <a:pt x="386987" y="338224"/>
                  </a:lnTo>
                  <a:lnTo>
                    <a:pt x="375184" y="318474"/>
                  </a:lnTo>
                  <a:lnTo>
                    <a:pt x="371811" y="320120"/>
                  </a:lnTo>
                  <a:lnTo>
                    <a:pt x="373497" y="316828"/>
                  </a:lnTo>
                  <a:lnTo>
                    <a:pt x="370125" y="316828"/>
                  </a:lnTo>
                  <a:lnTo>
                    <a:pt x="373497" y="315182"/>
                  </a:lnTo>
                  <a:lnTo>
                    <a:pt x="370125" y="311890"/>
                  </a:lnTo>
                  <a:lnTo>
                    <a:pt x="341459" y="298724"/>
                  </a:lnTo>
                  <a:lnTo>
                    <a:pt x="339773" y="300369"/>
                  </a:lnTo>
                  <a:lnTo>
                    <a:pt x="339773" y="298724"/>
                  </a:lnTo>
                  <a:lnTo>
                    <a:pt x="331342" y="300369"/>
                  </a:lnTo>
                  <a:lnTo>
                    <a:pt x="327969" y="290494"/>
                  </a:lnTo>
                  <a:lnTo>
                    <a:pt x="326283" y="292140"/>
                  </a:lnTo>
                  <a:lnTo>
                    <a:pt x="327969" y="290494"/>
                  </a:lnTo>
                  <a:lnTo>
                    <a:pt x="326283" y="288848"/>
                  </a:lnTo>
                  <a:lnTo>
                    <a:pt x="319538" y="282265"/>
                  </a:lnTo>
                  <a:lnTo>
                    <a:pt x="306048" y="283911"/>
                  </a:lnTo>
                  <a:lnTo>
                    <a:pt x="304362" y="288848"/>
                  </a:lnTo>
                  <a:lnTo>
                    <a:pt x="297617" y="288848"/>
                  </a:lnTo>
                  <a:lnTo>
                    <a:pt x="295931" y="290494"/>
                  </a:lnTo>
                  <a:lnTo>
                    <a:pt x="299304" y="298724"/>
                  </a:lnTo>
                  <a:lnTo>
                    <a:pt x="295931" y="290494"/>
                  </a:lnTo>
                  <a:lnTo>
                    <a:pt x="279069" y="292140"/>
                  </a:lnTo>
                  <a:lnTo>
                    <a:pt x="280755" y="295432"/>
                  </a:lnTo>
                  <a:lnTo>
                    <a:pt x="275696" y="295432"/>
                  </a:lnTo>
                  <a:lnTo>
                    <a:pt x="270638" y="300369"/>
                  </a:lnTo>
                  <a:lnTo>
                    <a:pt x="248717" y="311890"/>
                  </a:lnTo>
                  <a:lnTo>
                    <a:pt x="248717" y="308599"/>
                  </a:lnTo>
                  <a:lnTo>
                    <a:pt x="226796" y="305307"/>
                  </a:lnTo>
                  <a:lnTo>
                    <a:pt x="220051" y="298724"/>
                  </a:lnTo>
                  <a:lnTo>
                    <a:pt x="198130" y="295432"/>
                  </a:lnTo>
                  <a:lnTo>
                    <a:pt x="186327" y="290494"/>
                  </a:lnTo>
                  <a:lnTo>
                    <a:pt x="177895" y="290494"/>
                  </a:lnTo>
                  <a:lnTo>
                    <a:pt x="172837" y="303661"/>
                  </a:lnTo>
                  <a:lnTo>
                    <a:pt x="177895" y="290494"/>
                  </a:lnTo>
                  <a:lnTo>
                    <a:pt x="155974" y="282265"/>
                  </a:lnTo>
                  <a:lnTo>
                    <a:pt x="150916" y="292140"/>
                  </a:lnTo>
                  <a:lnTo>
                    <a:pt x="155974" y="282265"/>
                  </a:lnTo>
                  <a:lnTo>
                    <a:pt x="150916" y="278973"/>
                  </a:lnTo>
                  <a:lnTo>
                    <a:pt x="154288" y="278973"/>
                  </a:lnTo>
                  <a:lnTo>
                    <a:pt x="137426" y="275682"/>
                  </a:lnTo>
                  <a:lnTo>
                    <a:pt x="135740" y="278973"/>
                  </a:lnTo>
                  <a:lnTo>
                    <a:pt x="125622" y="267452"/>
                  </a:lnTo>
                  <a:lnTo>
                    <a:pt x="118877" y="264160"/>
                  </a:lnTo>
                  <a:lnTo>
                    <a:pt x="117191" y="267452"/>
                  </a:lnTo>
                  <a:lnTo>
                    <a:pt x="117191" y="264160"/>
                  </a:lnTo>
                  <a:lnTo>
                    <a:pt x="108760" y="262514"/>
                  </a:lnTo>
                  <a:lnTo>
                    <a:pt x="91898" y="246056"/>
                  </a:lnTo>
                  <a:lnTo>
                    <a:pt x="93584" y="241118"/>
                  </a:lnTo>
                  <a:lnTo>
                    <a:pt x="83467" y="231243"/>
                  </a:lnTo>
                  <a:lnTo>
                    <a:pt x="91898" y="223014"/>
                  </a:lnTo>
                  <a:lnTo>
                    <a:pt x="64918" y="216430"/>
                  </a:lnTo>
                  <a:lnTo>
                    <a:pt x="66605" y="209847"/>
                  </a:lnTo>
                  <a:lnTo>
                    <a:pt x="63232" y="204909"/>
                  </a:lnTo>
                  <a:lnTo>
                    <a:pt x="59860" y="206555"/>
                  </a:lnTo>
                  <a:lnTo>
                    <a:pt x="59860" y="214785"/>
                  </a:lnTo>
                  <a:lnTo>
                    <a:pt x="59860" y="208201"/>
                  </a:lnTo>
                  <a:lnTo>
                    <a:pt x="51428" y="203264"/>
                  </a:lnTo>
                  <a:lnTo>
                    <a:pt x="49742" y="204909"/>
                  </a:lnTo>
                  <a:lnTo>
                    <a:pt x="51428" y="203264"/>
                  </a:lnTo>
                  <a:lnTo>
                    <a:pt x="48056" y="201617"/>
                  </a:lnTo>
                  <a:lnTo>
                    <a:pt x="39625" y="198326"/>
                  </a:lnTo>
                  <a:lnTo>
                    <a:pt x="32880" y="199972"/>
                  </a:lnTo>
                  <a:lnTo>
                    <a:pt x="39625" y="188451"/>
                  </a:lnTo>
                  <a:lnTo>
                    <a:pt x="32880" y="162117"/>
                  </a:lnTo>
                  <a:lnTo>
                    <a:pt x="29508" y="162117"/>
                  </a:lnTo>
                  <a:lnTo>
                    <a:pt x="31194" y="175284"/>
                  </a:lnTo>
                  <a:lnTo>
                    <a:pt x="29508" y="196680"/>
                  </a:lnTo>
                  <a:lnTo>
                    <a:pt x="24449" y="196680"/>
                  </a:lnTo>
                  <a:lnTo>
                    <a:pt x="22763" y="186805"/>
                  </a:lnTo>
                  <a:lnTo>
                    <a:pt x="19390" y="188451"/>
                  </a:lnTo>
                  <a:lnTo>
                    <a:pt x="21076" y="188451"/>
                  </a:lnTo>
                  <a:lnTo>
                    <a:pt x="21076" y="193388"/>
                  </a:lnTo>
                  <a:lnTo>
                    <a:pt x="17704" y="183513"/>
                  </a:lnTo>
                  <a:lnTo>
                    <a:pt x="9273" y="175284"/>
                  </a:lnTo>
                  <a:lnTo>
                    <a:pt x="7587" y="176930"/>
                  </a:lnTo>
                  <a:lnTo>
                    <a:pt x="9273" y="175284"/>
                  </a:lnTo>
                  <a:lnTo>
                    <a:pt x="7587" y="176930"/>
                  </a:lnTo>
                  <a:lnTo>
                    <a:pt x="9273" y="175284"/>
                  </a:lnTo>
                  <a:lnTo>
                    <a:pt x="4214" y="168700"/>
                  </a:lnTo>
                  <a:lnTo>
                    <a:pt x="12645" y="157179"/>
                  </a:lnTo>
                  <a:lnTo>
                    <a:pt x="26135" y="152242"/>
                  </a:lnTo>
                  <a:lnTo>
                    <a:pt x="24449" y="40323"/>
                  </a:lnTo>
                  <a:lnTo>
                    <a:pt x="26135" y="40323"/>
                  </a:lnTo>
                  <a:lnTo>
                    <a:pt x="37939" y="33740"/>
                  </a:lnTo>
                  <a:lnTo>
                    <a:pt x="44684" y="22219"/>
                  </a:lnTo>
                  <a:lnTo>
                    <a:pt x="37939" y="10698"/>
                  </a:lnTo>
                  <a:lnTo>
                    <a:pt x="3962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1" name="Rijswijk">
              <a:extLst>
                <a:ext uri="{FF2B5EF4-FFF2-40B4-BE49-F238E27FC236}">
                  <a16:creationId xmlns:a16="http://schemas.microsoft.com/office/drawing/2014/main" id="{E49BFC62-07A2-4FC0-A9B9-5C34EC2E92E2}"/>
                </a:ext>
              </a:extLst>
            </p:cNvPr>
            <p:cNvSpPr/>
            <p:nvPr/>
          </p:nvSpPr>
          <p:spPr>
            <a:xfrm>
              <a:off x="5075703" y="3573198"/>
              <a:ext cx="71954" cy="85074"/>
            </a:xfrm>
            <a:custGeom>
              <a:avLst/>
              <a:gdLst/>
              <a:ahLst/>
              <a:cxnLst/>
              <a:rect l="l" t="t" r="r" b="b"/>
              <a:pathLst>
                <a:path w="105373" h="125730" extrusionOk="0">
                  <a:moveTo>
                    <a:pt x="90212" y="17281"/>
                  </a:moveTo>
                  <a:lnTo>
                    <a:pt x="85153" y="23864"/>
                  </a:lnTo>
                  <a:lnTo>
                    <a:pt x="98643" y="35385"/>
                  </a:lnTo>
                  <a:lnTo>
                    <a:pt x="88525" y="45261"/>
                  </a:lnTo>
                  <a:lnTo>
                    <a:pt x="88525" y="50198"/>
                  </a:lnTo>
                  <a:lnTo>
                    <a:pt x="93584" y="58427"/>
                  </a:lnTo>
                  <a:lnTo>
                    <a:pt x="98643" y="79824"/>
                  </a:lnTo>
                  <a:lnTo>
                    <a:pt x="105388" y="89699"/>
                  </a:lnTo>
                  <a:lnTo>
                    <a:pt x="56487" y="122616"/>
                  </a:lnTo>
                  <a:lnTo>
                    <a:pt x="46370" y="104512"/>
                  </a:lnTo>
                  <a:lnTo>
                    <a:pt x="31194" y="116033"/>
                  </a:lnTo>
                  <a:lnTo>
                    <a:pt x="14332" y="81470"/>
                  </a:lnTo>
                  <a:lnTo>
                    <a:pt x="4214" y="51844"/>
                  </a:lnTo>
                  <a:lnTo>
                    <a:pt x="14332" y="46906"/>
                  </a:lnTo>
                  <a:lnTo>
                    <a:pt x="14332" y="41969"/>
                  </a:lnTo>
                  <a:lnTo>
                    <a:pt x="48056" y="27156"/>
                  </a:lnTo>
                  <a:lnTo>
                    <a:pt x="51429" y="25510"/>
                  </a:lnTo>
                  <a:lnTo>
                    <a:pt x="49742" y="22219"/>
                  </a:lnTo>
                  <a:lnTo>
                    <a:pt x="61546" y="17281"/>
                  </a:lnTo>
                  <a:lnTo>
                    <a:pt x="80094" y="4114"/>
                  </a:lnTo>
                  <a:lnTo>
                    <a:pt x="90212"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2" name="Woensdrecht">
              <a:extLst>
                <a:ext uri="{FF2B5EF4-FFF2-40B4-BE49-F238E27FC236}">
                  <a16:creationId xmlns:a16="http://schemas.microsoft.com/office/drawing/2014/main" id="{F0F1CA8B-842B-4F71-9412-536D362CBC0B}"/>
                </a:ext>
              </a:extLst>
            </p:cNvPr>
            <p:cNvSpPr/>
            <p:nvPr/>
          </p:nvSpPr>
          <p:spPr>
            <a:xfrm>
              <a:off x="5028893" y="4527087"/>
              <a:ext cx="172076" cy="184432"/>
            </a:xfrm>
            <a:custGeom>
              <a:avLst/>
              <a:gdLst/>
              <a:ahLst/>
              <a:cxnLst/>
              <a:rect l="l" t="t" r="r" b="b"/>
              <a:pathLst>
                <a:path w="257579" h="274320" extrusionOk="0">
                  <a:moveTo>
                    <a:pt x="61546" y="4114"/>
                  </a:moveTo>
                  <a:lnTo>
                    <a:pt x="73349" y="4114"/>
                  </a:lnTo>
                  <a:lnTo>
                    <a:pt x="78408" y="18926"/>
                  </a:lnTo>
                  <a:lnTo>
                    <a:pt x="96957" y="18926"/>
                  </a:lnTo>
                  <a:lnTo>
                    <a:pt x="105388" y="10697"/>
                  </a:lnTo>
                  <a:lnTo>
                    <a:pt x="118877" y="20573"/>
                  </a:lnTo>
                  <a:lnTo>
                    <a:pt x="123936" y="13989"/>
                  </a:lnTo>
                  <a:lnTo>
                    <a:pt x="130681" y="18926"/>
                  </a:lnTo>
                  <a:lnTo>
                    <a:pt x="164406" y="28802"/>
                  </a:lnTo>
                  <a:lnTo>
                    <a:pt x="189699" y="33739"/>
                  </a:lnTo>
                  <a:lnTo>
                    <a:pt x="201503" y="41969"/>
                  </a:lnTo>
                  <a:lnTo>
                    <a:pt x="193071" y="46906"/>
                  </a:lnTo>
                  <a:lnTo>
                    <a:pt x="189699" y="45260"/>
                  </a:lnTo>
                  <a:lnTo>
                    <a:pt x="184640" y="53490"/>
                  </a:lnTo>
                  <a:lnTo>
                    <a:pt x="194758" y="56781"/>
                  </a:lnTo>
                  <a:lnTo>
                    <a:pt x="203189" y="55136"/>
                  </a:lnTo>
                  <a:lnTo>
                    <a:pt x="211620" y="66657"/>
                  </a:lnTo>
                  <a:lnTo>
                    <a:pt x="208247" y="81470"/>
                  </a:lnTo>
                  <a:lnTo>
                    <a:pt x="213306" y="81470"/>
                  </a:lnTo>
                  <a:lnTo>
                    <a:pt x="211620" y="89699"/>
                  </a:lnTo>
                  <a:lnTo>
                    <a:pt x="203189" y="88053"/>
                  </a:lnTo>
                  <a:lnTo>
                    <a:pt x="203189" y="89699"/>
                  </a:lnTo>
                  <a:lnTo>
                    <a:pt x="206561" y="89699"/>
                  </a:lnTo>
                  <a:lnTo>
                    <a:pt x="208247" y="101220"/>
                  </a:lnTo>
                  <a:lnTo>
                    <a:pt x="201503" y="99574"/>
                  </a:lnTo>
                  <a:lnTo>
                    <a:pt x="199816" y="107803"/>
                  </a:lnTo>
                  <a:lnTo>
                    <a:pt x="189699" y="116033"/>
                  </a:lnTo>
                  <a:lnTo>
                    <a:pt x="201503" y="147304"/>
                  </a:lnTo>
                  <a:lnTo>
                    <a:pt x="262207" y="227951"/>
                  </a:lnTo>
                  <a:lnTo>
                    <a:pt x="252089" y="236181"/>
                  </a:lnTo>
                  <a:lnTo>
                    <a:pt x="258834" y="246056"/>
                  </a:lnTo>
                  <a:lnTo>
                    <a:pt x="262207" y="254285"/>
                  </a:lnTo>
                  <a:lnTo>
                    <a:pt x="247031" y="250993"/>
                  </a:lnTo>
                  <a:lnTo>
                    <a:pt x="211620" y="270744"/>
                  </a:lnTo>
                  <a:lnTo>
                    <a:pt x="188013" y="275681"/>
                  </a:lnTo>
                  <a:lnTo>
                    <a:pt x="188013" y="274035"/>
                  </a:lnTo>
                  <a:lnTo>
                    <a:pt x="179582" y="275681"/>
                  </a:lnTo>
                  <a:lnTo>
                    <a:pt x="166092" y="270744"/>
                  </a:lnTo>
                  <a:lnTo>
                    <a:pt x="164406" y="272390"/>
                  </a:lnTo>
                  <a:lnTo>
                    <a:pt x="161033" y="269098"/>
                  </a:lnTo>
                  <a:lnTo>
                    <a:pt x="137426" y="265806"/>
                  </a:lnTo>
                  <a:lnTo>
                    <a:pt x="122250" y="267452"/>
                  </a:lnTo>
                  <a:lnTo>
                    <a:pt x="112133" y="219722"/>
                  </a:lnTo>
                  <a:lnTo>
                    <a:pt x="24449" y="221368"/>
                  </a:lnTo>
                  <a:lnTo>
                    <a:pt x="17704" y="204909"/>
                  </a:lnTo>
                  <a:lnTo>
                    <a:pt x="9273" y="203264"/>
                  </a:lnTo>
                  <a:lnTo>
                    <a:pt x="7587" y="196680"/>
                  </a:lnTo>
                  <a:lnTo>
                    <a:pt x="10959" y="191742"/>
                  </a:lnTo>
                  <a:lnTo>
                    <a:pt x="10959" y="162117"/>
                  </a:lnTo>
                  <a:lnTo>
                    <a:pt x="4214" y="124262"/>
                  </a:lnTo>
                  <a:lnTo>
                    <a:pt x="7587" y="116033"/>
                  </a:lnTo>
                  <a:lnTo>
                    <a:pt x="22763" y="102866"/>
                  </a:lnTo>
                  <a:lnTo>
                    <a:pt x="7587" y="68302"/>
                  </a:lnTo>
                  <a:lnTo>
                    <a:pt x="34566" y="68302"/>
                  </a:lnTo>
                  <a:lnTo>
                    <a:pt x="41311" y="58427"/>
                  </a:lnTo>
                  <a:lnTo>
                    <a:pt x="51428" y="55136"/>
                  </a:lnTo>
                  <a:lnTo>
                    <a:pt x="53115" y="46906"/>
                  </a:lnTo>
                  <a:lnTo>
                    <a:pt x="58173" y="43615"/>
                  </a:lnTo>
                  <a:lnTo>
                    <a:pt x="58173" y="4114"/>
                  </a:lnTo>
                  <a:lnTo>
                    <a:pt x="6154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3" name="Almere">
              <a:extLst>
                <a:ext uri="{FF2B5EF4-FFF2-40B4-BE49-F238E27FC236}">
                  <a16:creationId xmlns:a16="http://schemas.microsoft.com/office/drawing/2014/main" id="{49626DE2-4C21-4D08-BF14-BD496BE3200E}"/>
                </a:ext>
              </a:extLst>
            </p:cNvPr>
            <p:cNvSpPr/>
            <p:nvPr/>
          </p:nvSpPr>
          <p:spPr>
            <a:xfrm>
              <a:off x="5945552" y="2975280"/>
              <a:ext cx="268563" cy="212772"/>
            </a:xfrm>
            <a:custGeom>
              <a:avLst/>
              <a:gdLst/>
              <a:ahLst/>
              <a:cxnLst/>
              <a:rect l="l" t="t" r="r" b="b"/>
              <a:pathLst>
                <a:path w="386369" h="320040" extrusionOk="0">
                  <a:moveTo>
                    <a:pt x="137426" y="254285"/>
                  </a:moveTo>
                  <a:lnTo>
                    <a:pt x="140798" y="255931"/>
                  </a:lnTo>
                  <a:lnTo>
                    <a:pt x="137426" y="254285"/>
                  </a:lnTo>
                  <a:lnTo>
                    <a:pt x="137426" y="254285"/>
                  </a:lnTo>
                  <a:close/>
                  <a:moveTo>
                    <a:pt x="230168" y="28802"/>
                  </a:moveTo>
                  <a:lnTo>
                    <a:pt x="241972" y="35385"/>
                  </a:lnTo>
                  <a:lnTo>
                    <a:pt x="324597" y="74886"/>
                  </a:lnTo>
                  <a:lnTo>
                    <a:pt x="339773" y="86407"/>
                  </a:lnTo>
                  <a:lnTo>
                    <a:pt x="349890" y="86407"/>
                  </a:lnTo>
                  <a:lnTo>
                    <a:pt x="351576" y="89699"/>
                  </a:lnTo>
                  <a:lnTo>
                    <a:pt x="344832" y="99574"/>
                  </a:lnTo>
                  <a:lnTo>
                    <a:pt x="333028" y="99574"/>
                  </a:lnTo>
                  <a:lnTo>
                    <a:pt x="275696" y="132491"/>
                  </a:lnTo>
                  <a:lnTo>
                    <a:pt x="393732" y="297078"/>
                  </a:lnTo>
                  <a:lnTo>
                    <a:pt x="348204" y="308599"/>
                  </a:lnTo>
                  <a:lnTo>
                    <a:pt x="324597" y="297078"/>
                  </a:lnTo>
                  <a:lnTo>
                    <a:pt x="299303" y="321765"/>
                  </a:lnTo>
                  <a:lnTo>
                    <a:pt x="265579" y="297078"/>
                  </a:lnTo>
                  <a:lnTo>
                    <a:pt x="233541" y="280619"/>
                  </a:lnTo>
                  <a:lnTo>
                    <a:pt x="176209" y="257577"/>
                  </a:lnTo>
                  <a:lnTo>
                    <a:pt x="157661" y="252639"/>
                  </a:lnTo>
                  <a:lnTo>
                    <a:pt x="154288" y="255931"/>
                  </a:lnTo>
                  <a:lnTo>
                    <a:pt x="152602" y="252639"/>
                  </a:lnTo>
                  <a:lnTo>
                    <a:pt x="155974" y="249348"/>
                  </a:lnTo>
                  <a:lnTo>
                    <a:pt x="152602" y="249348"/>
                  </a:lnTo>
                  <a:lnTo>
                    <a:pt x="150916" y="255931"/>
                  </a:lnTo>
                  <a:lnTo>
                    <a:pt x="150916" y="252639"/>
                  </a:lnTo>
                  <a:lnTo>
                    <a:pt x="145857" y="255931"/>
                  </a:lnTo>
                  <a:lnTo>
                    <a:pt x="147543" y="257577"/>
                  </a:lnTo>
                  <a:lnTo>
                    <a:pt x="152602" y="257577"/>
                  </a:lnTo>
                  <a:lnTo>
                    <a:pt x="147543" y="259223"/>
                  </a:lnTo>
                  <a:lnTo>
                    <a:pt x="140798" y="257577"/>
                  </a:lnTo>
                  <a:lnTo>
                    <a:pt x="140798" y="250993"/>
                  </a:lnTo>
                  <a:lnTo>
                    <a:pt x="137426" y="249348"/>
                  </a:lnTo>
                  <a:lnTo>
                    <a:pt x="135740" y="252639"/>
                  </a:lnTo>
                  <a:lnTo>
                    <a:pt x="128995" y="244410"/>
                  </a:lnTo>
                  <a:lnTo>
                    <a:pt x="107074" y="242764"/>
                  </a:lnTo>
                  <a:lnTo>
                    <a:pt x="56487" y="260869"/>
                  </a:lnTo>
                  <a:lnTo>
                    <a:pt x="51428" y="260869"/>
                  </a:lnTo>
                  <a:lnTo>
                    <a:pt x="48056" y="262514"/>
                  </a:lnTo>
                  <a:lnTo>
                    <a:pt x="48056" y="260869"/>
                  </a:lnTo>
                  <a:lnTo>
                    <a:pt x="44684" y="260869"/>
                  </a:lnTo>
                  <a:lnTo>
                    <a:pt x="37939" y="265806"/>
                  </a:lnTo>
                  <a:lnTo>
                    <a:pt x="37939" y="272390"/>
                  </a:lnTo>
                  <a:lnTo>
                    <a:pt x="31194" y="265806"/>
                  </a:lnTo>
                  <a:lnTo>
                    <a:pt x="29507" y="267452"/>
                  </a:lnTo>
                  <a:lnTo>
                    <a:pt x="31194" y="265806"/>
                  </a:lnTo>
                  <a:lnTo>
                    <a:pt x="26135" y="259223"/>
                  </a:lnTo>
                  <a:lnTo>
                    <a:pt x="29507" y="262514"/>
                  </a:lnTo>
                  <a:lnTo>
                    <a:pt x="32880" y="262514"/>
                  </a:lnTo>
                  <a:lnTo>
                    <a:pt x="39625" y="254285"/>
                  </a:lnTo>
                  <a:lnTo>
                    <a:pt x="22763" y="239472"/>
                  </a:lnTo>
                  <a:lnTo>
                    <a:pt x="26135" y="236181"/>
                  </a:lnTo>
                  <a:lnTo>
                    <a:pt x="19390" y="241118"/>
                  </a:lnTo>
                  <a:lnTo>
                    <a:pt x="17704" y="239472"/>
                  </a:lnTo>
                  <a:lnTo>
                    <a:pt x="22763" y="229597"/>
                  </a:lnTo>
                  <a:lnTo>
                    <a:pt x="19390" y="227951"/>
                  </a:lnTo>
                  <a:lnTo>
                    <a:pt x="16018" y="239472"/>
                  </a:lnTo>
                  <a:lnTo>
                    <a:pt x="14331" y="236181"/>
                  </a:lnTo>
                  <a:lnTo>
                    <a:pt x="17704" y="224660"/>
                  </a:lnTo>
                  <a:lnTo>
                    <a:pt x="22763" y="224660"/>
                  </a:lnTo>
                  <a:lnTo>
                    <a:pt x="22763" y="223014"/>
                  </a:lnTo>
                  <a:lnTo>
                    <a:pt x="19390" y="176930"/>
                  </a:lnTo>
                  <a:lnTo>
                    <a:pt x="5900" y="150596"/>
                  </a:lnTo>
                  <a:lnTo>
                    <a:pt x="5900" y="142367"/>
                  </a:lnTo>
                  <a:lnTo>
                    <a:pt x="14331" y="130845"/>
                  </a:lnTo>
                  <a:lnTo>
                    <a:pt x="12645" y="127554"/>
                  </a:lnTo>
                  <a:lnTo>
                    <a:pt x="16018" y="130845"/>
                  </a:lnTo>
                  <a:lnTo>
                    <a:pt x="32880" y="119324"/>
                  </a:lnTo>
                  <a:lnTo>
                    <a:pt x="31194" y="116033"/>
                  </a:lnTo>
                  <a:lnTo>
                    <a:pt x="34566" y="119324"/>
                  </a:lnTo>
                  <a:lnTo>
                    <a:pt x="56487" y="106157"/>
                  </a:lnTo>
                  <a:lnTo>
                    <a:pt x="64918" y="89699"/>
                  </a:lnTo>
                  <a:lnTo>
                    <a:pt x="4214" y="125908"/>
                  </a:lnTo>
                  <a:lnTo>
                    <a:pt x="162719" y="32094"/>
                  </a:lnTo>
                  <a:lnTo>
                    <a:pt x="135740" y="50198"/>
                  </a:lnTo>
                  <a:lnTo>
                    <a:pt x="149229" y="50198"/>
                  </a:lnTo>
                  <a:lnTo>
                    <a:pt x="154288" y="45260"/>
                  </a:lnTo>
                  <a:lnTo>
                    <a:pt x="157661" y="46906"/>
                  </a:lnTo>
                  <a:lnTo>
                    <a:pt x="155974" y="43615"/>
                  </a:lnTo>
                  <a:lnTo>
                    <a:pt x="159347" y="46906"/>
                  </a:lnTo>
                  <a:lnTo>
                    <a:pt x="159347" y="43615"/>
                  </a:lnTo>
                  <a:lnTo>
                    <a:pt x="166092" y="38677"/>
                  </a:lnTo>
                  <a:lnTo>
                    <a:pt x="172836" y="28802"/>
                  </a:lnTo>
                  <a:lnTo>
                    <a:pt x="167778" y="28802"/>
                  </a:lnTo>
                  <a:lnTo>
                    <a:pt x="211620" y="4114"/>
                  </a:lnTo>
                  <a:lnTo>
                    <a:pt x="230168" y="288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4" name="Halderberge">
              <a:extLst>
                <a:ext uri="{FF2B5EF4-FFF2-40B4-BE49-F238E27FC236}">
                  <a16:creationId xmlns:a16="http://schemas.microsoft.com/office/drawing/2014/main" id="{7D09C82E-A8F9-4785-8EBA-AC8E2DF72A2D}"/>
                </a:ext>
              </a:extLst>
            </p:cNvPr>
            <p:cNvSpPr/>
            <p:nvPr/>
          </p:nvSpPr>
          <p:spPr>
            <a:xfrm>
              <a:off x="5201251" y="4266086"/>
              <a:ext cx="208413" cy="127699"/>
            </a:xfrm>
            <a:custGeom>
              <a:avLst/>
              <a:gdLst/>
              <a:ahLst/>
              <a:cxnLst/>
              <a:rect l="l" t="t" r="r" b="b"/>
              <a:pathLst>
                <a:path w="292704" h="194310" extrusionOk="0">
                  <a:moveTo>
                    <a:pt x="263893" y="18927"/>
                  </a:moveTo>
                  <a:lnTo>
                    <a:pt x="274010" y="17281"/>
                  </a:lnTo>
                  <a:lnTo>
                    <a:pt x="277383" y="25510"/>
                  </a:lnTo>
                  <a:lnTo>
                    <a:pt x="277383" y="35385"/>
                  </a:lnTo>
                  <a:lnTo>
                    <a:pt x="285814" y="41969"/>
                  </a:lnTo>
                  <a:lnTo>
                    <a:pt x="287500" y="48552"/>
                  </a:lnTo>
                  <a:lnTo>
                    <a:pt x="287500" y="55136"/>
                  </a:lnTo>
                  <a:lnTo>
                    <a:pt x="292559" y="58427"/>
                  </a:lnTo>
                  <a:lnTo>
                    <a:pt x="287500" y="69949"/>
                  </a:lnTo>
                  <a:lnTo>
                    <a:pt x="265579" y="101220"/>
                  </a:lnTo>
                  <a:lnTo>
                    <a:pt x="268951" y="114387"/>
                  </a:lnTo>
                  <a:lnTo>
                    <a:pt x="262207" y="155533"/>
                  </a:lnTo>
                  <a:lnTo>
                    <a:pt x="262207" y="157179"/>
                  </a:lnTo>
                  <a:lnTo>
                    <a:pt x="255462" y="158825"/>
                  </a:lnTo>
                  <a:lnTo>
                    <a:pt x="257148" y="171992"/>
                  </a:lnTo>
                  <a:lnTo>
                    <a:pt x="247031" y="175284"/>
                  </a:lnTo>
                  <a:lnTo>
                    <a:pt x="241972" y="173638"/>
                  </a:lnTo>
                  <a:lnTo>
                    <a:pt x="241972" y="175284"/>
                  </a:lnTo>
                  <a:lnTo>
                    <a:pt x="189699" y="191742"/>
                  </a:lnTo>
                  <a:lnTo>
                    <a:pt x="186326" y="188451"/>
                  </a:lnTo>
                  <a:lnTo>
                    <a:pt x="184640" y="193388"/>
                  </a:lnTo>
                  <a:lnTo>
                    <a:pt x="162719" y="198326"/>
                  </a:lnTo>
                  <a:lnTo>
                    <a:pt x="159347" y="191742"/>
                  </a:lnTo>
                  <a:lnTo>
                    <a:pt x="159347" y="183513"/>
                  </a:lnTo>
                  <a:lnTo>
                    <a:pt x="172837" y="158825"/>
                  </a:lnTo>
                  <a:lnTo>
                    <a:pt x="130681" y="152242"/>
                  </a:lnTo>
                  <a:lnTo>
                    <a:pt x="128995" y="158825"/>
                  </a:lnTo>
                  <a:lnTo>
                    <a:pt x="123936" y="157179"/>
                  </a:lnTo>
                  <a:lnTo>
                    <a:pt x="122250" y="165409"/>
                  </a:lnTo>
                  <a:lnTo>
                    <a:pt x="118877" y="163763"/>
                  </a:lnTo>
                  <a:lnTo>
                    <a:pt x="115505" y="175284"/>
                  </a:lnTo>
                  <a:lnTo>
                    <a:pt x="95270" y="170346"/>
                  </a:lnTo>
                  <a:lnTo>
                    <a:pt x="75036" y="170346"/>
                  </a:lnTo>
                  <a:lnTo>
                    <a:pt x="75036" y="167054"/>
                  </a:lnTo>
                  <a:lnTo>
                    <a:pt x="69977" y="163763"/>
                  </a:lnTo>
                  <a:lnTo>
                    <a:pt x="63232" y="168700"/>
                  </a:lnTo>
                  <a:lnTo>
                    <a:pt x="49742" y="168700"/>
                  </a:lnTo>
                  <a:lnTo>
                    <a:pt x="48056" y="163763"/>
                  </a:lnTo>
                  <a:lnTo>
                    <a:pt x="42997" y="162117"/>
                  </a:lnTo>
                  <a:lnTo>
                    <a:pt x="44684" y="155533"/>
                  </a:lnTo>
                  <a:lnTo>
                    <a:pt x="36252" y="157179"/>
                  </a:lnTo>
                  <a:lnTo>
                    <a:pt x="29508" y="148950"/>
                  </a:lnTo>
                  <a:lnTo>
                    <a:pt x="12645" y="114387"/>
                  </a:lnTo>
                  <a:lnTo>
                    <a:pt x="9273" y="96282"/>
                  </a:lnTo>
                  <a:lnTo>
                    <a:pt x="4214" y="45261"/>
                  </a:lnTo>
                  <a:lnTo>
                    <a:pt x="12645" y="48552"/>
                  </a:lnTo>
                  <a:lnTo>
                    <a:pt x="16018" y="35385"/>
                  </a:lnTo>
                  <a:lnTo>
                    <a:pt x="17704" y="38677"/>
                  </a:lnTo>
                  <a:lnTo>
                    <a:pt x="21076" y="33740"/>
                  </a:lnTo>
                  <a:lnTo>
                    <a:pt x="31194" y="38677"/>
                  </a:lnTo>
                  <a:lnTo>
                    <a:pt x="58173" y="40323"/>
                  </a:lnTo>
                  <a:lnTo>
                    <a:pt x="73349" y="37031"/>
                  </a:lnTo>
                  <a:lnTo>
                    <a:pt x="86839" y="27156"/>
                  </a:lnTo>
                  <a:lnTo>
                    <a:pt x="96957" y="27156"/>
                  </a:lnTo>
                  <a:lnTo>
                    <a:pt x="105388" y="32094"/>
                  </a:lnTo>
                  <a:lnTo>
                    <a:pt x="118877" y="53490"/>
                  </a:lnTo>
                  <a:lnTo>
                    <a:pt x="128995" y="58427"/>
                  </a:lnTo>
                  <a:lnTo>
                    <a:pt x="139112" y="60074"/>
                  </a:lnTo>
                  <a:lnTo>
                    <a:pt x="147543" y="56782"/>
                  </a:lnTo>
                  <a:lnTo>
                    <a:pt x="164406" y="37031"/>
                  </a:lnTo>
                  <a:lnTo>
                    <a:pt x="184640" y="33740"/>
                  </a:lnTo>
                  <a:lnTo>
                    <a:pt x="191385" y="30448"/>
                  </a:lnTo>
                  <a:lnTo>
                    <a:pt x="199816" y="22219"/>
                  </a:lnTo>
                  <a:lnTo>
                    <a:pt x="206561" y="10698"/>
                  </a:lnTo>
                  <a:lnTo>
                    <a:pt x="216679" y="5760"/>
                  </a:lnTo>
                  <a:lnTo>
                    <a:pt x="235227" y="4114"/>
                  </a:lnTo>
                  <a:lnTo>
                    <a:pt x="263893"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5" name="Weststellingwerf">
              <a:extLst>
                <a:ext uri="{FF2B5EF4-FFF2-40B4-BE49-F238E27FC236}">
                  <a16:creationId xmlns:a16="http://schemas.microsoft.com/office/drawing/2014/main" id="{F722E2B5-1C08-4791-A1A8-4521FA9077A3}"/>
                </a:ext>
              </a:extLst>
            </p:cNvPr>
            <p:cNvSpPr/>
            <p:nvPr/>
          </p:nvSpPr>
          <p:spPr>
            <a:xfrm>
              <a:off x="6672939" y="2162107"/>
              <a:ext cx="440637" cy="231643"/>
            </a:xfrm>
            <a:custGeom>
              <a:avLst/>
              <a:gdLst/>
              <a:ahLst/>
              <a:cxnLst/>
              <a:rect l="l" t="t" r="r" b="b"/>
              <a:pathLst>
                <a:path w="643949" h="354330" extrusionOk="0">
                  <a:moveTo>
                    <a:pt x="623059" y="74886"/>
                  </a:moveTo>
                  <a:lnTo>
                    <a:pt x="585962" y="130846"/>
                  </a:lnTo>
                  <a:lnTo>
                    <a:pt x="525258" y="168701"/>
                  </a:lnTo>
                  <a:lnTo>
                    <a:pt x="457808" y="218076"/>
                  </a:lnTo>
                  <a:lnTo>
                    <a:pt x="407222" y="247702"/>
                  </a:lnTo>
                  <a:lnTo>
                    <a:pt x="400477" y="257577"/>
                  </a:lnTo>
                  <a:lnTo>
                    <a:pt x="368439" y="257577"/>
                  </a:lnTo>
                  <a:lnTo>
                    <a:pt x="356635" y="262515"/>
                  </a:lnTo>
                  <a:lnTo>
                    <a:pt x="360008" y="277327"/>
                  </a:lnTo>
                  <a:lnTo>
                    <a:pt x="366753" y="288848"/>
                  </a:lnTo>
                  <a:lnTo>
                    <a:pt x="324597" y="315182"/>
                  </a:lnTo>
                  <a:lnTo>
                    <a:pt x="314480" y="297078"/>
                  </a:lnTo>
                  <a:lnTo>
                    <a:pt x="289186" y="303661"/>
                  </a:lnTo>
                  <a:lnTo>
                    <a:pt x="272324" y="311891"/>
                  </a:lnTo>
                  <a:lnTo>
                    <a:pt x="263893" y="300370"/>
                  </a:lnTo>
                  <a:lnTo>
                    <a:pt x="257148" y="300370"/>
                  </a:lnTo>
                  <a:lnTo>
                    <a:pt x="250403" y="282265"/>
                  </a:lnTo>
                  <a:lnTo>
                    <a:pt x="241972" y="269098"/>
                  </a:lnTo>
                  <a:lnTo>
                    <a:pt x="236913" y="250994"/>
                  </a:lnTo>
                  <a:lnTo>
                    <a:pt x="214992" y="257577"/>
                  </a:lnTo>
                  <a:lnTo>
                    <a:pt x="211620" y="262515"/>
                  </a:lnTo>
                  <a:lnTo>
                    <a:pt x="211620" y="272390"/>
                  </a:lnTo>
                  <a:lnTo>
                    <a:pt x="196444" y="262515"/>
                  </a:lnTo>
                  <a:lnTo>
                    <a:pt x="188013" y="267452"/>
                  </a:lnTo>
                  <a:lnTo>
                    <a:pt x="174523" y="267452"/>
                  </a:lnTo>
                  <a:lnTo>
                    <a:pt x="167778" y="272390"/>
                  </a:lnTo>
                  <a:lnTo>
                    <a:pt x="167778" y="274036"/>
                  </a:lnTo>
                  <a:lnTo>
                    <a:pt x="172837" y="275682"/>
                  </a:lnTo>
                  <a:lnTo>
                    <a:pt x="161033" y="278973"/>
                  </a:lnTo>
                  <a:lnTo>
                    <a:pt x="162719" y="282265"/>
                  </a:lnTo>
                  <a:lnTo>
                    <a:pt x="167778" y="285557"/>
                  </a:lnTo>
                  <a:lnTo>
                    <a:pt x="161033" y="287203"/>
                  </a:lnTo>
                  <a:lnTo>
                    <a:pt x="164406" y="297078"/>
                  </a:lnTo>
                  <a:lnTo>
                    <a:pt x="149230" y="306953"/>
                  </a:lnTo>
                  <a:lnTo>
                    <a:pt x="142485" y="320120"/>
                  </a:lnTo>
                  <a:lnTo>
                    <a:pt x="128995" y="325057"/>
                  </a:lnTo>
                  <a:lnTo>
                    <a:pt x="123936" y="334933"/>
                  </a:lnTo>
                  <a:lnTo>
                    <a:pt x="102015" y="344808"/>
                  </a:lnTo>
                  <a:lnTo>
                    <a:pt x="95270" y="351391"/>
                  </a:lnTo>
                  <a:lnTo>
                    <a:pt x="80094" y="348100"/>
                  </a:lnTo>
                  <a:lnTo>
                    <a:pt x="76722" y="343162"/>
                  </a:lnTo>
                  <a:lnTo>
                    <a:pt x="66605" y="343162"/>
                  </a:lnTo>
                  <a:lnTo>
                    <a:pt x="63232" y="336579"/>
                  </a:lnTo>
                  <a:lnTo>
                    <a:pt x="59860" y="341516"/>
                  </a:lnTo>
                  <a:lnTo>
                    <a:pt x="53115" y="339870"/>
                  </a:lnTo>
                  <a:lnTo>
                    <a:pt x="42997" y="341516"/>
                  </a:lnTo>
                  <a:lnTo>
                    <a:pt x="41311" y="336579"/>
                  </a:lnTo>
                  <a:lnTo>
                    <a:pt x="32880" y="339870"/>
                  </a:lnTo>
                  <a:lnTo>
                    <a:pt x="34566" y="334933"/>
                  </a:lnTo>
                  <a:lnTo>
                    <a:pt x="27821" y="326703"/>
                  </a:lnTo>
                  <a:lnTo>
                    <a:pt x="21076" y="321766"/>
                  </a:lnTo>
                  <a:lnTo>
                    <a:pt x="14332" y="321766"/>
                  </a:lnTo>
                  <a:lnTo>
                    <a:pt x="7587" y="315182"/>
                  </a:lnTo>
                  <a:lnTo>
                    <a:pt x="4214" y="306953"/>
                  </a:lnTo>
                  <a:lnTo>
                    <a:pt x="5900" y="298724"/>
                  </a:lnTo>
                  <a:lnTo>
                    <a:pt x="19390" y="287203"/>
                  </a:lnTo>
                  <a:lnTo>
                    <a:pt x="16018" y="282265"/>
                  </a:lnTo>
                  <a:lnTo>
                    <a:pt x="21076" y="277327"/>
                  </a:lnTo>
                  <a:lnTo>
                    <a:pt x="31194" y="255931"/>
                  </a:lnTo>
                  <a:lnTo>
                    <a:pt x="37939" y="250994"/>
                  </a:lnTo>
                  <a:lnTo>
                    <a:pt x="37939" y="239473"/>
                  </a:lnTo>
                  <a:lnTo>
                    <a:pt x="42997" y="221368"/>
                  </a:lnTo>
                  <a:lnTo>
                    <a:pt x="59860" y="195034"/>
                  </a:lnTo>
                  <a:lnTo>
                    <a:pt x="61546" y="183513"/>
                  </a:lnTo>
                  <a:lnTo>
                    <a:pt x="80094" y="160471"/>
                  </a:lnTo>
                  <a:lnTo>
                    <a:pt x="96957" y="140721"/>
                  </a:lnTo>
                  <a:lnTo>
                    <a:pt x="103701" y="137429"/>
                  </a:lnTo>
                  <a:lnTo>
                    <a:pt x="105388" y="125908"/>
                  </a:lnTo>
                  <a:lnTo>
                    <a:pt x="142485" y="117679"/>
                  </a:lnTo>
                  <a:lnTo>
                    <a:pt x="174523" y="94637"/>
                  </a:lnTo>
                  <a:lnTo>
                    <a:pt x="204875" y="51844"/>
                  </a:lnTo>
                  <a:lnTo>
                    <a:pt x="213306" y="45261"/>
                  </a:lnTo>
                  <a:lnTo>
                    <a:pt x="228482" y="43615"/>
                  </a:lnTo>
                  <a:lnTo>
                    <a:pt x="245344" y="45261"/>
                  </a:lnTo>
                  <a:lnTo>
                    <a:pt x="279069" y="28802"/>
                  </a:lnTo>
                  <a:lnTo>
                    <a:pt x="331342" y="66657"/>
                  </a:lnTo>
                  <a:lnTo>
                    <a:pt x="336401" y="68303"/>
                  </a:lnTo>
                  <a:lnTo>
                    <a:pt x="392046" y="35386"/>
                  </a:lnTo>
                  <a:lnTo>
                    <a:pt x="403849" y="22219"/>
                  </a:lnTo>
                  <a:lnTo>
                    <a:pt x="440947" y="78178"/>
                  </a:lnTo>
                  <a:lnTo>
                    <a:pt x="451064" y="69949"/>
                  </a:lnTo>
                  <a:lnTo>
                    <a:pt x="461181" y="66657"/>
                  </a:lnTo>
                  <a:lnTo>
                    <a:pt x="483102" y="51844"/>
                  </a:lnTo>
                  <a:lnTo>
                    <a:pt x="491533" y="40323"/>
                  </a:lnTo>
                  <a:lnTo>
                    <a:pt x="510081" y="35386"/>
                  </a:lnTo>
                  <a:lnTo>
                    <a:pt x="574158" y="4114"/>
                  </a:lnTo>
                  <a:lnTo>
                    <a:pt x="577531" y="7406"/>
                  </a:lnTo>
                  <a:lnTo>
                    <a:pt x="575844" y="13989"/>
                  </a:lnTo>
                  <a:lnTo>
                    <a:pt x="587648" y="27156"/>
                  </a:lnTo>
                  <a:lnTo>
                    <a:pt x="594393" y="45261"/>
                  </a:lnTo>
                  <a:lnTo>
                    <a:pt x="644979" y="51844"/>
                  </a:lnTo>
                  <a:lnTo>
                    <a:pt x="641607" y="60073"/>
                  </a:lnTo>
                  <a:lnTo>
                    <a:pt x="623059" y="7488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6" name="Oldambt">
              <a:extLst>
                <a:ext uri="{FF2B5EF4-FFF2-40B4-BE49-F238E27FC236}">
                  <a16:creationId xmlns:a16="http://schemas.microsoft.com/office/drawing/2014/main" id="{05A0FE8D-5070-4DCA-9BD6-7EFD90A7D0CF}"/>
                </a:ext>
              </a:extLst>
            </p:cNvPr>
            <p:cNvSpPr/>
            <p:nvPr/>
          </p:nvSpPr>
          <p:spPr>
            <a:xfrm>
              <a:off x="7780863" y="1522021"/>
              <a:ext cx="349377" cy="357495"/>
            </a:xfrm>
            <a:custGeom>
              <a:avLst/>
              <a:gdLst/>
              <a:ahLst/>
              <a:cxnLst/>
              <a:rect l="l" t="t" r="r" b="b"/>
              <a:pathLst>
                <a:path w="480034" h="537210" extrusionOk="0">
                  <a:moveTo>
                    <a:pt x="289186" y="17281"/>
                  </a:moveTo>
                  <a:lnTo>
                    <a:pt x="292559" y="15635"/>
                  </a:lnTo>
                  <a:lnTo>
                    <a:pt x="292559" y="13989"/>
                  </a:lnTo>
                  <a:lnTo>
                    <a:pt x="294244" y="15635"/>
                  </a:lnTo>
                  <a:lnTo>
                    <a:pt x="302676" y="12343"/>
                  </a:lnTo>
                  <a:lnTo>
                    <a:pt x="300989" y="10697"/>
                  </a:lnTo>
                  <a:lnTo>
                    <a:pt x="302676" y="12343"/>
                  </a:lnTo>
                  <a:lnTo>
                    <a:pt x="307735" y="12343"/>
                  </a:lnTo>
                  <a:lnTo>
                    <a:pt x="307735" y="9052"/>
                  </a:lnTo>
                  <a:lnTo>
                    <a:pt x="309420" y="10697"/>
                  </a:lnTo>
                  <a:lnTo>
                    <a:pt x="316166" y="9052"/>
                  </a:lnTo>
                  <a:lnTo>
                    <a:pt x="316166" y="10697"/>
                  </a:lnTo>
                  <a:lnTo>
                    <a:pt x="383614" y="4114"/>
                  </a:lnTo>
                  <a:lnTo>
                    <a:pt x="417339" y="7406"/>
                  </a:lnTo>
                  <a:lnTo>
                    <a:pt x="419025" y="10697"/>
                  </a:lnTo>
                  <a:lnTo>
                    <a:pt x="383614" y="5760"/>
                  </a:lnTo>
                  <a:lnTo>
                    <a:pt x="309420" y="10697"/>
                  </a:lnTo>
                  <a:lnTo>
                    <a:pt x="289186" y="17281"/>
                  </a:lnTo>
                  <a:close/>
                  <a:moveTo>
                    <a:pt x="311107" y="32094"/>
                  </a:moveTo>
                  <a:lnTo>
                    <a:pt x="289186" y="27156"/>
                  </a:lnTo>
                  <a:lnTo>
                    <a:pt x="289186" y="23864"/>
                  </a:lnTo>
                  <a:lnTo>
                    <a:pt x="289186" y="25510"/>
                  </a:lnTo>
                  <a:lnTo>
                    <a:pt x="300989" y="28802"/>
                  </a:lnTo>
                  <a:lnTo>
                    <a:pt x="300989" y="23864"/>
                  </a:lnTo>
                  <a:lnTo>
                    <a:pt x="300989" y="28802"/>
                  </a:lnTo>
                  <a:lnTo>
                    <a:pt x="311107" y="32094"/>
                  </a:lnTo>
                  <a:lnTo>
                    <a:pt x="314479" y="30448"/>
                  </a:lnTo>
                  <a:lnTo>
                    <a:pt x="312793" y="20573"/>
                  </a:lnTo>
                  <a:lnTo>
                    <a:pt x="289186" y="23864"/>
                  </a:lnTo>
                  <a:lnTo>
                    <a:pt x="349890" y="17281"/>
                  </a:lnTo>
                  <a:lnTo>
                    <a:pt x="349890" y="15635"/>
                  </a:lnTo>
                  <a:lnTo>
                    <a:pt x="349890" y="17281"/>
                  </a:lnTo>
                  <a:lnTo>
                    <a:pt x="361693" y="15635"/>
                  </a:lnTo>
                  <a:lnTo>
                    <a:pt x="361693" y="12343"/>
                  </a:lnTo>
                  <a:lnTo>
                    <a:pt x="363380" y="27156"/>
                  </a:lnTo>
                  <a:lnTo>
                    <a:pt x="375183" y="25510"/>
                  </a:lnTo>
                  <a:lnTo>
                    <a:pt x="376870" y="10697"/>
                  </a:lnTo>
                  <a:lnTo>
                    <a:pt x="376870" y="25510"/>
                  </a:lnTo>
                  <a:lnTo>
                    <a:pt x="385301" y="25510"/>
                  </a:lnTo>
                  <a:lnTo>
                    <a:pt x="319538" y="28802"/>
                  </a:lnTo>
                  <a:lnTo>
                    <a:pt x="311107" y="32094"/>
                  </a:lnTo>
                  <a:close/>
                  <a:moveTo>
                    <a:pt x="316166" y="30448"/>
                  </a:moveTo>
                  <a:lnTo>
                    <a:pt x="324597" y="28802"/>
                  </a:lnTo>
                  <a:lnTo>
                    <a:pt x="324597" y="20573"/>
                  </a:lnTo>
                  <a:lnTo>
                    <a:pt x="312793" y="20573"/>
                  </a:lnTo>
                  <a:lnTo>
                    <a:pt x="316166" y="30448"/>
                  </a:lnTo>
                  <a:close/>
                  <a:moveTo>
                    <a:pt x="324597" y="28802"/>
                  </a:moveTo>
                  <a:lnTo>
                    <a:pt x="338086" y="28802"/>
                  </a:lnTo>
                  <a:lnTo>
                    <a:pt x="338086" y="18927"/>
                  </a:lnTo>
                  <a:lnTo>
                    <a:pt x="326283" y="20573"/>
                  </a:lnTo>
                  <a:lnTo>
                    <a:pt x="324597" y="28802"/>
                  </a:lnTo>
                  <a:close/>
                  <a:moveTo>
                    <a:pt x="338086" y="28802"/>
                  </a:moveTo>
                  <a:lnTo>
                    <a:pt x="349890" y="27156"/>
                  </a:lnTo>
                  <a:lnTo>
                    <a:pt x="349890" y="17281"/>
                  </a:lnTo>
                  <a:lnTo>
                    <a:pt x="338086" y="18927"/>
                  </a:lnTo>
                  <a:lnTo>
                    <a:pt x="338086" y="28802"/>
                  </a:lnTo>
                  <a:close/>
                  <a:moveTo>
                    <a:pt x="349890" y="27156"/>
                  </a:moveTo>
                  <a:lnTo>
                    <a:pt x="363380" y="27156"/>
                  </a:lnTo>
                  <a:lnTo>
                    <a:pt x="361693" y="15635"/>
                  </a:lnTo>
                  <a:lnTo>
                    <a:pt x="349890" y="17281"/>
                  </a:lnTo>
                  <a:lnTo>
                    <a:pt x="349890" y="27156"/>
                  </a:lnTo>
                  <a:close/>
                  <a:moveTo>
                    <a:pt x="451063" y="226306"/>
                  </a:moveTo>
                  <a:lnTo>
                    <a:pt x="449378" y="223014"/>
                  </a:lnTo>
                  <a:lnTo>
                    <a:pt x="451063" y="223014"/>
                  </a:lnTo>
                  <a:lnTo>
                    <a:pt x="451063" y="218076"/>
                  </a:lnTo>
                  <a:lnTo>
                    <a:pt x="454436" y="214785"/>
                  </a:lnTo>
                  <a:lnTo>
                    <a:pt x="456122" y="223014"/>
                  </a:lnTo>
                  <a:lnTo>
                    <a:pt x="451063" y="226306"/>
                  </a:lnTo>
                  <a:close/>
                  <a:moveTo>
                    <a:pt x="100328" y="542311"/>
                  </a:moveTo>
                  <a:lnTo>
                    <a:pt x="91897" y="507748"/>
                  </a:lnTo>
                  <a:lnTo>
                    <a:pt x="81780" y="479769"/>
                  </a:lnTo>
                  <a:lnTo>
                    <a:pt x="81780" y="464956"/>
                  </a:lnTo>
                  <a:lnTo>
                    <a:pt x="75036" y="425455"/>
                  </a:lnTo>
                  <a:lnTo>
                    <a:pt x="64918" y="425455"/>
                  </a:lnTo>
                  <a:lnTo>
                    <a:pt x="63232" y="407351"/>
                  </a:lnTo>
                  <a:lnTo>
                    <a:pt x="44683" y="410642"/>
                  </a:lnTo>
                  <a:lnTo>
                    <a:pt x="42997" y="402413"/>
                  </a:lnTo>
                  <a:lnTo>
                    <a:pt x="4214" y="408996"/>
                  </a:lnTo>
                  <a:lnTo>
                    <a:pt x="17704" y="395830"/>
                  </a:lnTo>
                  <a:lnTo>
                    <a:pt x="10959" y="394184"/>
                  </a:lnTo>
                  <a:lnTo>
                    <a:pt x="10959" y="390892"/>
                  </a:lnTo>
                  <a:lnTo>
                    <a:pt x="17704" y="387600"/>
                  </a:lnTo>
                  <a:lnTo>
                    <a:pt x="16017" y="372787"/>
                  </a:lnTo>
                  <a:lnTo>
                    <a:pt x="19390" y="369496"/>
                  </a:lnTo>
                  <a:lnTo>
                    <a:pt x="22763" y="356329"/>
                  </a:lnTo>
                  <a:lnTo>
                    <a:pt x="26135" y="348099"/>
                  </a:lnTo>
                  <a:lnTo>
                    <a:pt x="32880" y="349745"/>
                  </a:lnTo>
                  <a:lnTo>
                    <a:pt x="34566" y="348099"/>
                  </a:lnTo>
                  <a:lnTo>
                    <a:pt x="36252" y="341516"/>
                  </a:lnTo>
                  <a:lnTo>
                    <a:pt x="22763" y="338224"/>
                  </a:lnTo>
                  <a:lnTo>
                    <a:pt x="34566" y="315182"/>
                  </a:lnTo>
                  <a:lnTo>
                    <a:pt x="27821" y="310245"/>
                  </a:lnTo>
                  <a:lnTo>
                    <a:pt x="41311" y="297078"/>
                  </a:lnTo>
                  <a:lnTo>
                    <a:pt x="31194" y="277327"/>
                  </a:lnTo>
                  <a:lnTo>
                    <a:pt x="34566" y="275681"/>
                  </a:lnTo>
                  <a:lnTo>
                    <a:pt x="26135" y="262515"/>
                  </a:lnTo>
                  <a:lnTo>
                    <a:pt x="16017" y="267452"/>
                  </a:lnTo>
                  <a:lnTo>
                    <a:pt x="9273" y="246056"/>
                  </a:lnTo>
                  <a:lnTo>
                    <a:pt x="12645" y="224660"/>
                  </a:lnTo>
                  <a:lnTo>
                    <a:pt x="19390" y="223014"/>
                  </a:lnTo>
                  <a:lnTo>
                    <a:pt x="27821" y="232889"/>
                  </a:lnTo>
                  <a:lnTo>
                    <a:pt x="31194" y="232889"/>
                  </a:lnTo>
                  <a:lnTo>
                    <a:pt x="37939" y="237827"/>
                  </a:lnTo>
                  <a:lnTo>
                    <a:pt x="51428" y="221368"/>
                  </a:lnTo>
                  <a:lnTo>
                    <a:pt x="58173" y="226306"/>
                  </a:lnTo>
                  <a:lnTo>
                    <a:pt x="61546" y="221368"/>
                  </a:lnTo>
                  <a:lnTo>
                    <a:pt x="63232" y="209847"/>
                  </a:lnTo>
                  <a:lnTo>
                    <a:pt x="71663" y="190097"/>
                  </a:lnTo>
                  <a:lnTo>
                    <a:pt x="139112" y="163763"/>
                  </a:lnTo>
                  <a:lnTo>
                    <a:pt x="162719" y="163763"/>
                  </a:lnTo>
                  <a:lnTo>
                    <a:pt x="161033" y="178576"/>
                  </a:lnTo>
                  <a:lnTo>
                    <a:pt x="176209" y="196680"/>
                  </a:lnTo>
                  <a:lnTo>
                    <a:pt x="189698" y="188451"/>
                  </a:lnTo>
                  <a:lnTo>
                    <a:pt x="194757" y="181867"/>
                  </a:lnTo>
                  <a:lnTo>
                    <a:pt x="198130" y="180221"/>
                  </a:lnTo>
                  <a:lnTo>
                    <a:pt x="199816" y="181867"/>
                  </a:lnTo>
                  <a:lnTo>
                    <a:pt x="203189" y="180221"/>
                  </a:lnTo>
                  <a:lnTo>
                    <a:pt x="228482" y="209847"/>
                  </a:lnTo>
                  <a:lnTo>
                    <a:pt x="231855" y="206555"/>
                  </a:lnTo>
                  <a:lnTo>
                    <a:pt x="243658" y="221368"/>
                  </a:lnTo>
                  <a:lnTo>
                    <a:pt x="262206" y="206555"/>
                  </a:lnTo>
                  <a:lnTo>
                    <a:pt x="257147" y="203264"/>
                  </a:lnTo>
                  <a:lnTo>
                    <a:pt x="268951" y="190097"/>
                  </a:lnTo>
                  <a:lnTo>
                    <a:pt x="279069" y="185159"/>
                  </a:lnTo>
                  <a:lnTo>
                    <a:pt x="284128" y="188451"/>
                  </a:lnTo>
                  <a:lnTo>
                    <a:pt x="287500" y="186805"/>
                  </a:lnTo>
                  <a:lnTo>
                    <a:pt x="295931" y="193388"/>
                  </a:lnTo>
                  <a:lnTo>
                    <a:pt x="292559" y="203264"/>
                  </a:lnTo>
                  <a:lnTo>
                    <a:pt x="297617" y="195034"/>
                  </a:lnTo>
                  <a:lnTo>
                    <a:pt x="302676" y="196680"/>
                  </a:lnTo>
                  <a:lnTo>
                    <a:pt x="304362" y="193388"/>
                  </a:lnTo>
                  <a:lnTo>
                    <a:pt x="306048" y="196680"/>
                  </a:lnTo>
                  <a:lnTo>
                    <a:pt x="309420" y="199972"/>
                  </a:lnTo>
                  <a:lnTo>
                    <a:pt x="314479" y="195034"/>
                  </a:lnTo>
                  <a:lnTo>
                    <a:pt x="316166" y="199972"/>
                  </a:lnTo>
                  <a:lnTo>
                    <a:pt x="321224" y="198326"/>
                  </a:lnTo>
                  <a:lnTo>
                    <a:pt x="322910" y="199972"/>
                  </a:lnTo>
                  <a:lnTo>
                    <a:pt x="329655" y="199972"/>
                  </a:lnTo>
                  <a:lnTo>
                    <a:pt x="331341" y="213139"/>
                  </a:lnTo>
                  <a:lnTo>
                    <a:pt x="331341" y="199972"/>
                  </a:lnTo>
                  <a:lnTo>
                    <a:pt x="336401" y="199972"/>
                  </a:lnTo>
                  <a:lnTo>
                    <a:pt x="339773" y="219722"/>
                  </a:lnTo>
                  <a:lnTo>
                    <a:pt x="336401" y="201618"/>
                  </a:lnTo>
                  <a:lnTo>
                    <a:pt x="343145" y="199972"/>
                  </a:lnTo>
                  <a:lnTo>
                    <a:pt x="346517" y="204909"/>
                  </a:lnTo>
                  <a:lnTo>
                    <a:pt x="349890" y="221368"/>
                  </a:lnTo>
                  <a:lnTo>
                    <a:pt x="346517" y="204909"/>
                  </a:lnTo>
                  <a:lnTo>
                    <a:pt x="356635" y="209847"/>
                  </a:lnTo>
                  <a:lnTo>
                    <a:pt x="358321" y="226306"/>
                  </a:lnTo>
                  <a:lnTo>
                    <a:pt x="358321" y="209847"/>
                  </a:lnTo>
                  <a:lnTo>
                    <a:pt x="361693" y="208201"/>
                  </a:lnTo>
                  <a:lnTo>
                    <a:pt x="365066" y="211493"/>
                  </a:lnTo>
                  <a:lnTo>
                    <a:pt x="368439" y="223014"/>
                  </a:lnTo>
                  <a:lnTo>
                    <a:pt x="366752" y="211493"/>
                  </a:lnTo>
                  <a:lnTo>
                    <a:pt x="375183" y="216430"/>
                  </a:lnTo>
                  <a:lnTo>
                    <a:pt x="375183" y="211493"/>
                  </a:lnTo>
                  <a:lnTo>
                    <a:pt x="378556" y="211493"/>
                  </a:lnTo>
                  <a:lnTo>
                    <a:pt x="380242" y="208201"/>
                  </a:lnTo>
                  <a:lnTo>
                    <a:pt x="385301" y="209847"/>
                  </a:lnTo>
                  <a:lnTo>
                    <a:pt x="392046" y="214785"/>
                  </a:lnTo>
                  <a:lnTo>
                    <a:pt x="395418" y="224660"/>
                  </a:lnTo>
                  <a:lnTo>
                    <a:pt x="393732" y="216430"/>
                  </a:lnTo>
                  <a:lnTo>
                    <a:pt x="397105" y="216430"/>
                  </a:lnTo>
                  <a:lnTo>
                    <a:pt x="400477" y="221368"/>
                  </a:lnTo>
                  <a:lnTo>
                    <a:pt x="402163" y="229597"/>
                  </a:lnTo>
                  <a:lnTo>
                    <a:pt x="398790" y="237827"/>
                  </a:lnTo>
                  <a:lnTo>
                    <a:pt x="402163" y="231243"/>
                  </a:lnTo>
                  <a:lnTo>
                    <a:pt x="402163" y="218076"/>
                  </a:lnTo>
                  <a:lnTo>
                    <a:pt x="403849" y="221368"/>
                  </a:lnTo>
                  <a:lnTo>
                    <a:pt x="403849" y="219722"/>
                  </a:lnTo>
                  <a:lnTo>
                    <a:pt x="415653" y="224660"/>
                  </a:lnTo>
                  <a:lnTo>
                    <a:pt x="417339" y="231243"/>
                  </a:lnTo>
                  <a:lnTo>
                    <a:pt x="417339" y="223014"/>
                  </a:lnTo>
                  <a:lnTo>
                    <a:pt x="420712" y="226306"/>
                  </a:lnTo>
                  <a:lnTo>
                    <a:pt x="424084" y="226306"/>
                  </a:lnTo>
                  <a:lnTo>
                    <a:pt x="427456" y="236181"/>
                  </a:lnTo>
                  <a:lnTo>
                    <a:pt x="425770" y="226306"/>
                  </a:lnTo>
                  <a:lnTo>
                    <a:pt x="434201" y="227951"/>
                  </a:lnTo>
                  <a:lnTo>
                    <a:pt x="435887" y="231243"/>
                  </a:lnTo>
                  <a:lnTo>
                    <a:pt x="435887" y="227951"/>
                  </a:lnTo>
                  <a:lnTo>
                    <a:pt x="444319" y="229597"/>
                  </a:lnTo>
                  <a:lnTo>
                    <a:pt x="444319" y="231243"/>
                  </a:lnTo>
                  <a:lnTo>
                    <a:pt x="447691" y="229597"/>
                  </a:lnTo>
                  <a:lnTo>
                    <a:pt x="452750" y="239472"/>
                  </a:lnTo>
                  <a:lnTo>
                    <a:pt x="454436" y="241118"/>
                  </a:lnTo>
                  <a:lnTo>
                    <a:pt x="451063" y="229597"/>
                  </a:lnTo>
                  <a:lnTo>
                    <a:pt x="456122" y="223014"/>
                  </a:lnTo>
                  <a:lnTo>
                    <a:pt x="461181" y="249348"/>
                  </a:lnTo>
                  <a:lnTo>
                    <a:pt x="457808" y="249348"/>
                  </a:lnTo>
                  <a:lnTo>
                    <a:pt x="467926" y="282265"/>
                  </a:lnTo>
                  <a:lnTo>
                    <a:pt x="469612" y="323412"/>
                  </a:lnTo>
                  <a:lnTo>
                    <a:pt x="456122" y="346454"/>
                  </a:lnTo>
                  <a:lnTo>
                    <a:pt x="484788" y="364558"/>
                  </a:lnTo>
                  <a:lnTo>
                    <a:pt x="462867" y="374433"/>
                  </a:lnTo>
                  <a:lnTo>
                    <a:pt x="451063" y="374433"/>
                  </a:lnTo>
                  <a:lnTo>
                    <a:pt x="432515" y="410642"/>
                  </a:lnTo>
                  <a:lnTo>
                    <a:pt x="430829" y="427101"/>
                  </a:lnTo>
                  <a:lnTo>
                    <a:pt x="420712" y="428747"/>
                  </a:lnTo>
                  <a:lnTo>
                    <a:pt x="412280" y="433684"/>
                  </a:lnTo>
                  <a:lnTo>
                    <a:pt x="407222" y="445205"/>
                  </a:lnTo>
                  <a:lnTo>
                    <a:pt x="365066" y="415580"/>
                  </a:lnTo>
                  <a:lnTo>
                    <a:pt x="356635" y="430393"/>
                  </a:lnTo>
                  <a:lnTo>
                    <a:pt x="336401" y="438622"/>
                  </a:lnTo>
                  <a:lnTo>
                    <a:pt x="306048" y="456727"/>
                  </a:lnTo>
                  <a:lnTo>
                    <a:pt x="297617" y="458372"/>
                  </a:lnTo>
                  <a:lnTo>
                    <a:pt x="280755" y="455081"/>
                  </a:lnTo>
                  <a:lnTo>
                    <a:pt x="270637" y="458372"/>
                  </a:lnTo>
                  <a:lnTo>
                    <a:pt x="226796" y="492935"/>
                  </a:lnTo>
                  <a:lnTo>
                    <a:pt x="203189" y="517623"/>
                  </a:lnTo>
                  <a:lnTo>
                    <a:pt x="199816" y="529144"/>
                  </a:lnTo>
                  <a:lnTo>
                    <a:pt x="193071" y="527499"/>
                  </a:lnTo>
                  <a:lnTo>
                    <a:pt x="132367" y="529144"/>
                  </a:lnTo>
                  <a:lnTo>
                    <a:pt x="125622" y="520915"/>
                  </a:lnTo>
                  <a:lnTo>
                    <a:pt x="123936" y="522561"/>
                  </a:lnTo>
                  <a:lnTo>
                    <a:pt x="120563" y="520915"/>
                  </a:lnTo>
                  <a:lnTo>
                    <a:pt x="100328" y="54231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7" name="Opsterland">
              <a:extLst>
                <a:ext uri="{FF2B5EF4-FFF2-40B4-BE49-F238E27FC236}">
                  <a16:creationId xmlns:a16="http://schemas.microsoft.com/office/drawing/2014/main" id="{2CC8B1C5-F58B-4797-BBAE-BE296D646F5E}"/>
                </a:ext>
              </a:extLst>
            </p:cNvPr>
            <p:cNvSpPr/>
            <p:nvPr/>
          </p:nvSpPr>
          <p:spPr>
            <a:xfrm>
              <a:off x="6787057" y="1858940"/>
              <a:ext cx="413826" cy="262955"/>
            </a:xfrm>
            <a:custGeom>
              <a:avLst/>
              <a:gdLst/>
              <a:ahLst/>
              <a:cxnLst/>
              <a:rect l="l" t="t" r="r" b="b"/>
              <a:pathLst>
                <a:path w="608824" h="400050" extrusionOk="0">
                  <a:moveTo>
                    <a:pt x="386987" y="4114"/>
                  </a:moveTo>
                  <a:lnTo>
                    <a:pt x="415653" y="37031"/>
                  </a:lnTo>
                  <a:lnTo>
                    <a:pt x="462867" y="41969"/>
                  </a:lnTo>
                  <a:lnTo>
                    <a:pt x="499964" y="38677"/>
                  </a:lnTo>
                  <a:lnTo>
                    <a:pt x="518512" y="46907"/>
                  </a:lnTo>
                  <a:lnTo>
                    <a:pt x="532002" y="56782"/>
                  </a:lnTo>
                  <a:lnTo>
                    <a:pt x="543806" y="73240"/>
                  </a:lnTo>
                  <a:lnTo>
                    <a:pt x="580903" y="86407"/>
                  </a:lnTo>
                  <a:lnTo>
                    <a:pt x="565727" y="117679"/>
                  </a:lnTo>
                  <a:lnTo>
                    <a:pt x="606196" y="132491"/>
                  </a:lnTo>
                  <a:lnTo>
                    <a:pt x="532002" y="160471"/>
                  </a:lnTo>
                  <a:lnTo>
                    <a:pt x="530316" y="173638"/>
                  </a:lnTo>
                  <a:lnTo>
                    <a:pt x="446005" y="221368"/>
                  </a:lnTo>
                  <a:lnTo>
                    <a:pt x="434201" y="223014"/>
                  </a:lnTo>
                  <a:lnTo>
                    <a:pt x="430829" y="227951"/>
                  </a:lnTo>
                  <a:lnTo>
                    <a:pt x="419025" y="224660"/>
                  </a:lnTo>
                  <a:lnTo>
                    <a:pt x="412280" y="227951"/>
                  </a:lnTo>
                  <a:lnTo>
                    <a:pt x="410594" y="232889"/>
                  </a:lnTo>
                  <a:lnTo>
                    <a:pt x="397104" y="249348"/>
                  </a:lnTo>
                  <a:lnTo>
                    <a:pt x="373497" y="267452"/>
                  </a:lnTo>
                  <a:lnTo>
                    <a:pt x="349890" y="275682"/>
                  </a:lnTo>
                  <a:lnTo>
                    <a:pt x="339773" y="277327"/>
                  </a:lnTo>
                  <a:lnTo>
                    <a:pt x="309421" y="288848"/>
                  </a:lnTo>
                  <a:lnTo>
                    <a:pt x="306048" y="292140"/>
                  </a:lnTo>
                  <a:lnTo>
                    <a:pt x="307734" y="295432"/>
                  </a:lnTo>
                  <a:lnTo>
                    <a:pt x="274010" y="318474"/>
                  </a:lnTo>
                  <a:lnTo>
                    <a:pt x="257148" y="334933"/>
                  </a:lnTo>
                  <a:lnTo>
                    <a:pt x="262206" y="343162"/>
                  </a:lnTo>
                  <a:lnTo>
                    <a:pt x="260520" y="343162"/>
                  </a:lnTo>
                  <a:lnTo>
                    <a:pt x="257148" y="346453"/>
                  </a:lnTo>
                  <a:lnTo>
                    <a:pt x="258834" y="349745"/>
                  </a:lnTo>
                  <a:lnTo>
                    <a:pt x="253775" y="354683"/>
                  </a:lnTo>
                  <a:lnTo>
                    <a:pt x="240286" y="357975"/>
                  </a:lnTo>
                  <a:lnTo>
                    <a:pt x="218365" y="381017"/>
                  </a:lnTo>
                  <a:lnTo>
                    <a:pt x="196443" y="392538"/>
                  </a:lnTo>
                  <a:lnTo>
                    <a:pt x="181268" y="399121"/>
                  </a:lnTo>
                  <a:lnTo>
                    <a:pt x="154288" y="404059"/>
                  </a:lnTo>
                  <a:lnTo>
                    <a:pt x="145857" y="400767"/>
                  </a:lnTo>
                  <a:lnTo>
                    <a:pt x="51428" y="384308"/>
                  </a:lnTo>
                  <a:lnTo>
                    <a:pt x="61546" y="369496"/>
                  </a:lnTo>
                  <a:lnTo>
                    <a:pt x="58173" y="364558"/>
                  </a:lnTo>
                  <a:lnTo>
                    <a:pt x="78408" y="336578"/>
                  </a:lnTo>
                  <a:lnTo>
                    <a:pt x="75036" y="333287"/>
                  </a:lnTo>
                  <a:lnTo>
                    <a:pt x="83467" y="325057"/>
                  </a:lnTo>
                  <a:lnTo>
                    <a:pt x="75036" y="310244"/>
                  </a:lnTo>
                  <a:lnTo>
                    <a:pt x="71663" y="295432"/>
                  </a:lnTo>
                  <a:lnTo>
                    <a:pt x="78408" y="295432"/>
                  </a:lnTo>
                  <a:lnTo>
                    <a:pt x="90211" y="257577"/>
                  </a:lnTo>
                  <a:lnTo>
                    <a:pt x="78408" y="246056"/>
                  </a:lnTo>
                  <a:lnTo>
                    <a:pt x="41311" y="229597"/>
                  </a:lnTo>
                  <a:lnTo>
                    <a:pt x="42997" y="226306"/>
                  </a:lnTo>
                  <a:lnTo>
                    <a:pt x="22763" y="218076"/>
                  </a:lnTo>
                  <a:lnTo>
                    <a:pt x="19390" y="213139"/>
                  </a:lnTo>
                  <a:lnTo>
                    <a:pt x="29507" y="213139"/>
                  </a:lnTo>
                  <a:lnTo>
                    <a:pt x="29507" y="201618"/>
                  </a:lnTo>
                  <a:lnTo>
                    <a:pt x="41311" y="198326"/>
                  </a:lnTo>
                  <a:lnTo>
                    <a:pt x="42997" y="193388"/>
                  </a:lnTo>
                  <a:lnTo>
                    <a:pt x="46370" y="193388"/>
                  </a:lnTo>
                  <a:lnTo>
                    <a:pt x="49742" y="190097"/>
                  </a:lnTo>
                  <a:lnTo>
                    <a:pt x="26135" y="190097"/>
                  </a:lnTo>
                  <a:lnTo>
                    <a:pt x="32880" y="168700"/>
                  </a:lnTo>
                  <a:lnTo>
                    <a:pt x="29507" y="162117"/>
                  </a:lnTo>
                  <a:lnTo>
                    <a:pt x="24449" y="165409"/>
                  </a:lnTo>
                  <a:lnTo>
                    <a:pt x="19390" y="162117"/>
                  </a:lnTo>
                  <a:lnTo>
                    <a:pt x="9273" y="148950"/>
                  </a:lnTo>
                  <a:lnTo>
                    <a:pt x="10959" y="142367"/>
                  </a:lnTo>
                  <a:lnTo>
                    <a:pt x="16018" y="140721"/>
                  </a:lnTo>
                  <a:lnTo>
                    <a:pt x="12645" y="135783"/>
                  </a:lnTo>
                  <a:lnTo>
                    <a:pt x="12645" y="130845"/>
                  </a:lnTo>
                  <a:lnTo>
                    <a:pt x="4214" y="130845"/>
                  </a:lnTo>
                  <a:lnTo>
                    <a:pt x="7586" y="124262"/>
                  </a:lnTo>
                  <a:lnTo>
                    <a:pt x="86839" y="132491"/>
                  </a:lnTo>
                  <a:lnTo>
                    <a:pt x="93584" y="124262"/>
                  </a:lnTo>
                  <a:lnTo>
                    <a:pt x="110446" y="124262"/>
                  </a:lnTo>
                  <a:lnTo>
                    <a:pt x="137426" y="134137"/>
                  </a:lnTo>
                  <a:lnTo>
                    <a:pt x="140798" y="132491"/>
                  </a:lnTo>
                  <a:lnTo>
                    <a:pt x="147543" y="140721"/>
                  </a:lnTo>
                  <a:lnTo>
                    <a:pt x="159347" y="140721"/>
                  </a:lnTo>
                  <a:lnTo>
                    <a:pt x="243658" y="147304"/>
                  </a:lnTo>
                  <a:lnTo>
                    <a:pt x="268951" y="129200"/>
                  </a:lnTo>
                  <a:lnTo>
                    <a:pt x="280755" y="111095"/>
                  </a:lnTo>
                  <a:lnTo>
                    <a:pt x="297617" y="73240"/>
                  </a:lnTo>
                  <a:lnTo>
                    <a:pt x="326283" y="55136"/>
                  </a:lnTo>
                  <a:lnTo>
                    <a:pt x="354949" y="25510"/>
                  </a:lnTo>
                  <a:lnTo>
                    <a:pt x="368438" y="18927"/>
                  </a:lnTo>
                  <a:lnTo>
                    <a:pt x="368438" y="15635"/>
                  </a:lnTo>
                  <a:lnTo>
                    <a:pt x="3869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8" name="Vaals">
              <a:extLst>
                <a:ext uri="{FF2B5EF4-FFF2-40B4-BE49-F238E27FC236}">
                  <a16:creationId xmlns:a16="http://schemas.microsoft.com/office/drawing/2014/main" id="{FE6B698A-4C27-4D22-8B68-60EEDFBE2D60}"/>
                </a:ext>
              </a:extLst>
            </p:cNvPr>
            <p:cNvSpPr/>
            <p:nvPr/>
          </p:nvSpPr>
          <p:spPr>
            <a:xfrm>
              <a:off x="6803972" y="5600168"/>
              <a:ext cx="119923" cy="78523"/>
            </a:xfrm>
            <a:custGeom>
              <a:avLst/>
              <a:gdLst/>
              <a:ahLst/>
              <a:cxnLst/>
              <a:rect l="l" t="t" r="r" b="b"/>
              <a:pathLst>
                <a:path w="175622" h="125730" extrusionOk="0">
                  <a:moveTo>
                    <a:pt x="90211" y="5760"/>
                  </a:moveTo>
                  <a:lnTo>
                    <a:pt x="90211" y="17280"/>
                  </a:lnTo>
                  <a:lnTo>
                    <a:pt x="96957" y="23864"/>
                  </a:lnTo>
                  <a:lnTo>
                    <a:pt x="110446" y="25510"/>
                  </a:lnTo>
                  <a:lnTo>
                    <a:pt x="122250" y="35385"/>
                  </a:lnTo>
                  <a:lnTo>
                    <a:pt x="122250" y="41969"/>
                  </a:lnTo>
                  <a:lnTo>
                    <a:pt x="137426" y="51844"/>
                  </a:lnTo>
                  <a:lnTo>
                    <a:pt x="139112" y="55135"/>
                  </a:lnTo>
                  <a:lnTo>
                    <a:pt x="155974" y="63365"/>
                  </a:lnTo>
                  <a:lnTo>
                    <a:pt x="161033" y="68302"/>
                  </a:lnTo>
                  <a:lnTo>
                    <a:pt x="171150" y="69948"/>
                  </a:lnTo>
                  <a:lnTo>
                    <a:pt x="172836" y="73240"/>
                  </a:lnTo>
                  <a:lnTo>
                    <a:pt x="159347" y="99574"/>
                  </a:lnTo>
                  <a:lnTo>
                    <a:pt x="162719" y="120970"/>
                  </a:lnTo>
                  <a:lnTo>
                    <a:pt x="150916" y="119324"/>
                  </a:lnTo>
                  <a:lnTo>
                    <a:pt x="128995" y="124262"/>
                  </a:lnTo>
                  <a:lnTo>
                    <a:pt x="125622" y="122616"/>
                  </a:lnTo>
                  <a:lnTo>
                    <a:pt x="118877" y="125908"/>
                  </a:lnTo>
                  <a:lnTo>
                    <a:pt x="103701" y="125908"/>
                  </a:lnTo>
                  <a:lnTo>
                    <a:pt x="96957" y="120970"/>
                  </a:lnTo>
                  <a:lnTo>
                    <a:pt x="90211" y="119324"/>
                  </a:lnTo>
                  <a:lnTo>
                    <a:pt x="90211" y="114387"/>
                  </a:lnTo>
                  <a:lnTo>
                    <a:pt x="86839" y="109449"/>
                  </a:lnTo>
                  <a:lnTo>
                    <a:pt x="68291" y="104512"/>
                  </a:lnTo>
                  <a:lnTo>
                    <a:pt x="68291" y="102866"/>
                  </a:lnTo>
                  <a:lnTo>
                    <a:pt x="29507" y="116032"/>
                  </a:lnTo>
                  <a:lnTo>
                    <a:pt x="27821" y="112741"/>
                  </a:lnTo>
                  <a:lnTo>
                    <a:pt x="19390" y="111095"/>
                  </a:lnTo>
                  <a:lnTo>
                    <a:pt x="22763" y="107803"/>
                  </a:lnTo>
                  <a:lnTo>
                    <a:pt x="19390" y="102866"/>
                  </a:lnTo>
                  <a:lnTo>
                    <a:pt x="12645" y="99574"/>
                  </a:lnTo>
                  <a:lnTo>
                    <a:pt x="12645" y="94637"/>
                  </a:lnTo>
                  <a:lnTo>
                    <a:pt x="4214" y="86407"/>
                  </a:lnTo>
                  <a:lnTo>
                    <a:pt x="9273" y="71595"/>
                  </a:lnTo>
                  <a:lnTo>
                    <a:pt x="21076" y="73240"/>
                  </a:lnTo>
                  <a:lnTo>
                    <a:pt x="29507" y="81470"/>
                  </a:lnTo>
                  <a:lnTo>
                    <a:pt x="41311" y="76532"/>
                  </a:lnTo>
                  <a:lnTo>
                    <a:pt x="42997" y="56782"/>
                  </a:lnTo>
                  <a:lnTo>
                    <a:pt x="37938" y="35385"/>
                  </a:lnTo>
                  <a:lnTo>
                    <a:pt x="42997" y="22218"/>
                  </a:lnTo>
                  <a:lnTo>
                    <a:pt x="53115" y="27156"/>
                  </a:lnTo>
                  <a:lnTo>
                    <a:pt x="73349" y="5760"/>
                  </a:lnTo>
                  <a:lnTo>
                    <a:pt x="80094" y="9051"/>
                  </a:lnTo>
                  <a:lnTo>
                    <a:pt x="91897" y="4114"/>
                  </a:lnTo>
                  <a:lnTo>
                    <a:pt x="90211"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59" name="Zwolle">
              <a:extLst>
                <a:ext uri="{FF2B5EF4-FFF2-40B4-BE49-F238E27FC236}">
                  <a16:creationId xmlns:a16="http://schemas.microsoft.com/office/drawing/2014/main" id="{A76F8378-7907-4105-BD50-8A68903DB229}"/>
                </a:ext>
              </a:extLst>
            </p:cNvPr>
            <p:cNvSpPr/>
            <p:nvPr/>
          </p:nvSpPr>
          <p:spPr>
            <a:xfrm>
              <a:off x="6874166" y="2732536"/>
              <a:ext cx="212050" cy="236521"/>
            </a:xfrm>
            <a:custGeom>
              <a:avLst/>
              <a:gdLst/>
              <a:ahLst/>
              <a:cxnLst/>
              <a:rect l="l" t="t" r="r" b="b"/>
              <a:pathLst>
                <a:path w="316120" h="354330" extrusionOk="0">
                  <a:moveTo>
                    <a:pt x="290872" y="13989"/>
                  </a:moveTo>
                  <a:lnTo>
                    <a:pt x="302676" y="10698"/>
                  </a:lnTo>
                  <a:lnTo>
                    <a:pt x="307735" y="35386"/>
                  </a:lnTo>
                  <a:lnTo>
                    <a:pt x="316166" y="53490"/>
                  </a:lnTo>
                  <a:lnTo>
                    <a:pt x="284127" y="129200"/>
                  </a:lnTo>
                  <a:lnTo>
                    <a:pt x="289186" y="139075"/>
                  </a:lnTo>
                  <a:lnTo>
                    <a:pt x="280755" y="157179"/>
                  </a:lnTo>
                  <a:lnTo>
                    <a:pt x="282441" y="160471"/>
                  </a:lnTo>
                  <a:lnTo>
                    <a:pt x="275696" y="167054"/>
                  </a:lnTo>
                  <a:lnTo>
                    <a:pt x="275696" y="170346"/>
                  </a:lnTo>
                  <a:lnTo>
                    <a:pt x="260520" y="171992"/>
                  </a:lnTo>
                  <a:lnTo>
                    <a:pt x="277382" y="198326"/>
                  </a:lnTo>
                  <a:lnTo>
                    <a:pt x="277382" y="203264"/>
                  </a:lnTo>
                  <a:lnTo>
                    <a:pt x="282441" y="218076"/>
                  </a:lnTo>
                  <a:lnTo>
                    <a:pt x="295931" y="227951"/>
                  </a:lnTo>
                  <a:lnTo>
                    <a:pt x="300989" y="227951"/>
                  </a:lnTo>
                  <a:lnTo>
                    <a:pt x="299303" y="234535"/>
                  </a:lnTo>
                  <a:lnTo>
                    <a:pt x="302676" y="237827"/>
                  </a:lnTo>
                  <a:lnTo>
                    <a:pt x="295931" y="241118"/>
                  </a:lnTo>
                  <a:lnTo>
                    <a:pt x="290872" y="250994"/>
                  </a:lnTo>
                  <a:lnTo>
                    <a:pt x="292559" y="257577"/>
                  </a:lnTo>
                  <a:lnTo>
                    <a:pt x="290872" y="260869"/>
                  </a:lnTo>
                  <a:lnTo>
                    <a:pt x="284127" y="264161"/>
                  </a:lnTo>
                  <a:lnTo>
                    <a:pt x="275696" y="262515"/>
                  </a:lnTo>
                  <a:lnTo>
                    <a:pt x="274010" y="267452"/>
                  </a:lnTo>
                  <a:lnTo>
                    <a:pt x="267265" y="265806"/>
                  </a:lnTo>
                  <a:lnTo>
                    <a:pt x="267265" y="270744"/>
                  </a:lnTo>
                  <a:lnTo>
                    <a:pt x="263893" y="269098"/>
                  </a:lnTo>
                  <a:lnTo>
                    <a:pt x="262207" y="272390"/>
                  </a:lnTo>
                  <a:lnTo>
                    <a:pt x="258834" y="272390"/>
                  </a:lnTo>
                  <a:lnTo>
                    <a:pt x="257148" y="275681"/>
                  </a:lnTo>
                  <a:lnTo>
                    <a:pt x="252089" y="275681"/>
                  </a:lnTo>
                  <a:lnTo>
                    <a:pt x="228482" y="287203"/>
                  </a:lnTo>
                  <a:lnTo>
                    <a:pt x="218365" y="295432"/>
                  </a:lnTo>
                  <a:lnTo>
                    <a:pt x="230168" y="311891"/>
                  </a:lnTo>
                  <a:lnTo>
                    <a:pt x="230168" y="320120"/>
                  </a:lnTo>
                  <a:lnTo>
                    <a:pt x="235227" y="328349"/>
                  </a:lnTo>
                  <a:lnTo>
                    <a:pt x="223423" y="351392"/>
                  </a:lnTo>
                  <a:lnTo>
                    <a:pt x="214992" y="353037"/>
                  </a:lnTo>
                  <a:lnTo>
                    <a:pt x="213306" y="351392"/>
                  </a:lnTo>
                  <a:lnTo>
                    <a:pt x="211620" y="357975"/>
                  </a:lnTo>
                  <a:lnTo>
                    <a:pt x="208247" y="361266"/>
                  </a:lnTo>
                  <a:lnTo>
                    <a:pt x="206561" y="357975"/>
                  </a:lnTo>
                  <a:lnTo>
                    <a:pt x="182954" y="356329"/>
                  </a:lnTo>
                  <a:lnTo>
                    <a:pt x="166092" y="361266"/>
                  </a:lnTo>
                  <a:lnTo>
                    <a:pt x="159347" y="356329"/>
                  </a:lnTo>
                  <a:lnTo>
                    <a:pt x="154288" y="349745"/>
                  </a:lnTo>
                  <a:lnTo>
                    <a:pt x="155974" y="328349"/>
                  </a:lnTo>
                  <a:lnTo>
                    <a:pt x="154288" y="300370"/>
                  </a:lnTo>
                  <a:lnTo>
                    <a:pt x="147543" y="287203"/>
                  </a:lnTo>
                  <a:lnTo>
                    <a:pt x="134053" y="274036"/>
                  </a:lnTo>
                  <a:lnTo>
                    <a:pt x="113819" y="265806"/>
                  </a:lnTo>
                  <a:lnTo>
                    <a:pt x="103701" y="257577"/>
                  </a:lnTo>
                  <a:lnTo>
                    <a:pt x="80094" y="218076"/>
                  </a:lnTo>
                  <a:lnTo>
                    <a:pt x="63232" y="204909"/>
                  </a:lnTo>
                  <a:lnTo>
                    <a:pt x="36252" y="193388"/>
                  </a:lnTo>
                  <a:lnTo>
                    <a:pt x="24449" y="181867"/>
                  </a:lnTo>
                  <a:lnTo>
                    <a:pt x="21076" y="171992"/>
                  </a:lnTo>
                  <a:lnTo>
                    <a:pt x="24449" y="160471"/>
                  </a:lnTo>
                  <a:lnTo>
                    <a:pt x="34566" y="153888"/>
                  </a:lnTo>
                  <a:lnTo>
                    <a:pt x="36252" y="155534"/>
                  </a:lnTo>
                  <a:lnTo>
                    <a:pt x="44684" y="153888"/>
                  </a:lnTo>
                  <a:lnTo>
                    <a:pt x="44684" y="127554"/>
                  </a:lnTo>
                  <a:lnTo>
                    <a:pt x="9273" y="111095"/>
                  </a:lnTo>
                  <a:lnTo>
                    <a:pt x="4214" y="97928"/>
                  </a:lnTo>
                  <a:lnTo>
                    <a:pt x="93584" y="56782"/>
                  </a:lnTo>
                  <a:lnTo>
                    <a:pt x="103701" y="78178"/>
                  </a:lnTo>
                  <a:lnTo>
                    <a:pt x="108760" y="74886"/>
                  </a:lnTo>
                  <a:lnTo>
                    <a:pt x="112132" y="81470"/>
                  </a:lnTo>
                  <a:lnTo>
                    <a:pt x="110446" y="83116"/>
                  </a:lnTo>
                  <a:lnTo>
                    <a:pt x="132367" y="92991"/>
                  </a:lnTo>
                  <a:lnTo>
                    <a:pt x="145857" y="76532"/>
                  </a:lnTo>
                  <a:lnTo>
                    <a:pt x="154288" y="55136"/>
                  </a:lnTo>
                  <a:lnTo>
                    <a:pt x="161033" y="55136"/>
                  </a:lnTo>
                  <a:lnTo>
                    <a:pt x="164405" y="55136"/>
                  </a:lnTo>
                  <a:lnTo>
                    <a:pt x="164405" y="69949"/>
                  </a:lnTo>
                  <a:lnTo>
                    <a:pt x="171150" y="71595"/>
                  </a:lnTo>
                  <a:lnTo>
                    <a:pt x="176209" y="79824"/>
                  </a:lnTo>
                  <a:lnTo>
                    <a:pt x="191385" y="81470"/>
                  </a:lnTo>
                  <a:lnTo>
                    <a:pt x="209934" y="91345"/>
                  </a:lnTo>
                  <a:lnTo>
                    <a:pt x="248716" y="60074"/>
                  </a:lnTo>
                  <a:lnTo>
                    <a:pt x="236913" y="35386"/>
                  </a:lnTo>
                  <a:lnTo>
                    <a:pt x="235227" y="22219"/>
                  </a:lnTo>
                  <a:lnTo>
                    <a:pt x="231854" y="17281"/>
                  </a:lnTo>
                  <a:lnTo>
                    <a:pt x="220051" y="15635"/>
                  </a:lnTo>
                  <a:lnTo>
                    <a:pt x="220051" y="12343"/>
                  </a:lnTo>
                  <a:lnTo>
                    <a:pt x="268951" y="4114"/>
                  </a:lnTo>
                  <a:lnTo>
                    <a:pt x="290872"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0" name="Moerdijk">
              <a:extLst>
                <a:ext uri="{FF2B5EF4-FFF2-40B4-BE49-F238E27FC236}">
                  <a16:creationId xmlns:a16="http://schemas.microsoft.com/office/drawing/2014/main" id="{82C15F3A-2DAA-4AFA-8286-AC1ED8E8F295}"/>
                </a:ext>
              </a:extLst>
            </p:cNvPr>
            <p:cNvSpPr/>
            <p:nvPr/>
          </p:nvSpPr>
          <p:spPr>
            <a:xfrm>
              <a:off x="5148243" y="4123484"/>
              <a:ext cx="368310" cy="184432"/>
            </a:xfrm>
            <a:custGeom>
              <a:avLst/>
              <a:gdLst/>
              <a:ahLst/>
              <a:cxnLst/>
              <a:rect l="l" t="t" r="r" b="b"/>
              <a:pathLst>
                <a:path w="526867" h="274320" extrusionOk="0">
                  <a:moveTo>
                    <a:pt x="22763" y="96282"/>
                  </a:moveTo>
                  <a:lnTo>
                    <a:pt x="24449" y="99574"/>
                  </a:lnTo>
                  <a:lnTo>
                    <a:pt x="22763" y="97928"/>
                  </a:lnTo>
                  <a:lnTo>
                    <a:pt x="22763" y="96282"/>
                  </a:lnTo>
                  <a:close/>
                  <a:moveTo>
                    <a:pt x="27821" y="91345"/>
                  </a:moveTo>
                  <a:lnTo>
                    <a:pt x="24449" y="92991"/>
                  </a:lnTo>
                  <a:lnTo>
                    <a:pt x="21076" y="97928"/>
                  </a:lnTo>
                  <a:lnTo>
                    <a:pt x="24449" y="102866"/>
                  </a:lnTo>
                  <a:lnTo>
                    <a:pt x="24449" y="94637"/>
                  </a:lnTo>
                  <a:lnTo>
                    <a:pt x="27821" y="94637"/>
                  </a:lnTo>
                  <a:lnTo>
                    <a:pt x="26135" y="92991"/>
                  </a:lnTo>
                  <a:lnTo>
                    <a:pt x="27821" y="92991"/>
                  </a:lnTo>
                  <a:lnTo>
                    <a:pt x="19390" y="111095"/>
                  </a:lnTo>
                  <a:lnTo>
                    <a:pt x="24449" y="102866"/>
                  </a:lnTo>
                  <a:lnTo>
                    <a:pt x="21076" y="96282"/>
                  </a:lnTo>
                  <a:lnTo>
                    <a:pt x="24449" y="92991"/>
                  </a:lnTo>
                  <a:lnTo>
                    <a:pt x="27821" y="91345"/>
                  </a:lnTo>
                  <a:close/>
                  <a:moveTo>
                    <a:pt x="69977" y="68303"/>
                  </a:moveTo>
                  <a:lnTo>
                    <a:pt x="63232" y="73240"/>
                  </a:lnTo>
                  <a:lnTo>
                    <a:pt x="69977" y="66657"/>
                  </a:lnTo>
                  <a:lnTo>
                    <a:pt x="69977" y="68303"/>
                  </a:lnTo>
                  <a:close/>
                  <a:moveTo>
                    <a:pt x="69977" y="66657"/>
                  </a:moveTo>
                  <a:lnTo>
                    <a:pt x="59860" y="73240"/>
                  </a:lnTo>
                  <a:lnTo>
                    <a:pt x="68291" y="65011"/>
                  </a:lnTo>
                  <a:lnTo>
                    <a:pt x="69977" y="66657"/>
                  </a:lnTo>
                  <a:close/>
                  <a:moveTo>
                    <a:pt x="58173" y="58427"/>
                  </a:moveTo>
                  <a:lnTo>
                    <a:pt x="53115" y="65011"/>
                  </a:lnTo>
                  <a:lnTo>
                    <a:pt x="44684" y="69949"/>
                  </a:lnTo>
                  <a:lnTo>
                    <a:pt x="39625" y="68303"/>
                  </a:lnTo>
                  <a:lnTo>
                    <a:pt x="51428" y="65011"/>
                  </a:lnTo>
                  <a:lnTo>
                    <a:pt x="63232" y="53490"/>
                  </a:lnTo>
                  <a:lnTo>
                    <a:pt x="63232" y="50198"/>
                  </a:lnTo>
                  <a:lnTo>
                    <a:pt x="58173" y="58427"/>
                  </a:lnTo>
                  <a:close/>
                  <a:moveTo>
                    <a:pt x="58173" y="50198"/>
                  </a:moveTo>
                  <a:lnTo>
                    <a:pt x="53115" y="55136"/>
                  </a:lnTo>
                  <a:lnTo>
                    <a:pt x="54801" y="58427"/>
                  </a:lnTo>
                  <a:lnTo>
                    <a:pt x="51428" y="61719"/>
                  </a:lnTo>
                  <a:lnTo>
                    <a:pt x="48056" y="60074"/>
                  </a:lnTo>
                  <a:lnTo>
                    <a:pt x="41311" y="65011"/>
                  </a:lnTo>
                  <a:lnTo>
                    <a:pt x="42997" y="61719"/>
                  </a:lnTo>
                  <a:lnTo>
                    <a:pt x="58173" y="50198"/>
                  </a:lnTo>
                  <a:close/>
                  <a:moveTo>
                    <a:pt x="88525" y="46906"/>
                  </a:moveTo>
                  <a:lnTo>
                    <a:pt x="36252" y="91345"/>
                  </a:lnTo>
                  <a:lnTo>
                    <a:pt x="39625" y="84761"/>
                  </a:lnTo>
                  <a:lnTo>
                    <a:pt x="54801" y="73240"/>
                  </a:lnTo>
                  <a:lnTo>
                    <a:pt x="58173" y="65011"/>
                  </a:lnTo>
                  <a:lnTo>
                    <a:pt x="71663" y="58427"/>
                  </a:lnTo>
                  <a:lnTo>
                    <a:pt x="86839" y="46906"/>
                  </a:lnTo>
                  <a:lnTo>
                    <a:pt x="96957" y="45261"/>
                  </a:lnTo>
                  <a:lnTo>
                    <a:pt x="88525" y="46906"/>
                  </a:lnTo>
                  <a:close/>
                  <a:moveTo>
                    <a:pt x="353263" y="46906"/>
                  </a:moveTo>
                  <a:lnTo>
                    <a:pt x="289186" y="66657"/>
                  </a:lnTo>
                  <a:lnTo>
                    <a:pt x="275696" y="65011"/>
                  </a:lnTo>
                  <a:lnTo>
                    <a:pt x="275696" y="68303"/>
                  </a:lnTo>
                  <a:lnTo>
                    <a:pt x="272324" y="66657"/>
                  </a:lnTo>
                  <a:lnTo>
                    <a:pt x="274010" y="60074"/>
                  </a:lnTo>
                  <a:lnTo>
                    <a:pt x="317852" y="50198"/>
                  </a:lnTo>
                  <a:lnTo>
                    <a:pt x="327969" y="50198"/>
                  </a:lnTo>
                  <a:lnTo>
                    <a:pt x="341459" y="45261"/>
                  </a:lnTo>
                  <a:lnTo>
                    <a:pt x="360008" y="41969"/>
                  </a:lnTo>
                  <a:lnTo>
                    <a:pt x="353263" y="46906"/>
                  </a:lnTo>
                  <a:close/>
                  <a:moveTo>
                    <a:pt x="434201" y="17281"/>
                  </a:moveTo>
                  <a:lnTo>
                    <a:pt x="437574" y="27156"/>
                  </a:lnTo>
                  <a:lnTo>
                    <a:pt x="446005" y="33740"/>
                  </a:lnTo>
                  <a:lnTo>
                    <a:pt x="451064" y="58427"/>
                  </a:lnTo>
                  <a:lnTo>
                    <a:pt x="462867" y="83116"/>
                  </a:lnTo>
                  <a:lnTo>
                    <a:pt x="471298" y="78178"/>
                  </a:lnTo>
                  <a:lnTo>
                    <a:pt x="481416" y="84761"/>
                  </a:lnTo>
                  <a:lnTo>
                    <a:pt x="484788" y="79824"/>
                  </a:lnTo>
                  <a:lnTo>
                    <a:pt x="501650" y="96282"/>
                  </a:lnTo>
                  <a:lnTo>
                    <a:pt x="508395" y="81470"/>
                  </a:lnTo>
                  <a:lnTo>
                    <a:pt x="520199" y="97928"/>
                  </a:lnTo>
                  <a:lnTo>
                    <a:pt x="516826" y="99574"/>
                  </a:lnTo>
                  <a:lnTo>
                    <a:pt x="520199" y="109449"/>
                  </a:lnTo>
                  <a:lnTo>
                    <a:pt x="523571" y="107803"/>
                  </a:lnTo>
                  <a:lnTo>
                    <a:pt x="528630" y="116033"/>
                  </a:lnTo>
                  <a:lnTo>
                    <a:pt x="489847" y="132491"/>
                  </a:lnTo>
                  <a:lnTo>
                    <a:pt x="505023" y="152242"/>
                  </a:lnTo>
                  <a:lnTo>
                    <a:pt x="506709" y="160471"/>
                  </a:lnTo>
                  <a:lnTo>
                    <a:pt x="494905" y="167055"/>
                  </a:lnTo>
                  <a:lnTo>
                    <a:pt x="499964" y="178575"/>
                  </a:lnTo>
                  <a:lnTo>
                    <a:pt x="506709" y="178575"/>
                  </a:lnTo>
                  <a:lnTo>
                    <a:pt x="505023" y="188451"/>
                  </a:lnTo>
                  <a:lnTo>
                    <a:pt x="510081" y="201618"/>
                  </a:lnTo>
                  <a:lnTo>
                    <a:pt x="498278" y="203264"/>
                  </a:lnTo>
                  <a:lnTo>
                    <a:pt x="481416" y="213139"/>
                  </a:lnTo>
                  <a:lnTo>
                    <a:pt x="471298" y="214785"/>
                  </a:lnTo>
                  <a:lnTo>
                    <a:pt x="452750" y="208201"/>
                  </a:lnTo>
                  <a:lnTo>
                    <a:pt x="430829" y="213139"/>
                  </a:lnTo>
                  <a:lnTo>
                    <a:pt x="417339" y="219722"/>
                  </a:lnTo>
                  <a:lnTo>
                    <a:pt x="410594" y="231243"/>
                  </a:lnTo>
                  <a:lnTo>
                    <a:pt x="400477" y="234535"/>
                  </a:lnTo>
                  <a:lnTo>
                    <a:pt x="376870" y="223014"/>
                  </a:lnTo>
                  <a:lnTo>
                    <a:pt x="370125" y="223014"/>
                  </a:lnTo>
                  <a:lnTo>
                    <a:pt x="349890" y="232889"/>
                  </a:lnTo>
                  <a:lnTo>
                    <a:pt x="321224" y="218076"/>
                  </a:lnTo>
                  <a:lnTo>
                    <a:pt x="302676" y="219722"/>
                  </a:lnTo>
                  <a:lnTo>
                    <a:pt x="292559" y="224660"/>
                  </a:lnTo>
                  <a:lnTo>
                    <a:pt x="285814" y="236181"/>
                  </a:lnTo>
                  <a:lnTo>
                    <a:pt x="277383" y="244410"/>
                  </a:lnTo>
                  <a:lnTo>
                    <a:pt x="270638" y="247702"/>
                  </a:lnTo>
                  <a:lnTo>
                    <a:pt x="252089" y="250994"/>
                  </a:lnTo>
                  <a:lnTo>
                    <a:pt x="231854" y="270744"/>
                  </a:lnTo>
                  <a:lnTo>
                    <a:pt x="218365" y="274036"/>
                  </a:lnTo>
                  <a:lnTo>
                    <a:pt x="204875" y="267452"/>
                  </a:lnTo>
                  <a:lnTo>
                    <a:pt x="191385" y="246056"/>
                  </a:lnTo>
                  <a:lnTo>
                    <a:pt x="182954" y="241118"/>
                  </a:lnTo>
                  <a:lnTo>
                    <a:pt x="172837" y="241118"/>
                  </a:lnTo>
                  <a:lnTo>
                    <a:pt x="159347" y="250994"/>
                  </a:lnTo>
                  <a:lnTo>
                    <a:pt x="144171" y="254285"/>
                  </a:lnTo>
                  <a:lnTo>
                    <a:pt x="120564" y="252639"/>
                  </a:lnTo>
                  <a:lnTo>
                    <a:pt x="112133" y="249348"/>
                  </a:lnTo>
                  <a:lnTo>
                    <a:pt x="95270" y="234535"/>
                  </a:lnTo>
                  <a:lnTo>
                    <a:pt x="86839" y="214785"/>
                  </a:lnTo>
                  <a:lnTo>
                    <a:pt x="69977" y="213139"/>
                  </a:lnTo>
                  <a:lnTo>
                    <a:pt x="64918" y="208201"/>
                  </a:lnTo>
                  <a:lnTo>
                    <a:pt x="49742" y="193388"/>
                  </a:lnTo>
                  <a:lnTo>
                    <a:pt x="44684" y="181867"/>
                  </a:lnTo>
                  <a:lnTo>
                    <a:pt x="31194" y="176930"/>
                  </a:lnTo>
                  <a:lnTo>
                    <a:pt x="21076" y="165409"/>
                  </a:lnTo>
                  <a:lnTo>
                    <a:pt x="14331" y="162117"/>
                  </a:lnTo>
                  <a:lnTo>
                    <a:pt x="12645" y="157179"/>
                  </a:lnTo>
                  <a:lnTo>
                    <a:pt x="17704" y="158825"/>
                  </a:lnTo>
                  <a:lnTo>
                    <a:pt x="9273" y="150596"/>
                  </a:lnTo>
                  <a:lnTo>
                    <a:pt x="16018" y="144013"/>
                  </a:lnTo>
                  <a:lnTo>
                    <a:pt x="12645" y="140721"/>
                  </a:lnTo>
                  <a:lnTo>
                    <a:pt x="4214" y="144013"/>
                  </a:lnTo>
                  <a:lnTo>
                    <a:pt x="17704" y="139075"/>
                  </a:lnTo>
                  <a:lnTo>
                    <a:pt x="21076" y="135783"/>
                  </a:lnTo>
                  <a:lnTo>
                    <a:pt x="19390" y="134137"/>
                  </a:lnTo>
                  <a:lnTo>
                    <a:pt x="21076" y="135783"/>
                  </a:lnTo>
                  <a:lnTo>
                    <a:pt x="29508" y="122616"/>
                  </a:lnTo>
                  <a:lnTo>
                    <a:pt x="32880" y="120971"/>
                  </a:lnTo>
                  <a:lnTo>
                    <a:pt x="41311" y="99574"/>
                  </a:lnTo>
                  <a:lnTo>
                    <a:pt x="39625" y="94637"/>
                  </a:lnTo>
                  <a:lnTo>
                    <a:pt x="56487" y="83116"/>
                  </a:lnTo>
                  <a:lnTo>
                    <a:pt x="71663" y="68303"/>
                  </a:lnTo>
                  <a:lnTo>
                    <a:pt x="91898" y="53490"/>
                  </a:lnTo>
                  <a:lnTo>
                    <a:pt x="100329" y="55136"/>
                  </a:lnTo>
                  <a:lnTo>
                    <a:pt x="108760" y="53490"/>
                  </a:lnTo>
                  <a:lnTo>
                    <a:pt x="105388" y="55136"/>
                  </a:lnTo>
                  <a:lnTo>
                    <a:pt x="108760" y="56782"/>
                  </a:lnTo>
                  <a:lnTo>
                    <a:pt x="112133" y="55136"/>
                  </a:lnTo>
                  <a:lnTo>
                    <a:pt x="118877" y="56782"/>
                  </a:lnTo>
                  <a:lnTo>
                    <a:pt x="113819" y="60074"/>
                  </a:lnTo>
                  <a:lnTo>
                    <a:pt x="115505" y="61719"/>
                  </a:lnTo>
                  <a:lnTo>
                    <a:pt x="115505" y="58427"/>
                  </a:lnTo>
                  <a:lnTo>
                    <a:pt x="118877" y="60074"/>
                  </a:lnTo>
                  <a:lnTo>
                    <a:pt x="117191" y="69949"/>
                  </a:lnTo>
                  <a:lnTo>
                    <a:pt x="120564" y="66657"/>
                  </a:lnTo>
                  <a:lnTo>
                    <a:pt x="117191" y="65011"/>
                  </a:lnTo>
                  <a:lnTo>
                    <a:pt x="118877" y="60074"/>
                  </a:lnTo>
                  <a:lnTo>
                    <a:pt x="117191" y="58427"/>
                  </a:lnTo>
                  <a:lnTo>
                    <a:pt x="118877" y="56782"/>
                  </a:lnTo>
                  <a:lnTo>
                    <a:pt x="130681" y="66657"/>
                  </a:lnTo>
                  <a:lnTo>
                    <a:pt x="149229" y="74886"/>
                  </a:lnTo>
                  <a:lnTo>
                    <a:pt x="149229" y="76532"/>
                  </a:lnTo>
                  <a:lnTo>
                    <a:pt x="193071" y="88053"/>
                  </a:lnTo>
                  <a:lnTo>
                    <a:pt x="193071" y="97928"/>
                  </a:lnTo>
                  <a:lnTo>
                    <a:pt x="194758" y="88053"/>
                  </a:lnTo>
                  <a:lnTo>
                    <a:pt x="209934" y="91345"/>
                  </a:lnTo>
                  <a:lnTo>
                    <a:pt x="236913" y="88053"/>
                  </a:lnTo>
                  <a:lnTo>
                    <a:pt x="245344" y="84761"/>
                  </a:lnTo>
                  <a:lnTo>
                    <a:pt x="245344" y="79824"/>
                  </a:lnTo>
                  <a:lnTo>
                    <a:pt x="247031" y="89699"/>
                  </a:lnTo>
                  <a:lnTo>
                    <a:pt x="245344" y="96282"/>
                  </a:lnTo>
                  <a:lnTo>
                    <a:pt x="247031" y="84761"/>
                  </a:lnTo>
                  <a:lnTo>
                    <a:pt x="252089" y="84761"/>
                  </a:lnTo>
                  <a:lnTo>
                    <a:pt x="248717" y="84761"/>
                  </a:lnTo>
                  <a:lnTo>
                    <a:pt x="252089" y="83116"/>
                  </a:lnTo>
                  <a:lnTo>
                    <a:pt x="247031" y="81470"/>
                  </a:lnTo>
                  <a:lnTo>
                    <a:pt x="247031" y="84761"/>
                  </a:lnTo>
                  <a:lnTo>
                    <a:pt x="247031" y="79824"/>
                  </a:lnTo>
                  <a:lnTo>
                    <a:pt x="255462" y="83116"/>
                  </a:lnTo>
                  <a:lnTo>
                    <a:pt x="258834" y="86407"/>
                  </a:lnTo>
                  <a:lnTo>
                    <a:pt x="262207" y="84761"/>
                  </a:lnTo>
                  <a:lnTo>
                    <a:pt x="263893" y="79824"/>
                  </a:lnTo>
                  <a:lnTo>
                    <a:pt x="280755" y="76532"/>
                  </a:lnTo>
                  <a:lnTo>
                    <a:pt x="282441" y="78178"/>
                  </a:lnTo>
                  <a:lnTo>
                    <a:pt x="282441" y="76532"/>
                  </a:lnTo>
                  <a:lnTo>
                    <a:pt x="294245" y="73240"/>
                  </a:lnTo>
                  <a:lnTo>
                    <a:pt x="297617" y="74886"/>
                  </a:lnTo>
                  <a:lnTo>
                    <a:pt x="295931" y="73240"/>
                  </a:lnTo>
                  <a:lnTo>
                    <a:pt x="300990" y="71595"/>
                  </a:lnTo>
                  <a:lnTo>
                    <a:pt x="299303" y="69949"/>
                  </a:lnTo>
                  <a:lnTo>
                    <a:pt x="302676" y="68303"/>
                  </a:lnTo>
                  <a:lnTo>
                    <a:pt x="302676" y="71595"/>
                  </a:lnTo>
                  <a:lnTo>
                    <a:pt x="304362" y="69949"/>
                  </a:lnTo>
                  <a:lnTo>
                    <a:pt x="314479" y="68303"/>
                  </a:lnTo>
                  <a:lnTo>
                    <a:pt x="314479" y="69949"/>
                  </a:lnTo>
                  <a:lnTo>
                    <a:pt x="361694" y="56782"/>
                  </a:lnTo>
                  <a:lnTo>
                    <a:pt x="383615" y="43615"/>
                  </a:lnTo>
                  <a:lnTo>
                    <a:pt x="388673" y="35385"/>
                  </a:lnTo>
                  <a:lnTo>
                    <a:pt x="395418" y="40323"/>
                  </a:lnTo>
                  <a:lnTo>
                    <a:pt x="388673" y="35385"/>
                  </a:lnTo>
                  <a:lnTo>
                    <a:pt x="400477" y="30448"/>
                  </a:lnTo>
                  <a:lnTo>
                    <a:pt x="400477" y="27156"/>
                  </a:lnTo>
                  <a:lnTo>
                    <a:pt x="400477" y="28802"/>
                  </a:lnTo>
                  <a:lnTo>
                    <a:pt x="407222" y="25510"/>
                  </a:lnTo>
                  <a:lnTo>
                    <a:pt x="405536" y="23864"/>
                  </a:lnTo>
                  <a:lnTo>
                    <a:pt x="410594" y="23864"/>
                  </a:lnTo>
                  <a:lnTo>
                    <a:pt x="420712" y="18927"/>
                  </a:lnTo>
                  <a:lnTo>
                    <a:pt x="432515" y="18927"/>
                  </a:lnTo>
                  <a:lnTo>
                    <a:pt x="427457" y="5760"/>
                  </a:lnTo>
                  <a:lnTo>
                    <a:pt x="429143" y="4114"/>
                  </a:lnTo>
                  <a:lnTo>
                    <a:pt x="434201"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1" name="Landsmeer">
              <a:extLst>
                <a:ext uri="{FF2B5EF4-FFF2-40B4-BE49-F238E27FC236}">
                  <a16:creationId xmlns:a16="http://schemas.microsoft.com/office/drawing/2014/main" id="{E76E0AFA-D79C-4B0F-A966-22837C63F0C1}"/>
                </a:ext>
              </a:extLst>
            </p:cNvPr>
            <p:cNvSpPr/>
            <p:nvPr/>
          </p:nvSpPr>
          <p:spPr>
            <a:xfrm>
              <a:off x="5708757" y="2888747"/>
              <a:ext cx="71578" cy="127698"/>
            </a:xfrm>
            <a:custGeom>
              <a:avLst/>
              <a:gdLst/>
              <a:ahLst/>
              <a:cxnLst/>
              <a:rect l="l" t="t" r="r" b="b"/>
              <a:pathLst>
                <a:path w="93665" h="194310" extrusionOk="0">
                  <a:moveTo>
                    <a:pt x="46370" y="4114"/>
                  </a:moveTo>
                  <a:lnTo>
                    <a:pt x="59859" y="7406"/>
                  </a:lnTo>
                  <a:lnTo>
                    <a:pt x="59859" y="10697"/>
                  </a:lnTo>
                  <a:lnTo>
                    <a:pt x="76722" y="15635"/>
                  </a:lnTo>
                  <a:lnTo>
                    <a:pt x="80094" y="10697"/>
                  </a:lnTo>
                  <a:lnTo>
                    <a:pt x="88525" y="13989"/>
                  </a:lnTo>
                  <a:lnTo>
                    <a:pt x="85153" y="56782"/>
                  </a:lnTo>
                  <a:lnTo>
                    <a:pt x="90212" y="81470"/>
                  </a:lnTo>
                  <a:lnTo>
                    <a:pt x="86839" y="96282"/>
                  </a:lnTo>
                  <a:lnTo>
                    <a:pt x="90212" y="132491"/>
                  </a:lnTo>
                  <a:lnTo>
                    <a:pt x="90212" y="165408"/>
                  </a:lnTo>
                  <a:lnTo>
                    <a:pt x="85153" y="170346"/>
                  </a:lnTo>
                  <a:lnTo>
                    <a:pt x="80094" y="188451"/>
                  </a:lnTo>
                  <a:lnTo>
                    <a:pt x="59859" y="195034"/>
                  </a:lnTo>
                  <a:lnTo>
                    <a:pt x="36253" y="176930"/>
                  </a:lnTo>
                  <a:lnTo>
                    <a:pt x="10959" y="162117"/>
                  </a:lnTo>
                  <a:lnTo>
                    <a:pt x="12645" y="142366"/>
                  </a:lnTo>
                  <a:lnTo>
                    <a:pt x="5900" y="132491"/>
                  </a:lnTo>
                  <a:lnTo>
                    <a:pt x="9273" y="125908"/>
                  </a:lnTo>
                  <a:lnTo>
                    <a:pt x="7587" y="111095"/>
                  </a:lnTo>
                  <a:lnTo>
                    <a:pt x="4214" y="84761"/>
                  </a:lnTo>
                  <a:lnTo>
                    <a:pt x="19390" y="45261"/>
                  </a:lnTo>
                  <a:lnTo>
                    <a:pt x="26135" y="22218"/>
                  </a:lnTo>
                  <a:lnTo>
                    <a:pt x="37939" y="13989"/>
                  </a:lnTo>
                  <a:lnTo>
                    <a:pt x="4637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2" name="Ooststellingwerf">
              <a:extLst>
                <a:ext uri="{FF2B5EF4-FFF2-40B4-BE49-F238E27FC236}">
                  <a16:creationId xmlns:a16="http://schemas.microsoft.com/office/drawing/2014/main" id="{64CC1D87-A297-4451-AF8C-76A25E7F616A}"/>
                </a:ext>
              </a:extLst>
            </p:cNvPr>
            <p:cNvSpPr/>
            <p:nvPr/>
          </p:nvSpPr>
          <p:spPr>
            <a:xfrm>
              <a:off x="6951312" y="1941119"/>
              <a:ext cx="344152" cy="277067"/>
            </a:xfrm>
            <a:custGeom>
              <a:avLst/>
              <a:gdLst/>
              <a:ahLst/>
              <a:cxnLst/>
              <a:rect l="l" t="t" r="r" b="b"/>
              <a:pathLst>
                <a:path w="515159" h="411480" extrusionOk="0">
                  <a:moveTo>
                    <a:pt x="419026" y="60073"/>
                  </a:moveTo>
                  <a:lnTo>
                    <a:pt x="415653" y="102866"/>
                  </a:lnTo>
                  <a:lnTo>
                    <a:pt x="515140" y="250994"/>
                  </a:lnTo>
                  <a:lnTo>
                    <a:pt x="464553" y="346454"/>
                  </a:lnTo>
                  <a:lnTo>
                    <a:pt x="376870" y="410642"/>
                  </a:lnTo>
                  <a:lnTo>
                    <a:pt x="329655" y="367850"/>
                  </a:lnTo>
                  <a:lnTo>
                    <a:pt x="260520" y="361266"/>
                  </a:lnTo>
                  <a:lnTo>
                    <a:pt x="247030" y="372787"/>
                  </a:lnTo>
                  <a:lnTo>
                    <a:pt x="196444" y="366204"/>
                  </a:lnTo>
                  <a:lnTo>
                    <a:pt x="189699" y="348099"/>
                  </a:lnTo>
                  <a:lnTo>
                    <a:pt x="177895" y="334932"/>
                  </a:lnTo>
                  <a:lnTo>
                    <a:pt x="179582" y="328349"/>
                  </a:lnTo>
                  <a:lnTo>
                    <a:pt x="176209" y="325057"/>
                  </a:lnTo>
                  <a:lnTo>
                    <a:pt x="112132" y="356329"/>
                  </a:lnTo>
                  <a:lnTo>
                    <a:pt x="93584" y="361266"/>
                  </a:lnTo>
                  <a:lnTo>
                    <a:pt x="85153" y="372787"/>
                  </a:lnTo>
                  <a:lnTo>
                    <a:pt x="63232" y="387600"/>
                  </a:lnTo>
                  <a:lnTo>
                    <a:pt x="53115" y="390892"/>
                  </a:lnTo>
                  <a:lnTo>
                    <a:pt x="42997" y="399121"/>
                  </a:lnTo>
                  <a:lnTo>
                    <a:pt x="5900" y="343162"/>
                  </a:lnTo>
                  <a:lnTo>
                    <a:pt x="4214" y="343162"/>
                  </a:lnTo>
                  <a:lnTo>
                    <a:pt x="16018" y="329995"/>
                  </a:lnTo>
                  <a:lnTo>
                    <a:pt x="44684" y="308599"/>
                  </a:lnTo>
                  <a:lnTo>
                    <a:pt x="66604" y="302015"/>
                  </a:lnTo>
                  <a:lnTo>
                    <a:pt x="91898" y="264160"/>
                  </a:lnTo>
                  <a:lnTo>
                    <a:pt x="110446" y="247702"/>
                  </a:lnTo>
                  <a:lnTo>
                    <a:pt x="176209" y="214785"/>
                  </a:lnTo>
                  <a:lnTo>
                    <a:pt x="177895" y="211493"/>
                  </a:lnTo>
                  <a:lnTo>
                    <a:pt x="181268" y="96282"/>
                  </a:lnTo>
                  <a:lnTo>
                    <a:pt x="193071" y="99574"/>
                  </a:lnTo>
                  <a:lnTo>
                    <a:pt x="196444" y="94636"/>
                  </a:lnTo>
                  <a:lnTo>
                    <a:pt x="206561" y="92991"/>
                  </a:lnTo>
                  <a:lnTo>
                    <a:pt x="292559" y="45261"/>
                  </a:lnTo>
                  <a:lnTo>
                    <a:pt x="294245" y="32094"/>
                  </a:lnTo>
                  <a:lnTo>
                    <a:pt x="368439" y="4114"/>
                  </a:lnTo>
                  <a:lnTo>
                    <a:pt x="422398" y="22219"/>
                  </a:lnTo>
                  <a:lnTo>
                    <a:pt x="419026" y="600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3" name="Alblasserdam">
              <a:extLst>
                <a:ext uri="{FF2B5EF4-FFF2-40B4-BE49-F238E27FC236}">
                  <a16:creationId xmlns:a16="http://schemas.microsoft.com/office/drawing/2014/main" id="{366F2EF5-4D1D-479E-B080-A220156E2E34}"/>
                </a:ext>
              </a:extLst>
            </p:cNvPr>
            <p:cNvSpPr/>
            <p:nvPr/>
          </p:nvSpPr>
          <p:spPr>
            <a:xfrm>
              <a:off x="5428919" y="3861396"/>
              <a:ext cx="79949" cy="75667"/>
            </a:xfrm>
            <a:custGeom>
              <a:avLst/>
              <a:gdLst/>
              <a:ahLst/>
              <a:cxnLst/>
              <a:rect l="l" t="t" r="r" b="b"/>
              <a:pathLst>
                <a:path w="117081" h="102870" extrusionOk="0">
                  <a:moveTo>
                    <a:pt x="7587" y="4114"/>
                  </a:moveTo>
                  <a:lnTo>
                    <a:pt x="19390" y="17281"/>
                  </a:lnTo>
                  <a:lnTo>
                    <a:pt x="27821" y="7406"/>
                  </a:lnTo>
                  <a:lnTo>
                    <a:pt x="61546" y="20573"/>
                  </a:lnTo>
                  <a:lnTo>
                    <a:pt x="80094" y="20573"/>
                  </a:lnTo>
                  <a:lnTo>
                    <a:pt x="96956" y="12343"/>
                  </a:lnTo>
                  <a:lnTo>
                    <a:pt x="117191" y="9052"/>
                  </a:lnTo>
                  <a:lnTo>
                    <a:pt x="102015" y="40323"/>
                  </a:lnTo>
                  <a:lnTo>
                    <a:pt x="95270" y="41969"/>
                  </a:lnTo>
                  <a:lnTo>
                    <a:pt x="86839" y="56782"/>
                  </a:lnTo>
                  <a:lnTo>
                    <a:pt x="90212" y="84761"/>
                  </a:lnTo>
                  <a:lnTo>
                    <a:pt x="86839" y="84761"/>
                  </a:lnTo>
                  <a:lnTo>
                    <a:pt x="85153" y="94637"/>
                  </a:lnTo>
                  <a:lnTo>
                    <a:pt x="73349" y="107803"/>
                  </a:lnTo>
                  <a:lnTo>
                    <a:pt x="37939" y="51844"/>
                  </a:lnTo>
                  <a:lnTo>
                    <a:pt x="16018" y="30448"/>
                  </a:lnTo>
                  <a:lnTo>
                    <a:pt x="4214" y="5760"/>
                  </a:lnTo>
                  <a:lnTo>
                    <a:pt x="75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4" name="Brummen">
              <a:extLst>
                <a:ext uri="{FF2B5EF4-FFF2-40B4-BE49-F238E27FC236}">
                  <a16:creationId xmlns:a16="http://schemas.microsoft.com/office/drawing/2014/main" id="{6A85287A-E8F3-4EB3-9205-BB23956E778A}"/>
                </a:ext>
              </a:extLst>
            </p:cNvPr>
            <p:cNvSpPr/>
            <p:nvPr/>
          </p:nvSpPr>
          <p:spPr>
            <a:xfrm>
              <a:off x="6875758" y="3412632"/>
              <a:ext cx="223855" cy="165502"/>
            </a:xfrm>
            <a:custGeom>
              <a:avLst/>
              <a:gdLst/>
              <a:ahLst/>
              <a:cxnLst/>
              <a:rect l="l" t="t" r="r" b="b"/>
              <a:pathLst>
                <a:path w="327828" h="251460" extrusionOk="0">
                  <a:moveTo>
                    <a:pt x="255462" y="4114"/>
                  </a:moveTo>
                  <a:lnTo>
                    <a:pt x="274010" y="4114"/>
                  </a:lnTo>
                  <a:lnTo>
                    <a:pt x="268951" y="25510"/>
                  </a:lnTo>
                  <a:lnTo>
                    <a:pt x="257148" y="25510"/>
                  </a:lnTo>
                  <a:lnTo>
                    <a:pt x="235227" y="13989"/>
                  </a:lnTo>
                  <a:lnTo>
                    <a:pt x="216678" y="12344"/>
                  </a:lnTo>
                  <a:lnTo>
                    <a:pt x="208247" y="22219"/>
                  </a:lnTo>
                  <a:lnTo>
                    <a:pt x="206561" y="38678"/>
                  </a:lnTo>
                  <a:lnTo>
                    <a:pt x="209934" y="41969"/>
                  </a:lnTo>
                  <a:lnTo>
                    <a:pt x="221737" y="46907"/>
                  </a:lnTo>
                  <a:lnTo>
                    <a:pt x="241972" y="40323"/>
                  </a:lnTo>
                  <a:lnTo>
                    <a:pt x="257148" y="43615"/>
                  </a:lnTo>
                  <a:lnTo>
                    <a:pt x="255462" y="48552"/>
                  </a:lnTo>
                  <a:lnTo>
                    <a:pt x="258834" y="51844"/>
                  </a:lnTo>
                  <a:lnTo>
                    <a:pt x="258834" y="56782"/>
                  </a:lnTo>
                  <a:lnTo>
                    <a:pt x="265579" y="60074"/>
                  </a:lnTo>
                  <a:lnTo>
                    <a:pt x="263893" y="63365"/>
                  </a:lnTo>
                  <a:lnTo>
                    <a:pt x="272324" y="69949"/>
                  </a:lnTo>
                  <a:lnTo>
                    <a:pt x="270638" y="89699"/>
                  </a:lnTo>
                  <a:lnTo>
                    <a:pt x="277382" y="92991"/>
                  </a:lnTo>
                  <a:lnTo>
                    <a:pt x="275696" y="104512"/>
                  </a:lnTo>
                  <a:lnTo>
                    <a:pt x="279069" y="112741"/>
                  </a:lnTo>
                  <a:lnTo>
                    <a:pt x="285814" y="117679"/>
                  </a:lnTo>
                  <a:lnTo>
                    <a:pt x="312793" y="120971"/>
                  </a:lnTo>
                  <a:lnTo>
                    <a:pt x="321224" y="130845"/>
                  </a:lnTo>
                  <a:lnTo>
                    <a:pt x="326283" y="153888"/>
                  </a:lnTo>
                  <a:lnTo>
                    <a:pt x="319538" y="167055"/>
                  </a:lnTo>
                  <a:lnTo>
                    <a:pt x="311107" y="170346"/>
                  </a:lnTo>
                  <a:lnTo>
                    <a:pt x="299303" y="167055"/>
                  </a:lnTo>
                  <a:lnTo>
                    <a:pt x="284128" y="173638"/>
                  </a:lnTo>
                  <a:lnTo>
                    <a:pt x="263893" y="175284"/>
                  </a:lnTo>
                  <a:lnTo>
                    <a:pt x="258834" y="180221"/>
                  </a:lnTo>
                  <a:lnTo>
                    <a:pt x="255462" y="199972"/>
                  </a:lnTo>
                  <a:lnTo>
                    <a:pt x="250403" y="209847"/>
                  </a:lnTo>
                  <a:lnTo>
                    <a:pt x="238599" y="218076"/>
                  </a:lnTo>
                  <a:lnTo>
                    <a:pt x="220051" y="237827"/>
                  </a:lnTo>
                  <a:lnTo>
                    <a:pt x="208247" y="246056"/>
                  </a:lnTo>
                  <a:lnTo>
                    <a:pt x="204875" y="250994"/>
                  </a:lnTo>
                  <a:lnTo>
                    <a:pt x="201503" y="250994"/>
                  </a:lnTo>
                  <a:lnTo>
                    <a:pt x="201503" y="244410"/>
                  </a:lnTo>
                  <a:lnTo>
                    <a:pt x="191385" y="242764"/>
                  </a:lnTo>
                  <a:lnTo>
                    <a:pt x="191385" y="239473"/>
                  </a:lnTo>
                  <a:lnTo>
                    <a:pt x="181268" y="242764"/>
                  </a:lnTo>
                  <a:lnTo>
                    <a:pt x="177895" y="232889"/>
                  </a:lnTo>
                  <a:lnTo>
                    <a:pt x="179582" y="229597"/>
                  </a:lnTo>
                  <a:lnTo>
                    <a:pt x="171151" y="229597"/>
                  </a:lnTo>
                  <a:lnTo>
                    <a:pt x="167778" y="221368"/>
                  </a:lnTo>
                  <a:lnTo>
                    <a:pt x="152602" y="206555"/>
                  </a:lnTo>
                  <a:lnTo>
                    <a:pt x="118878" y="196680"/>
                  </a:lnTo>
                  <a:lnTo>
                    <a:pt x="117191" y="193389"/>
                  </a:lnTo>
                  <a:lnTo>
                    <a:pt x="112133" y="193389"/>
                  </a:lnTo>
                  <a:lnTo>
                    <a:pt x="110446" y="183513"/>
                  </a:lnTo>
                  <a:lnTo>
                    <a:pt x="98643" y="181867"/>
                  </a:lnTo>
                  <a:lnTo>
                    <a:pt x="63232" y="203264"/>
                  </a:lnTo>
                  <a:lnTo>
                    <a:pt x="31194" y="232889"/>
                  </a:lnTo>
                  <a:lnTo>
                    <a:pt x="4214" y="236181"/>
                  </a:lnTo>
                  <a:lnTo>
                    <a:pt x="7587" y="218076"/>
                  </a:lnTo>
                  <a:lnTo>
                    <a:pt x="21076" y="195034"/>
                  </a:lnTo>
                  <a:lnTo>
                    <a:pt x="42997" y="165409"/>
                  </a:lnTo>
                  <a:lnTo>
                    <a:pt x="46370" y="165409"/>
                  </a:lnTo>
                  <a:lnTo>
                    <a:pt x="42997" y="150596"/>
                  </a:lnTo>
                  <a:lnTo>
                    <a:pt x="46370" y="147304"/>
                  </a:lnTo>
                  <a:lnTo>
                    <a:pt x="46370" y="140721"/>
                  </a:lnTo>
                  <a:lnTo>
                    <a:pt x="48056" y="132492"/>
                  </a:lnTo>
                  <a:lnTo>
                    <a:pt x="56487" y="124262"/>
                  </a:lnTo>
                  <a:lnTo>
                    <a:pt x="54801" y="119325"/>
                  </a:lnTo>
                  <a:lnTo>
                    <a:pt x="66605" y="107804"/>
                  </a:lnTo>
                  <a:lnTo>
                    <a:pt x="71663" y="96283"/>
                  </a:lnTo>
                  <a:lnTo>
                    <a:pt x="98643" y="78178"/>
                  </a:lnTo>
                  <a:lnTo>
                    <a:pt x="102015" y="69949"/>
                  </a:lnTo>
                  <a:lnTo>
                    <a:pt x="112133" y="60074"/>
                  </a:lnTo>
                  <a:lnTo>
                    <a:pt x="108760" y="48552"/>
                  </a:lnTo>
                  <a:lnTo>
                    <a:pt x="144171" y="32094"/>
                  </a:lnTo>
                  <a:lnTo>
                    <a:pt x="198130" y="13989"/>
                  </a:lnTo>
                  <a:lnTo>
                    <a:pt x="226796" y="9052"/>
                  </a:lnTo>
                  <a:lnTo>
                    <a:pt x="236913" y="4114"/>
                  </a:lnTo>
                  <a:lnTo>
                    <a:pt x="25546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5" name="Den Bosch">
              <a:extLst>
                <a:ext uri="{FF2B5EF4-FFF2-40B4-BE49-F238E27FC236}">
                  <a16:creationId xmlns:a16="http://schemas.microsoft.com/office/drawing/2014/main" id="{8D312862-889D-4006-ACFD-EE693E5F595B}"/>
                </a:ext>
              </a:extLst>
            </p:cNvPr>
            <p:cNvSpPr/>
            <p:nvPr/>
          </p:nvSpPr>
          <p:spPr>
            <a:xfrm>
              <a:off x="6032662" y="4055711"/>
              <a:ext cx="320342" cy="163596"/>
            </a:xfrm>
            <a:custGeom>
              <a:avLst/>
              <a:gdLst/>
              <a:ahLst/>
              <a:cxnLst/>
              <a:rect l="l" t="t" r="r" b="b"/>
              <a:pathLst>
                <a:path w="456618" h="251460" extrusionOk="0">
                  <a:moveTo>
                    <a:pt x="360008" y="4114"/>
                  </a:moveTo>
                  <a:lnTo>
                    <a:pt x="368439" y="33739"/>
                  </a:lnTo>
                  <a:lnTo>
                    <a:pt x="368439" y="38677"/>
                  </a:lnTo>
                  <a:lnTo>
                    <a:pt x="383615" y="76532"/>
                  </a:lnTo>
                  <a:lnTo>
                    <a:pt x="380242" y="79823"/>
                  </a:lnTo>
                  <a:lnTo>
                    <a:pt x="381928" y="83115"/>
                  </a:lnTo>
                  <a:lnTo>
                    <a:pt x="385301" y="83115"/>
                  </a:lnTo>
                  <a:lnTo>
                    <a:pt x="390360" y="89699"/>
                  </a:lnTo>
                  <a:lnTo>
                    <a:pt x="393732" y="88053"/>
                  </a:lnTo>
                  <a:lnTo>
                    <a:pt x="398791" y="99574"/>
                  </a:lnTo>
                  <a:lnTo>
                    <a:pt x="415653" y="91345"/>
                  </a:lnTo>
                  <a:lnTo>
                    <a:pt x="424084" y="102866"/>
                  </a:lnTo>
                  <a:lnTo>
                    <a:pt x="422398" y="104512"/>
                  </a:lnTo>
                  <a:lnTo>
                    <a:pt x="430829" y="129199"/>
                  </a:lnTo>
                  <a:lnTo>
                    <a:pt x="435888" y="130845"/>
                  </a:lnTo>
                  <a:lnTo>
                    <a:pt x="435888" y="132491"/>
                  </a:lnTo>
                  <a:lnTo>
                    <a:pt x="451064" y="134137"/>
                  </a:lnTo>
                  <a:lnTo>
                    <a:pt x="452750" y="139075"/>
                  </a:lnTo>
                  <a:lnTo>
                    <a:pt x="454436" y="139075"/>
                  </a:lnTo>
                  <a:lnTo>
                    <a:pt x="452750" y="144012"/>
                  </a:lnTo>
                  <a:lnTo>
                    <a:pt x="442633" y="147304"/>
                  </a:lnTo>
                  <a:lnTo>
                    <a:pt x="429143" y="158825"/>
                  </a:lnTo>
                  <a:lnTo>
                    <a:pt x="420712" y="158825"/>
                  </a:lnTo>
                  <a:lnTo>
                    <a:pt x="410594" y="183513"/>
                  </a:lnTo>
                  <a:lnTo>
                    <a:pt x="407222" y="183513"/>
                  </a:lnTo>
                  <a:lnTo>
                    <a:pt x="408908" y="188451"/>
                  </a:lnTo>
                  <a:lnTo>
                    <a:pt x="393732" y="186805"/>
                  </a:lnTo>
                  <a:lnTo>
                    <a:pt x="392046" y="180221"/>
                  </a:lnTo>
                  <a:lnTo>
                    <a:pt x="388673" y="191742"/>
                  </a:lnTo>
                  <a:lnTo>
                    <a:pt x="381928" y="190096"/>
                  </a:lnTo>
                  <a:lnTo>
                    <a:pt x="380242" y="193388"/>
                  </a:lnTo>
                  <a:lnTo>
                    <a:pt x="370125" y="190096"/>
                  </a:lnTo>
                  <a:lnTo>
                    <a:pt x="373497" y="173638"/>
                  </a:lnTo>
                  <a:lnTo>
                    <a:pt x="365066" y="175284"/>
                  </a:lnTo>
                  <a:lnTo>
                    <a:pt x="368439" y="167054"/>
                  </a:lnTo>
                  <a:lnTo>
                    <a:pt x="361694" y="165409"/>
                  </a:lnTo>
                  <a:lnTo>
                    <a:pt x="361694" y="160471"/>
                  </a:lnTo>
                  <a:lnTo>
                    <a:pt x="348204" y="158825"/>
                  </a:lnTo>
                  <a:lnTo>
                    <a:pt x="297617" y="165409"/>
                  </a:lnTo>
                  <a:lnTo>
                    <a:pt x="279069" y="158825"/>
                  </a:lnTo>
                  <a:lnTo>
                    <a:pt x="272324" y="160471"/>
                  </a:lnTo>
                  <a:lnTo>
                    <a:pt x="260520" y="162117"/>
                  </a:lnTo>
                  <a:lnTo>
                    <a:pt x="257148" y="167054"/>
                  </a:lnTo>
                  <a:lnTo>
                    <a:pt x="250403" y="168700"/>
                  </a:lnTo>
                  <a:lnTo>
                    <a:pt x="238599" y="165409"/>
                  </a:lnTo>
                  <a:lnTo>
                    <a:pt x="248717" y="190096"/>
                  </a:lnTo>
                  <a:lnTo>
                    <a:pt x="265579" y="213138"/>
                  </a:lnTo>
                  <a:lnTo>
                    <a:pt x="235227" y="204909"/>
                  </a:lnTo>
                  <a:lnTo>
                    <a:pt x="235227" y="208201"/>
                  </a:lnTo>
                  <a:lnTo>
                    <a:pt x="228482" y="206555"/>
                  </a:lnTo>
                  <a:lnTo>
                    <a:pt x="225109" y="216430"/>
                  </a:lnTo>
                  <a:lnTo>
                    <a:pt x="233541" y="224660"/>
                  </a:lnTo>
                  <a:lnTo>
                    <a:pt x="230168" y="226306"/>
                  </a:lnTo>
                  <a:lnTo>
                    <a:pt x="230168" y="231243"/>
                  </a:lnTo>
                  <a:lnTo>
                    <a:pt x="214992" y="241118"/>
                  </a:lnTo>
                  <a:lnTo>
                    <a:pt x="206561" y="249348"/>
                  </a:lnTo>
                  <a:lnTo>
                    <a:pt x="189699" y="226306"/>
                  </a:lnTo>
                  <a:lnTo>
                    <a:pt x="176209" y="232889"/>
                  </a:lnTo>
                  <a:lnTo>
                    <a:pt x="162719" y="236181"/>
                  </a:lnTo>
                  <a:lnTo>
                    <a:pt x="152602" y="241118"/>
                  </a:lnTo>
                  <a:lnTo>
                    <a:pt x="147543" y="237826"/>
                  </a:lnTo>
                  <a:lnTo>
                    <a:pt x="145857" y="241118"/>
                  </a:lnTo>
                  <a:lnTo>
                    <a:pt x="135740" y="224660"/>
                  </a:lnTo>
                  <a:lnTo>
                    <a:pt x="117191" y="206555"/>
                  </a:lnTo>
                  <a:lnTo>
                    <a:pt x="95270" y="198326"/>
                  </a:lnTo>
                  <a:lnTo>
                    <a:pt x="64918" y="201617"/>
                  </a:lnTo>
                  <a:lnTo>
                    <a:pt x="46370" y="196680"/>
                  </a:lnTo>
                  <a:lnTo>
                    <a:pt x="42997" y="186805"/>
                  </a:lnTo>
                  <a:lnTo>
                    <a:pt x="32880" y="185159"/>
                  </a:lnTo>
                  <a:lnTo>
                    <a:pt x="37939" y="181867"/>
                  </a:lnTo>
                  <a:lnTo>
                    <a:pt x="66605" y="175284"/>
                  </a:lnTo>
                  <a:lnTo>
                    <a:pt x="73349" y="162117"/>
                  </a:lnTo>
                  <a:lnTo>
                    <a:pt x="66605" y="155533"/>
                  </a:lnTo>
                  <a:lnTo>
                    <a:pt x="56487" y="158825"/>
                  </a:lnTo>
                  <a:lnTo>
                    <a:pt x="51428" y="150596"/>
                  </a:lnTo>
                  <a:lnTo>
                    <a:pt x="48056" y="150596"/>
                  </a:lnTo>
                  <a:lnTo>
                    <a:pt x="56487" y="127554"/>
                  </a:lnTo>
                  <a:lnTo>
                    <a:pt x="39625" y="135783"/>
                  </a:lnTo>
                  <a:lnTo>
                    <a:pt x="37939" y="125908"/>
                  </a:lnTo>
                  <a:lnTo>
                    <a:pt x="41311" y="102866"/>
                  </a:lnTo>
                  <a:lnTo>
                    <a:pt x="36253" y="96282"/>
                  </a:lnTo>
                  <a:lnTo>
                    <a:pt x="31194" y="97928"/>
                  </a:lnTo>
                  <a:lnTo>
                    <a:pt x="27821" y="91345"/>
                  </a:lnTo>
                  <a:lnTo>
                    <a:pt x="22763" y="92991"/>
                  </a:lnTo>
                  <a:lnTo>
                    <a:pt x="9273" y="79823"/>
                  </a:lnTo>
                  <a:lnTo>
                    <a:pt x="9273" y="69949"/>
                  </a:lnTo>
                  <a:lnTo>
                    <a:pt x="4214" y="61719"/>
                  </a:lnTo>
                  <a:lnTo>
                    <a:pt x="19390" y="56781"/>
                  </a:lnTo>
                  <a:lnTo>
                    <a:pt x="32880" y="58427"/>
                  </a:lnTo>
                  <a:lnTo>
                    <a:pt x="42997" y="63365"/>
                  </a:lnTo>
                  <a:lnTo>
                    <a:pt x="61546" y="78178"/>
                  </a:lnTo>
                  <a:lnTo>
                    <a:pt x="68291" y="79823"/>
                  </a:lnTo>
                  <a:lnTo>
                    <a:pt x="78408" y="76532"/>
                  </a:lnTo>
                  <a:lnTo>
                    <a:pt x="91898" y="68303"/>
                  </a:lnTo>
                  <a:lnTo>
                    <a:pt x="105388" y="65011"/>
                  </a:lnTo>
                  <a:lnTo>
                    <a:pt x="120564" y="65011"/>
                  </a:lnTo>
                  <a:lnTo>
                    <a:pt x="134053" y="71594"/>
                  </a:lnTo>
                  <a:lnTo>
                    <a:pt x="144171" y="73240"/>
                  </a:lnTo>
                  <a:lnTo>
                    <a:pt x="152602" y="69949"/>
                  </a:lnTo>
                  <a:lnTo>
                    <a:pt x="181268" y="50198"/>
                  </a:lnTo>
                  <a:lnTo>
                    <a:pt x="230168" y="27156"/>
                  </a:lnTo>
                  <a:lnTo>
                    <a:pt x="233541" y="37031"/>
                  </a:lnTo>
                  <a:lnTo>
                    <a:pt x="245344" y="37031"/>
                  </a:lnTo>
                  <a:lnTo>
                    <a:pt x="262207" y="33739"/>
                  </a:lnTo>
                  <a:lnTo>
                    <a:pt x="287500" y="17281"/>
                  </a:lnTo>
                  <a:lnTo>
                    <a:pt x="36000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6" name="Ermelo">
              <a:extLst>
                <a:ext uri="{FF2B5EF4-FFF2-40B4-BE49-F238E27FC236}">
                  <a16:creationId xmlns:a16="http://schemas.microsoft.com/office/drawing/2014/main" id="{650FAFA3-CDF8-4291-AC2B-FD3D4BB04A16}"/>
                </a:ext>
              </a:extLst>
            </p:cNvPr>
            <p:cNvSpPr/>
            <p:nvPr/>
          </p:nvSpPr>
          <p:spPr>
            <a:xfrm>
              <a:off x="6396996" y="3146188"/>
              <a:ext cx="223855" cy="149370"/>
            </a:xfrm>
            <a:custGeom>
              <a:avLst/>
              <a:gdLst/>
              <a:ahLst/>
              <a:cxnLst/>
              <a:rect l="l" t="t" r="r" b="b"/>
              <a:pathLst>
                <a:path w="327828" h="217170" extrusionOk="0">
                  <a:moveTo>
                    <a:pt x="307734" y="55136"/>
                  </a:moveTo>
                  <a:lnTo>
                    <a:pt x="300989" y="78178"/>
                  </a:lnTo>
                  <a:lnTo>
                    <a:pt x="302676" y="101220"/>
                  </a:lnTo>
                  <a:lnTo>
                    <a:pt x="317852" y="114387"/>
                  </a:lnTo>
                  <a:lnTo>
                    <a:pt x="319538" y="125908"/>
                  </a:lnTo>
                  <a:lnTo>
                    <a:pt x="306048" y="142367"/>
                  </a:lnTo>
                  <a:lnTo>
                    <a:pt x="327969" y="198326"/>
                  </a:lnTo>
                  <a:lnTo>
                    <a:pt x="250403" y="219722"/>
                  </a:lnTo>
                  <a:lnTo>
                    <a:pt x="209934" y="216430"/>
                  </a:lnTo>
                  <a:lnTo>
                    <a:pt x="206561" y="214785"/>
                  </a:lnTo>
                  <a:lnTo>
                    <a:pt x="199816" y="195034"/>
                  </a:lnTo>
                  <a:lnTo>
                    <a:pt x="194757" y="188451"/>
                  </a:lnTo>
                  <a:lnTo>
                    <a:pt x="177895" y="175284"/>
                  </a:lnTo>
                  <a:lnTo>
                    <a:pt x="169464" y="165409"/>
                  </a:lnTo>
                  <a:lnTo>
                    <a:pt x="142484" y="140720"/>
                  </a:lnTo>
                  <a:lnTo>
                    <a:pt x="115505" y="132491"/>
                  </a:lnTo>
                  <a:lnTo>
                    <a:pt x="102015" y="132491"/>
                  </a:lnTo>
                  <a:lnTo>
                    <a:pt x="98643" y="129199"/>
                  </a:lnTo>
                  <a:lnTo>
                    <a:pt x="88525" y="125908"/>
                  </a:lnTo>
                  <a:lnTo>
                    <a:pt x="64918" y="124262"/>
                  </a:lnTo>
                  <a:lnTo>
                    <a:pt x="32880" y="109449"/>
                  </a:lnTo>
                  <a:lnTo>
                    <a:pt x="16018" y="106157"/>
                  </a:lnTo>
                  <a:lnTo>
                    <a:pt x="4214" y="91345"/>
                  </a:lnTo>
                  <a:lnTo>
                    <a:pt x="10959" y="76532"/>
                  </a:lnTo>
                  <a:lnTo>
                    <a:pt x="9273" y="73240"/>
                  </a:lnTo>
                  <a:lnTo>
                    <a:pt x="14332" y="60073"/>
                  </a:lnTo>
                  <a:lnTo>
                    <a:pt x="22763" y="45260"/>
                  </a:lnTo>
                  <a:lnTo>
                    <a:pt x="19390" y="38677"/>
                  </a:lnTo>
                  <a:lnTo>
                    <a:pt x="22763" y="37031"/>
                  </a:lnTo>
                  <a:lnTo>
                    <a:pt x="21076" y="32094"/>
                  </a:lnTo>
                  <a:lnTo>
                    <a:pt x="24449" y="30448"/>
                  </a:lnTo>
                  <a:lnTo>
                    <a:pt x="22763" y="35385"/>
                  </a:lnTo>
                  <a:lnTo>
                    <a:pt x="27821" y="37031"/>
                  </a:lnTo>
                  <a:lnTo>
                    <a:pt x="29507" y="32094"/>
                  </a:lnTo>
                  <a:lnTo>
                    <a:pt x="24449" y="30448"/>
                  </a:lnTo>
                  <a:lnTo>
                    <a:pt x="31194" y="30448"/>
                  </a:lnTo>
                  <a:lnTo>
                    <a:pt x="32880" y="28802"/>
                  </a:lnTo>
                  <a:lnTo>
                    <a:pt x="26135" y="30448"/>
                  </a:lnTo>
                  <a:lnTo>
                    <a:pt x="27821" y="27156"/>
                  </a:lnTo>
                  <a:lnTo>
                    <a:pt x="34566" y="27156"/>
                  </a:lnTo>
                  <a:lnTo>
                    <a:pt x="36252" y="20573"/>
                  </a:lnTo>
                  <a:lnTo>
                    <a:pt x="46370" y="9052"/>
                  </a:lnTo>
                  <a:lnTo>
                    <a:pt x="56487" y="20573"/>
                  </a:lnTo>
                  <a:lnTo>
                    <a:pt x="86839" y="30448"/>
                  </a:lnTo>
                  <a:lnTo>
                    <a:pt x="85153" y="25510"/>
                  </a:lnTo>
                  <a:lnTo>
                    <a:pt x="95270" y="27156"/>
                  </a:lnTo>
                  <a:lnTo>
                    <a:pt x="117191" y="7406"/>
                  </a:lnTo>
                  <a:lnTo>
                    <a:pt x="118877" y="9052"/>
                  </a:lnTo>
                  <a:lnTo>
                    <a:pt x="128995" y="9052"/>
                  </a:lnTo>
                  <a:lnTo>
                    <a:pt x="171150" y="48552"/>
                  </a:lnTo>
                  <a:lnTo>
                    <a:pt x="189699" y="63365"/>
                  </a:lnTo>
                  <a:lnTo>
                    <a:pt x="201502" y="69949"/>
                  </a:lnTo>
                  <a:lnTo>
                    <a:pt x="213306" y="41969"/>
                  </a:lnTo>
                  <a:lnTo>
                    <a:pt x="243658" y="4114"/>
                  </a:lnTo>
                  <a:lnTo>
                    <a:pt x="311107" y="32094"/>
                  </a:lnTo>
                  <a:lnTo>
                    <a:pt x="307734" y="5513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7" name="Alphen aan den Rijn">
              <a:extLst>
                <a:ext uri="{FF2B5EF4-FFF2-40B4-BE49-F238E27FC236}">
                  <a16:creationId xmlns:a16="http://schemas.microsoft.com/office/drawing/2014/main" id="{F5BEC265-3C46-4398-A8FE-EE8745929FDD}"/>
                </a:ext>
              </a:extLst>
            </p:cNvPr>
            <p:cNvSpPr/>
            <p:nvPr/>
          </p:nvSpPr>
          <p:spPr>
            <a:xfrm>
              <a:off x="5321752" y="3402018"/>
              <a:ext cx="248386" cy="182588"/>
            </a:xfrm>
            <a:custGeom>
              <a:avLst/>
              <a:gdLst/>
              <a:ahLst/>
              <a:cxnLst/>
              <a:rect l="l" t="t" r="r" b="b"/>
              <a:pathLst>
                <a:path w="351245" h="262890" extrusionOk="0">
                  <a:moveTo>
                    <a:pt x="255462" y="20573"/>
                  </a:moveTo>
                  <a:lnTo>
                    <a:pt x="272324" y="41969"/>
                  </a:lnTo>
                  <a:lnTo>
                    <a:pt x="270638" y="60074"/>
                  </a:lnTo>
                  <a:lnTo>
                    <a:pt x="304362" y="32094"/>
                  </a:lnTo>
                  <a:lnTo>
                    <a:pt x="306048" y="25510"/>
                  </a:lnTo>
                  <a:lnTo>
                    <a:pt x="327969" y="15635"/>
                  </a:lnTo>
                  <a:lnTo>
                    <a:pt x="353263" y="83116"/>
                  </a:lnTo>
                  <a:lnTo>
                    <a:pt x="354949" y="92991"/>
                  </a:lnTo>
                  <a:lnTo>
                    <a:pt x="344832" y="120971"/>
                  </a:lnTo>
                  <a:lnTo>
                    <a:pt x="322911" y="152242"/>
                  </a:lnTo>
                  <a:lnTo>
                    <a:pt x="324597" y="157179"/>
                  </a:lnTo>
                  <a:lnTo>
                    <a:pt x="314480" y="162117"/>
                  </a:lnTo>
                  <a:lnTo>
                    <a:pt x="316166" y="163763"/>
                  </a:lnTo>
                  <a:lnTo>
                    <a:pt x="270638" y="178576"/>
                  </a:lnTo>
                  <a:lnTo>
                    <a:pt x="274010" y="183513"/>
                  </a:lnTo>
                  <a:lnTo>
                    <a:pt x="275696" y="181867"/>
                  </a:lnTo>
                  <a:lnTo>
                    <a:pt x="285814" y="213138"/>
                  </a:lnTo>
                  <a:lnTo>
                    <a:pt x="282441" y="223014"/>
                  </a:lnTo>
                  <a:lnTo>
                    <a:pt x="270638" y="223014"/>
                  </a:lnTo>
                  <a:lnTo>
                    <a:pt x="257148" y="227951"/>
                  </a:lnTo>
                  <a:lnTo>
                    <a:pt x="253775" y="244410"/>
                  </a:lnTo>
                  <a:lnTo>
                    <a:pt x="240286" y="241118"/>
                  </a:lnTo>
                  <a:lnTo>
                    <a:pt x="235227" y="265806"/>
                  </a:lnTo>
                  <a:lnTo>
                    <a:pt x="230168" y="265806"/>
                  </a:lnTo>
                  <a:lnTo>
                    <a:pt x="226796" y="249348"/>
                  </a:lnTo>
                  <a:lnTo>
                    <a:pt x="209934" y="249348"/>
                  </a:lnTo>
                  <a:lnTo>
                    <a:pt x="209934" y="254285"/>
                  </a:lnTo>
                  <a:lnTo>
                    <a:pt x="167778" y="250993"/>
                  </a:lnTo>
                  <a:lnTo>
                    <a:pt x="166092" y="229597"/>
                  </a:lnTo>
                  <a:lnTo>
                    <a:pt x="149230" y="227951"/>
                  </a:lnTo>
                  <a:lnTo>
                    <a:pt x="149230" y="223014"/>
                  </a:lnTo>
                  <a:lnTo>
                    <a:pt x="120564" y="221368"/>
                  </a:lnTo>
                  <a:lnTo>
                    <a:pt x="120564" y="249348"/>
                  </a:lnTo>
                  <a:lnTo>
                    <a:pt x="56487" y="265806"/>
                  </a:lnTo>
                  <a:lnTo>
                    <a:pt x="44684" y="259223"/>
                  </a:lnTo>
                  <a:lnTo>
                    <a:pt x="9273" y="229597"/>
                  </a:lnTo>
                  <a:lnTo>
                    <a:pt x="12645" y="219722"/>
                  </a:lnTo>
                  <a:lnTo>
                    <a:pt x="4214" y="213138"/>
                  </a:lnTo>
                  <a:lnTo>
                    <a:pt x="10959" y="204910"/>
                  </a:lnTo>
                  <a:lnTo>
                    <a:pt x="14332" y="203264"/>
                  </a:lnTo>
                  <a:lnTo>
                    <a:pt x="12645" y="116033"/>
                  </a:lnTo>
                  <a:lnTo>
                    <a:pt x="22763" y="119324"/>
                  </a:lnTo>
                  <a:lnTo>
                    <a:pt x="24449" y="112741"/>
                  </a:lnTo>
                  <a:lnTo>
                    <a:pt x="21076" y="112741"/>
                  </a:lnTo>
                  <a:lnTo>
                    <a:pt x="31194" y="86407"/>
                  </a:lnTo>
                  <a:lnTo>
                    <a:pt x="29508" y="83116"/>
                  </a:lnTo>
                  <a:lnTo>
                    <a:pt x="36252" y="76532"/>
                  </a:lnTo>
                  <a:lnTo>
                    <a:pt x="34566" y="73240"/>
                  </a:lnTo>
                  <a:lnTo>
                    <a:pt x="37939" y="73240"/>
                  </a:lnTo>
                  <a:lnTo>
                    <a:pt x="51428" y="88053"/>
                  </a:lnTo>
                  <a:lnTo>
                    <a:pt x="59860" y="79824"/>
                  </a:lnTo>
                  <a:lnTo>
                    <a:pt x="66604" y="61719"/>
                  </a:lnTo>
                  <a:lnTo>
                    <a:pt x="68291" y="37031"/>
                  </a:lnTo>
                  <a:lnTo>
                    <a:pt x="69977" y="38677"/>
                  </a:lnTo>
                  <a:lnTo>
                    <a:pt x="177895" y="17281"/>
                  </a:lnTo>
                  <a:lnTo>
                    <a:pt x="233541" y="15635"/>
                  </a:lnTo>
                  <a:lnTo>
                    <a:pt x="236913" y="4114"/>
                  </a:lnTo>
                  <a:lnTo>
                    <a:pt x="255462"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8" name="Bladel">
              <a:extLst>
                <a:ext uri="{FF2B5EF4-FFF2-40B4-BE49-F238E27FC236}">
                  <a16:creationId xmlns:a16="http://schemas.microsoft.com/office/drawing/2014/main" id="{1429CF1C-D33E-4668-A133-6E854EC52195}"/>
                </a:ext>
              </a:extLst>
            </p:cNvPr>
            <p:cNvSpPr/>
            <p:nvPr/>
          </p:nvSpPr>
          <p:spPr>
            <a:xfrm>
              <a:off x="6009989" y="4581775"/>
              <a:ext cx="146736" cy="212772"/>
            </a:xfrm>
            <a:custGeom>
              <a:avLst/>
              <a:gdLst/>
              <a:ahLst/>
              <a:cxnLst/>
              <a:rect l="l" t="t" r="r" b="b"/>
              <a:pathLst>
                <a:path w="210747" h="320040" extrusionOk="0">
                  <a:moveTo>
                    <a:pt x="44684" y="4114"/>
                  </a:moveTo>
                  <a:lnTo>
                    <a:pt x="46370" y="10697"/>
                  </a:lnTo>
                  <a:lnTo>
                    <a:pt x="54801" y="10697"/>
                  </a:lnTo>
                  <a:lnTo>
                    <a:pt x="58173" y="18926"/>
                  </a:lnTo>
                  <a:lnTo>
                    <a:pt x="66605" y="25510"/>
                  </a:lnTo>
                  <a:lnTo>
                    <a:pt x="66605" y="32094"/>
                  </a:lnTo>
                  <a:lnTo>
                    <a:pt x="76722" y="30448"/>
                  </a:lnTo>
                  <a:lnTo>
                    <a:pt x="88526" y="23864"/>
                  </a:lnTo>
                  <a:lnTo>
                    <a:pt x="96957" y="30448"/>
                  </a:lnTo>
                  <a:lnTo>
                    <a:pt x="100329" y="28802"/>
                  </a:lnTo>
                  <a:lnTo>
                    <a:pt x="105388" y="38677"/>
                  </a:lnTo>
                  <a:lnTo>
                    <a:pt x="144171" y="69949"/>
                  </a:lnTo>
                  <a:lnTo>
                    <a:pt x="152602" y="71594"/>
                  </a:lnTo>
                  <a:lnTo>
                    <a:pt x="157661" y="81470"/>
                  </a:lnTo>
                  <a:lnTo>
                    <a:pt x="169464" y="83115"/>
                  </a:lnTo>
                  <a:lnTo>
                    <a:pt x="179582" y="73240"/>
                  </a:lnTo>
                  <a:lnTo>
                    <a:pt x="189699" y="74886"/>
                  </a:lnTo>
                  <a:lnTo>
                    <a:pt x="196444" y="78178"/>
                  </a:lnTo>
                  <a:lnTo>
                    <a:pt x="206561" y="94636"/>
                  </a:lnTo>
                  <a:lnTo>
                    <a:pt x="201503" y="102866"/>
                  </a:lnTo>
                  <a:lnTo>
                    <a:pt x="201503" y="114387"/>
                  </a:lnTo>
                  <a:lnTo>
                    <a:pt x="167778" y="119324"/>
                  </a:lnTo>
                  <a:lnTo>
                    <a:pt x="171151" y="125908"/>
                  </a:lnTo>
                  <a:lnTo>
                    <a:pt x="162719" y="130845"/>
                  </a:lnTo>
                  <a:lnTo>
                    <a:pt x="154288" y="152242"/>
                  </a:lnTo>
                  <a:lnTo>
                    <a:pt x="147543" y="181867"/>
                  </a:lnTo>
                  <a:lnTo>
                    <a:pt x="162719" y="246056"/>
                  </a:lnTo>
                  <a:lnTo>
                    <a:pt x="125622" y="292140"/>
                  </a:lnTo>
                  <a:lnTo>
                    <a:pt x="122250" y="306953"/>
                  </a:lnTo>
                  <a:lnTo>
                    <a:pt x="98643" y="311890"/>
                  </a:lnTo>
                  <a:lnTo>
                    <a:pt x="93584" y="320120"/>
                  </a:lnTo>
                  <a:lnTo>
                    <a:pt x="31194" y="278973"/>
                  </a:lnTo>
                  <a:lnTo>
                    <a:pt x="37939" y="272390"/>
                  </a:lnTo>
                  <a:lnTo>
                    <a:pt x="21076" y="224660"/>
                  </a:lnTo>
                  <a:lnTo>
                    <a:pt x="24449" y="213138"/>
                  </a:lnTo>
                  <a:lnTo>
                    <a:pt x="21076" y="209847"/>
                  </a:lnTo>
                  <a:lnTo>
                    <a:pt x="17704" y="211493"/>
                  </a:lnTo>
                  <a:lnTo>
                    <a:pt x="17704" y="199971"/>
                  </a:lnTo>
                  <a:lnTo>
                    <a:pt x="17704" y="185159"/>
                  </a:lnTo>
                  <a:lnTo>
                    <a:pt x="24449" y="185159"/>
                  </a:lnTo>
                  <a:lnTo>
                    <a:pt x="22763" y="183513"/>
                  </a:lnTo>
                  <a:lnTo>
                    <a:pt x="26135" y="181867"/>
                  </a:lnTo>
                  <a:lnTo>
                    <a:pt x="16018" y="173638"/>
                  </a:lnTo>
                  <a:lnTo>
                    <a:pt x="17704" y="171992"/>
                  </a:lnTo>
                  <a:lnTo>
                    <a:pt x="16018" y="160471"/>
                  </a:lnTo>
                  <a:lnTo>
                    <a:pt x="4214" y="150596"/>
                  </a:lnTo>
                  <a:lnTo>
                    <a:pt x="10959" y="153887"/>
                  </a:lnTo>
                  <a:lnTo>
                    <a:pt x="12645" y="147304"/>
                  </a:lnTo>
                  <a:lnTo>
                    <a:pt x="26135" y="142367"/>
                  </a:lnTo>
                  <a:lnTo>
                    <a:pt x="24449" y="140720"/>
                  </a:lnTo>
                  <a:lnTo>
                    <a:pt x="29508" y="135783"/>
                  </a:lnTo>
                  <a:lnTo>
                    <a:pt x="26135" y="130845"/>
                  </a:lnTo>
                  <a:lnTo>
                    <a:pt x="31194" y="116033"/>
                  </a:lnTo>
                  <a:lnTo>
                    <a:pt x="22763" y="92991"/>
                  </a:lnTo>
                  <a:lnTo>
                    <a:pt x="16018" y="48552"/>
                  </a:lnTo>
                  <a:lnTo>
                    <a:pt x="16018" y="20573"/>
                  </a:lnTo>
                  <a:lnTo>
                    <a:pt x="41311" y="9052"/>
                  </a:lnTo>
                  <a:lnTo>
                    <a:pt x="4468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69" name="West Maas en Waal">
              <a:extLst>
                <a:ext uri="{FF2B5EF4-FFF2-40B4-BE49-F238E27FC236}">
                  <a16:creationId xmlns:a16="http://schemas.microsoft.com/office/drawing/2014/main" id="{0B519B63-F265-49F4-A306-BF24E68CB762}"/>
                </a:ext>
              </a:extLst>
            </p:cNvPr>
            <p:cNvSpPr/>
            <p:nvPr/>
          </p:nvSpPr>
          <p:spPr>
            <a:xfrm>
              <a:off x="6245008" y="3849692"/>
              <a:ext cx="223855" cy="132285"/>
            </a:xfrm>
            <a:custGeom>
              <a:avLst/>
              <a:gdLst/>
              <a:ahLst/>
              <a:cxnLst/>
              <a:rect l="l" t="t" r="r" b="b"/>
              <a:pathLst>
                <a:path w="327828" h="205740" extrusionOk="0">
                  <a:moveTo>
                    <a:pt x="203189" y="4114"/>
                  </a:moveTo>
                  <a:lnTo>
                    <a:pt x="203189" y="12343"/>
                  </a:lnTo>
                  <a:lnTo>
                    <a:pt x="214992" y="10698"/>
                  </a:lnTo>
                  <a:lnTo>
                    <a:pt x="218365" y="17281"/>
                  </a:lnTo>
                  <a:lnTo>
                    <a:pt x="225109" y="20573"/>
                  </a:lnTo>
                  <a:lnTo>
                    <a:pt x="240286" y="18927"/>
                  </a:lnTo>
                  <a:lnTo>
                    <a:pt x="274010" y="9052"/>
                  </a:lnTo>
                  <a:lnTo>
                    <a:pt x="265579" y="30448"/>
                  </a:lnTo>
                  <a:lnTo>
                    <a:pt x="262207" y="27156"/>
                  </a:lnTo>
                  <a:lnTo>
                    <a:pt x="257148" y="30448"/>
                  </a:lnTo>
                  <a:lnTo>
                    <a:pt x="258834" y="37031"/>
                  </a:lnTo>
                  <a:lnTo>
                    <a:pt x="262207" y="40323"/>
                  </a:lnTo>
                  <a:lnTo>
                    <a:pt x="260520" y="48552"/>
                  </a:lnTo>
                  <a:lnTo>
                    <a:pt x="247030" y="51844"/>
                  </a:lnTo>
                  <a:lnTo>
                    <a:pt x="247030" y="61719"/>
                  </a:lnTo>
                  <a:lnTo>
                    <a:pt x="238599" y="63365"/>
                  </a:lnTo>
                  <a:lnTo>
                    <a:pt x="236913" y="81470"/>
                  </a:lnTo>
                  <a:lnTo>
                    <a:pt x="274010" y="76532"/>
                  </a:lnTo>
                  <a:lnTo>
                    <a:pt x="275696" y="89699"/>
                  </a:lnTo>
                  <a:lnTo>
                    <a:pt x="285814" y="94637"/>
                  </a:lnTo>
                  <a:lnTo>
                    <a:pt x="279069" y="109449"/>
                  </a:lnTo>
                  <a:lnTo>
                    <a:pt x="285814" y="137429"/>
                  </a:lnTo>
                  <a:lnTo>
                    <a:pt x="306048" y="137429"/>
                  </a:lnTo>
                  <a:lnTo>
                    <a:pt x="306048" y="140721"/>
                  </a:lnTo>
                  <a:lnTo>
                    <a:pt x="324597" y="144013"/>
                  </a:lnTo>
                  <a:lnTo>
                    <a:pt x="319538" y="145658"/>
                  </a:lnTo>
                  <a:lnTo>
                    <a:pt x="324597" y="150596"/>
                  </a:lnTo>
                  <a:lnTo>
                    <a:pt x="321224" y="152242"/>
                  </a:lnTo>
                  <a:lnTo>
                    <a:pt x="322911" y="157179"/>
                  </a:lnTo>
                  <a:lnTo>
                    <a:pt x="312793" y="163763"/>
                  </a:lnTo>
                  <a:lnTo>
                    <a:pt x="289186" y="160471"/>
                  </a:lnTo>
                  <a:lnTo>
                    <a:pt x="268951" y="165409"/>
                  </a:lnTo>
                  <a:lnTo>
                    <a:pt x="245344" y="167055"/>
                  </a:lnTo>
                  <a:lnTo>
                    <a:pt x="235227" y="171992"/>
                  </a:lnTo>
                  <a:lnTo>
                    <a:pt x="226796" y="188451"/>
                  </a:lnTo>
                  <a:lnTo>
                    <a:pt x="216678" y="193388"/>
                  </a:lnTo>
                  <a:lnTo>
                    <a:pt x="182954" y="186805"/>
                  </a:lnTo>
                  <a:lnTo>
                    <a:pt x="161033" y="163763"/>
                  </a:lnTo>
                  <a:lnTo>
                    <a:pt x="142484" y="158825"/>
                  </a:lnTo>
                  <a:lnTo>
                    <a:pt x="128995" y="165409"/>
                  </a:lnTo>
                  <a:lnTo>
                    <a:pt x="123936" y="173638"/>
                  </a:lnTo>
                  <a:lnTo>
                    <a:pt x="118877" y="193388"/>
                  </a:lnTo>
                  <a:lnTo>
                    <a:pt x="105388" y="204910"/>
                  </a:lnTo>
                  <a:lnTo>
                    <a:pt x="83467" y="209847"/>
                  </a:lnTo>
                  <a:lnTo>
                    <a:pt x="63232" y="209847"/>
                  </a:lnTo>
                  <a:lnTo>
                    <a:pt x="41311" y="201618"/>
                  </a:lnTo>
                  <a:lnTo>
                    <a:pt x="26135" y="181867"/>
                  </a:lnTo>
                  <a:lnTo>
                    <a:pt x="27821" y="178576"/>
                  </a:lnTo>
                  <a:lnTo>
                    <a:pt x="26135" y="171992"/>
                  </a:lnTo>
                  <a:lnTo>
                    <a:pt x="14332" y="160471"/>
                  </a:lnTo>
                  <a:lnTo>
                    <a:pt x="10959" y="148950"/>
                  </a:lnTo>
                  <a:lnTo>
                    <a:pt x="4214" y="142367"/>
                  </a:lnTo>
                  <a:lnTo>
                    <a:pt x="22763" y="116033"/>
                  </a:lnTo>
                  <a:lnTo>
                    <a:pt x="34566" y="79824"/>
                  </a:lnTo>
                  <a:lnTo>
                    <a:pt x="54801" y="45261"/>
                  </a:lnTo>
                  <a:lnTo>
                    <a:pt x="75036" y="27156"/>
                  </a:lnTo>
                  <a:lnTo>
                    <a:pt x="86839" y="20573"/>
                  </a:lnTo>
                  <a:lnTo>
                    <a:pt x="115505" y="17281"/>
                  </a:lnTo>
                  <a:lnTo>
                    <a:pt x="167778" y="15635"/>
                  </a:lnTo>
                  <a:lnTo>
                    <a:pt x="20318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0" name="Oudewater">
              <a:extLst>
                <a:ext uri="{FF2B5EF4-FFF2-40B4-BE49-F238E27FC236}">
                  <a16:creationId xmlns:a16="http://schemas.microsoft.com/office/drawing/2014/main" id="{FBEE1FDB-583C-4AC9-A9B2-5FA9A16226C5}"/>
                </a:ext>
              </a:extLst>
            </p:cNvPr>
            <p:cNvSpPr/>
            <p:nvPr/>
          </p:nvSpPr>
          <p:spPr>
            <a:xfrm>
              <a:off x="5608939" y="3578369"/>
              <a:ext cx="132102" cy="116326"/>
            </a:xfrm>
            <a:custGeom>
              <a:avLst/>
              <a:gdLst/>
              <a:ahLst/>
              <a:cxnLst/>
              <a:rect l="l" t="t" r="r" b="b"/>
              <a:pathLst>
                <a:path w="199038" h="182880" extrusionOk="0">
                  <a:moveTo>
                    <a:pt x="110446" y="4114"/>
                  </a:moveTo>
                  <a:lnTo>
                    <a:pt x="115505" y="13989"/>
                  </a:lnTo>
                  <a:lnTo>
                    <a:pt x="122250" y="9052"/>
                  </a:lnTo>
                  <a:lnTo>
                    <a:pt x="152602" y="40323"/>
                  </a:lnTo>
                  <a:lnTo>
                    <a:pt x="152602" y="35386"/>
                  </a:lnTo>
                  <a:lnTo>
                    <a:pt x="169464" y="28802"/>
                  </a:lnTo>
                  <a:lnTo>
                    <a:pt x="184640" y="51844"/>
                  </a:lnTo>
                  <a:lnTo>
                    <a:pt x="176209" y="60074"/>
                  </a:lnTo>
                  <a:lnTo>
                    <a:pt x="199816" y="84761"/>
                  </a:lnTo>
                  <a:lnTo>
                    <a:pt x="198130" y="89699"/>
                  </a:lnTo>
                  <a:lnTo>
                    <a:pt x="189699" y="96282"/>
                  </a:lnTo>
                  <a:lnTo>
                    <a:pt x="177895" y="96282"/>
                  </a:lnTo>
                  <a:lnTo>
                    <a:pt x="166092" y="92991"/>
                  </a:lnTo>
                  <a:lnTo>
                    <a:pt x="188013" y="134137"/>
                  </a:lnTo>
                  <a:lnTo>
                    <a:pt x="171150" y="130845"/>
                  </a:lnTo>
                  <a:lnTo>
                    <a:pt x="58173" y="190097"/>
                  </a:lnTo>
                  <a:lnTo>
                    <a:pt x="32880" y="157179"/>
                  </a:lnTo>
                  <a:lnTo>
                    <a:pt x="91898" y="142367"/>
                  </a:lnTo>
                  <a:lnTo>
                    <a:pt x="78408" y="114387"/>
                  </a:lnTo>
                  <a:lnTo>
                    <a:pt x="56487" y="117679"/>
                  </a:lnTo>
                  <a:lnTo>
                    <a:pt x="44684" y="114387"/>
                  </a:lnTo>
                  <a:lnTo>
                    <a:pt x="29508" y="122616"/>
                  </a:lnTo>
                  <a:lnTo>
                    <a:pt x="10959" y="122616"/>
                  </a:lnTo>
                  <a:lnTo>
                    <a:pt x="4214" y="102866"/>
                  </a:lnTo>
                  <a:lnTo>
                    <a:pt x="21076" y="91345"/>
                  </a:lnTo>
                  <a:lnTo>
                    <a:pt x="16018" y="76532"/>
                  </a:lnTo>
                  <a:lnTo>
                    <a:pt x="24449" y="74886"/>
                  </a:lnTo>
                  <a:lnTo>
                    <a:pt x="32880" y="68303"/>
                  </a:lnTo>
                  <a:lnTo>
                    <a:pt x="51429" y="37031"/>
                  </a:lnTo>
                  <a:lnTo>
                    <a:pt x="80094" y="17281"/>
                  </a:lnTo>
                  <a:lnTo>
                    <a:pt x="91898" y="13989"/>
                  </a:lnTo>
                  <a:lnTo>
                    <a:pt x="11044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1" name="Oost Gelre">
              <a:extLst>
                <a:ext uri="{FF2B5EF4-FFF2-40B4-BE49-F238E27FC236}">
                  <a16:creationId xmlns:a16="http://schemas.microsoft.com/office/drawing/2014/main" id="{C5016AAB-9AA5-4358-8A08-3BE497E72BF1}"/>
                </a:ext>
              </a:extLst>
            </p:cNvPr>
            <p:cNvSpPr/>
            <p:nvPr/>
          </p:nvSpPr>
          <p:spPr>
            <a:xfrm>
              <a:off x="7352802" y="3559317"/>
              <a:ext cx="248387" cy="163596"/>
            </a:xfrm>
            <a:custGeom>
              <a:avLst/>
              <a:gdLst/>
              <a:ahLst/>
              <a:cxnLst/>
              <a:rect l="l" t="t" r="r" b="b"/>
              <a:pathLst>
                <a:path w="351245" h="251460" extrusionOk="0">
                  <a:moveTo>
                    <a:pt x="252089" y="13989"/>
                  </a:moveTo>
                  <a:lnTo>
                    <a:pt x="263893" y="12343"/>
                  </a:lnTo>
                  <a:lnTo>
                    <a:pt x="258834" y="27156"/>
                  </a:lnTo>
                  <a:lnTo>
                    <a:pt x="270638" y="33740"/>
                  </a:lnTo>
                  <a:lnTo>
                    <a:pt x="275697" y="20573"/>
                  </a:lnTo>
                  <a:lnTo>
                    <a:pt x="282441" y="22219"/>
                  </a:lnTo>
                  <a:lnTo>
                    <a:pt x="287500" y="9052"/>
                  </a:lnTo>
                  <a:lnTo>
                    <a:pt x="294245" y="12343"/>
                  </a:lnTo>
                  <a:lnTo>
                    <a:pt x="306049" y="13989"/>
                  </a:lnTo>
                  <a:lnTo>
                    <a:pt x="314480" y="27156"/>
                  </a:lnTo>
                  <a:lnTo>
                    <a:pt x="314480" y="35385"/>
                  </a:lnTo>
                  <a:lnTo>
                    <a:pt x="311107" y="41969"/>
                  </a:lnTo>
                  <a:lnTo>
                    <a:pt x="351576" y="58428"/>
                  </a:lnTo>
                  <a:lnTo>
                    <a:pt x="344832" y="97928"/>
                  </a:lnTo>
                  <a:lnTo>
                    <a:pt x="336401" y="97928"/>
                  </a:lnTo>
                  <a:lnTo>
                    <a:pt x="327969" y="111095"/>
                  </a:lnTo>
                  <a:lnTo>
                    <a:pt x="312793" y="124262"/>
                  </a:lnTo>
                  <a:lnTo>
                    <a:pt x="312793" y="129200"/>
                  </a:lnTo>
                  <a:lnTo>
                    <a:pt x="302676" y="132492"/>
                  </a:lnTo>
                  <a:lnTo>
                    <a:pt x="307735" y="139075"/>
                  </a:lnTo>
                  <a:lnTo>
                    <a:pt x="299303" y="171992"/>
                  </a:lnTo>
                  <a:lnTo>
                    <a:pt x="304362" y="216431"/>
                  </a:lnTo>
                  <a:lnTo>
                    <a:pt x="307735" y="221368"/>
                  </a:lnTo>
                  <a:lnTo>
                    <a:pt x="302676" y="224660"/>
                  </a:lnTo>
                  <a:lnTo>
                    <a:pt x="306049" y="226306"/>
                  </a:lnTo>
                  <a:lnTo>
                    <a:pt x="304362" y="227951"/>
                  </a:lnTo>
                  <a:lnTo>
                    <a:pt x="290872" y="237827"/>
                  </a:lnTo>
                  <a:lnTo>
                    <a:pt x="285814" y="249348"/>
                  </a:lnTo>
                  <a:lnTo>
                    <a:pt x="277383" y="250993"/>
                  </a:lnTo>
                  <a:lnTo>
                    <a:pt x="280755" y="257577"/>
                  </a:lnTo>
                  <a:lnTo>
                    <a:pt x="263893" y="246056"/>
                  </a:lnTo>
                  <a:lnTo>
                    <a:pt x="218365" y="237827"/>
                  </a:lnTo>
                  <a:lnTo>
                    <a:pt x="208247" y="237827"/>
                  </a:lnTo>
                  <a:lnTo>
                    <a:pt x="208247" y="234535"/>
                  </a:lnTo>
                  <a:lnTo>
                    <a:pt x="182954" y="232889"/>
                  </a:lnTo>
                  <a:lnTo>
                    <a:pt x="174523" y="236181"/>
                  </a:lnTo>
                  <a:lnTo>
                    <a:pt x="157661" y="231243"/>
                  </a:lnTo>
                  <a:lnTo>
                    <a:pt x="139112" y="234535"/>
                  </a:lnTo>
                  <a:lnTo>
                    <a:pt x="108760" y="250993"/>
                  </a:lnTo>
                  <a:lnTo>
                    <a:pt x="105388" y="247702"/>
                  </a:lnTo>
                  <a:lnTo>
                    <a:pt x="59860" y="241118"/>
                  </a:lnTo>
                  <a:lnTo>
                    <a:pt x="42997" y="232889"/>
                  </a:lnTo>
                  <a:lnTo>
                    <a:pt x="39625" y="234535"/>
                  </a:lnTo>
                  <a:lnTo>
                    <a:pt x="26135" y="227951"/>
                  </a:lnTo>
                  <a:lnTo>
                    <a:pt x="16018" y="223014"/>
                  </a:lnTo>
                  <a:lnTo>
                    <a:pt x="29508" y="199972"/>
                  </a:lnTo>
                  <a:lnTo>
                    <a:pt x="5900" y="183513"/>
                  </a:lnTo>
                  <a:lnTo>
                    <a:pt x="4214" y="176930"/>
                  </a:lnTo>
                  <a:lnTo>
                    <a:pt x="16018" y="168700"/>
                  </a:lnTo>
                  <a:lnTo>
                    <a:pt x="5900" y="155534"/>
                  </a:lnTo>
                  <a:lnTo>
                    <a:pt x="14332" y="152242"/>
                  </a:lnTo>
                  <a:lnTo>
                    <a:pt x="7587" y="142367"/>
                  </a:lnTo>
                  <a:lnTo>
                    <a:pt x="9273" y="139075"/>
                  </a:lnTo>
                  <a:lnTo>
                    <a:pt x="5900" y="135783"/>
                  </a:lnTo>
                  <a:lnTo>
                    <a:pt x="7587" y="130845"/>
                  </a:lnTo>
                  <a:lnTo>
                    <a:pt x="4214" y="125908"/>
                  </a:lnTo>
                  <a:lnTo>
                    <a:pt x="7587" y="119324"/>
                  </a:lnTo>
                  <a:lnTo>
                    <a:pt x="12645" y="120971"/>
                  </a:lnTo>
                  <a:lnTo>
                    <a:pt x="34566" y="91345"/>
                  </a:lnTo>
                  <a:lnTo>
                    <a:pt x="39625" y="94637"/>
                  </a:lnTo>
                  <a:lnTo>
                    <a:pt x="44684" y="88053"/>
                  </a:lnTo>
                  <a:lnTo>
                    <a:pt x="46370" y="92991"/>
                  </a:lnTo>
                  <a:lnTo>
                    <a:pt x="56487" y="79824"/>
                  </a:lnTo>
                  <a:lnTo>
                    <a:pt x="64918" y="83116"/>
                  </a:lnTo>
                  <a:lnTo>
                    <a:pt x="78408" y="63365"/>
                  </a:lnTo>
                  <a:lnTo>
                    <a:pt x="86839" y="71595"/>
                  </a:lnTo>
                  <a:lnTo>
                    <a:pt x="91898" y="68303"/>
                  </a:lnTo>
                  <a:lnTo>
                    <a:pt x="125622" y="107803"/>
                  </a:lnTo>
                  <a:lnTo>
                    <a:pt x="171151" y="94637"/>
                  </a:lnTo>
                  <a:lnTo>
                    <a:pt x="174523" y="94637"/>
                  </a:lnTo>
                  <a:lnTo>
                    <a:pt x="174523" y="92991"/>
                  </a:lnTo>
                  <a:lnTo>
                    <a:pt x="201503" y="73240"/>
                  </a:lnTo>
                  <a:lnTo>
                    <a:pt x="203189" y="68303"/>
                  </a:lnTo>
                  <a:lnTo>
                    <a:pt x="211620" y="65011"/>
                  </a:lnTo>
                  <a:lnTo>
                    <a:pt x="211620" y="53490"/>
                  </a:lnTo>
                  <a:lnTo>
                    <a:pt x="225110" y="41969"/>
                  </a:lnTo>
                  <a:lnTo>
                    <a:pt x="223424" y="33740"/>
                  </a:lnTo>
                  <a:lnTo>
                    <a:pt x="226796" y="22219"/>
                  </a:lnTo>
                  <a:lnTo>
                    <a:pt x="225110" y="10698"/>
                  </a:lnTo>
                  <a:lnTo>
                    <a:pt x="236913" y="4114"/>
                  </a:lnTo>
                  <a:lnTo>
                    <a:pt x="248717" y="9052"/>
                  </a:lnTo>
                  <a:lnTo>
                    <a:pt x="252089"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2" name="Barneveld">
              <a:extLst>
                <a:ext uri="{FF2B5EF4-FFF2-40B4-BE49-F238E27FC236}">
                  <a16:creationId xmlns:a16="http://schemas.microsoft.com/office/drawing/2014/main" id="{5A57EFAE-DC2E-432B-A976-EE7E92782CD1}"/>
                </a:ext>
              </a:extLst>
            </p:cNvPr>
            <p:cNvSpPr/>
            <p:nvPr/>
          </p:nvSpPr>
          <p:spPr>
            <a:xfrm>
              <a:off x="6319850" y="3289083"/>
              <a:ext cx="353677" cy="225152"/>
            </a:xfrm>
            <a:custGeom>
              <a:avLst/>
              <a:gdLst/>
              <a:ahLst/>
              <a:cxnLst/>
              <a:rect l="l" t="t" r="r" b="b"/>
              <a:pathLst>
                <a:path w="515159" h="342900" extrusionOk="0">
                  <a:moveTo>
                    <a:pt x="388673" y="4114"/>
                  </a:moveTo>
                  <a:lnTo>
                    <a:pt x="393732" y="12343"/>
                  </a:lnTo>
                  <a:lnTo>
                    <a:pt x="395418" y="30448"/>
                  </a:lnTo>
                  <a:lnTo>
                    <a:pt x="407222" y="30448"/>
                  </a:lnTo>
                  <a:lnTo>
                    <a:pt x="413966" y="50198"/>
                  </a:lnTo>
                  <a:lnTo>
                    <a:pt x="412280" y="58427"/>
                  </a:lnTo>
                  <a:lnTo>
                    <a:pt x="390359" y="60073"/>
                  </a:lnTo>
                  <a:lnTo>
                    <a:pt x="395418" y="86407"/>
                  </a:lnTo>
                  <a:lnTo>
                    <a:pt x="425770" y="122616"/>
                  </a:lnTo>
                  <a:lnTo>
                    <a:pt x="488160" y="114387"/>
                  </a:lnTo>
                  <a:lnTo>
                    <a:pt x="499964" y="119324"/>
                  </a:lnTo>
                  <a:lnTo>
                    <a:pt x="518512" y="142367"/>
                  </a:lnTo>
                  <a:lnTo>
                    <a:pt x="503337" y="160471"/>
                  </a:lnTo>
                  <a:lnTo>
                    <a:pt x="515140" y="186805"/>
                  </a:lnTo>
                  <a:lnTo>
                    <a:pt x="516826" y="223014"/>
                  </a:lnTo>
                  <a:lnTo>
                    <a:pt x="479729" y="224660"/>
                  </a:lnTo>
                  <a:lnTo>
                    <a:pt x="462867" y="221368"/>
                  </a:lnTo>
                  <a:lnTo>
                    <a:pt x="444319" y="232889"/>
                  </a:lnTo>
                  <a:lnTo>
                    <a:pt x="415653" y="231243"/>
                  </a:lnTo>
                  <a:lnTo>
                    <a:pt x="380242" y="236181"/>
                  </a:lnTo>
                  <a:lnTo>
                    <a:pt x="381928" y="241118"/>
                  </a:lnTo>
                  <a:lnTo>
                    <a:pt x="383614" y="255931"/>
                  </a:lnTo>
                  <a:lnTo>
                    <a:pt x="375184" y="257577"/>
                  </a:lnTo>
                  <a:lnTo>
                    <a:pt x="375184" y="260869"/>
                  </a:lnTo>
                  <a:lnTo>
                    <a:pt x="351576" y="262514"/>
                  </a:lnTo>
                  <a:lnTo>
                    <a:pt x="338086" y="259223"/>
                  </a:lnTo>
                  <a:lnTo>
                    <a:pt x="333028" y="259223"/>
                  </a:lnTo>
                  <a:lnTo>
                    <a:pt x="324597" y="270744"/>
                  </a:lnTo>
                  <a:lnTo>
                    <a:pt x="319538" y="272390"/>
                  </a:lnTo>
                  <a:lnTo>
                    <a:pt x="302676" y="265806"/>
                  </a:lnTo>
                  <a:lnTo>
                    <a:pt x="297617" y="269098"/>
                  </a:lnTo>
                  <a:lnTo>
                    <a:pt x="290872" y="272390"/>
                  </a:lnTo>
                  <a:lnTo>
                    <a:pt x="284127" y="270744"/>
                  </a:lnTo>
                  <a:lnTo>
                    <a:pt x="268951" y="275682"/>
                  </a:lnTo>
                  <a:lnTo>
                    <a:pt x="255461" y="274035"/>
                  </a:lnTo>
                  <a:lnTo>
                    <a:pt x="231854" y="282265"/>
                  </a:lnTo>
                  <a:lnTo>
                    <a:pt x="221737" y="282265"/>
                  </a:lnTo>
                  <a:lnTo>
                    <a:pt x="208247" y="288848"/>
                  </a:lnTo>
                  <a:lnTo>
                    <a:pt x="199816" y="287203"/>
                  </a:lnTo>
                  <a:lnTo>
                    <a:pt x="193071" y="290494"/>
                  </a:lnTo>
                  <a:lnTo>
                    <a:pt x="184640" y="290494"/>
                  </a:lnTo>
                  <a:lnTo>
                    <a:pt x="164405" y="298724"/>
                  </a:lnTo>
                  <a:lnTo>
                    <a:pt x="150915" y="295432"/>
                  </a:lnTo>
                  <a:lnTo>
                    <a:pt x="149229" y="305307"/>
                  </a:lnTo>
                  <a:lnTo>
                    <a:pt x="144170" y="297078"/>
                  </a:lnTo>
                  <a:lnTo>
                    <a:pt x="139112" y="297078"/>
                  </a:lnTo>
                  <a:lnTo>
                    <a:pt x="127309" y="316828"/>
                  </a:lnTo>
                  <a:lnTo>
                    <a:pt x="122249" y="320120"/>
                  </a:lnTo>
                  <a:lnTo>
                    <a:pt x="115505" y="321765"/>
                  </a:lnTo>
                  <a:lnTo>
                    <a:pt x="122249" y="336579"/>
                  </a:lnTo>
                  <a:lnTo>
                    <a:pt x="113819" y="338224"/>
                  </a:lnTo>
                  <a:lnTo>
                    <a:pt x="115505" y="343162"/>
                  </a:lnTo>
                  <a:lnTo>
                    <a:pt x="112132" y="344807"/>
                  </a:lnTo>
                  <a:lnTo>
                    <a:pt x="108760" y="339870"/>
                  </a:lnTo>
                  <a:lnTo>
                    <a:pt x="83467" y="348099"/>
                  </a:lnTo>
                  <a:lnTo>
                    <a:pt x="80094" y="339870"/>
                  </a:lnTo>
                  <a:lnTo>
                    <a:pt x="75036" y="348099"/>
                  </a:lnTo>
                  <a:lnTo>
                    <a:pt x="71663" y="348099"/>
                  </a:lnTo>
                  <a:lnTo>
                    <a:pt x="61546" y="329995"/>
                  </a:lnTo>
                  <a:lnTo>
                    <a:pt x="56487" y="329995"/>
                  </a:lnTo>
                  <a:lnTo>
                    <a:pt x="46370" y="323411"/>
                  </a:lnTo>
                  <a:lnTo>
                    <a:pt x="36252" y="323411"/>
                  </a:lnTo>
                  <a:lnTo>
                    <a:pt x="32880" y="315182"/>
                  </a:lnTo>
                  <a:lnTo>
                    <a:pt x="24449" y="311890"/>
                  </a:lnTo>
                  <a:lnTo>
                    <a:pt x="42997" y="310245"/>
                  </a:lnTo>
                  <a:lnTo>
                    <a:pt x="51428" y="316828"/>
                  </a:lnTo>
                  <a:lnTo>
                    <a:pt x="56487" y="316828"/>
                  </a:lnTo>
                  <a:lnTo>
                    <a:pt x="56487" y="311890"/>
                  </a:lnTo>
                  <a:lnTo>
                    <a:pt x="51428" y="310245"/>
                  </a:lnTo>
                  <a:lnTo>
                    <a:pt x="53115" y="302015"/>
                  </a:lnTo>
                  <a:lnTo>
                    <a:pt x="39625" y="302015"/>
                  </a:lnTo>
                  <a:lnTo>
                    <a:pt x="36252" y="290494"/>
                  </a:lnTo>
                  <a:lnTo>
                    <a:pt x="39625" y="290494"/>
                  </a:lnTo>
                  <a:lnTo>
                    <a:pt x="41311" y="275682"/>
                  </a:lnTo>
                  <a:lnTo>
                    <a:pt x="46370" y="277327"/>
                  </a:lnTo>
                  <a:lnTo>
                    <a:pt x="63232" y="272390"/>
                  </a:lnTo>
                  <a:lnTo>
                    <a:pt x="63232" y="267452"/>
                  </a:lnTo>
                  <a:lnTo>
                    <a:pt x="66604" y="262514"/>
                  </a:lnTo>
                  <a:lnTo>
                    <a:pt x="59859" y="257577"/>
                  </a:lnTo>
                  <a:lnTo>
                    <a:pt x="41311" y="249348"/>
                  </a:lnTo>
                  <a:lnTo>
                    <a:pt x="42997" y="234535"/>
                  </a:lnTo>
                  <a:lnTo>
                    <a:pt x="29507" y="232889"/>
                  </a:lnTo>
                  <a:lnTo>
                    <a:pt x="16018" y="227951"/>
                  </a:lnTo>
                  <a:lnTo>
                    <a:pt x="21076" y="209847"/>
                  </a:lnTo>
                  <a:lnTo>
                    <a:pt x="16018" y="208201"/>
                  </a:lnTo>
                  <a:lnTo>
                    <a:pt x="17704" y="204909"/>
                  </a:lnTo>
                  <a:lnTo>
                    <a:pt x="10959" y="199972"/>
                  </a:lnTo>
                  <a:lnTo>
                    <a:pt x="4214" y="199972"/>
                  </a:lnTo>
                  <a:lnTo>
                    <a:pt x="4214" y="195034"/>
                  </a:lnTo>
                  <a:lnTo>
                    <a:pt x="12645" y="193388"/>
                  </a:lnTo>
                  <a:lnTo>
                    <a:pt x="22763" y="176930"/>
                  </a:lnTo>
                  <a:lnTo>
                    <a:pt x="22763" y="150596"/>
                  </a:lnTo>
                  <a:lnTo>
                    <a:pt x="46370" y="135783"/>
                  </a:lnTo>
                  <a:lnTo>
                    <a:pt x="63232" y="135783"/>
                  </a:lnTo>
                  <a:lnTo>
                    <a:pt x="76722" y="127554"/>
                  </a:lnTo>
                  <a:lnTo>
                    <a:pt x="91897" y="129199"/>
                  </a:lnTo>
                  <a:lnTo>
                    <a:pt x="96956" y="142367"/>
                  </a:lnTo>
                  <a:lnTo>
                    <a:pt x="110446" y="162117"/>
                  </a:lnTo>
                  <a:lnTo>
                    <a:pt x="118877" y="167054"/>
                  </a:lnTo>
                  <a:lnTo>
                    <a:pt x="149229" y="162117"/>
                  </a:lnTo>
                  <a:lnTo>
                    <a:pt x="149229" y="157179"/>
                  </a:lnTo>
                  <a:lnTo>
                    <a:pt x="144170" y="153888"/>
                  </a:lnTo>
                  <a:lnTo>
                    <a:pt x="142484" y="144012"/>
                  </a:lnTo>
                  <a:lnTo>
                    <a:pt x="145857" y="140720"/>
                  </a:lnTo>
                  <a:lnTo>
                    <a:pt x="155974" y="142367"/>
                  </a:lnTo>
                  <a:lnTo>
                    <a:pt x="159347" y="139075"/>
                  </a:lnTo>
                  <a:lnTo>
                    <a:pt x="162719" y="140720"/>
                  </a:lnTo>
                  <a:lnTo>
                    <a:pt x="161033" y="127554"/>
                  </a:lnTo>
                  <a:lnTo>
                    <a:pt x="159347" y="125908"/>
                  </a:lnTo>
                  <a:lnTo>
                    <a:pt x="162719" y="120970"/>
                  </a:lnTo>
                  <a:lnTo>
                    <a:pt x="179582" y="120970"/>
                  </a:lnTo>
                  <a:lnTo>
                    <a:pt x="196443" y="112741"/>
                  </a:lnTo>
                  <a:lnTo>
                    <a:pt x="208247" y="119324"/>
                  </a:lnTo>
                  <a:lnTo>
                    <a:pt x="208247" y="122616"/>
                  </a:lnTo>
                  <a:lnTo>
                    <a:pt x="223423" y="120970"/>
                  </a:lnTo>
                  <a:lnTo>
                    <a:pt x="223423" y="129199"/>
                  </a:lnTo>
                  <a:lnTo>
                    <a:pt x="226795" y="124262"/>
                  </a:lnTo>
                  <a:lnTo>
                    <a:pt x="235227" y="125908"/>
                  </a:lnTo>
                  <a:lnTo>
                    <a:pt x="250403" y="97928"/>
                  </a:lnTo>
                  <a:lnTo>
                    <a:pt x="247030" y="88053"/>
                  </a:lnTo>
                  <a:lnTo>
                    <a:pt x="295931" y="53490"/>
                  </a:lnTo>
                  <a:lnTo>
                    <a:pt x="319538" y="46906"/>
                  </a:lnTo>
                  <a:lnTo>
                    <a:pt x="322911" y="9052"/>
                  </a:lnTo>
                  <a:lnTo>
                    <a:pt x="363380" y="12343"/>
                  </a:lnTo>
                  <a:lnTo>
                    <a:pt x="38867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3" name="Vlaardingen">
              <a:extLst>
                <a:ext uri="{FF2B5EF4-FFF2-40B4-BE49-F238E27FC236}">
                  <a16:creationId xmlns:a16="http://schemas.microsoft.com/office/drawing/2014/main" id="{D1EA4F14-58ED-4DFB-9F61-CE0AF5F7D4FC}"/>
                </a:ext>
              </a:extLst>
            </p:cNvPr>
            <p:cNvSpPr/>
            <p:nvPr/>
          </p:nvSpPr>
          <p:spPr>
            <a:xfrm>
              <a:off x="5048823" y="3750639"/>
              <a:ext cx="111927" cy="85015"/>
            </a:xfrm>
            <a:custGeom>
              <a:avLst/>
              <a:gdLst/>
              <a:ahLst/>
              <a:cxnLst/>
              <a:rect l="l" t="t" r="r" b="b"/>
              <a:pathLst>
                <a:path w="163914" h="137160" extrusionOk="0">
                  <a:moveTo>
                    <a:pt x="134054" y="4114"/>
                  </a:moveTo>
                  <a:lnTo>
                    <a:pt x="150916" y="45261"/>
                  </a:lnTo>
                  <a:lnTo>
                    <a:pt x="152602" y="61720"/>
                  </a:lnTo>
                  <a:lnTo>
                    <a:pt x="149230" y="65011"/>
                  </a:lnTo>
                  <a:lnTo>
                    <a:pt x="150916" y="69949"/>
                  </a:lnTo>
                  <a:lnTo>
                    <a:pt x="155974" y="76532"/>
                  </a:lnTo>
                  <a:lnTo>
                    <a:pt x="162719" y="130846"/>
                  </a:lnTo>
                  <a:lnTo>
                    <a:pt x="144171" y="130846"/>
                  </a:lnTo>
                  <a:lnTo>
                    <a:pt x="112133" y="140721"/>
                  </a:lnTo>
                  <a:lnTo>
                    <a:pt x="90212" y="142367"/>
                  </a:lnTo>
                  <a:lnTo>
                    <a:pt x="39625" y="132492"/>
                  </a:lnTo>
                  <a:lnTo>
                    <a:pt x="4214" y="114387"/>
                  </a:lnTo>
                  <a:lnTo>
                    <a:pt x="76722" y="43615"/>
                  </a:lnTo>
                  <a:lnTo>
                    <a:pt x="90212" y="25510"/>
                  </a:lnTo>
                  <a:lnTo>
                    <a:pt x="91898" y="27156"/>
                  </a:lnTo>
                  <a:lnTo>
                    <a:pt x="95270" y="25510"/>
                  </a:lnTo>
                  <a:lnTo>
                    <a:pt x="112133" y="15635"/>
                  </a:lnTo>
                  <a:lnTo>
                    <a:pt x="112133" y="13989"/>
                  </a:lnTo>
                  <a:lnTo>
                    <a:pt x="13405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4" name="Baarle-Nassau">
              <a:extLst>
                <a:ext uri="{FF2B5EF4-FFF2-40B4-BE49-F238E27FC236}">
                  <a16:creationId xmlns:a16="http://schemas.microsoft.com/office/drawing/2014/main" id="{B9D4CB97-01F5-406D-A828-11E0D8F43011}"/>
                </a:ext>
              </a:extLst>
            </p:cNvPr>
            <p:cNvSpPr/>
            <p:nvPr/>
          </p:nvSpPr>
          <p:spPr>
            <a:xfrm>
              <a:off x="5564431" y="4505857"/>
              <a:ext cx="253929" cy="144723"/>
            </a:xfrm>
            <a:custGeom>
              <a:avLst/>
              <a:gdLst/>
              <a:ahLst/>
              <a:cxnLst/>
              <a:rect l="l" t="t" r="r" b="b"/>
              <a:pathLst>
                <a:path w="374661" h="217170" extrusionOk="0">
                  <a:moveTo>
                    <a:pt x="275696" y="84761"/>
                  </a:moveTo>
                  <a:lnTo>
                    <a:pt x="275696" y="81470"/>
                  </a:lnTo>
                  <a:lnTo>
                    <a:pt x="277383" y="81470"/>
                  </a:lnTo>
                  <a:lnTo>
                    <a:pt x="275696" y="84761"/>
                  </a:lnTo>
                  <a:close/>
                  <a:moveTo>
                    <a:pt x="258834" y="107803"/>
                  </a:moveTo>
                  <a:lnTo>
                    <a:pt x="258834" y="104512"/>
                  </a:lnTo>
                  <a:lnTo>
                    <a:pt x="260520" y="104512"/>
                  </a:lnTo>
                  <a:lnTo>
                    <a:pt x="258834" y="107803"/>
                  </a:lnTo>
                  <a:close/>
                  <a:moveTo>
                    <a:pt x="247031" y="109449"/>
                  </a:moveTo>
                  <a:lnTo>
                    <a:pt x="243658" y="106157"/>
                  </a:lnTo>
                  <a:lnTo>
                    <a:pt x="248717" y="99574"/>
                  </a:lnTo>
                  <a:lnTo>
                    <a:pt x="247031" y="109449"/>
                  </a:lnTo>
                  <a:close/>
                  <a:moveTo>
                    <a:pt x="258834" y="112741"/>
                  </a:moveTo>
                  <a:lnTo>
                    <a:pt x="258834" y="111095"/>
                  </a:lnTo>
                  <a:lnTo>
                    <a:pt x="260520" y="111095"/>
                  </a:lnTo>
                  <a:lnTo>
                    <a:pt x="258834" y="112741"/>
                  </a:lnTo>
                  <a:close/>
                  <a:moveTo>
                    <a:pt x="265579" y="112741"/>
                  </a:moveTo>
                  <a:lnTo>
                    <a:pt x="267265" y="111095"/>
                  </a:lnTo>
                  <a:lnTo>
                    <a:pt x="267265" y="112741"/>
                  </a:lnTo>
                  <a:lnTo>
                    <a:pt x="265579" y="112741"/>
                  </a:lnTo>
                  <a:close/>
                  <a:moveTo>
                    <a:pt x="262207" y="117679"/>
                  </a:moveTo>
                  <a:lnTo>
                    <a:pt x="260520" y="116033"/>
                  </a:lnTo>
                  <a:lnTo>
                    <a:pt x="258834" y="117679"/>
                  </a:lnTo>
                  <a:lnTo>
                    <a:pt x="258834" y="112741"/>
                  </a:lnTo>
                  <a:lnTo>
                    <a:pt x="262207" y="112741"/>
                  </a:lnTo>
                  <a:lnTo>
                    <a:pt x="262207" y="117679"/>
                  </a:lnTo>
                  <a:close/>
                  <a:moveTo>
                    <a:pt x="263893" y="124262"/>
                  </a:moveTo>
                  <a:lnTo>
                    <a:pt x="263893" y="120970"/>
                  </a:lnTo>
                  <a:lnTo>
                    <a:pt x="265579" y="119324"/>
                  </a:lnTo>
                  <a:lnTo>
                    <a:pt x="263893" y="124262"/>
                  </a:lnTo>
                  <a:close/>
                  <a:moveTo>
                    <a:pt x="164406" y="173638"/>
                  </a:moveTo>
                  <a:lnTo>
                    <a:pt x="164406" y="168700"/>
                  </a:lnTo>
                  <a:lnTo>
                    <a:pt x="169464" y="170346"/>
                  </a:lnTo>
                  <a:lnTo>
                    <a:pt x="164406" y="173638"/>
                  </a:lnTo>
                  <a:close/>
                  <a:moveTo>
                    <a:pt x="241972" y="216430"/>
                  </a:moveTo>
                  <a:lnTo>
                    <a:pt x="231854" y="213138"/>
                  </a:lnTo>
                  <a:lnTo>
                    <a:pt x="238600" y="208201"/>
                  </a:lnTo>
                  <a:lnTo>
                    <a:pt x="248717" y="208201"/>
                  </a:lnTo>
                  <a:lnTo>
                    <a:pt x="248717" y="206555"/>
                  </a:lnTo>
                  <a:lnTo>
                    <a:pt x="247031" y="204909"/>
                  </a:lnTo>
                  <a:lnTo>
                    <a:pt x="238600" y="206555"/>
                  </a:lnTo>
                  <a:lnTo>
                    <a:pt x="235227" y="203264"/>
                  </a:lnTo>
                  <a:lnTo>
                    <a:pt x="238600" y="199972"/>
                  </a:lnTo>
                  <a:lnTo>
                    <a:pt x="226796" y="195034"/>
                  </a:lnTo>
                  <a:lnTo>
                    <a:pt x="223423" y="190096"/>
                  </a:lnTo>
                  <a:lnTo>
                    <a:pt x="225110" y="183513"/>
                  </a:lnTo>
                  <a:lnTo>
                    <a:pt x="216679" y="176930"/>
                  </a:lnTo>
                  <a:lnTo>
                    <a:pt x="218365" y="171992"/>
                  </a:lnTo>
                  <a:lnTo>
                    <a:pt x="216679" y="170346"/>
                  </a:lnTo>
                  <a:lnTo>
                    <a:pt x="214992" y="175284"/>
                  </a:lnTo>
                  <a:lnTo>
                    <a:pt x="209934" y="175284"/>
                  </a:lnTo>
                  <a:lnTo>
                    <a:pt x="211620" y="170346"/>
                  </a:lnTo>
                  <a:lnTo>
                    <a:pt x="214992" y="170346"/>
                  </a:lnTo>
                  <a:lnTo>
                    <a:pt x="214992" y="167054"/>
                  </a:lnTo>
                  <a:lnTo>
                    <a:pt x="211620" y="168700"/>
                  </a:lnTo>
                  <a:lnTo>
                    <a:pt x="209934" y="165409"/>
                  </a:lnTo>
                  <a:lnTo>
                    <a:pt x="206561" y="168700"/>
                  </a:lnTo>
                  <a:lnTo>
                    <a:pt x="208247" y="171992"/>
                  </a:lnTo>
                  <a:lnTo>
                    <a:pt x="206561" y="171992"/>
                  </a:lnTo>
                  <a:lnTo>
                    <a:pt x="196444" y="163763"/>
                  </a:lnTo>
                  <a:lnTo>
                    <a:pt x="189699" y="163763"/>
                  </a:lnTo>
                  <a:lnTo>
                    <a:pt x="189699" y="160471"/>
                  </a:lnTo>
                  <a:lnTo>
                    <a:pt x="184640" y="160471"/>
                  </a:lnTo>
                  <a:lnTo>
                    <a:pt x="184640" y="163763"/>
                  </a:lnTo>
                  <a:lnTo>
                    <a:pt x="179582" y="165409"/>
                  </a:lnTo>
                  <a:lnTo>
                    <a:pt x="172837" y="163763"/>
                  </a:lnTo>
                  <a:lnTo>
                    <a:pt x="162719" y="168700"/>
                  </a:lnTo>
                  <a:lnTo>
                    <a:pt x="157661" y="171992"/>
                  </a:lnTo>
                  <a:lnTo>
                    <a:pt x="161033" y="175284"/>
                  </a:lnTo>
                  <a:lnTo>
                    <a:pt x="159347" y="178575"/>
                  </a:lnTo>
                  <a:lnTo>
                    <a:pt x="149229" y="175284"/>
                  </a:lnTo>
                  <a:lnTo>
                    <a:pt x="149229" y="168700"/>
                  </a:lnTo>
                  <a:lnTo>
                    <a:pt x="144171" y="168700"/>
                  </a:lnTo>
                  <a:lnTo>
                    <a:pt x="132367" y="165409"/>
                  </a:lnTo>
                  <a:lnTo>
                    <a:pt x="130681" y="168700"/>
                  </a:lnTo>
                  <a:lnTo>
                    <a:pt x="127309" y="168700"/>
                  </a:lnTo>
                  <a:lnTo>
                    <a:pt x="117191" y="165409"/>
                  </a:lnTo>
                  <a:lnTo>
                    <a:pt x="36252" y="176930"/>
                  </a:lnTo>
                  <a:lnTo>
                    <a:pt x="21076" y="165409"/>
                  </a:lnTo>
                  <a:lnTo>
                    <a:pt x="14332" y="167054"/>
                  </a:lnTo>
                  <a:lnTo>
                    <a:pt x="10959" y="163763"/>
                  </a:lnTo>
                  <a:lnTo>
                    <a:pt x="12645" y="158825"/>
                  </a:lnTo>
                  <a:lnTo>
                    <a:pt x="7587" y="150596"/>
                  </a:lnTo>
                  <a:lnTo>
                    <a:pt x="10959" y="142367"/>
                  </a:lnTo>
                  <a:lnTo>
                    <a:pt x="9273" y="142367"/>
                  </a:lnTo>
                  <a:lnTo>
                    <a:pt x="10959" y="134137"/>
                  </a:lnTo>
                  <a:lnTo>
                    <a:pt x="4214" y="125908"/>
                  </a:lnTo>
                  <a:lnTo>
                    <a:pt x="9273" y="125908"/>
                  </a:lnTo>
                  <a:lnTo>
                    <a:pt x="16018" y="122616"/>
                  </a:lnTo>
                  <a:lnTo>
                    <a:pt x="36252" y="120970"/>
                  </a:lnTo>
                  <a:lnTo>
                    <a:pt x="39625" y="127554"/>
                  </a:lnTo>
                  <a:lnTo>
                    <a:pt x="42997" y="127554"/>
                  </a:lnTo>
                  <a:lnTo>
                    <a:pt x="44684" y="130845"/>
                  </a:lnTo>
                  <a:lnTo>
                    <a:pt x="56487" y="129199"/>
                  </a:lnTo>
                  <a:lnTo>
                    <a:pt x="63232" y="132491"/>
                  </a:lnTo>
                  <a:lnTo>
                    <a:pt x="64918" y="130845"/>
                  </a:lnTo>
                  <a:lnTo>
                    <a:pt x="69977" y="135783"/>
                  </a:lnTo>
                  <a:lnTo>
                    <a:pt x="81780" y="137429"/>
                  </a:lnTo>
                  <a:lnTo>
                    <a:pt x="90212" y="145658"/>
                  </a:lnTo>
                  <a:lnTo>
                    <a:pt x="96957" y="144012"/>
                  </a:lnTo>
                  <a:lnTo>
                    <a:pt x="96957" y="148950"/>
                  </a:lnTo>
                  <a:lnTo>
                    <a:pt x="108760" y="152242"/>
                  </a:lnTo>
                  <a:lnTo>
                    <a:pt x="110446" y="155533"/>
                  </a:lnTo>
                  <a:lnTo>
                    <a:pt x="113819" y="153888"/>
                  </a:lnTo>
                  <a:lnTo>
                    <a:pt x="112133" y="158825"/>
                  </a:lnTo>
                  <a:lnTo>
                    <a:pt x="120564" y="145658"/>
                  </a:lnTo>
                  <a:lnTo>
                    <a:pt x="107074" y="150596"/>
                  </a:lnTo>
                  <a:lnTo>
                    <a:pt x="100329" y="145658"/>
                  </a:lnTo>
                  <a:lnTo>
                    <a:pt x="93584" y="83115"/>
                  </a:lnTo>
                  <a:lnTo>
                    <a:pt x="100329" y="76532"/>
                  </a:lnTo>
                  <a:lnTo>
                    <a:pt x="112133" y="58427"/>
                  </a:lnTo>
                  <a:lnTo>
                    <a:pt x="117191" y="65011"/>
                  </a:lnTo>
                  <a:lnTo>
                    <a:pt x="125622" y="56782"/>
                  </a:lnTo>
                  <a:lnTo>
                    <a:pt x="115505" y="51844"/>
                  </a:lnTo>
                  <a:lnTo>
                    <a:pt x="112133" y="51844"/>
                  </a:lnTo>
                  <a:lnTo>
                    <a:pt x="113819" y="35385"/>
                  </a:lnTo>
                  <a:lnTo>
                    <a:pt x="122250" y="5760"/>
                  </a:lnTo>
                  <a:lnTo>
                    <a:pt x="127309" y="4114"/>
                  </a:lnTo>
                  <a:lnTo>
                    <a:pt x="140798" y="10698"/>
                  </a:lnTo>
                  <a:lnTo>
                    <a:pt x="152602" y="12343"/>
                  </a:lnTo>
                  <a:lnTo>
                    <a:pt x="167778" y="7406"/>
                  </a:lnTo>
                  <a:lnTo>
                    <a:pt x="184640" y="10698"/>
                  </a:lnTo>
                  <a:lnTo>
                    <a:pt x="186327" y="13989"/>
                  </a:lnTo>
                  <a:lnTo>
                    <a:pt x="198130" y="12343"/>
                  </a:lnTo>
                  <a:lnTo>
                    <a:pt x="238600" y="37031"/>
                  </a:lnTo>
                  <a:lnTo>
                    <a:pt x="260520" y="58427"/>
                  </a:lnTo>
                  <a:lnTo>
                    <a:pt x="275696" y="63365"/>
                  </a:lnTo>
                  <a:lnTo>
                    <a:pt x="280755" y="63365"/>
                  </a:lnTo>
                  <a:lnTo>
                    <a:pt x="284127" y="60073"/>
                  </a:lnTo>
                  <a:lnTo>
                    <a:pt x="299304" y="56782"/>
                  </a:lnTo>
                  <a:lnTo>
                    <a:pt x="302676" y="60073"/>
                  </a:lnTo>
                  <a:lnTo>
                    <a:pt x="302676" y="58427"/>
                  </a:lnTo>
                  <a:lnTo>
                    <a:pt x="314479" y="56782"/>
                  </a:lnTo>
                  <a:lnTo>
                    <a:pt x="319538" y="60073"/>
                  </a:lnTo>
                  <a:lnTo>
                    <a:pt x="329656" y="53490"/>
                  </a:lnTo>
                  <a:lnTo>
                    <a:pt x="381929" y="61719"/>
                  </a:lnTo>
                  <a:lnTo>
                    <a:pt x="381929" y="73240"/>
                  </a:lnTo>
                  <a:lnTo>
                    <a:pt x="373498" y="81470"/>
                  </a:lnTo>
                  <a:lnTo>
                    <a:pt x="373498" y="94636"/>
                  </a:lnTo>
                  <a:lnTo>
                    <a:pt x="309421" y="147304"/>
                  </a:lnTo>
                  <a:lnTo>
                    <a:pt x="255462" y="209847"/>
                  </a:lnTo>
                  <a:lnTo>
                    <a:pt x="253775" y="201617"/>
                  </a:lnTo>
                  <a:lnTo>
                    <a:pt x="248717" y="203264"/>
                  </a:lnTo>
                  <a:lnTo>
                    <a:pt x="248717" y="208201"/>
                  </a:lnTo>
                  <a:lnTo>
                    <a:pt x="253775" y="211493"/>
                  </a:lnTo>
                  <a:lnTo>
                    <a:pt x="241972" y="216430"/>
                  </a:lnTo>
                  <a:close/>
                  <a:moveTo>
                    <a:pt x="255462" y="188451"/>
                  </a:moveTo>
                  <a:lnTo>
                    <a:pt x="267265" y="188451"/>
                  </a:lnTo>
                  <a:lnTo>
                    <a:pt x="265579" y="178575"/>
                  </a:lnTo>
                  <a:lnTo>
                    <a:pt x="260520" y="181867"/>
                  </a:lnTo>
                  <a:lnTo>
                    <a:pt x="252089" y="180221"/>
                  </a:lnTo>
                  <a:lnTo>
                    <a:pt x="260520" y="185159"/>
                  </a:lnTo>
                  <a:lnTo>
                    <a:pt x="255462" y="188451"/>
                  </a:lnTo>
                  <a:close/>
                  <a:moveTo>
                    <a:pt x="159347" y="168700"/>
                  </a:moveTo>
                  <a:lnTo>
                    <a:pt x="161033" y="168700"/>
                  </a:lnTo>
                  <a:lnTo>
                    <a:pt x="159347" y="165409"/>
                  </a:lnTo>
                  <a:lnTo>
                    <a:pt x="157661" y="165409"/>
                  </a:lnTo>
                  <a:lnTo>
                    <a:pt x="159347" y="168700"/>
                  </a:lnTo>
                  <a:close/>
                  <a:moveTo>
                    <a:pt x="169464" y="163763"/>
                  </a:moveTo>
                  <a:lnTo>
                    <a:pt x="172837" y="162117"/>
                  </a:lnTo>
                  <a:lnTo>
                    <a:pt x="171150" y="160471"/>
                  </a:lnTo>
                  <a:lnTo>
                    <a:pt x="169464" y="163763"/>
                  </a:lnTo>
                  <a:close/>
                  <a:moveTo>
                    <a:pt x="118877" y="157179"/>
                  </a:moveTo>
                  <a:lnTo>
                    <a:pt x="118877" y="153888"/>
                  </a:lnTo>
                  <a:lnTo>
                    <a:pt x="115505" y="155533"/>
                  </a:lnTo>
                  <a:lnTo>
                    <a:pt x="118877" y="157179"/>
                  </a:lnTo>
                  <a:close/>
                  <a:moveTo>
                    <a:pt x="198130" y="144012"/>
                  </a:moveTo>
                  <a:lnTo>
                    <a:pt x="198130" y="140721"/>
                  </a:lnTo>
                  <a:lnTo>
                    <a:pt x="193071" y="140721"/>
                  </a:lnTo>
                  <a:lnTo>
                    <a:pt x="198130" y="144012"/>
                  </a:lnTo>
                  <a:close/>
                  <a:moveTo>
                    <a:pt x="267265" y="129199"/>
                  </a:moveTo>
                  <a:lnTo>
                    <a:pt x="272324" y="124262"/>
                  </a:lnTo>
                  <a:lnTo>
                    <a:pt x="272324" y="119324"/>
                  </a:lnTo>
                  <a:lnTo>
                    <a:pt x="267265" y="117679"/>
                  </a:lnTo>
                  <a:lnTo>
                    <a:pt x="270638" y="114387"/>
                  </a:lnTo>
                  <a:lnTo>
                    <a:pt x="272324" y="114387"/>
                  </a:lnTo>
                  <a:lnTo>
                    <a:pt x="274010" y="117679"/>
                  </a:lnTo>
                  <a:lnTo>
                    <a:pt x="277383" y="116033"/>
                  </a:lnTo>
                  <a:lnTo>
                    <a:pt x="275696" y="112741"/>
                  </a:lnTo>
                  <a:lnTo>
                    <a:pt x="272324" y="114387"/>
                  </a:lnTo>
                  <a:lnTo>
                    <a:pt x="272324" y="106157"/>
                  </a:lnTo>
                  <a:lnTo>
                    <a:pt x="270638" y="109449"/>
                  </a:lnTo>
                  <a:lnTo>
                    <a:pt x="263893" y="107803"/>
                  </a:lnTo>
                  <a:lnTo>
                    <a:pt x="267265" y="104512"/>
                  </a:lnTo>
                  <a:lnTo>
                    <a:pt x="265579" y="106157"/>
                  </a:lnTo>
                  <a:lnTo>
                    <a:pt x="263893" y="99574"/>
                  </a:lnTo>
                  <a:lnTo>
                    <a:pt x="270638" y="99574"/>
                  </a:lnTo>
                  <a:lnTo>
                    <a:pt x="270638" y="96282"/>
                  </a:lnTo>
                  <a:lnTo>
                    <a:pt x="272324" y="99574"/>
                  </a:lnTo>
                  <a:lnTo>
                    <a:pt x="270638" y="92991"/>
                  </a:lnTo>
                  <a:lnTo>
                    <a:pt x="265579" y="94636"/>
                  </a:lnTo>
                  <a:lnTo>
                    <a:pt x="265579" y="89699"/>
                  </a:lnTo>
                  <a:lnTo>
                    <a:pt x="263893" y="96282"/>
                  </a:lnTo>
                  <a:lnTo>
                    <a:pt x="255462" y="101220"/>
                  </a:lnTo>
                  <a:lnTo>
                    <a:pt x="257148" y="104512"/>
                  </a:lnTo>
                  <a:lnTo>
                    <a:pt x="255462" y="107803"/>
                  </a:lnTo>
                  <a:lnTo>
                    <a:pt x="250403" y="97928"/>
                  </a:lnTo>
                  <a:lnTo>
                    <a:pt x="253775" y="96282"/>
                  </a:lnTo>
                  <a:lnTo>
                    <a:pt x="250403" y="92991"/>
                  </a:lnTo>
                  <a:lnTo>
                    <a:pt x="248717" y="94636"/>
                  </a:lnTo>
                  <a:lnTo>
                    <a:pt x="247031" y="92991"/>
                  </a:lnTo>
                  <a:lnTo>
                    <a:pt x="248717" y="92991"/>
                  </a:lnTo>
                  <a:lnTo>
                    <a:pt x="245344" y="89699"/>
                  </a:lnTo>
                  <a:lnTo>
                    <a:pt x="248717" y="89699"/>
                  </a:lnTo>
                  <a:lnTo>
                    <a:pt x="247031" y="86407"/>
                  </a:lnTo>
                  <a:lnTo>
                    <a:pt x="243658" y="89699"/>
                  </a:lnTo>
                  <a:lnTo>
                    <a:pt x="241972" y="88053"/>
                  </a:lnTo>
                  <a:lnTo>
                    <a:pt x="240286" y="89699"/>
                  </a:lnTo>
                  <a:lnTo>
                    <a:pt x="243658" y="91345"/>
                  </a:lnTo>
                  <a:lnTo>
                    <a:pt x="245344" y="97928"/>
                  </a:lnTo>
                  <a:lnTo>
                    <a:pt x="240286" y="102866"/>
                  </a:lnTo>
                  <a:lnTo>
                    <a:pt x="243658" y="102866"/>
                  </a:lnTo>
                  <a:lnTo>
                    <a:pt x="241972" y="109449"/>
                  </a:lnTo>
                  <a:lnTo>
                    <a:pt x="243658" y="111095"/>
                  </a:lnTo>
                  <a:lnTo>
                    <a:pt x="238600" y="116033"/>
                  </a:lnTo>
                  <a:lnTo>
                    <a:pt x="233541" y="116033"/>
                  </a:lnTo>
                  <a:lnTo>
                    <a:pt x="250403" y="119324"/>
                  </a:lnTo>
                  <a:lnTo>
                    <a:pt x="255462" y="127554"/>
                  </a:lnTo>
                  <a:lnTo>
                    <a:pt x="258834" y="129199"/>
                  </a:lnTo>
                  <a:lnTo>
                    <a:pt x="262207" y="125908"/>
                  </a:lnTo>
                  <a:lnTo>
                    <a:pt x="267265" y="129199"/>
                  </a:lnTo>
                  <a:close/>
                  <a:moveTo>
                    <a:pt x="275696" y="109449"/>
                  </a:moveTo>
                  <a:lnTo>
                    <a:pt x="277383" y="104512"/>
                  </a:lnTo>
                  <a:lnTo>
                    <a:pt x="274010" y="106157"/>
                  </a:lnTo>
                  <a:lnTo>
                    <a:pt x="275696" y="109449"/>
                  </a:lnTo>
                  <a:close/>
                  <a:moveTo>
                    <a:pt x="272324" y="106157"/>
                  </a:moveTo>
                  <a:lnTo>
                    <a:pt x="275696" y="104512"/>
                  </a:lnTo>
                  <a:lnTo>
                    <a:pt x="272324" y="104512"/>
                  </a:lnTo>
                  <a:lnTo>
                    <a:pt x="272324" y="106157"/>
                  </a:lnTo>
                  <a:close/>
                  <a:moveTo>
                    <a:pt x="274010" y="99574"/>
                  </a:moveTo>
                  <a:lnTo>
                    <a:pt x="272324" y="94636"/>
                  </a:lnTo>
                  <a:lnTo>
                    <a:pt x="272324" y="96282"/>
                  </a:lnTo>
                  <a:lnTo>
                    <a:pt x="274010" y="99574"/>
                  </a:lnTo>
                  <a:close/>
                  <a:moveTo>
                    <a:pt x="287500" y="96282"/>
                  </a:moveTo>
                  <a:lnTo>
                    <a:pt x="287500" y="91345"/>
                  </a:lnTo>
                  <a:lnTo>
                    <a:pt x="285814" y="91345"/>
                  </a:lnTo>
                  <a:lnTo>
                    <a:pt x="279069" y="94636"/>
                  </a:lnTo>
                  <a:lnTo>
                    <a:pt x="287500" y="96282"/>
                  </a:lnTo>
                  <a:close/>
                  <a:moveTo>
                    <a:pt x="275696" y="92991"/>
                  </a:moveTo>
                  <a:lnTo>
                    <a:pt x="277383" y="91345"/>
                  </a:lnTo>
                  <a:lnTo>
                    <a:pt x="275696" y="91345"/>
                  </a:lnTo>
                  <a:lnTo>
                    <a:pt x="275696" y="92991"/>
                  </a:lnTo>
                  <a:close/>
                  <a:moveTo>
                    <a:pt x="274010" y="91345"/>
                  </a:moveTo>
                  <a:lnTo>
                    <a:pt x="272324" y="88053"/>
                  </a:lnTo>
                  <a:lnTo>
                    <a:pt x="279069" y="86407"/>
                  </a:lnTo>
                  <a:lnTo>
                    <a:pt x="279069" y="83115"/>
                  </a:lnTo>
                  <a:lnTo>
                    <a:pt x="282441" y="83115"/>
                  </a:lnTo>
                  <a:lnTo>
                    <a:pt x="280755" y="86407"/>
                  </a:lnTo>
                  <a:lnTo>
                    <a:pt x="285814" y="86407"/>
                  </a:lnTo>
                  <a:lnTo>
                    <a:pt x="285814" y="83115"/>
                  </a:lnTo>
                  <a:lnTo>
                    <a:pt x="292559" y="79824"/>
                  </a:lnTo>
                  <a:lnTo>
                    <a:pt x="290873" y="71594"/>
                  </a:lnTo>
                  <a:lnTo>
                    <a:pt x="287500" y="71594"/>
                  </a:lnTo>
                  <a:lnTo>
                    <a:pt x="289186" y="76532"/>
                  </a:lnTo>
                  <a:lnTo>
                    <a:pt x="284127" y="78178"/>
                  </a:lnTo>
                  <a:lnTo>
                    <a:pt x="274010" y="78178"/>
                  </a:lnTo>
                  <a:lnTo>
                    <a:pt x="262207" y="81470"/>
                  </a:lnTo>
                  <a:lnTo>
                    <a:pt x="265579" y="86407"/>
                  </a:lnTo>
                  <a:lnTo>
                    <a:pt x="270638" y="86407"/>
                  </a:lnTo>
                  <a:lnTo>
                    <a:pt x="274010" y="91345"/>
                  </a:lnTo>
                  <a:close/>
                  <a:moveTo>
                    <a:pt x="250403" y="92991"/>
                  </a:moveTo>
                  <a:lnTo>
                    <a:pt x="252089" y="91345"/>
                  </a:lnTo>
                  <a:lnTo>
                    <a:pt x="250403" y="88053"/>
                  </a:lnTo>
                  <a:lnTo>
                    <a:pt x="248717" y="89699"/>
                  </a:lnTo>
                  <a:lnTo>
                    <a:pt x="250403" y="92991"/>
                  </a:lnTo>
                  <a:close/>
                  <a:moveTo>
                    <a:pt x="260520" y="88053"/>
                  </a:moveTo>
                  <a:lnTo>
                    <a:pt x="263893" y="86407"/>
                  </a:lnTo>
                  <a:lnTo>
                    <a:pt x="262207" y="84761"/>
                  </a:lnTo>
                  <a:lnTo>
                    <a:pt x="260520" y="88053"/>
                  </a:lnTo>
                  <a:close/>
                  <a:moveTo>
                    <a:pt x="238600" y="96282"/>
                  </a:moveTo>
                  <a:lnTo>
                    <a:pt x="240286" y="94636"/>
                  </a:lnTo>
                  <a:lnTo>
                    <a:pt x="238600" y="94636"/>
                  </a:lnTo>
                  <a:lnTo>
                    <a:pt x="238600" y="96282"/>
                  </a:lnTo>
                  <a:close/>
                  <a:moveTo>
                    <a:pt x="255462" y="84761"/>
                  </a:moveTo>
                  <a:lnTo>
                    <a:pt x="255462" y="83115"/>
                  </a:lnTo>
                  <a:lnTo>
                    <a:pt x="253775" y="83115"/>
                  </a:lnTo>
                  <a:lnTo>
                    <a:pt x="255462" y="84761"/>
                  </a:lnTo>
                  <a:close/>
                  <a:moveTo>
                    <a:pt x="258834" y="83115"/>
                  </a:moveTo>
                  <a:lnTo>
                    <a:pt x="260520" y="81470"/>
                  </a:lnTo>
                  <a:lnTo>
                    <a:pt x="258834" y="79824"/>
                  </a:lnTo>
                  <a:lnTo>
                    <a:pt x="258834" y="83115"/>
                  </a:lnTo>
                  <a:close/>
                  <a:moveTo>
                    <a:pt x="112133" y="83115"/>
                  </a:moveTo>
                  <a:lnTo>
                    <a:pt x="112133" y="81470"/>
                  </a:lnTo>
                  <a:lnTo>
                    <a:pt x="112133" y="83115"/>
                  </a:lnTo>
                  <a:lnTo>
                    <a:pt x="112133" y="83115"/>
                  </a:lnTo>
                  <a:close/>
                  <a:moveTo>
                    <a:pt x="277383" y="73240"/>
                  </a:moveTo>
                  <a:lnTo>
                    <a:pt x="280755" y="71594"/>
                  </a:lnTo>
                  <a:lnTo>
                    <a:pt x="277383" y="71594"/>
                  </a:lnTo>
                  <a:lnTo>
                    <a:pt x="277383" y="73240"/>
                  </a:lnTo>
                  <a:close/>
                  <a:moveTo>
                    <a:pt x="287500" y="71594"/>
                  </a:moveTo>
                  <a:lnTo>
                    <a:pt x="287500" y="68302"/>
                  </a:lnTo>
                  <a:lnTo>
                    <a:pt x="287500" y="71594"/>
                  </a:lnTo>
                  <a:close/>
                  <a:moveTo>
                    <a:pt x="275696" y="68302"/>
                  </a:moveTo>
                  <a:lnTo>
                    <a:pt x="274010" y="66657"/>
                  </a:lnTo>
                  <a:lnTo>
                    <a:pt x="275696" y="683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5" name="Roermond">
              <a:extLst>
                <a:ext uri="{FF2B5EF4-FFF2-40B4-BE49-F238E27FC236}">
                  <a16:creationId xmlns:a16="http://schemas.microsoft.com/office/drawing/2014/main" id="{0ED9D902-5940-481B-AC38-1EDBC425DF64}"/>
                </a:ext>
              </a:extLst>
            </p:cNvPr>
            <p:cNvSpPr/>
            <p:nvPr/>
          </p:nvSpPr>
          <p:spPr>
            <a:xfrm>
              <a:off x="6794007" y="4862916"/>
              <a:ext cx="191500" cy="163655"/>
            </a:xfrm>
            <a:custGeom>
              <a:avLst/>
              <a:gdLst/>
              <a:ahLst/>
              <a:cxnLst/>
              <a:rect l="l" t="t" r="r" b="b"/>
              <a:pathLst>
                <a:path w="269287" h="240030" extrusionOk="0">
                  <a:moveTo>
                    <a:pt x="157661" y="22219"/>
                  </a:moveTo>
                  <a:lnTo>
                    <a:pt x="162719" y="22219"/>
                  </a:lnTo>
                  <a:lnTo>
                    <a:pt x="162719" y="25510"/>
                  </a:lnTo>
                  <a:lnTo>
                    <a:pt x="174523" y="35385"/>
                  </a:lnTo>
                  <a:lnTo>
                    <a:pt x="181268" y="32094"/>
                  </a:lnTo>
                  <a:lnTo>
                    <a:pt x="191385" y="33740"/>
                  </a:lnTo>
                  <a:lnTo>
                    <a:pt x="198130" y="32094"/>
                  </a:lnTo>
                  <a:lnTo>
                    <a:pt x="211620" y="17281"/>
                  </a:lnTo>
                  <a:lnTo>
                    <a:pt x="214992" y="18927"/>
                  </a:lnTo>
                  <a:lnTo>
                    <a:pt x="228482" y="32094"/>
                  </a:lnTo>
                  <a:lnTo>
                    <a:pt x="243658" y="41969"/>
                  </a:lnTo>
                  <a:lnTo>
                    <a:pt x="265579" y="89700"/>
                  </a:lnTo>
                  <a:lnTo>
                    <a:pt x="245344" y="89700"/>
                  </a:lnTo>
                  <a:lnTo>
                    <a:pt x="236913" y="94637"/>
                  </a:lnTo>
                  <a:lnTo>
                    <a:pt x="247030" y="185159"/>
                  </a:lnTo>
                  <a:lnTo>
                    <a:pt x="218365" y="181867"/>
                  </a:lnTo>
                  <a:lnTo>
                    <a:pt x="218365" y="193389"/>
                  </a:lnTo>
                  <a:lnTo>
                    <a:pt x="221737" y="203264"/>
                  </a:lnTo>
                  <a:lnTo>
                    <a:pt x="208247" y="204909"/>
                  </a:lnTo>
                  <a:lnTo>
                    <a:pt x="211620" y="211493"/>
                  </a:lnTo>
                  <a:lnTo>
                    <a:pt x="226795" y="214785"/>
                  </a:lnTo>
                  <a:lnTo>
                    <a:pt x="231855" y="227951"/>
                  </a:lnTo>
                  <a:lnTo>
                    <a:pt x="220051" y="232889"/>
                  </a:lnTo>
                  <a:lnTo>
                    <a:pt x="220051" y="236181"/>
                  </a:lnTo>
                  <a:lnTo>
                    <a:pt x="196443" y="239473"/>
                  </a:lnTo>
                  <a:lnTo>
                    <a:pt x="194757" y="237827"/>
                  </a:lnTo>
                  <a:lnTo>
                    <a:pt x="179582" y="239473"/>
                  </a:lnTo>
                  <a:lnTo>
                    <a:pt x="174523" y="231243"/>
                  </a:lnTo>
                  <a:lnTo>
                    <a:pt x="162719" y="231243"/>
                  </a:lnTo>
                  <a:lnTo>
                    <a:pt x="154288" y="226306"/>
                  </a:lnTo>
                  <a:lnTo>
                    <a:pt x="142484" y="234535"/>
                  </a:lnTo>
                  <a:lnTo>
                    <a:pt x="132367" y="236181"/>
                  </a:lnTo>
                  <a:lnTo>
                    <a:pt x="130681" y="223014"/>
                  </a:lnTo>
                  <a:lnTo>
                    <a:pt x="125622" y="221368"/>
                  </a:lnTo>
                  <a:lnTo>
                    <a:pt x="123936" y="227951"/>
                  </a:lnTo>
                  <a:lnTo>
                    <a:pt x="118877" y="223014"/>
                  </a:lnTo>
                  <a:lnTo>
                    <a:pt x="120563" y="216431"/>
                  </a:lnTo>
                  <a:lnTo>
                    <a:pt x="112132" y="219722"/>
                  </a:lnTo>
                  <a:lnTo>
                    <a:pt x="115505" y="209847"/>
                  </a:lnTo>
                  <a:lnTo>
                    <a:pt x="113819" y="204909"/>
                  </a:lnTo>
                  <a:lnTo>
                    <a:pt x="108760" y="206556"/>
                  </a:lnTo>
                  <a:lnTo>
                    <a:pt x="107074" y="203264"/>
                  </a:lnTo>
                  <a:lnTo>
                    <a:pt x="61546" y="246056"/>
                  </a:lnTo>
                  <a:lnTo>
                    <a:pt x="51428" y="241118"/>
                  </a:lnTo>
                  <a:lnTo>
                    <a:pt x="41311" y="241118"/>
                  </a:lnTo>
                  <a:lnTo>
                    <a:pt x="21076" y="221368"/>
                  </a:lnTo>
                  <a:lnTo>
                    <a:pt x="12645" y="219722"/>
                  </a:lnTo>
                  <a:lnTo>
                    <a:pt x="4214" y="221368"/>
                  </a:lnTo>
                  <a:lnTo>
                    <a:pt x="10959" y="216431"/>
                  </a:lnTo>
                  <a:lnTo>
                    <a:pt x="17704" y="199972"/>
                  </a:lnTo>
                  <a:lnTo>
                    <a:pt x="10959" y="196681"/>
                  </a:lnTo>
                  <a:lnTo>
                    <a:pt x="24449" y="173639"/>
                  </a:lnTo>
                  <a:lnTo>
                    <a:pt x="81780" y="120971"/>
                  </a:lnTo>
                  <a:lnTo>
                    <a:pt x="107074" y="81470"/>
                  </a:lnTo>
                  <a:lnTo>
                    <a:pt x="125622" y="73240"/>
                  </a:lnTo>
                  <a:lnTo>
                    <a:pt x="135740" y="61720"/>
                  </a:lnTo>
                  <a:lnTo>
                    <a:pt x="140798" y="51844"/>
                  </a:lnTo>
                  <a:lnTo>
                    <a:pt x="145857" y="25510"/>
                  </a:lnTo>
                  <a:lnTo>
                    <a:pt x="140798" y="4114"/>
                  </a:lnTo>
                  <a:lnTo>
                    <a:pt x="154288" y="12343"/>
                  </a:lnTo>
                  <a:lnTo>
                    <a:pt x="157661" y="222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6" name="Reusel-De Mierden">
              <a:extLst>
                <a:ext uri="{FF2B5EF4-FFF2-40B4-BE49-F238E27FC236}">
                  <a16:creationId xmlns:a16="http://schemas.microsoft.com/office/drawing/2014/main" id="{8344A0B0-AD13-42B1-A122-1B3806F4EC52}"/>
                </a:ext>
              </a:extLst>
            </p:cNvPr>
            <p:cNvSpPr/>
            <p:nvPr/>
          </p:nvSpPr>
          <p:spPr>
            <a:xfrm>
              <a:off x="5889489" y="4590211"/>
              <a:ext cx="142002" cy="201460"/>
            </a:xfrm>
            <a:custGeom>
              <a:avLst/>
              <a:gdLst/>
              <a:ahLst/>
              <a:cxnLst/>
              <a:rect l="l" t="t" r="r" b="b"/>
              <a:pathLst>
                <a:path w="210747" h="297180" extrusionOk="0">
                  <a:moveTo>
                    <a:pt x="159347" y="10698"/>
                  </a:moveTo>
                  <a:lnTo>
                    <a:pt x="162719" y="13989"/>
                  </a:lnTo>
                  <a:lnTo>
                    <a:pt x="171150" y="9052"/>
                  </a:lnTo>
                  <a:lnTo>
                    <a:pt x="181268" y="12343"/>
                  </a:lnTo>
                  <a:lnTo>
                    <a:pt x="189699" y="9052"/>
                  </a:lnTo>
                  <a:lnTo>
                    <a:pt x="189699" y="38677"/>
                  </a:lnTo>
                  <a:lnTo>
                    <a:pt x="196444" y="83116"/>
                  </a:lnTo>
                  <a:lnTo>
                    <a:pt x="204875" y="106158"/>
                  </a:lnTo>
                  <a:lnTo>
                    <a:pt x="199816" y="120970"/>
                  </a:lnTo>
                  <a:lnTo>
                    <a:pt x="203189" y="125908"/>
                  </a:lnTo>
                  <a:lnTo>
                    <a:pt x="198130" y="130845"/>
                  </a:lnTo>
                  <a:lnTo>
                    <a:pt x="199816" y="132492"/>
                  </a:lnTo>
                  <a:lnTo>
                    <a:pt x="186326" y="137429"/>
                  </a:lnTo>
                  <a:lnTo>
                    <a:pt x="184640" y="144012"/>
                  </a:lnTo>
                  <a:lnTo>
                    <a:pt x="177895" y="140721"/>
                  </a:lnTo>
                  <a:lnTo>
                    <a:pt x="189699" y="150596"/>
                  </a:lnTo>
                  <a:lnTo>
                    <a:pt x="191385" y="162117"/>
                  </a:lnTo>
                  <a:lnTo>
                    <a:pt x="189699" y="163763"/>
                  </a:lnTo>
                  <a:lnTo>
                    <a:pt x="199816" y="171992"/>
                  </a:lnTo>
                  <a:lnTo>
                    <a:pt x="196444" y="173638"/>
                  </a:lnTo>
                  <a:lnTo>
                    <a:pt x="198130" y="175284"/>
                  </a:lnTo>
                  <a:lnTo>
                    <a:pt x="191385" y="175284"/>
                  </a:lnTo>
                  <a:lnTo>
                    <a:pt x="191385" y="201618"/>
                  </a:lnTo>
                  <a:lnTo>
                    <a:pt x="194757" y="199972"/>
                  </a:lnTo>
                  <a:lnTo>
                    <a:pt x="198130" y="203264"/>
                  </a:lnTo>
                  <a:lnTo>
                    <a:pt x="194757" y="214785"/>
                  </a:lnTo>
                  <a:lnTo>
                    <a:pt x="211620" y="262515"/>
                  </a:lnTo>
                  <a:lnTo>
                    <a:pt x="198130" y="274035"/>
                  </a:lnTo>
                  <a:lnTo>
                    <a:pt x="189699" y="275682"/>
                  </a:lnTo>
                  <a:lnTo>
                    <a:pt x="162719" y="285557"/>
                  </a:lnTo>
                  <a:lnTo>
                    <a:pt x="145857" y="298724"/>
                  </a:lnTo>
                  <a:lnTo>
                    <a:pt x="102015" y="285557"/>
                  </a:lnTo>
                  <a:lnTo>
                    <a:pt x="98643" y="209847"/>
                  </a:lnTo>
                  <a:lnTo>
                    <a:pt x="78408" y="188451"/>
                  </a:lnTo>
                  <a:lnTo>
                    <a:pt x="75036" y="175284"/>
                  </a:lnTo>
                  <a:lnTo>
                    <a:pt x="4214" y="97928"/>
                  </a:lnTo>
                  <a:lnTo>
                    <a:pt x="53115" y="12343"/>
                  </a:lnTo>
                  <a:lnTo>
                    <a:pt x="80094" y="13989"/>
                  </a:lnTo>
                  <a:lnTo>
                    <a:pt x="130681" y="12343"/>
                  </a:lnTo>
                  <a:lnTo>
                    <a:pt x="132367" y="13989"/>
                  </a:lnTo>
                  <a:lnTo>
                    <a:pt x="139112" y="12343"/>
                  </a:lnTo>
                  <a:lnTo>
                    <a:pt x="140798" y="4114"/>
                  </a:lnTo>
                  <a:lnTo>
                    <a:pt x="159347"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7" name="Dalfsen">
              <a:extLst>
                <a:ext uri="{FF2B5EF4-FFF2-40B4-BE49-F238E27FC236}">
                  <a16:creationId xmlns:a16="http://schemas.microsoft.com/office/drawing/2014/main" id="{402F908C-CAA3-4503-8369-19BDE9F04077}"/>
                </a:ext>
              </a:extLst>
            </p:cNvPr>
            <p:cNvSpPr/>
            <p:nvPr/>
          </p:nvSpPr>
          <p:spPr>
            <a:xfrm>
              <a:off x="7033105" y="2709128"/>
              <a:ext cx="231849" cy="281886"/>
            </a:xfrm>
            <a:custGeom>
              <a:avLst/>
              <a:gdLst/>
              <a:ahLst/>
              <a:cxnLst/>
              <a:rect l="l" t="t" r="r" b="b"/>
              <a:pathLst>
                <a:path w="339536" h="422910" extrusionOk="0">
                  <a:moveTo>
                    <a:pt x="236913" y="4114"/>
                  </a:moveTo>
                  <a:lnTo>
                    <a:pt x="302676" y="183513"/>
                  </a:lnTo>
                  <a:lnTo>
                    <a:pt x="290872" y="188451"/>
                  </a:lnTo>
                  <a:lnTo>
                    <a:pt x="287500" y="186805"/>
                  </a:lnTo>
                  <a:lnTo>
                    <a:pt x="275696" y="196680"/>
                  </a:lnTo>
                  <a:lnTo>
                    <a:pt x="268951" y="191742"/>
                  </a:lnTo>
                  <a:lnTo>
                    <a:pt x="257148" y="190097"/>
                  </a:lnTo>
                  <a:lnTo>
                    <a:pt x="260520" y="206555"/>
                  </a:lnTo>
                  <a:lnTo>
                    <a:pt x="258834" y="213139"/>
                  </a:lnTo>
                  <a:lnTo>
                    <a:pt x="263893" y="218076"/>
                  </a:lnTo>
                  <a:lnTo>
                    <a:pt x="265579" y="224660"/>
                  </a:lnTo>
                  <a:lnTo>
                    <a:pt x="262207" y="226306"/>
                  </a:lnTo>
                  <a:lnTo>
                    <a:pt x="277382" y="287203"/>
                  </a:lnTo>
                  <a:lnTo>
                    <a:pt x="277382" y="348100"/>
                  </a:lnTo>
                  <a:lnTo>
                    <a:pt x="331342" y="348100"/>
                  </a:lnTo>
                  <a:lnTo>
                    <a:pt x="319538" y="364558"/>
                  </a:lnTo>
                  <a:lnTo>
                    <a:pt x="322911" y="371142"/>
                  </a:lnTo>
                  <a:lnTo>
                    <a:pt x="327969" y="369496"/>
                  </a:lnTo>
                  <a:lnTo>
                    <a:pt x="334714" y="387600"/>
                  </a:lnTo>
                  <a:lnTo>
                    <a:pt x="339773" y="389246"/>
                  </a:lnTo>
                  <a:lnTo>
                    <a:pt x="334714" y="417226"/>
                  </a:lnTo>
                  <a:lnTo>
                    <a:pt x="316166" y="417226"/>
                  </a:lnTo>
                  <a:lnTo>
                    <a:pt x="297617" y="413934"/>
                  </a:lnTo>
                  <a:lnTo>
                    <a:pt x="297617" y="422163"/>
                  </a:lnTo>
                  <a:lnTo>
                    <a:pt x="289186" y="420518"/>
                  </a:lnTo>
                  <a:lnTo>
                    <a:pt x="287500" y="425455"/>
                  </a:lnTo>
                  <a:lnTo>
                    <a:pt x="279069" y="423809"/>
                  </a:lnTo>
                  <a:lnTo>
                    <a:pt x="268951" y="418872"/>
                  </a:lnTo>
                  <a:lnTo>
                    <a:pt x="265579" y="425455"/>
                  </a:lnTo>
                  <a:lnTo>
                    <a:pt x="241972" y="407350"/>
                  </a:lnTo>
                  <a:lnTo>
                    <a:pt x="235227" y="405705"/>
                  </a:lnTo>
                  <a:lnTo>
                    <a:pt x="216678" y="410642"/>
                  </a:lnTo>
                  <a:lnTo>
                    <a:pt x="214992" y="400767"/>
                  </a:lnTo>
                  <a:lnTo>
                    <a:pt x="199816" y="402413"/>
                  </a:lnTo>
                  <a:lnTo>
                    <a:pt x="198130" y="374433"/>
                  </a:lnTo>
                  <a:lnTo>
                    <a:pt x="179582" y="372787"/>
                  </a:lnTo>
                  <a:lnTo>
                    <a:pt x="179582" y="348100"/>
                  </a:lnTo>
                  <a:lnTo>
                    <a:pt x="142484" y="334933"/>
                  </a:lnTo>
                  <a:lnTo>
                    <a:pt x="134053" y="333287"/>
                  </a:lnTo>
                  <a:lnTo>
                    <a:pt x="120564" y="328349"/>
                  </a:lnTo>
                  <a:lnTo>
                    <a:pt x="81780" y="331641"/>
                  </a:lnTo>
                  <a:lnTo>
                    <a:pt x="64918" y="321766"/>
                  </a:lnTo>
                  <a:lnTo>
                    <a:pt x="41311" y="323411"/>
                  </a:lnTo>
                  <a:lnTo>
                    <a:pt x="27821" y="316828"/>
                  </a:lnTo>
                  <a:lnTo>
                    <a:pt x="22763" y="323411"/>
                  </a:lnTo>
                  <a:lnTo>
                    <a:pt x="17704" y="321766"/>
                  </a:lnTo>
                  <a:lnTo>
                    <a:pt x="4214" y="308599"/>
                  </a:lnTo>
                  <a:lnTo>
                    <a:pt x="16018" y="305307"/>
                  </a:lnTo>
                  <a:lnTo>
                    <a:pt x="17704" y="302015"/>
                  </a:lnTo>
                  <a:lnTo>
                    <a:pt x="21076" y="302015"/>
                  </a:lnTo>
                  <a:lnTo>
                    <a:pt x="22763" y="298724"/>
                  </a:lnTo>
                  <a:lnTo>
                    <a:pt x="26135" y="300369"/>
                  </a:lnTo>
                  <a:lnTo>
                    <a:pt x="26135" y="295432"/>
                  </a:lnTo>
                  <a:lnTo>
                    <a:pt x="32880" y="297078"/>
                  </a:lnTo>
                  <a:lnTo>
                    <a:pt x="34566" y="292140"/>
                  </a:lnTo>
                  <a:lnTo>
                    <a:pt x="42997" y="293786"/>
                  </a:lnTo>
                  <a:lnTo>
                    <a:pt x="49742" y="290494"/>
                  </a:lnTo>
                  <a:lnTo>
                    <a:pt x="51428" y="287203"/>
                  </a:lnTo>
                  <a:lnTo>
                    <a:pt x="49742" y="280619"/>
                  </a:lnTo>
                  <a:lnTo>
                    <a:pt x="54801" y="270744"/>
                  </a:lnTo>
                  <a:lnTo>
                    <a:pt x="61546" y="267452"/>
                  </a:lnTo>
                  <a:lnTo>
                    <a:pt x="58173" y="264160"/>
                  </a:lnTo>
                  <a:lnTo>
                    <a:pt x="59859" y="257577"/>
                  </a:lnTo>
                  <a:lnTo>
                    <a:pt x="54801" y="257577"/>
                  </a:lnTo>
                  <a:lnTo>
                    <a:pt x="41311" y="247702"/>
                  </a:lnTo>
                  <a:lnTo>
                    <a:pt x="36252" y="232889"/>
                  </a:lnTo>
                  <a:lnTo>
                    <a:pt x="36252" y="227951"/>
                  </a:lnTo>
                  <a:lnTo>
                    <a:pt x="19390" y="201618"/>
                  </a:lnTo>
                  <a:lnTo>
                    <a:pt x="34566" y="199972"/>
                  </a:lnTo>
                  <a:lnTo>
                    <a:pt x="34566" y="196680"/>
                  </a:lnTo>
                  <a:lnTo>
                    <a:pt x="41311" y="190097"/>
                  </a:lnTo>
                  <a:lnTo>
                    <a:pt x="39625" y="186805"/>
                  </a:lnTo>
                  <a:lnTo>
                    <a:pt x="48056" y="168700"/>
                  </a:lnTo>
                  <a:lnTo>
                    <a:pt x="42997" y="158825"/>
                  </a:lnTo>
                  <a:lnTo>
                    <a:pt x="75036" y="83116"/>
                  </a:lnTo>
                  <a:lnTo>
                    <a:pt x="66605" y="65011"/>
                  </a:lnTo>
                  <a:lnTo>
                    <a:pt x="61546" y="40323"/>
                  </a:lnTo>
                  <a:lnTo>
                    <a:pt x="128995" y="27156"/>
                  </a:lnTo>
                  <a:lnTo>
                    <a:pt x="145857" y="23864"/>
                  </a:lnTo>
                  <a:lnTo>
                    <a:pt x="145857" y="18927"/>
                  </a:lnTo>
                  <a:lnTo>
                    <a:pt x="164405" y="15635"/>
                  </a:lnTo>
                  <a:lnTo>
                    <a:pt x="169464" y="15635"/>
                  </a:lnTo>
                  <a:lnTo>
                    <a:pt x="169464" y="18927"/>
                  </a:lnTo>
                  <a:lnTo>
                    <a:pt x="182954" y="15635"/>
                  </a:lnTo>
                  <a:lnTo>
                    <a:pt x="182954" y="13989"/>
                  </a:lnTo>
                  <a:lnTo>
                    <a:pt x="188013" y="12343"/>
                  </a:lnTo>
                  <a:lnTo>
                    <a:pt x="188013" y="15635"/>
                  </a:lnTo>
                  <a:lnTo>
                    <a:pt x="23691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8" name="Leiderdorp">
              <a:extLst>
                <a:ext uri="{FF2B5EF4-FFF2-40B4-BE49-F238E27FC236}">
                  <a16:creationId xmlns:a16="http://schemas.microsoft.com/office/drawing/2014/main" id="{7C0E7DD7-067F-4881-B2A0-5DD1E4019523}"/>
                </a:ext>
              </a:extLst>
            </p:cNvPr>
            <p:cNvSpPr/>
            <p:nvPr/>
          </p:nvSpPr>
          <p:spPr>
            <a:xfrm>
              <a:off x="5312499" y="3380786"/>
              <a:ext cx="60148" cy="83169"/>
            </a:xfrm>
            <a:custGeom>
              <a:avLst/>
              <a:gdLst/>
              <a:ahLst/>
              <a:cxnLst/>
              <a:rect l="l" t="t" r="r" b="b"/>
              <a:pathLst>
                <a:path w="93665" h="125730" extrusionOk="0">
                  <a:moveTo>
                    <a:pt x="10959" y="4114"/>
                  </a:moveTo>
                  <a:lnTo>
                    <a:pt x="26135" y="9052"/>
                  </a:lnTo>
                  <a:lnTo>
                    <a:pt x="41311" y="9052"/>
                  </a:lnTo>
                  <a:lnTo>
                    <a:pt x="46370" y="27156"/>
                  </a:lnTo>
                  <a:lnTo>
                    <a:pt x="59860" y="50198"/>
                  </a:lnTo>
                  <a:lnTo>
                    <a:pt x="75036" y="41969"/>
                  </a:lnTo>
                  <a:lnTo>
                    <a:pt x="76722" y="43615"/>
                  </a:lnTo>
                  <a:lnTo>
                    <a:pt x="75036" y="48552"/>
                  </a:lnTo>
                  <a:lnTo>
                    <a:pt x="76722" y="55136"/>
                  </a:lnTo>
                  <a:lnTo>
                    <a:pt x="76722" y="56782"/>
                  </a:lnTo>
                  <a:lnTo>
                    <a:pt x="90212" y="74886"/>
                  </a:lnTo>
                  <a:lnTo>
                    <a:pt x="88525" y="99574"/>
                  </a:lnTo>
                  <a:lnTo>
                    <a:pt x="81780" y="117679"/>
                  </a:lnTo>
                  <a:lnTo>
                    <a:pt x="75036" y="124262"/>
                  </a:lnTo>
                  <a:lnTo>
                    <a:pt x="73349" y="125908"/>
                  </a:lnTo>
                  <a:lnTo>
                    <a:pt x="53115" y="106158"/>
                  </a:lnTo>
                  <a:lnTo>
                    <a:pt x="29507" y="101220"/>
                  </a:lnTo>
                  <a:lnTo>
                    <a:pt x="21076" y="92991"/>
                  </a:lnTo>
                  <a:lnTo>
                    <a:pt x="14331" y="65011"/>
                  </a:lnTo>
                  <a:lnTo>
                    <a:pt x="4214" y="55136"/>
                  </a:lnTo>
                  <a:lnTo>
                    <a:pt x="7587" y="43615"/>
                  </a:lnTo>
                  <a:lnTo>
                    <a:pt x="5900" y="30448"/>
                  </a:lnTo>
                  <a:lnTo>
                    <a:pt x="10959" y="22219"/>
                  </a:lnTo>
                  <a:lnTo>
                    <a:pt x="1095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79" name="Stadskanaal">
              <a:extLst>
                <a:ext uri="{FF2B5EF4-FFF2-40B4-BE49-F238E27FC236}">
                  <a16:creationId xmlns:a16="http://schemas.microsoft.com/office/drawing/2014/main" id="{5E0B8DA2-FE8D-414C-BB17-A7CC8E1152DD}"/>
                </a:ext>
              </a:extLst>
            </p:cNvPr>
            <p:cNvSpPr/>
            <p:nvPr/>
          </p:nvSpPr>
          <p:spPr>
            <a:xfrm>
              <a:off x="7742865" y="1937035"/>
              <a:ext cx="277048" cy="250575"/>
            </a:xfrm>
            <a:custGeom>
              <a:avLst/>
              <a:gdLst/>
              <a:ahLst/>
              <a:cxnLst/>
              <a:rect l="l" t="t" r="r" b="b"/>
              <a:pathLst>
                <a:path w="362953" h="377190" extrusionOk="0">
                  <a:moveTo>
                    <a:pt x="223424" y="4114"/>
                  </a:moveTo>
                  <a:lnTo>
                    <a:pt x="228482" y="13989"/>
                  </a:lnTo>
                  <a:lnTo>
                    <a:pt x="231855" y="9052"/>
                  </a:lnTo>
                  <a:lnTo>
                    <a:pt x="236913" y="9052"/>
                  </a:lnTo>
                  <a:lnTo>
                    <a:pt x="253776" y="20573"/>
                  </a:lnTo>
                  <a:lnTo>
                    <a:pt x="258835" y="20573"/>
                  </a:lnTo>
                  <a:lnTo>
                    <a:pt x="260520" y="25510"/>
                  </a:lnTo>
                  <a:lnTo>
                    <a:pt x="299304" y="20573"/>
                  </a:lnTo>
                  <a:lnTo>
                    <a:pt x="299304" y="22218"/>
                  </a:lnTo>
                  <a:lnTo>
                    <a:pt x="307735" y="18927"/>
                  </a:lnTo>
                  <a:lnTo>
                    <a:pt x="324597" y="27156"/>
                  </a:lnTo>
                  <a:lnTo>
                    <a:pt x="329656" y="37031"/>
                  </a:lnTo>
                  <a:lnTo>
                    <a:pt x="324597" y="56782"/>
                  </a:lnTo>
                  <a:lnTo>
                    <a:pt x="321224" y="60073"/>
                  </a:lnTo>
                  <a:lnTo>
                    <a:pt x="312793" y="58427"/>
                  </a:lnTo>
                  <a:lnTo>
                    <a:pt x="314480" y="60073"/>
                  </a:lnTo>
                  <a:lnTo>
                    <a:pt x="312793" y="66657"/>
                  </a:lnTo>
                  <a:lnTo>
                    <a:pt x="311108" y="65011"/>
                  </a:lnTo>
                  <a:lnTo>
                    <a:pt x="314480" y="71594"/>
                  </a:lnTo>
                  <a:lnTo>
                    <a:pt x="311108" y="71594"/>
                  </a:lnTo>
                  <a:lnTo>
                    <a:pt x="312793" y="74886"/>
                  </a:lnTo>
                  <a:lnTo>
                    <a:pt x="314480" y="76532"/>
                  </a:lnTo>
                  <a:lnTo>
                    <a:pt x="316166" y="74886"/>
                  </a:lnTo>
                  <a:lnTo>
                    <a:pt x="333028" y="73240"/>
                  </a:lnTo>
                  <a:lnTo>
                    <a:pt x="339774" y="78178"/>
                  </a:lnTo>
                  <a:lnTo>
                    <a:pt x="339774" y="83115"/>
                  </a:lnTo>
                  <a:lnTo>
                    <a:pt x="334715" y="84761"/>
                  </a:lnTo>
                  <a:lnTo>
                    <a:pt x="333028" y="112741"/>
                  </a:lnTo>
                  <a:lnTo>
                    <a:pt x="334715" y="119324"/>
                  </a:lnTo>
                  <a:lnTo>
                    <a:pt x="343146" y="116033"/>
                  </a:lnTo>
                  <a:lnTo>
                    <a:pt x="349890" y="124262"/>
                  </a:lnTo>
                  <a:lnTo>
                    <a:pt x="358322" y="127554"/>
                  </a:lnTo>
                  <a:lnTo>
                    <a:pt x="361694" y="139075"/>
                  </a:lnTo>
                  <a:lnTo>
                    <a:pt x="321224" y="171992"/>
                  </a:lnTo>
                  <a:lnTo>
                    <a:pt x="319539" y="293786"/>
                  </a:lnTo>
                  <a:lnTo>
                    <a:pt x="312793" y="298723"/>
                  </a:lnTo>
                  <a:lnTo>
                    <a:pt x="312793" y="348099"/>
                  </a:lnTo>
                  <a:lnTo>
                    <a:pt x="270638" y="353037"/>
                  </a:lnTo>
                  <a:lnTo>
                    <a:pt x="262207" y="366204"/>
                  </a:lnTo>
                  <a:lnTo>
                    <a:pt x="257148" y="377725"/>
                  </a:lnTo>
                  <a:lnTo>
                    <a:pt x="241972" y="364558"/>
                  </a:lnTo>
                  <a:lnTo>
                    <a:pt x="118878" y="201617"/>
                  </a:lnTo>
                  <a:lnTo>
                    <a:pt x="4214" y="88053"/>
                  </a:lnTo>
                  <a:lnTo>
                    <a:pt x="9273" y="83115"/>
                  </a:lnTo>
                  <a:lnTo>
                    <a:pt x="14332" y="88053"/>
                  </a:lnTo>
                  <a:lnTo>
                    <a:pt x="34566" y="74886"/>
                  </a:lnTo>
                  <a:lnTo>
                    <a:pt x="59860" y="107803"/>
                  </a:lnTo>
                  <a:lnTo>
                    <a:pt x="66605" y="102866"/>
                  </a:lnTo>
                  <a:lnTo>
                    <a:pt x="64919" y="99574"/>
                  </a:lnTo>
                  <a:lnTo>
                    <a:pt x="73350" y="91345"/>
                  </a:lnTo>
                  <a:lnTo>
                    <a:pt x="80094" y="101220"/>
                  </a:lnTo>
                  <a:lnTo>
                    <a:pt x="117192" y="137429"/>
                  </a:lnTo>
                  <a:lnTo>
                    <a:pt x="145858" y="150596"/>
                  </a:lnTo>
                  <a:lnTo>
                    <a:pt x="193071" y="65011"/>
                  </a:lnTo>
                  <a:lnTo>
                    <a:pt x="196444" y="50198"/>
                  </a:lnTo>
                  <a:lnTo>
                    <a:pt x="201503" y="48552"/>
                  </a:lnTo>
                  <a:lnTo>
                    <a:pt x="22342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0" name="Ede">
              <a:extLst>
                <a:ext uri="{FF2B5EF4-FFF2-40B4-BE49-F238E27FC236}">
                  <a16:creationId xmlns:a16="http://schemas.microsoft.com/office/drawing/2014/main" id="{D0B7C8C2-FAF2-4A8F-9473-D66ACCDF6A8B}"/>
                </a:ext>
              </a:extLst>
            </p:cNvPr>
            <p:cNvSpPr/>
            <p:nvPr/>
          </p:nvSpPr>
          <p:spPr>
            <a:xfrm>
              <a:off x="6395845" y="3433862"/>
              <a:ext cx="430362" cy="255394"/>
            </a:xfrm>
            <a:custGeom>
              <a:avLst/>
              <a:gdLst/>
              <a:ahLst/>
              <a:cxnLst/>
              <a:rect l="l" t="t" r="r" b="b"/>
              <a:pathLst>
                <a:path w="620532" h="388620" extrusionOk="0">
                  <a:moveTo>
                    <a:pt x="351577" y="4114"/>
                  </a:moveTo>
                  <a:lnTo>
                    <a:pt x="368439" y="7405"/>
                  </a:lnTo>
                  <a:lnTo>
                    <a:pt x="459495" y="5760"/>
                  </a:lnTo>
                  <a:lnTo>
                    <a:pt x="481416" y="12343"/>
                  </a:lnTo>
                  <a:lnTo>
                    <a:pt x="489847" y="68302"/>
                  </a:lnTo>
                  <a:lnTo>
                    <a:pt x="518513" y="114387"/>
                  </a:lnTo>
                  <a:lnTo>
                    <a:pt x="543806" y="120970"/>
                  </a:lnTo>
                  <a:lnTo>
                    <a:pt x="560668" y="129199"/>
                  </a:lnTo>
                  <a:lnTo>
                    <a:pt x="621373" y="129199"/>
                  </a:lnTo>
                  <a:lnTo>
                    <a:pt x="614627" y="183513"/>
                  </a:lnTo>
                  <a:lnTo>
                    <a:pt x="558982" y="221368"/>
                  </a:lnTo>
                  <a:lnTo>
                    <a:pt x="540434" y="218076"/>
                  </a:lnTo>
                  <a:lnTo>
                    <a:pt x="543806" y="250993"/>
                  </a:lnTo>
                  <a:lnTo>
                    <a:pt x="516827" y="252639"/>
                  </a:lnTo>
                  <a:lnTo>
                    <a:pt x="483102" y="246056"/>
                  </a:lnTo>
                  <a:lnTo>
                    <a:pt x="467926" y="247702"/>
                  </a:lnTo>
                  <a:lnTo>
                    <a:pt x="449378" y="259223"/>
                  </a:lnTo>
                  <a:lnTo>
                    <a:pt x="412281" y="313536"/>
                  </a:lnTo>
                  <a:lnTo>
                    <a:pt x="395418" y="318474"/>
                  </a:lnTo>
                  <a:lnTo>
                    <a:pt x="397105" y="321765"/>
                  </a:lnTo>
                  <a:lnTo>
                    <a:pt x="388674" y="318474"/>
                  </a:lnTo>
                  <a:lnTo>
                    <a:pt x="366753" y="318474"/>
                  </a:lnTo>
                  <a:lnTo>
                    <a:pt x="321225" y="321765"/>
                  </a:lnTo>
                  <a:lnTo>
                    <a:pt x="307735" y="325057"/>
                  </a:lnTo>
                  <a:lnTo>
                    <a:pt x="297617" y="343162"/>
                  </a:lnTo>
                  <a:lnTo>
                    <a:pt x="299304" y="353037"/>
                  </a:lnTo>
                  <a:lnTo>
                    <a:pt x="290872" y="357975"/>
                  </a:lnTo>
                  <a:lnTo>
                    <a:pt x="294245" y="366204"/>
                  </a:lnTo>
                  <a:lnTo>
                    <a:pt x="289186" y="371141"/>
                  </a:lnTo>
                  <a:lnTo>
                    <a:pt x="277383" y="371141"/>
                  </a:lnTo>
                  <a:lnTo>
                    <a:pt x="223424" y="384308"/>
                  </a:lnTo>
                  <a:lnTo>
                    <a:pt x="213306" y="387600"/>
                  </a:lnTo>
                  <a:lnTo>
                    <a:pt x="213306" y="390892"/>
                  </a:lnTo>
                  <a:lnTo>
                    <a:pt x="201503" y="394183"/>
                  </a:lnTo>
                  <a:lnTo>
                    <a:pt x="193072" y="385954"/>
                  </a:lnTo>
                  <a:lnTo>
                    <a:pt x="184640" y="389246"/>
                  </a:lnTo>
                  <a:lnTo>
                    <a:pt x="182954" y="385954"/>
                  </a:lnTo>
                  <a:lnTo>
                    <a:pt x="171151" y="389246"/>
                  </a:lnTo>
                  <a:lnTo>
                    <a:pt x="169464" y="384308"/>
                  </a:lnTo>
                  <a:lnTo>
                    <a:pt x="144171" y="392538"/>
                  </a:lnTo>
                  <a:lnTo>
                    <a:pt x="137426" y="384308"/>
                  </a:lnTo>
                  <a:lnTo>
                    <a:pt x="128995" y="390892"/>
                  </a:lnTo>
                  <a:lnTo>
                    <a:pt x="125622" y="384308"/>
                  </a:lnTo>
                  <a:lnTo>
                    <a:pt x="117191" y="390892"/>
                  </a:lnTo>
                  <a:lnTo>
                    <a:pt x="108760" y="374433"/>
                  </a:lnTo>
                  <a:lnTo>
                    <a:pt x="96957" y="379371"/>
                  </a:lnTo>
                  <a:lnTo>
                    <a:pt x="96957" y="387600"/>
                  </a:lnTo>
                  <a:lnTo>
                    <a:pt x="93584" y="387600"/>
                  </a:lnTo>
                  <a:lnTo>
                    <a:pt x="75036" y="369496"/>
                  </a:lnTo>
                  <a:lnTo>
                    <a:pt x="73349" y="356328"/>
                  </a:lnTo>
                  <a:lnTo>
                    <a:pt x="64918" y="344807"/>
                  </a:lnTo>
                  <a:lnTo>
                    <a:pt x="66605" y="334932"/>
                  </a:lnTo>
                  <a:lnTo>
                    <a:pt x="71663" y="336578"/>
                  </a:lnTo>
                  <a:lnTo>
                    <a:pt x="71663" y="325057"/>
                  </a:lnTo>
                  <a:lnTo>
                    <a:pt x="66605" y="323411"/>
                  </a:lnTo>
                  <a:lnTo>
                    <a:pt x="66605" y="303661"/>
                  </a:lnTo>
                  <a:lnTo>
                    <a:pt x="66605" y="298723"/>
                  </a:lnTo>
                  <a:lnTo>
                    <a:pt x="69977" y="298723"/>
                  </a:lnTo>
                  <a:lnTo>
                    <a:pt x="71663" y="290494"/>
                  </a:lnTo>
                  <a:lnTo>
                    <a:pt x="36253" y="275681"/>
                  </a:lnTo>
                  <a:lnTo>
                    <a:pt x="41311" y="269098"/>
                  </a:lnTo>
                  <a:lnTo>
                    <a:pt x="41311" y="257577"/>
                  </a:lnTo>
                  <a:lnTo>
                    <a:pt x="22763" y="255931"/>
                  </a:lnTo>
                  <a:lnTo>
                    <a:pt x="26135" y="209847"/>
                  </a:lnTo>
                  <a:lnTo>
                    <a:pt x="24449" y="201617"/>
                  </a:lnTo>
                  <a:lnTo>
                    <a:pt x="27822" y="196680"/>
                  </a:lnTo>
                  <a:lnTo>
                    <a:pt x="29508" y="181867"/>
                  </a:lnTo>
                  <a:lnTo>
                    <a:pt x="26135" y="170346"/>
                  </a:lnTo>
                  <a:lnTo>
                    <a:pt x="21076" y="167054"/>
                  </a:lnTo>
                  <a:lnTo>
                    <a:pt x="21076" y="163763"/>
                  </a:lnTo>
                  <a:lnTo>
                    <a:pt x="17704" y="165409"/>
                  </a:lnTo>
                  <a:lnTo>
                    <a:pt x="19390" y="152242"/>
                  </a:lnTo>
                  <a:lnTo>
                    <a:pt x="16018" y="144012"/>
                  </a:lnTo>
                  <a:lnTo>
                    <a:pt x="10959" y="140720"/>
                  </a:lnTo>
                  <a:lnTo>
                    <a:pt x="16018" y="132491"/>
                  </a:lnTo>
                  <a:lnTo>
                    <a:pt x="4214" y="104511"/>
                  </a:lnTo>
                  <a:lnTo>
                    <a:pt x="10959" y="102866"/>
                  </a:lnTo>
                  <a:lnTo>
                    <a:pt x="16018" y="99574"/>
                  </a:lnTo>
                  <a:lnTo>
                    <a:pt x="27822" y="79823"/>
                  </a:lnTo>
                  <a:lnTo>
                    <a:pt x="32880" y="79823"/>
                  </a:lnTo>
                  <a:lnTo>
                    <a:pt x="37939" y="88053"/>
                  </a:lnTo>
                  <a:lnTo>
                    <a:pt x="39625" y="78178"/>
                  </a:lnTo>
                  <a:lnTo>
                    <a:pt x="53115" y="81470"/>
                  </a:lnTo>
                  <a:lnTo>
                    <a:pt x="73349" y="73240"/>
                  </a:lnTo>
                  <a:lnTo>
                    <a:pt x="81781" y="73240"/>
                  </a:lnTo>
                  <a:lnTo>
                    <a:pt x="88526" y="69949"/>
                  </a:lnTo>
                  <a:lnTo>
                    <a:pt x="96957" y="71594"/>
                  </a:lnTo>
                  <a:lnTo>
                    <a:pt x="110447" y="65011"/>
                  </a:lnTo>
                  <a:lnTo>
                    <a:pt x="120564" y="65011"/>
                  </a:lnTo>
                  <a:lnTo>
                    <a:pt x="144171" y="56781"/>
                  </a:lnTo>
                  <a:lnTo>
                    <a:pt x="157661" y="58427"/>
                  </a:lnTo>
                  <a:lnTo>
                    <a:pt x="172837" y="53490"/>
                  </a:lnTo>
                  <a:lnTo>
                    <a:pt x="179582" y="55136"/>
                  </a:lnTo>
                  <a:lnTo>
                    <a:pt x="186326" y="51844"/>
                  </a:lnTo>
                  <a:lnTo>
                    <a:pt x="191385" y="48552"/>
                  </a:lnTo>
                  <a:lnTo>
                    <a:pt x="208247" y="55136"/>
                  </a:lnTo>
                  <a:lnTo>
                    <a:pt x="213306" y="53490"/>
                  </a:lnTo>
                  <a:lnTo>
                    <a:pt x="221737" y="41969"/>
                  </a:lnTo>
                  <a:lnTo>
                    <a:pt x="226796" y="41969"/>
                  </a:lnTo>
                  <a:lnTo>
                    <a:pt x="240286" y="45260"/>
                  </a:lnTo>
                  <a:lnTo>
                    <a:pt x="263893" y="43615"/>
                  </a:lnTo>
                  <a:lnTo>
                    <a:pt x="263893" y="40323"/>
                  </a:lnTo>
                  <a:lnTo>
                    <a:pt x="272324" y="38677"/>
                  </a:lnTo>
                  <a:lnTo>
                    <a:pt x="270638" y="23864"/>
                  </a:lnTo>
                  <a:lnTo>
                    <a:pt x="268952" y="18926"/>
                  </a:lnTo>
                  <a:lnTo>
                    <a:pt x="304362" y="13989"/>
                  </a:lnTo>
                  <a:lnTo>
                    <a:pt x="333028" y="15635"/>
                  </a:lnTo>
                  <a:lnTo>
                    <a:pt x="35157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1" name="Zutphen">
              <a:extLst>
                <a:ext uri="{FF2B5EF4-FFF2-40B4-BE49-F238E27FC236}">
                  <a16:creationId xmlns:a16="http://schemas.microsoft.com/office/drawing/2014/main" id="{2DB6CF5B-ECC5-47C3-9ECA-A991AB44C46E}"/>
                </a:ext>
              </a:extLst>
            </p:cNvPr>
            <p:cNvSpPr/>
            <p:nvPr/>
          </p:nvSpPr>
          <p:spPr>
            <a:xfrm>
              <a:off x="7019643" y="3405282"/>
              <a:ext cx="194155" cy="127699"/>
            </a:xfrm>
            <a:custGeom>
              <a:avLst/>
              <a:gdLst/>
              <a:ahLst/>
              <a:cxnLst/>
              <a:rect l="l" t="t" r="r" b="b"/>
              <a:pathLst>
                <a:path w="292704" h="194310" extrusionOk="0">
                  <a:moveTo>
                    <a:pt x="90212" y="17281"/>
                  </a:moveTo>
                  <a:lnTo>
                    <a:pt x="91898" y="20573"/>
                  </a:lnTo>
                  <a:lnTo>
                    <a:pt x="95270" y="15635"/>
                  </a:lnTo>
                  <a:lnTo>
                    <a:pt x="105388" y="10698"/>
                  </a:lnTo>
                  <a:lnTo>
                    <a:pt x="113819" y="20573"/>
                  </a:lnTo>
                  <a:lnTo>
                    <a:pt x="120564" y="22219"/>
                  </a:lnTo>
                  <a:lnTo>
                    <a:pt x="122250" y="27156"/>
                  </a:lnTo>
                  <a:lnTo>
                    <a:pt x="118878" y="30448"/>
                  </a:lnTo>
                  <a:lnTo>
                    <a:pt x="123936" y="30448"/>
                  </a:lnTo>
                  <a:lnTo>
                    <a:pt x="123936" y="35386"/>
                  </a:lnTo>
                  <a:lnTo>
                    <a:pt x="130681" y="37031"/>
                  </a:lnTo>
                  <a:lnTo>
                    <a:pt x="130681" y="41969"/>
                  </a:lnTo>
                  <a:lnTo>
                    <a:pt x="142485" y="37031"/>
                  </a:lnTo>
                  <a:lnTo>
                    <a:pt x="149230" y="37031"/>
                  </a:lnTo>
                  <a:lnTo>
                    <a:pt x="152602" y="60074"/>
                  </a:lnTo>
                  <a:lnTo>
                    <a:pt x="169464" y="56782"/>
                  </a:lnTo>
                  <a:lnTo>
                    <a:pt x="172837" y="58428"/>
                  </a:lnTo>
                  <a:lnTo>
                    <a:pt x="193072" y="56782"/>
                  </a:lnTo>
                  <a:lnTo>
                    <a:pt x="201503" y="50199"/>
                  </a:lnTo>
                  <a:lnTo>
                    <a:pt x="208247" y="51844"/>
                  </a:lnTo>
                  <a:lnTo>
                    <a:pt x="216679" y="50199"/>
                  </a:lnTo>
                  <a:lnTo>
                    <a:pt x="221737" y="53490"/>
                  </a:lnTo>
                  <a:lnTo>
                    <a:pt x="231855" y="50199"/>
                  </a:lnTo>
                  <a:lnTo>
                    <a:pt x="240286" y="51844"/>
                  </a:lnTo>
                  <a:lnTo>
                    <a:pt x="243658" y="50199"/>
                  </a:lnTo>
                  <a:lnTo>
                    <a:pt x="248717" y="51844"/>
                  </a:lnTo>
                  <a:lnTo>
                    <a:pt x="255462" y="46907"/>
                  </a:lnTo>
                  <a:lnTo>
                    <a:pt x="284128" y="41969"/>
                  </a:lnTo>
                  <a:lnTo>
                    <a:pt x="290872" y="78178"/>
                  </a:lnTo>
                  <a:lnTo>
                    <a:pt x="258834" y="96283"/>
                  </a:lnTo>
                  <a:lnTo>
                    <a:pt x="238599" y="102866"/>
                  </a:lnTo>
                  <a:lnTo>
                    <a:pt x="233541" y="106158"/>
                  </a:lnTo>
                  <a:lnTo>
                    <a:pt x="235227" y="109449"/>
                  </a:lnTo>
                  <a:lnTo>
                    <a:pt x="230168" y="107803"/>
                  </a:lnTo>
                  <a:lnTo>
                    <a:pt x="213306" y="117679"/>
                  </a:lnTo>
                  <a:lnTo>
                    <a:pt x="203189" y="142367"/>
                  </a:lnTo>
                  <a:lnTo>
                    <a:pt x="184640" y="145658"/>
                  </a:lnTo>
                  <a:lnTo>
                    <a:pt x="150916" y="137429"/>
                  </a:lnTo>
                  <a:lnTo>
                    <a:pt x="147543" y="139075"/>
                  </a:lnTo>
                  <a:lnTo>
                    <a:pt x="145857" y="145658"/>
                  </a:lnTo>
                  <a:lnTo>
                    <a:pt x="137426" y="148950"/>
                  </a:lnTo>
                  <a:lnTo>
                    <a:pt x="135740" y="155534"/>
                  </a:lnTo>
                  <a:lnTo>
                    <a:pt x="130681" y="155534"/>
                  </a:lnTo>
                  <a:lnTo>
                    <a:pt x="134054" y="170346"/>
                  </a:lnTo>
                  <a:lnTo>
                    <a:pt x="127309" y="170346"/>
                  </a:lnTo>
                  <a:lnTo>
                    <a:pt x="125622" y="190097"/>
                  </a:lnTo>
                  <a:lnTo>
                    <a:pt x="128995" y="198326"/>
                  </a:lnTo>
                  <a:lnTo>
                    <a:pt x="127309" y="196680"/>
                  </a:lnTo>
                  <a:lnTo>
                    <a:pt x="125622" y="198326"/>
                  </a:lnTo>
                  <a:lnTo>
                    <a:pt x="123936" y="196680"/>
                  </a:lnTo>
                  <a:lnTo>
                    <a:pt x="125622" y="190097"/>
                  </a:lnTo>
                  <a:lnTo>
                    <a:pt x="122250" y="188451"/>
                  </a:lnTo>
                  <a:lnTo>
                    <a:pt x="125622" y="180221"/>
                  </a:lnTo>
                  <a:lnTo>
                    <a:pt x="118878" y="150596"/>
                  </a:lnTo>
                  <a:lnTo>
                    <a:pt x="110447" y="140721"/>
                  </a:lnTo>
                  <a:lnTo>
                    <a:pt x="83467" y="137429"/>
                  </a:lnTo>
                  <a:lnTo>
                    <a:pt x="76722" y="132492"/>
                  </a:lnTo>
                  <a:lnTo>
                    <a:pt x="73349" y="124262"/>
                  </a:lnTo>
                  <a:lnTo>
                    <a:pt x="75036" y="112741"/>
                  </a:lnTo>
                  <a:lnTo>
                    <a:pt x="68291" y="109449"/>
                  </a:lnTo>
                  <a:lnTo>
                    <a:pt x="69977" y="89699"/>
                  </a:lnTo>
                  <a:lnTo>
                    <a:pt x="61546" y="83116"/>
                  </a:lnTo>
                  <a:lnTo>
                    <a:pt x="63232" y="79824"/>
                  </a:lnTo>
                  <a:lnTo>
                    <a:pt x="56487" y="76532"/>
                  </a:lnTo>
                  <a:lnTo>
                    <a:pt x="56487" y="71595"/>
                  </a:lnTo>
                  <a:lnTo>
                    <a:pt x="53115" y="68303"/>
                  </a:lnTo>
                  <a:lnTo>
                    <a:pt x="54801" y="63365"/>
                  </a:lnTo>
                  <a:lnTo>
                    <a:pt x="39625" y="60074"/>
                  </a:lnTo>
                  <a:lnTo>
                    <a:pt x="17704" y="66657"/>
                  </a:lnTo>
                  <a:lnTo>
                    <a:pt x="7587" y="61719"/>
                  </a:lnTo>
                  <a:lnTo>
                    <a:pt x="4214" y="56782"/>
                  </a:lnTo>
                  <a:lnTo>
                    <a:pt x="5901" y="41969"/>
                  </a:lnTo>
                  <a:lnTo>
                    <a:pt x="12645" y="33740"/>
                  </a:lnTo>
                  <a:lnTo>
                    <a:pt x="32880" y="33740"/>
                  </a:lnTo>
                  <a:lnTo>
                    <a:pt x="51429" y="45261"/>
                  </a:lnTo>
                  <a:lnTo>
                    <a:pt x="63232" y="45261"/>
                  </a:lnTo>
                  <a:lnTo>
                    <a:pt x="66605" y="45261"/>
                  </a:lnTo>
                  <a:lnTo>
                    <a:pt x="71663" y="20573"/>
                  </a:lnTo>
                  <a:lnTo>
                    <a:pt x="83467" y="4114"/>
                  </a:lnTo>
                  <a:lnTo>
                    <a:pt x="90212"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2" name="Harderwijk">
              <a:extLst>
                <a:ext uri="{FF2B5EF4-FFF2-40B4-BE49-F238E27FC236}">
                  <a16:creationId xmlns:a16="http://schemas.microsoft.com/office/drawing/2014/main" id="{CB3199A9-7713-44F1-A120-A48A57E30BE1}"/>
                </a:ext>
              </a:extLst>
            </p:cNvPr>
            <p:cNvSpPr/>
            <p:nvPr/>
          </p:nvSpPr>
          <p:spPr>
            <a:xfrm>
              <a:off x="6423877" y="3068365"/>
              <a:ext cx="142002" cy="127699"/>
            </a:xfrm>
            <a:custGeom>
              <a:avLst/>
              <a:gdLst/>
              <a:ahLst/>
              <a:cxnLst/>
              <a:rect l="l" t="t" r="r" b="b"/>
              <a:pathLst>
                <a:path w="210747" h="194310" extrusionOk="0">
                  <a:moveTo>
                    <a:pt x="32880" y="46906"/>
                  </a:moveTo>
                  <a:lnTo>
                    <a:pt x="39625" y="48552"/>
                  </a:lnTo>
                  <a:lnTo>
                    <a:pt x="34566" y="50198"/>
                  </a:lnTo>
                  <a:lnTo>
                    <a:pt x="32880" y="46906"/>
                  </a:lnTo>
                  <a:close/>
                  <a:moveTo>
                    <a:pt x="27821" y="48552"/>
                  </a:moveTo>
                  <a:lnTo>
                    <a:pt x="31194" y="51844"/>
                  </a:lnTo>
                  <a:lnTo>
                    <a:pt x="41311" y="50198"/>
                  </a:lnTo>
                  <a:lnTo>
                    <a:pt x="31194" y="53490"/>
                  </a:lnTo>
                  <a:lnTo>
                    <a:pt x="27821" y="50198"/>
                  </a:lnTo>
                  <a:lnTo>
                    <a:pt x="29507" y="46906"/>
                  </a:lnTo>
                  <a:lnTo>
                    <a:pt x="27821" y="48552"/>
                  </a:lnTo>
                  <a:close/>
                  <a:moveTo>
                    <a:pt x="68291" y="46906"/>
                  </a:moveTo>
                  <a:lnTo>
                    <a:pt x="66605" y="48552"/>
                  </a:lnTo>
                  <a:lnTo>
                    <a:pt x="61546" y="45261"/>
                  </a:lnTo>
                  <a:lnTo>
                    <a:pt x="68291" y="46906"/>
                  </a:lnTo>
                  <a:close/>
                  <a:moveTo>
                    <a:pt x="80094" y="43615"/>
                  </a:moveTo>
                  <a:lnTo>
                    <a:pt x="73349" y="48552"/>
                  </a:lnTo>
                  <a:lnTo>
                    <a:pt x="75036" y="43615"/>
                  </a:lnTo>
                  <a:lnTo>
                    <a:pt x="80094" y="43615"/>
                  </a:lnTo>
                  <a:close/>
                  <a:moveTo>
                    <a:pt x="49742" y="43615"/>
                  </a:moveTo>
                  <a:lnTo>
                    <a:pt x="58173" y="53490"/>
                  </a:lnTo>
                  <a:lnTo>
                    <a:pt x="49742" y="43615"/>
                  </a:lnTo>
                  <a:lnTo>
                    <a:pt x="41311" y="48552"/>
                  </a:lnTo>
                  <a:lnTo>
                    <a:pt x="42997" y="46906"/>
                  </a:lnTo>
                  <a:lnTo>
                    <a:pt x="29507" y="46906"/>
                  </a:lnTo>
                  <a:lnTo>
                    <a:pt x="34566" y="41969"/>
                  </a:lnTo>
                  <a:lnTo>
                    <a:pt x="49742" y="43615"/>
                  </a:lnTo>
                  <a:close/>
                  <a:moveTo>
                    <a:pt x="176209" y="35385"/>
                  </a:moveTo>
                  <a:lnTo>
                    <a:pt x="193071" y="55136"/>
                  </a:lnTo>
                  <a:lnTo>
                    <a:pt x="189699" y="58427"/>
                  </a:lnTo>
                  <a:lnTo>
                    <a:pt x="189699" y="66657"/>
                  </a:lnTo>
                  <a:lnTo>
                    <a:pt x="198130" y="83116"/>
                  </a:lnTo>
                  <a:lnTo>
                    <a:pt x="199816" y="97928"/>
                  </a:lnTo>
                  <a:lnTo>
                    <a:pt x="208247" y="101220"/>
                  </a:lnTo>
                  <a:lnTo>
                    <a:pt x="211620" y="112741"/>
                  </a:lnTo>
                  <a:lnTo>
                    <a:pt x="211620" y="117678"/>
                  </a:lnTo>
                  <a:lnTo>
                    <a:pt x="201502" y="125908"/>
                  </a:lnTo>
                  <a:lnTo>
                    <a:pt x="171150" y="163763"/>
                  </a:lnTo>
                  <a:lnTo>
                    <a:pt x="159347" y="191742"/>
                  </a:lnTo>
                  <a:lnTo>
                    <a:pt x="147543" y="185159"/>
                  </a:lnTo>
                  <a:lnTo>
                    <a:pt x="128995" y="170346"/>
                  </a:lnTo>
                  <a:lnTo>
                    <a:pt x="86839" y="130845"/>
                  </a:lnTo>
                  <a:lnTo>
                    <a:pt x="76722" y="130845"/>
                  </a:lnTo>
                  <a:lnTo>
                    <a:pt x="75036" y="129200"/>
                  </a:lnTo>
                  <a:lnTo>
                    <a:pt x="53115" y="148950"/>
                  </a:lnTo>
                  <a:lnTo>
                    <a:pt x="42997" y="147304"/>
                  </a:lnTo>
                  <a:lnTo>
                    <a:pt x="44684" y="152242"/>
                  </a:lnTo>
                  <a:lnTo>
                    <a:pt x="14332" y="142367"/>
                  </a:lnTo>
                  <a:lnTo>
                    <a:pt x="4214" y="130845"/>
                  </a:lnTo>
                  <a:lnTo>
                    <a:pt x="14332" y="120970"/>
                  </a:lnTo>
                  <a:lnTo>
                    <a:pt x="31194" y="114387"/>
                  </a:lnTo>
                  <a:lnTo>
                    <a:pt x="58173" y="86407"/>
                  </a:lnTo>
                  <a:lnTo>
                    <a:pt x="61546" y="73240"/>
                  </a:lnTo>
                  <a:lnTo>
                    <a:pt x="59859" y="69949"/>
                  </a:lnTo>
                  <a:lnTo>
                    <a:pt x="63232" y="66657"/>
                  </a:lnTo>
                  <a:lnTo>
                    <a:pt x="59859" y="55136"/>
                  </a:lnTo>
                  <a:lnTo>
                    <a:pt x="69977" y="63365"/>
                  </a:lnTo>
                  <a:lnTo>
                    <a:pt x="68291" y="68303"/>
                  </a:lnTo>
                  <a:lnTo>
                    <a:pt x="71663" y="65011"/>
                  </a:lnTo>
                  <a:lnTo>
                    <a:pt x="76722" y="73240"/>
                  </a:lnTo>
                  <a:lnTo>
                    <a:pt x="69977" y="61719"/>
                  </a:lnTo>
                  <a:lnTo>
                    <a:pt x="75036" y="61719"/>
                  </a:lnTo>
                  <a:lnTo>
                    <a:pt x="81780" y="66657"/>
                  </a:lnTo>
                  <a:lnTo>
                    <a:pt x="76722" y="60074"/>
                  </a:lnTo>
                  <a:lnTo>
                    <a:pt x="69977" y="61719"/>
                  </a:lnTo>
                  <a:lnTo>
                    <a:pt x="66605" y="58427"/>
                  </a:lnTo>
                  <a:lnTo>
                    <a:pt x="68291" y="56782"/>
                  </a:lnTo>
                  <a:lnTo>
                    <a:pt x="66605" y="53490"/>
                  </a:lnTo>
                  <a:lnTo>
                    <a:pt x="68291" y="51844"/>
                  </a:lnTo>
                  <a:lnTo>
                    <a:pt x="69977" y="55136"/>
                  </a:lnTo>
                  <a:lnTo>
                    <a:pt x="75036" y="56782"/>
                  </a:lnTo>
                  <a:lnTo>
                    <a:pt x="68291" y="50198"/>
                  </a:lnTo>
                  <a:lnTo>
                    <a:pt x="69977" y="48552"/>
                  </a:lnTo>
                  <a:lnTo>
                    <a:pt x="81780" y="58427"/>
                  </a:lnTo>
                  <a:lnTo>
                    <a:pt x="85153" y="53490"/>
                  </a:lnTo>
                  <a:lnTo>
                    <a:pt x="83467" y="48552"/>
                  </a:lnTo>
                  <a:lnTo>
                    <a:pt x="88525" y="43615"/>
                  </a:lnTo>
                  <a:lnTo>
                    <a:pt x="85153" y="40323"/>
                  </a:lnTo>
                  <a:lnTo>
                    <a:pt x="90211" y="46906"/>
                  </a:lnTo>
                  <a:lnTo>
                    <a:pt x="98643" y="45261"/>
                  </a:lnTo>
                  <a:lnTo>
                    <a:pt x="102015" y="41969"/>
                  </a:lnTo>
                  <a:lnTo>
                    <a:pt x="100329" y="40323"/>
                  </a:lnTo>
                  <a:lnTo>
                    <a:pt x="91898" y="43615"/>
                  </a:lnTo>
                  <a:lnTo>
                    <a:pt x="86839" y="38677"/>
                  </a:lnTo>
                  <a:lnTo>
                    <a:pt x="91898" y="41969"/>
                  </a:lnTo>
                  <a:lnTo>
                    <a:pt x="96957" y="41969"/>
                  </a:lnTo>
                  <a:lnTo>
                    <a:pt x="98643" y="38677"/>
                  </a:lnTo>
                  <a:lnTo>
                    <a:pt x="96957" y="37031"/>
                  </a:lnTo>
                  <a:lnTo>
                    <a:pt x="100329" y="38677"/>
                  </a:lnTo>
                  <a:lnTo>
                    <a:pt x="96957" y="33740"/>
                  </a:lnTo>
                  <a:lnTo>
                    <a:pt x="95270" y="35385"/>
                  </a:lnTo>
                  <a:lnTo>
                    <a:pt x="96957" y="33740"/>
                  </a:lnTo>
                  <a:lnTo>
                    <a:pt x="102015" y="37031"/>
                  </a:lnTo>
                  <a:lnTo>
                    <a:pt x="107074" y="32094"/>
                  </a:lnTo>
                  <a:lnTo>
                    <a:pt x="113819" y="32094"/>
                  </a:lnTo>
                  <a:lnTo>
                    <a:pt x="122250" y="38677"/>
                  </a:lnTo>
                  <a:lnTo>
                    <a:pt x="140798" y="20573"/>
                  </a:lnTo>
                  <a:lnTo>
                    <a:pt x="152602" y="13989"/>
                  </a:lnTo>
                  <a:lnTo>
                    <a:pt x="159347" y="4114"/>
                  </a:lnTo>
                  <a:lnTo>
                    <a:pt x="161033" y="12343"/>
                  </a:lnTo>
                  <a:lnTo>
                    <a:pt x="176209" y="3538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3" name="Woudenberg">
              <a:extLst>
                <a:ext uri="{FF2B5EF4-FFF2-40B4-BE49-F238E27FC236}">
                  <a16:creationId xmlns:a16="http://schemas.microsoft.com/office/drawing/2014/main" id="{9B9C222A-2C66-4A92-A817-931CB3A67A20}"/>
                </a:ext>
              </a:extLst>
            </p:cNvPr>
            <p:cNvSpPr/>
            <p:nvPr/>
          </p:nvSpPr>
          <p:spPr>
            <a:xfrm>
              <a:off x="6139830" y="3489639"/>
              <a:ext cx="204056" cy="122878"/>
            </a:xfrm>
            <a:custGeom>
              <a:avLst/>
              <a:gdLst/>
              <a:ahLst/>
              <a:cxnLst/>
              <a:rect l="l" t="t" r="r" b="b"/>
              <a:pathLst>
                <a:path w="304412" h="182880" extrusionOk="0">
                  <a:moveTo>
                    <a:pt x="294245" y="10698"/>
                  </a:moveTo>
                  <a:lnTo>
                    <a:pt x="299303" y="12343"/>
                  </a:lnTo>
                  <a:lnTo>
                    <a:pt x="302676" y="20573"/>
                  </a:lnTo>
                  <a:lnTo>
                    <a:pt x="287500" y="33740"/>
                  </a:lnTo>
                  <a:lnTo>
                    <a:pt x="290872" y="61719"/>
                  </a:lnTo>
                  <a:lnTo>
                    <a:pt x="268951" y="73240"/>
                  </a:lnTo>
                  <a:lnTo>
                    <a:pt x="257148" y="88053"/>
                  </a:lnTo>
                  <a:lnTo>
                    <a:pt x="250403" y="89699"/>
                  </a:lnTo>
                  <a:lnTo>
                    <a:pt x="248717" y="94636"/>
                  </a:lnTo>
                  <a:lnTo>
                    <a:pt x="258834" y="99574"/>
                  </a:lnTo>
                  <a:lnTo>
                    <a:pt x="260520" y="106157"/>
                  </a:lnTo>
                  <a:lnTo>
                    <a:pt x="287500" y="119324"/>
                  </a:lnTo>
                  <a:lnTo>
                    <a:pt x="306048" y="114387"/>
                  </a:lnTo>
                  <a:lnTo>
                    <a:pt x="307735" y="150596"/>
                  </a:lnTo>
                  <a:lnTo>
                    <a:pt x="299303" y="150596"/>
                  </a:lnTo>
                  <a:lnTo>
                    <a:pt x="287500" y="153888"/>
                  </a:lnTo>
                  <a:lnTo>
                    <a:pt x="277383" y="160471"/>
                  </a:lnTo>
                  <a:lnTo>
                    <a:pt x="258834" y="165409"/>
                  </a:lnTo>
                  <a:lnTo>
                    <a:pt x="252089" y="170346"/>
                  </a:lnTo>
                  <a:lnTo>
                    <a:pt x="252089" y="173638"/>
                  </a:lnTo>
                  <a:lnTo>
                    <a:pt x="240286" y="167054"/>
                  </a:lnTo>
                  <a:lnTo>
                    <a:pt x="233541" y="183513"/>
                  </a:lnTo>
                  <a:lnTo>
                    <a:pt x="228482" y="178575"/>
                  </a:lnTo>
                  <a:lnTo>
                    <a:pt x="213306" y="171992"/>
                  </a:lnTo>
                  <a:lnTo>
                    <a:pt x="203189" y="155533"/>
                  </a:lnTo>
                  <a:lnTo>
                    <a:pt x="204875" y="145658"/>
                  </a:lnTo>
                  <a:lnTo>
                    <a:pt x="213306" y="144012"/>
                  </a:lnTo>
                  <a:lnTo>
                    <a:pt x="214992" y="139075"/>
                  </a:lnTo>
                  <a:lnTo>
                    <a:pt x="218365" y="117678"/>
                  </a:lnTo>
                  <a:lnTo>
                    <a:pt x="213306" y="112741"/>
                  </a:lnTo>
                  <a:lnTo>
                    <a:pt x="198130" y="114387"/>
                  </a:lnTo>
                  <a:lnTo>
                    <a:pt x="193071" y="112741"/>
                  </a:lnTo>
                  <a:lnTo>
                    <a:pt x="174523" y="120970"/>
                  </a:lnTo>
                  <a:lnTo>
                    <a:pt x="162719" y="132491"/>
                  </a:lnTo>
                  <a:lnTo>
                    <a:pt x="157661" y="127554"/>
                  </a:lnTo>
                  <a:lnTo>
                    <a:pt x="161033" y="124262"/>
                  </a:lnTo>
                  <a:lnTo>
                    <a:pt x="159347" y="120970"/>
                  </a:lnTo>
                  <a:lnTo>
                    <a:pt x="169464" y="112741"/>
                  </a:lnTo>
                  <a:lnTo>
                    <a:pt x="167778" y="106157"/>
                  </a:lnTo>
                  <a:lnTo>
                    <a:pt x="145857" y="107803"/>
                  </a:lnTo>
                  <a:lnTo>
                    <a:pt x="144171" y="106157"/>
                  </a:lnTo>
                  <a:lnTo>
                    <a:pt x="140798" y="107803"/>
                  </a:lnTo>
                  <a:lnTo>
                    <a:pt x="135740" y="99574"/>
                  </a:lnTo>
                  <a:lnTo>
                    <a:pt x="56487" y="84761"/>
                  </a:lnTo>
                  <a:lnTo>
                    <a:pt x="4214" y="55136"/>
                  </a:lnTo>
                  <a:lnTo>
                    <a:pt x="41311" y="41969"/>
                  </a:lnTo>
                  <a:lnTo>
                    <a:pt x="59860" y="55136"/>
                  </a:lnTo>
                  <a:lnTo>
                    <a:pt x="68291" y="58427"/>
                  </a:lnTo>
                  <a:lnTo>
                    <a:pt x="125622" y="69949"/>
                  </a:lnTo>
                  <a:lnTo>
                    <a:pt x="161033" y="73240"/>
                  </a:lnTo>
                  <a:lnTo>
                    <a:pt x="166092" y="37031"/>
                  </a:lnTo>
                  <a:lnTo>
                    <a:pt x="174523" y="38677"/>
                  </a:lnTo>
                  <a:lnTo>
                    <a:pt x="191385" y="55136"/>
                  </a:lnTo>
                  <a:lnTo>
                    <a:pt x="203189" y="56782"/>
                  </a:lnTo>
                  <a:lnTo>
                    <a:pt x="216678" y="46906"/>
                  </a:lnTo>
                  <a:lnTo>
                    <a:pt x="225110" y="30448"/>
                  </a:lnTo>
                  <a:lnTo>
                    <a:pt x="247030" y="33740"/>
                  </a:lnTo>
                  <a:lnTo>
                    <a:pt x="262207" y="45260"/>
                  </a:lnTo>
                  <a:lnTo>
                    <a:pt x="268951" y="43615"/>
                  </a:lnTo>
                  <a:lnTo>
                    <a:pt x="270638" y="35385"/>
                  </a:lnTo>
                  <a:lnTo>
                    <a:pt x="275696" y="35385"/>
                  </a:lnTo>
                  <a:lnTo>
                    <a:pt x="274010" y="17281"/>
                  </a:lnTo>
                  <a:lnTo>
                    <a:pt x="279069" y="4114"/>
                  </a:lnTo>
                  <a:lnTo>
                    <a:pt x="294245"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4" name="Leudal">
              <a:extLst>
                <a:ext uri="{FF2B5EF4-FFF2-40B4-BE49-F238E27FC236}">
                  <a16:creationId xmlns:a16="http://schemas.microsoft.com/office/drawing/2014/main" id="{440ECA45-5044-448B-80E5-8FE7F6051B11}"/>
                </a:ext>
              </a:extLst>
            </p:cNvPr>
            <p:cNvSpPr/>
            <p:nvPr/>
          </p:nvSpPr>
          <p:spPr>
            <a:xfrm>
              <a:off x="6607350" y="4777179"/>
              <a:ext cx="288360" cy="267601"/>
            </a:xfrm>
            <a:custGeom>
              <a:avLst/>
              <a:gdLst/>
              <a:ahLst/>
              <a:cxnLst/>
              <a:rect l="l" t="t" r="r" b="b"/>
              <a:pathLst>
                <a:path w="409785" h="400050" extrusionOk="0">
                  <a:moveTo>
                    <a:pt x="216678" y="5760"/>
                  </a:moveTo>
                  <a:lnTo>
                    <a:pt x="258834" y="25510"/>
                  </a:lnTo>
                  <a:lnTo>
                    <a:pt x="253776" y="10697"/>
                  </a:lnTo>
                  <a:lnTo>
                    <a:pt x="326283" y="41969"/>
                  </a:lnTo>
                  <a:lnTo>
                    <a:pt x="410594" y="96282"/>
                  </a:lnTo>
                  <a:lnTo>
                    <a:pt x="413967" y="111095"/>
                  </a:lnTo>
                  <a:lnTo>
                    <a:pt x="412281" y="124262"/>
                  </a:lnTo>
                  <a:lnTo>
                    <a:pt x="405536" y="135783"/>
                  </a:lnTo>
                  <a:lnTo>
                    <a:pt x="412281" y="160471"/>
                  </a:lnTo>
                  <a:lnTo>
                    <a:pt x="407222" y="191742"/>
                  </a:lnTo>
                  <a:lnTo>
                    <a:pt x="395418" y="208201"/>
                  </a:lnTo>
                  <a:lnTo>
                    <a:pt x="376870" y="218076"/>
                  </a:lnTo>
                  <a:lnTo>
                    <a:pt x="366753" y="227952"/>
                  </a:lnTo>
                  <a:lnTo>
                    <a:pt x="349890" y="255931"/>
                  </a:lnTo>
                  <a:lnTo>
                    <a:pt x="322911" y="282265"/>
                  </a:lnTo>
                  <a:lnTo>
                    <a:pt x="314480" y="275682"/>
                  </a:lnTo>
                  <a:lnTo>
                    <a:pt x="282441" y="275682"/>
                  </a:lnTo>
                  <a:lnTo>
                    <a:pt x="265579" y="262514"/>
                  </a:lnTo>
                  <a:lnTo>
                    <a:pt x="253776" y="270744"/>
                  </a:lnTo>
                  <a:lnTo>
                    <a:pt x="252089" y="269098"/>
                  </a:lnTo>
                  <a:lnTo>
                    <a:pt x="257148" y="265807"/>
                  </a:lnTo>
                  <a:lnTo>
                    <a:pt x="257148" y="259223"/>
                  </a:lnTo>
                  <a:lnTo>
                    <a:pt x="235227" y="246056"/>
                  </a:lnTo>
                  <a:lnTo>
                    <a:pt x="230168" y="250994"/>
                  </a:lnTo>
                  <a:lnTo>
                    <a:pt x="226796" y="247702"/>
                  </a:lnTo>
                  <a:lnTo>
                    <a:pt x="218365" y="252639"/>
                  </a:lnTo>
                  <a:lnTo>
                    <a:pt x="209934" y="262514"/>
                  </a:lnTo>
                  <a:lnTo>
                    <a:pt x="201503" y="277327"/>
                  </a:lnTo>
                  <a:lnTo>
                    <a:pt x="199816" y="285557"/>
                  </a:lnTo>
                  <a:lnTo>
                    <a:pt x="194758" y="292140"/>
                  </a:lnTo>
                  <a:lnTo>
                    <a:pt x="194758" y="297077"/>
                  </a:lnTo>
                  <a:lnTo>
                    <a:pt x="203189" y="306953"/>
                  </a:lnTo>
                  <a:lnTo>
                    <a:pt x="162719" y="334933"/>
                  </a:lnTo>
                  <a:lnTo>
                    <a:pt x="169464" y="346453"/>
                  </a:lnTo>
                  <a:lnTo>
                    <a:pt x="159347" y="336579"/>
                  </a:lnTo>
                  <a:lnTo>
                    <a:pt x="130681" y="356328"/>
                  </a:lnTo>
                  <a:lnTo>
                    <a:pt x="128995" y="366203"/>
                  </a:lnTo>
                  <a:lnTo>
                    <a:pt x="125622" y="362912"/>
                  </a:lnTo>
                  <a:lnTo>
                    <a:pt x="113819" y="374433"/>
                  </a:lnTo>
                  <a:lnTo>
                    <a:pt x="112133" y="384308"/>
                  </a:lnTo>
                  <a:lnTo>
                    <a:pt x="96957" y="376079"/>
                  </a:lnTo>
                  <a:lnTo>
                    <a:pt x="91898" y="379371"/>
                  </a:lnTo>
                  <a:lnTo>
                    <a:pt x="91898" y="384308"/>
                  </a:lnTo>
                  <a:lnTo>
                    <a:pt x="86839" y="387600"/>
                  </a:lnTo>
                  <a:lnTo>
                    <a:pt x="76722" y="389246"/>
                  </a:lnTo>
                  <a:lnTo>
                    <a:pt x="64918" y="399121"/>
                  </a:lnTo>
                  <a:lnTo>
                    <a:pt x="54801" y="404058"/>
                  </a:lnTo>
                  <a:lnTo>
                    <a:pt x="53115" y="395829"/>
                  </a:lnTo>
                  <a:lnTo>
                    <a:pt x="49742" y="395829"/>
                  </a:lnTo>
                  <a:lnTo>
                    <a:pt x="51428" y="387600"/>
                  </a:lnTo>
                  <a:lnTo>
                    <a:pt x="56487" y="384308"/>
                  </a:lnTo>
                  <a:lnTo>
                    <a:pt x="56487" y="374433"/>
                  </a:lnTo>
                  <a:lnTo>
                    <a:pt x="51428" y="374433"/>
                  </a:lnTo>
                  <a:lnTo>
                    <a:pt x="51428" y="369496"/>
                  </a:lnTo>
                  <a:lnTo>
                    <a:pt x="48056" y="369496"/>
                  </a:lnTo>
                  <a:lnTo>
                    <a:pt x="49742" y="372787"/>
                  </a:lnTo>
                  <a:lnTo>
                    <a:pt x="42997" y="372787"/>
                  </a:lnTo>
                  <a:lnTo>
                    <a:pt x="41311" y="361266"/>
                  </a:lnTo>
                  <a:lnTo>
                    <a:pt x="56487" y="354683"/>
                  </a:lnTo>
                  <a:lnTo>
                    <a:pt x="46370" y="349745"/>
                  </a:lnTo>
                  <a:lnTo>
                    <a:pt x="53115" y="338224"/>
                  </a:lnTo>
                  <a:lnTo>
                    <a:pt x="37939" y="325057"/>
                  </a:lnTo>
                  <a:lnTo>
                    <a:pt x="19390" y="323411"/>
                  </a:lnTo>
                  <a:lnTo>
                    <a:pt x="21076" y="321766"/>
                  </a:lnTo>
                  <a:lnTo>
                    <a:pt x="4214" y="311891"/>
                  </a:lnTo>
                  <a:lnTo>
                    <a:pt x="5901" y="305307"/>
                  </a:lnTo>
                  <a:lnTo>
                    <a:pt x="4214" y="300369"/>
                  </a:lnTo>
                  <a:lnTo>
                    <a:pt x="14332" y="285557"/>
                  </a:lnTo>
                  <a:lnTo>
                    <a:pt x="16018" y="277327"/>
                  </a:lnTo>
                  <a:lnTo>
                    <a:pt x="14332" y="274035"/>
                  </a:lnTo>
                  <a:lnTo>
                    <a:pt x="19390" y="269098"/>
                  </a:lnTo>
                  <a:lnTo>
                    <a:pt x="9273" y="265807"/>
                  </a:lnTo>
                  <a:lnTo>
                    <a:pt x="10959" y="262514"/>
                  </a:lnTo>
                  <a:lnTo>
                    <a:pt x="12645" y="255931"/>
                  </a:lnTo>
                  <a:lnTo>
                    <a:pt x="21076" y="247702"/>
                  </a:lnTo>
                  <a:lnTo>
                    <a:pt x="46370" y="249347"/>
                  </a:lnTo>
                  <a:lnTo>
                    <a:pt x="49742" y="239472"/>
                  </a:lnTo>
                  <a:lnTo>
                    <a:pt x="59860" y="237827"/>
                  </a:lnTo>
                  <a:lnTo>
                    <a:pt x="73349" y="196680"/>
                  </a:lnTo>
                  <a:lnTo>
                    <a:pt x="91898" y="195034"/>
                  </a:lnTo>
                  <a:lnTo>
                    <a:pt x="100329" y="188450"/>
                  </a:lnTo>
                  <a:lnTo>
                    <a:pt x="115505" y="183513"/>
                  </a:lnTo>
                  <a:lnTo>
                    <a:pt x="142485" y="185159"/>
                  </a:lnTo>
                  <a:lnTo>
                    <a:pt x="149230" y="176930"/>
                  </a:lnTo>
                  <a:lnTo>
                    <a:pt x="157661" y="175284"/>
                  </a:lnTo>
                  <a:lnTo>
                    <a:pt x="164405" y="175284"/>
                  </a:lnTo>
                  <a:lnTo>
                    <a:pt x="167778" y="180221"/>
                  </a:lnTo>
                  <a:lnTo>
                    <a:pt x="171151" y="178575"/>
                  </a:lnTo>
                  <a:lnTo>
                    <a:pt x="174523" y="165408"/>
                  </a:lnTo>
                  <a:lnTo>
                    <a:pt x="172837" y="155533"/>
                  </a:lnTo>
                  <a:lnTo>
                    <a:pt x="164405" y="148950"/>
                  </a:lnTo>
                  <a:lnTo>
                    <a:pt x="159347" y="150595"/>
                  </a:lnTo>
                  <a:lnTo>
                    <a:pt x="139112" y="104511"/>
                  </a:lnTo>
                  <a:lnTo>
                    <a:pt x="147543" y="97928"/>
                  </a:lnTo>
                  <a:lnTo>
                    <a:pt x="145857" y="92991"/>
                  </a:lnTo>
                  <a:lnTo>
                    <a:pt x="166092" y="65011"/>
                  </a:lnTo>
                  <a:lnTo>
                    <a:pt x="181268" y="17281"/>
                  </a:lnTo>
                  <a:lnTo>
                    <a:pt x="206561" y="4114"/>
                  </a:lnTo>
                  <a:lnTo>
                    <a:pt x="216678"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5" name="Gilze en Rijen">
              <a:extLst>
                <a:ext uri="{FF2B5EF4-FFF2-40B4-BE49-F238E27FC236}">
                  <a16:creationId xmlns:a16="http://schemas.microsoft.com/office/drawing/2014/main" id="{969DC134-9A52-45D6-89C5-C0044F4FD8CF}"/>
                </a:ext>
              </a:extLst>
            </p:cNvPr>
            <p:cNvSpPr/>
            <p:nvPr/>
          </p:nvSpPr>
          <p:spPr>
            <a:xfrm>
              <a:off x="5630460" y="4289221"/>
              <a:ext cx="161801" cy="182588"/>
            </a:xfrm>
            <a:custGeom>
              <a:avLst/>
              <a:gdLst/>
              <a:ahLst/>
              <a:cxnLst/>
              <a:rect l="l" t="t" r="r" b="b"/>
              <a:pathLst>
                <a:path w="234163" h="262890" extrusionOk="0">
                  <a:moveTo>
                    <a:pt x="176209" y="18927"/>
                  </a:moveTo>
                  <a:lnTo>
                    <a:pt x="181268" y="20573"/>
                  </a:lnTo>
                  <a:lnTo>
                    <a:pt x="182954" y="15635"/>
                  </a:lnTo>
                  <a:lnTo>
                    <a:pt x="188013" y="17281"/>
                  </a:lnTo>
                  <a:lnTo>
                    <a:pt x="208247" y="28802"/>
                  </a:lnTo>
                  <a:lnTo>
                    <a:pt x="220051" y="38677"/>
                  </a:lnTo>
                  <a:lnTo>
                    <a:pt x="218365" y="50198"/>
                  </a:lnTo>
                  <a:lnTo>
                    <a:pt x="226796" y="50198"/>
                  </a:lnTo>
                  <a:lnTo>
                    <a:pt x="223423" y="88053"/>
                  </a:lnTo>
                  <a:lnTo>
                    <a:pt x="221737" y="99574"/>
                  </a:lnTo>
                  <a:lnTo>
                    <a:pt x="216679" y="107803"/>
                  </a:lnTo>
                  <a:lnTo>
                    <a:pt x="220051" y="112741"/>
                  </a:lnTo>
                  <a:lnTo>
                    <a:pt x="218365" y="119324"/>
                  </a:lnTo>
                  <a:lnTo>
                    <a:pt x="213306" y="127554"/>
                  </a:lnTo>
                  <a:lnTo>
                    <a:pt x="193071" y="139075"/>
                  </a:lnTo>
                  <a:lnTo>
                    <a:pt x="193071" y="147304"/>
                  </a:lnTo>
                  <a:lnTo>
                    <a:pt x="196444" y="163763"/>
                  </a:lnTo>
                  <a:lnTo>
                    <a:pt x="218365" y="167054"/>
                  </a:lnTo>
                  <a:lnTo>
                    <a:pt x="236913" y="178575"/>
                  </a:lnTo>
                  <a:lnTo>
                    <a:pt x="228482" y="190096"/>
                  </a:lnTo>
                  <a:lnTo>
                    <a:pt x="199816" y="241118"/>
                  </a:lnTo>
                  <a:lnTo>
                    <a:pt x="130681" y="260869"/>
                  </a:lnTo>
                  <a:lnTo>
                    <a:pt x="61546" y="193388"/>
                  </a:lnTo>
                  <a:lnTo>
                    <a:pt x="42997" y="203264"/>
                  </a:lnTo>
                  <a:lnTo>
                    <a:pt x="27821" y="203264"/>
                  </a:lnTo>
                  <a:lnTo>
                    <a:pt x="27821" y="216430"/>
                  </a:lnTo>
                  <a:lnTo>
                    <a:pt x="22763" y="219722"/>
                  </a:lnTo>
                  <a:lnTo>
                    <a:pt x="4214" y="216430"/>
                  </a:lnTo>
                  <a:lnTo>
                    <a:pt x="4214" y="213138"/>
                  </a:lnTo>
                  <a:lnTo>
                    <a:pt x="7587" y="213138"/>
                  </a:lnTo>
                  <a:lnTo>
                    <a:pt x="16018" y="204909"/>
                  </a:lnTo>
                  <a:lnTo>
                    <a:pt x="16018" y="201617"/>
                  </a:lnTo>
                  <a:lnTo>
                    <a:pt x="12645" y="199972"/>
                  </a:lnTo>
                  <a:lnTo>
                    <a:pt x="12645" y="191742"/>
                  </a:lnTo>
                  <a:lnTo>
                    <a:pt x="34566" y="180221"/>
                  </a:lnTo>
                  <a:lnTo>
                    <a:pt x="58173" y="158825"/>
                  </a:lnTo>
                  <a:lnTo>
                    <a:pt x="56487" y="144012"/>
                  </a:lnTo>
                  <a:lnTo>
                    <a:pt x="58173" y="140720"/>
                  </a:lnTo>
                  <a:lnTo>
                    <a:pt x="63232" y="142367"/>
                  </a:lnTo>
                  <a:lnTo>
                    <a:pt x="66604" y="135783"/>
                  </a:lnTo>
                  <a:lnTo>
                    <a:pt x="63232" y="127554"/>
                  </a:lnTo>
                  <a:lnTo>
                    <a:pt x="66604" y="127554"/>
                  </a:lnTo>
                  <a:lnTo>
                    <a:pt x="64918" y="122616"/>
                  </a:lnTo>
                  <a:lnTo>
                    <a:pt x="69977" y="122616"/>
                  </a:lnTo>
                  <a:lnTo>
                    <a:pt x="68291" y="114387"/>
                  </a:lnTo>
                  <a:lnTo>
                    <a:pt x="59860" y="111095"/>
                  </a:lnTo>
                  <a:lnTo>
                    <a:pt x="63232" y="104512"/>
                  </a:lnTo>
                  <a:lnTo>
                    <a:pt x="59860" y="104512"/>
                  </a:lnTo>
                  <a:lnTo>
                    <a:pt x="58173" y="92991"/>
                  </a:lnTo>
                  <a:lnTo>
                    <a:pt x="66604" y="94636"/>
                  </a:lnTo>
                  <a:lnTo>
                    <a:pt x="64918" y="89699"/>
                  </a:lnTo>
                  <a:lnTo>
                    <a:pt x="135740" y="48552"/>
                  </a:lnTo>
                  <a:lnTo>
                    <a:pt x="132367" y="43615"/>
                  </a:lnTo>
                  <a:lnTo>
                    <a:pt x="139112" y="43615"/>
                  </a:lnTo>
                  <a:lnTo>
                    <a:pt x="142485" y="40323"/>
                  </a:lnTo>
                  <a:lnTo>
                    <a:pt x="140798" y="23864"/>
                  </a:lnTo>
                  <a:lnTo>
                    <a:pt x="132367" y="5760"/>
                  </a:lnTo>
                  <a:lnTo>
                    <a:pt x="142485" y="4114"/>
                  </a:lnTo>
                  <a:lnTo>
                    <a:pt x="155974" y="12343"/>
                  </a:lnTo>
                  <a:lnTo>
                    <a:pt x="176209"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6" name="Schiedam">
              <a:extLst>
                <a:ext uri="{FF2B5EF4-FFF2-40B4-BE49-F238E27FC236}">
                  <a16:creationId xmlns:a16="http://schemas.microsoft.com/office/drawing/2014/main" id="{7DFADF1C-0752-4C9A-8885-B0597D78CDFF}"/>
                </a:ext>
              </a:extLst>
            </p:cNvPr>
            <p:cNvSpPr/>
            <p:nvPr/>
          </p:nvSpPr>
          <p:spPr>
            <a:xfrm>
              <a:off x="5131766" y="3728320"/>
              <a:ext cx="71954" cy="103946"/>
            </a:xfrm>
            <a:custGeom>
              <a:avLst/>
              <a:gdLst/>
              <a:ahLst/>
              <a:cxnLst/>
              <a:rect l="l" t="t" r="r" b="b"/>
              <a:pathLst>
                <a:path w="105373" h="160020" extrusionOk="0">
                  <a:moveTo>
                    <a:pt x="48056" y="4114"/>
                  </a:moveTo>
                  <a:lnTo>
                    <a:pt x="61546" y="46906"/>
                  </a:lnTo>
                  <a:lnTo>
                    <a:pt x="71663" y="43615"/>
                  </a:lnTo>
                  <a:lnTo>
                    <a:pt x="68291" y="50198"/>
                  </a:lnTo>
                  <a:lnTo>
                    <a:pt x="85153" y="68303"/>
                  </a:lnTo>
                  <a:lnTo>
                    <a:pt x="91898" y="65011"/>
                  </a:lnTo>
                  <a:lnTo>
                    <a:pt x="95270" y="65011"/>
                  </a:lnTo>
                  <a:lnTo>
                    <a:pt x="102015" y="60074"/>
                  </a:lnTo>
                  <a:lnTo>
                    <a:pt x="105388" y="65011"/>
                  </a:lnTo>
                  <a:lnTo>
                    <a:pt x="93584" y="69949"/>
                  </a:lnTo>
                  <a:lnTo>
                    <a:pt x="91898" y="81470"/>
                  </a:lnTo>
                  <a:lnTo>
                    <a:pt x="102015" y="102866"/>
                  </a:lnTo>
                  <a:lnTo>
                    <a:pt x="103701" y="102866"/>
                  </a:lnTo>
                  <a:lnTo>
                    <a:pt x="102015" y="122616"/>
                  </a:lnTo>
                  <a:lnTo>
                    <a:pt x="91898" y="129200"/>
                  </a:lnTo>
                  <a:lnTo>
                    <a:pt x="102015" y="145658"/>
                  </a:lnTo>
                  <a:lnTo>
                    <a:pt x="96956" y="152242"/>
                  </a:lnTo>
                  <a:lnTo>
                    <a:pt x="98643" y="155534"/>
                  </a:lnTo>
                  <a:lnTo>
                    <a:pt x="71663" y="165409"/>
                  </a:lnTo>
                  <a:lnTo>
                    <a:pt x="58173" y="165409"/>
                  </a:lnTo>
                  <a:lnTo>
                    <a:pt x="32880" y="158825"/>
                  </a:lnTo>
                  <a:lnTo>
                    <a:pt x="26135" y="104512"/>
                  </a:lnTo>
                  <a:lnTo>
                    <a:pt x="21076" y="97928"/>
                  </a:lnTo>
                  <a:lnTo>
                    <a:pt x="19390" y="92991"/>
                  </a:lnTo>
                  <a:lnTo>
                    <a:pt x="22763" y="89699"/>
                  </a:lnTo>
                  <a:lnTo>
                    <a:pt x="21076" y="73240"/>
                  </a:lnTo>
                  <a:lnTo>
                    <a:pt x="4214" y="32094"/>
                  </a:lnTo>
                  <a:lnTo>
                    <a:pt x="29507" y="23864"/>
                  </a:lnTo>
                  <a:lnTo>
                    <a:pt x="24449" y="10698"/>
                  </a:lnTo>
                  <a:lnTo>
                    <a:pt x="4805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7" name="Mill en Sint Hubert">
              <a:extLst>
                <a:ext uri="{FF2B5EF4-FFF2-40B4-BE49-F238E27FC236}">
                  <a16:creationId xmlns:a16="http://schemas.microsoft.com/office/drawing/2014/main" id="{75F7865F-6AB1-4A39-8DC2-8445F6928657}"/>
                </a:ext>
              </a:extLst>
            </p:cNvPr>
            <p:cNvSpPr/>
            <p:nvPr/>
          </p:nvSpPr>
          <p:spPr>
            <a:xfrm>
              <a:off x="6560100" y="4113958"/>
              <a:ext cx="158538" cy="156094"/>
            </a:xfrm>
            <a:custGeom>
              <a:avLst/>
              <a:gdLst/>
              <a:ahLst/>
              <a:cxnLst/>
              <a:rect l="l" t="t" r="r" b="b"/>
              <a:pathLst>
                <a:path w="222455" h="228600" extrusionOk="0">
                  <a:moveTo>
                    <a:pt x="24449" y="4114"/>
                  </a:moveTo>
                  <a:lnTo>
                    <a:pt x="29507" y="4114"/>
                  </a:lnTo>
                  <a:lnTo>
                    <a:pt x="29507" y="5760"/>
                  </a:lnTo>
                  <a:lnTo>
                    <a:pt x="49742" y="18927"/>
                  </a:lnTo>
                  <a:lnTo>
                    <a:pt x="54801" y="10698"/>
                  </a:lnTo>
                  <a:lnTo>
                    <a:pt x="71663" y="15635"/>
                  </a:lnTo>
                  <a:lnTo>
                    <a:pt x="78408" y="23864"/>
                  </a:lnTo>
                  <a:lnTo>
                    <a:pt x="85153" y="12343"/>
                  </a:lnTo>
                  <a:lnTo>
                    <a:pt x="91898" y="13989"/>
                  </a:lnTo>
                  <a:lnTo>
                    <a:pt x="100329" y="10698"/>
                  </a:lnTo>
                  <a:lnTo>
                    <a:pt x="105388" y="12343"/>
                  </a:lnTo>
                  <a:lnTo>
                    <a:pt x="110446" y="10698"/>
                  </a:lnTo>
                  <a:lnTo>
                    <a:pt x="135740" y="22219"/>
                  </a:lnTo>
                  <a:lnTo>
                    <a:pt x="139112" y="17281"/>
                  </a:lnTo>
                  <a:lnTo>
                    <a:pt x="147543" y="17281"/>
                  </a:lnTo>
                  <a:lnTo>
                    <a:pt x="147543" y="41969"/>
                  </a:lnTo>
                  <a:lnTo>
                    <a:pt x="140798" y="45261"/>
                  </a:lnTo>
                  <a:lnTo>
                    <a:pt x="162719" y="53490"/>
                  </a:lnTo>
                  <a:lnTo>
                    <a:pt x="157661" y="58427"/>
                  </a:lnTo>
                  <a:lnTo>
                    <a:pt x="166092" y="65011"/>
                  </a:lnTo>
                  <a:lnTo>
                    <a:pt x="182954" y="63365"/>
                  </a:lnTo>
                  <a:lnTo>
                    <a:pt x="193071" y="66657"/>
                  </a:lnTo>
                  <a:lnTo>
                    <a:pt x="225110" y="114387"/>
                  </a:lnTo>
                  <a:lnTo>
                    <a:pt x="204875" y="129200"/>
                  </a:lnTo>
                  <a:lnTo>
                    <a:pt x="196444" y="140721"/>
                  </a:lnTo>
                  <a:lnTo>
                    <a:pt x="198130" y="142367"/>
                  </a:lnTo>
                  <a:lnTo>
                    <a:pt x="194757" y="145658"/>
                  </a:lnTo>
                  <a:lnTo>
                    <a:pt x="193071" y="144012"/>
                  </a:lnTo>
                  <a:lnTo>
                    <a:pt x="181268" y="150596"/>
                  </a:lnTo>
                  <a:lnTo>
                    <a:pt x="177895" y="147304"/>
                  </a:lnTo>
                  <a:lnTo>
                    <a:pt x="174523" y="148950"/>
                  </a:lnTo>
                  <a:lnTo>
                    <a:pt x="169464" y="160471"/>
                  </a:lnTo>
                  <a:lnTo>
                    <a:pt x="157661" y="160471"/>
                  </a:lnTo>
                  <a:lnTo>
                    <a:pt x="144171" y="186805"/>
                  </a:lnTo>
                  <a:lnTo>
                    <a:pt x="78408" y="229597"/>
                  </a:lnTo>
                  <a:lnTo>
                    <a:pt x="58173" y="120970"/>
                  </a:lnTo>
                  <a:lnTo>
                    <a:pt x="4214" y="38677"/>
                  </a:lnTo>
                  <a:lnTo>
                    <a:pt x="12645" y="13989"/>
                  </a:lnTo>
                  <a:lnTo>
                    <a:pt x="19390" y="4114"/>
                  </a:lnTo>
                  <a:lnTo>
                    <a:pt x="2444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8" name="Bunschoten">
              <a:extLst>
                <a:ext uri="{FF2B5EF4-FFF2-40B4-BE49-F238E27FC236}">
                  <a16:creationId xmlns:a16="http://schemas.microsoft.com/office/drawing/2014/main" id="{B09A2461-9B8C-4AD2-AF78-D31EAE93422A}"/>
                </a:ext>
              </a:extLst>
            </p:cNvPr>
            <p:cNvSpPr/>
            <p:nvPr/>
          </p:nvSpPr>
          <p:spPr>
            <a:xfrm>
              <a:off x="6146781" y="3236281"/>
              <a:ext cx="101653" cy="118290"/>
            </a:xfrm>
            <a:custGeom>
              <a:avLst/>
              <a:gdLst/>
              <a:ahLst/>
              <a:cxnLst/>
              <a:rect l="l" t="t" r="r" b="b"/>
              <a:pathLst>
                <a:path w="140498" h="171450" extrusionOk="0">
                  <a:moveTo>
                    <a:pt x="118878" y="48552"/>
                  </a:moveTo>
                  <a:lnTo>
                    <a:pt x="115505" y="45261"/>
                  </a:lnTo>
                  <a:lnTo>
                    <a:pt x="117191" y="45261"/>
                  </a:lnTo>
                  <a:lnTo>
                    <a:pt x="118878" y="48552"/>
                  </a:lnTo>
                  <a:close/>
                  <a:moveTo>
                    <a:pt x="37939" y="4114"/>
                  </a:moveTo>
                  <a:lnTo>
                    <a:pt x="48056" y="12344"/>
                  </a:lnTo>
                  <a:lnTo>
                    <a:pt x="51428" y="12344"/>
                  </a:lnTo>
                  <a:lnTo>
                    <a:pt x="61546" y="15635"/>
                  </a:lnTo>
                  <a:lnTo>
                    <a:pt x="76722" y="13989"/>
                  </a:lnTo>
                  <a:lnTo>
                    <a:pt x="78408" y="17281"/>
                  </a:lnTo>
                  <a:lnTo>
                    <a:pt x="76722" y="20573"/>
                  </a:lnTo>
                  <a:lnTo>
                    <a:pt x="80094" y="17281"/>
                  </a:lnTo>
                  <a:lnTo>
                    <a:pt x="85153" y="17281"/>
                  </a:lnTo>
                  <a:lnTo>
                    <a:pt x="96957" y="28802"/>
                  </a:lnTo>
                  <a:lnTo>
                    <a:pt x="95270" y="30448"/>
                  </a:lnTo>
                  <a:lnTo>
                    <a:pt x="98643" y="35386"/>
                  </a:lnTo>
                  <a:lnTo>
                    <a:pt x="100329" y="33740"/>
                  </a:lnTo>
                  <a:lnTo>
                    <a:pt x="96957" y="30448"/>
                  </a:lnTo>
                  <a:lnTo>
                    <a:pt x="107074" y="40323"/>
                  </a:lnTo>
                  <a:lnTo>
                    <a:pt x="112133" y="41969"/>
                  </a:lnTo>
                  <a:lnTo>
                    <a:pt x="113819" y="40323"/>
                  </a:lnTo>
                  <a:lnTo>
                    <a:pt x="115505" y="45261"/>
                  </a:lnTo>
                  <a:lnTo>
                    <a:pt x="113819" y="46907"/>
                  </a:lnTo>
                  <a:lnTo>
                    <a:pt x="118878" y="48552"/>
                  </a:lnTo>
                  <a:lnTo>
                    <a:pt x="118878" y="53490"/>
                  </a:lnTo>
                  <a:lnTo>
                    <a:pt x="145857" y="69949"/>
                  </a:lnTo>
                  <a:lnTo>
                    <a:pt x="130681" y="132492"/>
                  </a:lnTo>
                  <a:lnTo>
                    <a:pt x="134053" y="135783"/>
                  </a:lnTo>
                  <a:lnTo>
                    <a:pt x="128995" y="168700"/>
                  </a:lnTo>
                  <a:lnTo>
                    <a:pt x="93584" y="162117"/>
                  </a:lnTo>
                  <a:lnTo>
                    <a:pt x="86839" y="158825"/>
                  </a:lnTo>
                  <a:lnTo>
                    <a:pt x="76722" y="158825"/>
                  </a:lnTo>
                  <a:lnTo>
                    <a:pt x="34566" y="147304"/>
                  </a:lnTo>
                  <a:lnTo>
                    <a:pt x="41311" y="134137"/>
                  </a:lnTo>
                  <a:lnTo>
                    <a:pt x="42997" y="112741"/>
                  </a:lnTo>
                  <a:lnTo>
                    <a:pt x="7587" y="102866"/>
                  </a:lnTo>
                  <a:lnTo>
                    <a:pt x="9273" y="97928"/>
                  </a:lnTo>
                  <a:lnTo>
                    <a:pt x="4214" y="69949"/>
                  </a:lnTo>
                  <a:lnTo>
                    <a:pt x="10959" y="56782"/>
                  </a:lnTo>
                  <a:lnTo>
                    <a:pt x="26135" y="55136"/>
                  </a:lnTo>
                  <a:lnTo>
                    <a:pt x="32880" y="48552"/>
                  </a:lnTo>
                  <a:lnTo>
                    <a:pt x="31194" y="45261"/>
                  </a:lnTo>
                  <a:lnTo>
                    <a:pt x="24449" y="35386"/>
                  </a:lnTo>
                  <a:lnTo>
                    <a:pt x="22763" y="30448"/>
                  </a:lnTo>
                  <a:lnTo>
                    <a:pt x="29508" y="22219"/>
                  </a:lnTo>
                  <a:lnTo>
                    <a:pt x="3793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89" name="Heumen">
              <a:extLst>
                <a:ext uri="{FF2B5EF4-FFF2-40B4-BE49-F238E27FC236}">
                  <a16:creationId xmlns:a16="http://schemas.microsoft.com/office/drawing/2014/main" id="{A77B0331-3D4E-4D70-A25E-2503CDC54358}"/>
                </a:ext>
              </a:extLst>
            </p:cNvPr>
            <p:cNvSpPr/>
            <p:nvPr/>
          </p:nvSpPr>
          <p:spPr>
            <a:xfrm>
              <a:off x="6591189" y="3977889"/>
              <a:ext cx="176808" cy="99418"/>
            </a:xfrm>
            <a:custGeom>
              <a:avLst/>
              <a:gdLst/>
              <a:ahLst/>
              <a:cxnLst/>
              <a:rect l="l" t="t" r="r" b="b"/>
              <a:pathLst>
                <a:path w="257579" h="137160" extrusionOk="0">
                  <a:moveTo>
                    <a:pt x="216678" y="4114"/>
                  </a:moveTo>
                  <a:lnTo>
                    <a:pt x="233541" y="5760"/>
                  </a:lnTo>
                  <a:lnTo>
                    <a:pt x="235227" y="23864"/>
                  </a:lnTo>
                  <a:lnTo>
                    <a:pt x="245344" y="38677"/>
                  </a:lnTo>
                  <a:lnTo>
                    <a:pt x="247030" y="68303"/>
                  </a:lnTo>
                  <a:lnTo>
                    <a:pt x="255462" y="81470"/>
                  </a:lnTo>
                  <a:lnTo>
                    <a:pt x="245344" y="79824"/>
                  </a:lnTo>
                  <a:lnTo>
                    <a:pt x="216678" y="88053"/>
                  </a:lnTo>
                  <a:lnTo>
                    <a:pt x="214992" y="101220"/>
                  </a:lnTo>
                  <a:lnTo>
                    <a:pt x="218365" y="117679"/>
                  </a:lnTo>
                  <a:lnTo>
                    <a:pt x="211620" y="130845"/>
                  </a:lnTo>
                  <a:lnTo>
                    <a:pt x="186326" y="127554"/>
                  </a:lnTo>
                  <a:lnTo>
                    <a:pt x="123936" y="134137"/>
                  </a:lnTo>
                  <a:lnTo>
                    <a:pt x="83467" y="144012"/>
                  </a:lnTo>
                  <a:lnTo>
                    <a:pt x="61546" y="144012"/>
                  </a:lnTo>
                  <a:lnTo>
                    <a:pt x="42997" y="137429"/>
                  </a:lnTo>
                  <a:lnTo>
                    <a:pt x="29507" y="129199"/>
                  </a:lnTo>
                  <a:lnTo>
                    <a:pt x="12645" y="101220"/>
                  </a:lnTo>
                  <a:lnTo>
                    <a:pt x="4214" y="94637"/>
                  </a:lnTo>
                  <a:lnTo>
                    <a:pt x="10959" y="78178"/>
                  </a:lnTo>
                  <a:lnTo>
                    <a:pt x="21076" y="83115"/>
                  </a:lnTo>
                  <a:lnTo>
                    <a:pt x="21076" y="79824"/>
                  </a:lnTo>
                  <a:lnTo>
                    <a:pt x="27821" y="81470"/>
                  </a:lnTo>
                  <a:lnTo>
                    <a:pt x="64918" y="71595"/>
                  </a:lnTo>
                  <a:lnTo>
                    <a:pt x="64918" y="65011"/>
                  </a:lnTo>
                  <a:lnTo>
                    <a:pt x="73349" y="68303"/>
                  </a:lnTo>
                  <a:lnTo>
                    <a:pt x="81780" y="66657"/>
                  </a:lnTo>
                  <a:lnTo>
                    <a:pt x="113819" y="40323"/>
                  </a:lnTo>
                  <a:lnTo>
                    <a:pt x="127309" y="51844"/>
                  </a:lnTo>
                  <a:lnTo>
                    <a:pt x="154288" y="30448"/>
                  </a:lnTo>
                  <a:lnTo>
                    <a:pt x="150916" y="28802"/>
                  </a:lnTo>
                  <a:lnTo>
                    <a:pt x="167778" y="13989"/>
                  </a:lnTo>
                  <a:lnTo>
                    <a:pt x="171150" y="17281"/>
                  </a:lnTo>
                  <a:lnTo>
                    <a:pt x="176209" y="10698"/>
                  </a:lnTo>
                  <a:lnTo>
                    <a:pt x="186326" y="9052"/>
                  </a:lnTo>
                  <a:lnTo>
                    <a:pt x="193071" y="10698"/>
                  </a:lnTo>
                  <a:lnTo>
                    <a:pt x="21667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0" name="Wormerland">
              <a:extLst>
                <a:ext uri="{FF2B5EF4-FFF2-40B4-BE49-F238E27FC236}">
                  <a16:creationId xmlns:a16="http://schemas.microsoft.com/office/drawing/2014/main" id="{CFA9CFD2-74FE-4220-8ACF-D8F9261181F1}"/>
                </a:ext>
              </a:extLst>
            </p:cNvPr>
            <p:cNvSpPr/>
            <p:nvPr/>
          </p:nvSpPr>
          <p:spPr>
            <a:xfrm>
              <a:off x="5603580" y="2803010"/>
              <a:ext cx="151901" cy="122878"/>
            </a:xfrm>
            <a:custGeom>
              <a:avLst/>
              <a:gdLst/>
              <a:ahLst/>
              <a:cxnLst/>
              <a:rect l="l" t="t" r="r" b="b"/>
              <a:pathLst>
                <a:path w="222455" h="182880" extrusionOk="0">
                  <a:moveTo>
                    <a:pt x="71663" y="12343"/>
                  </a:moveTo>
                  <a:lnTo>
                    <a:pt x="78408" y="33739"/>
                  </a:lnTo>
                  <a:lnTo>
                    <a:pt x="93584" y="45261"/>
                  </a:lnTo>
                  <a:lnTo>
                    <a:pt x="110446" y="46906"/>
                  </a:lnTo>
                  <a:lnTo>
                    <a:pt x="134053" y="58427"/>
                  </a:lnTo>
                  <a:lnTo>
                    <a:pt x="162719" y="65011"/>
                  </a:lnTo>
                  <a:lnTo>
                    <a:pt x="186326" y="66657"/>
                  </a:lnTo>
                  <a:lnTo>
                    <a:pt x="204875" y="79824"/>
                  </a:lnTo>
                  <a:lnTo>
                    <a:pt x="214992" y="81470"/>
                  </a:lnTo>
                  <a:lnTo>
                    <a:pt x="223423" y="79824"/>
                  </a:lnTo>
                  <a:lnTo>
                    <a:pt x="223423" y="83115"/>
                  </a:lnTo>
                  <a:lnTo>
                    <a:pt x="209933" y="94636"/>
                  </a:lnTo>
                  <a:lnTo>
                    <a:pt x="211620" y="107803"/>
                  </a:lnTo>
                  <a:lnTo>
                    <a:pt x="206561" y="127554"/>
                  </a:lnTo>
                  <a:lnTo>
                    <a:pt x="194758" y="140721"/>
                  </a:lnTo>
                  <a:lnTo>
                    <a:pt x="182954" y="148950"/>
                  </a:lnTo>
                  <a:lnTo>
                    <a:pt x="181268" y="155533"/>
                  </a:lnTo>
                  <a:lnTo>
                    <a:pt x="164406" y="160471"/>
                  </a:lnTo>
                  <a:lnTo>
                    <a:pt x="155974" y="158825"/>
                  </a:lnTo>
                  <a:lnTo>
                    <a:pt x="144171" y="168700"/>
                  </a:lnTo>
                  <a:lnTo>
                    <a:pt x="112133" y="183513"/>
                  </a:lnTo>
                  <a:lnTo>
                    <a:pt x="83467" y="173638"/>
                  </a:lnTo>
                  <a:lnTo>
                    <a:pt x="76722" y="162117"/>
                  </a:lnTo>
                  <a:lnTo>
                    <a:pt x="76722" y="155533"/>
                  </a:lnTo>
                  <a:lnTo>
                    <a:pt x="44684" y="148950"/>
                  </a:lnTo>
                  <a:lnTo>
                    <a:pt x="17704" y="127554"/>
                  </a:lnTo>
                  <a:lnTo>
                    <a:pt x="7587" y="127554"/>
                  </a:lnTo>
                  <a:lnTo>
                    <a:pt x="12645" y="116033"/>
                  </a:lnTo>
                  <a:lnTo>
                    <a:pt x="12645" y="99574"/>
                  </a:lnTo>
                  <a:lnTo>
                    <a:pt x="10959" y="89699"/>
                  </a:lnTo>
                  <a:lnTo>
                    <a:pt x="4214" y="78178"/>
                  </a:lnTo>
                  <a:lnTo>
                    <a:pt x="4214" y="60073"/>
                  </a:lnTo>
                  <a:lnTo>
                    <a:pt x="9273" y="58427"/>
                  </a:lnTo>
                  <a:lnTo>
                    <a:pt x="17704" y="46906"/>
                  </a:lnTo>
                  <a:lnTo>
                    <a:pt x="27821" y="45261"/>
                  </a:lnTo>
                  <a:lnTo>
                    <a:pt x="37939" y="33739"/>
                  </a:lnTo>
                  <a:lnTo>
                    <a:pt x="53115" y="28802"/>
                  </a:lnTo>
                  <a:lnTo>
                    <a:pt x="58173" y="25510"/>
                  </a:lnTo>
                  <a:lnTo>
                    <a:pt x="46370" y="20573"/>
                  </a:lnTo>
                  <a:lnTo>
                    <a:pt x="58173" y="4114"/>
                  </a:lnTo>
                  <a:lnTo>
                    <a:pt x="71663"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1" name="Ouder-Amstel">
              <a:extLst>
                <a:ext uri="{FF2B5EF4-FFF2-40B4-BE49-F238E27FC236}">
                  <a16:creationId xmlns:a16="http://schemas.microsoft.com/office/drawing/2014/main" id="{00EB57D7-71B5-4A84-B932-14C863A5D01C}"/>
                </a:ext>
              </a:extLst>
            </p:cNvPr>
            <p:cNvSpPr/>
            <p:nvPr/>
          </p:nvSpPr>
          <p:spPr>
            <a:xfrm>
              <a:off x="5686085" y="3133668"/>
              <a:ext cx="89848" cy="141750"/>
            </a:xfrm>
            <a:custGeom>
              <a:avLst/>
              <a:gdLst/>
              <a:ahLst/>
              <a:cxnLst/>
              <a:rect l="l" t="t" r="r" b="b"/>
              <a:pathLst>
                <a:path w="128789" h="217170" extrusionOk="0">
                  <a:moveTo>
                    <a:pt x="125622" y="9052"/>
                  </a:moveTo>
                  <a:lnTo>
                    <a:pt x="120563" y="15635"/>
                  </a:lnTo>
                  <a:lnTo>
                    <a:pt x="123936" y="20573"/>
                  </a:lnTo>
                  <a:lnTo>
                    <a:pt x="115505" y="25510"/>
                  </a:lnTo>
                  <a:lnTo>
                    <a:pt x="118877" y="32094"/>
                  </a:lnTo>
                  <a:lnTo>
                    <a:pt x="108760" y="38677"/>
                  </a:lnTo>
                  <a:lnTo>
                    <a:pt x="112132" y="50198"/>
                  </a:lnTo>
                  <a:lnTo>
                    <a:pt x="108760" y="56782"/>
                  </a:lnTo>
                  <a:lnTo>
                    <a:pt x="108760" y="60074"/>
                  </a:lnTo>
                  <a:lnTo>
                    <a:pt x="103701" y="63365"/>
                  </a:lnTo>
                  <a:lnTo>
                    <a:pt x="105388" y="66657"/>
                  </a:lnTo>
                  <a:lnTo>
                    <a:pt x="95270" y="76532"/>
                  </a:lnTo>
                  <a:lnTo>
                    <a:pt x="134053" y="148950"/>
                  </a:lnTo>
                  <a:lnTo>
                    <a:pt x="120563" y="147304"/>
                  </a:lnTo>
                  <a:lnTo>
                    <a:pt x="113819" y="148950"/>
                  </a:lnTo>
                  <a:lnTo>
                    <a:pt x="100329" y="142367"/>
                  </a:lnTo>
                  <a:lnTo>
                    <a:pt x="90211" y="145658"/>
                  </a:lnTo>
                  <a:lnTo>
                    <a:pt x="90211" y="163763"/>
                  </a:lnTo>
                  <a:lnTo>
                    <a:pt x="93584" y="173638"/>
                  </a:lnTo>
                  <a:lnTo>
                    <a:pt x="86839" y="176930"/>
                  </a:lnTo>
                  <a:lnTo>
                    <a:pt x="85153" y="185159"/>
                  </a:lnTo>
                  <a:lnTo>
                    <a:pt x="76722" y="188451"/>
                  </a:lnTo>
                  <a:lnTo>
                    <a:pt x="76722" y="199972"/>
                  </a:lnTo>
                  <a:lnTo>
                    <a:pt x="64918" y="211493"/>
                  </a:lnTo>
                  <a:lnTo>
                    <a:pt x="53115" y="209847"/>
                  </a:lnTo>
                  <a:lnTo>
                    <a:pt x="46370" y="214785"/>
                  </a:lnTo>
                  <a:lnTo>
                    <a:pt x="36252" y="209847"/>
                  </a:lnTo>
                  <a:lnTo>
                    <a:pt x="29507" y="214785"/>
                  </a:lnTo>
                  <a:lnTo>
                    <a:pt x="22763" y="208201"/>
                  </a:lnTo>
                  <a:lnTo>
                    <a:pt x="7586" y="214785"/>
                  </a:lnTo>
                  <a:lnTo>
                    <a:pt x="4214" y="208201"/>
                  </a:lnTo>
                  <a:lnTo>
                    <a:pt x="9273" y="196680"/>
                  </a:lnTo>
                  <a:lnTo>
                    <a:pt x="9273" y="191742"/>
                  </a:lnTo>
                  <a:lnTo>
                    <a:pt x="17704" y="188451"/>
                  </a:lnTo>
                  <a:lnTo>
                    <a:pt x="22763" y="181867"/>
                  </a:lnTo>
                  <a:lnTo>
                    <a:pt x="17704" y="175284"/>
                  </a:lnTo>
                  <a:lnTo>
                    <a:pt x="21076" y="157179"/>
                  </a:lnTo>
                  <a:lnTo>
                    <a:pt x="17704" y="145658"/>
                  </a:lnTo>
                  <a:lnTo>
                    <a:pt x="27821" y="129200"/>
                  </a:lnTo>
                  <a:lnTo>
                    <a:pt x="34566" y="125908"/>
                  </a:lnTo>
                  <a:lnTo>
                    <a:pt x="29507" y="120971"/>
                  </a:lnTo>
                  <a:lnTo>
                    <a:pt x="36252" y="117679"/>
                  </a:lnTo>
                  <a:lnTo>
                    <a:pt x="36252" y="109449"/>
                  </a:lnTo>
                  <a:lnTo>
                    <a:pt x="51428" y="106158"/>
                  </a:lnTo>
                  <a:lnTo>
                    <a:pt x="48056" y="96282"/>
                  </a:lnTo>
                  <a:lnTo>
                    <a:pt x="61546" y="79824"/>
                  </a:lnTo>
                  <a:lnTo>
                    <a:pt x="58173" y="69949"/>
                  </a:lnTo>
                  <a:lnTo>
                    <a:pt x="58173" y="58427"/>
                  </a:lnTo>
                  <a:lnTo>
                    <a:pt x="64918" y="51844"/>
                  </a:lnTo>
                  <a:lnTo>
                    <a:pt x="68290" y="51844"/>
                  </a:lnTo>
                  <a:lnTo>
                    <a:pt x="71663" y="46906"/>
                  </a:lnTo>
                  <a:lnTo>
                    <a:pt x="66604" y="43615"/>
                  </a:lnTo>
                  <a:lnTo>
                    <a:pt x="66604" y="40323"/>
                  </a:lnTo>
                  <a:lnTo>
                    <a:pt x="71663" y="37031"/>
                  </a:lnTo>
                  <a:lnTo>
                    <a:pt x="69977" y="22219"/>
                  </a:lnTo>
                  <a:lnTo>
                    <a:pt x="85153" y="17281"/>
                  </a:lnTo>
                  <a:lnTo>
                    <a:pt x="86839" y="10698"/>
                  </a:lnTo>
                  <a:lnTo>
                    <a:pt x="93584" y="9052"/>
                  </a:lnTo>
                  <a:lnTo>
                    <a:pt x="105388" y="13989"/>
                  </a:lnTo>
                  <a:lnTo>
                    <a:pt x="127308" y="4114"/>
                  </a:lnTo>
                  <a:lnTo>
                    <a:pt x="125622"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2" name="Tholen">
              <a:extLst>
                <a:ext uri="{FF2B5EF4-FFF2-40B4-BE49-F238E27FC236}">
                  <a16:creationId xmlns:a16="http://schemas.microsoft.com/office/drawing/2014/main" id="{76EC1ED2-86D2-49E1-9D5D-A0615D715D7D}"/>
                </a:ext>
              </a:extLst>
            </p:cNvPr>
            <p:cNvSpPr/>
            <p:nvPr/>
          </p:nvSpPr>
          <p:spPr>
            <a:xfrm>
              <a:off x="4742545" y="4222537"/>
              <a:ext cx="264204" cy="267602"/>
            </a:xfrm>
            <a:custGeom>
              <a:avLst/>
              <a:gdLst/>
              <a:ahLst/>
              <a:cxnLst/>
              <a:rect l="l" t="t" r="r" b="b"/>
              <a:pathLst>
                <a:path w="398077" h="400050" extrusionOk="0">
                  <a:moveTo>
                    <a:pt x="267265" y="120970"/>
                  </a:moveTo>
                  <a:lnTo>
                    <a:pt x="272324" y="120970"/>
                  </a:lnTo>
                  <a:lnTo>
                    <a:pt x="270638" y="124262"/>
                  </a:lnTo>
                  <a:lnTo>
                    <a:pt x="262207" y="125908"/>
                  </a:lnTo>
                  <a:lnTo>
                    <a:pt x="265579" y="122616"/>
                  </a:lnTo>
                  <a:lnTo>
                    <a:pt x="263893" y="120970"/>
                  </a:lnTo>
                  <a:lnTo>
                    <a:pt x="265579" y="117678"/>
                  </a:lnTo>
                  <a:lnTo>
                    <a:pt x="267265" y="120970"/>
                  </a:lnTo>
                  <a:close/>
                  <a:moveTo>
                    <a:pt x="284128" y="114387"/>
                  </a:moveTo>
                  <a:lnTo>
                    <a:pt x="287500" y="116033"/>
                  </a:lnTo>
                  <a:lnTo>
                    <a:pt x="282441" y="116033"/>
                  </a:lnTo>
                  <a:lnTo>
                    <a:pt x="284128" y="114387"/>
                  </a:lnTo>
                  <a:close/>
                  <a:moveTo>
                    <a:pt x="376870" y="46906"/>
                  </a:moveTo>
                  <a:lnTo>
                    <a:pt x="373497" y="46906"/>
                  </a:lnTo>
                  <a:lnTo>
                    <a:pt x="371811" y="45260"/>
                  </a:lnTo>
                  <a:lnTo>
                    <a:pt x="376870" y="46906"/>
                  </a:lnTo>
                  <a:close/>
                  <a:moveTo>
                    <a:pt x="348204" y="40323"/>
                  </a:moveTo>
                  <a:lnTo>
                    <a:pt x="360008" y="45260"/>
                  </a:lnTo>
                  <a:lnTo>
                    <a:pt x="361694" y="43615"/>
                  </a:lnTo>
                  <a:lnTo>
                    <a:pt x="361694" y="45260"/>
                  </a:lnTo>
                  <a:lnTo>
                    <a:pt x="365066" y="50198"/>
                  </a:lnTo>
                  <a:lnTo>
                    <a:pt x="356635" y="53490"/>
                  </a:lnTo>
                  <a:lnTo>
                    <a:pt x="354949" y="53490"/>
                  </a:lnTo>
                  <a:lnTo>
                    <a:pt x="356635" y="50198"/>
                  </a:lnTo>
                  <a:lnTo>
                    <a:pt x="351577" y="53490"/>
                  </a:lnTo>
                  <a:lnTo>
                    <a:pt x="343145" y="51844"/>
                  </a:lnTo>
                  <a:lnTo>
                    <a:pt x="333028" y="43615"/>
                  </a:lnTo>
                  <a:lnTo>
                    <a:pt x="348204" y="40323"/>
                  </a:lnTo>
                  <a:close/>
                  <a:moveTo>
                    <a:pt x="351577" y="35385"/>
                  </a:moveTo>
                  <a:lnTo>
                    <a:pt x="353263" y="38677"/>
                  </a:lnTo>
                  <a:lnTo>
                    <a:pt x="351577" y="37031"/>
                  </a:lnTo>
                  <a:lnTo>
                    <a:pt x="351577" y="38677"/>
                  </a:lnTo>
                  <a:lnTo>
                    <a:pt x="348204" y="37031"/>
                  </a:lnTo>
                  <a:lnTo>
                    <a:pt x="348204" y="38677"/>
                  </a:lnTo>
                  <a:lnTo>
                    <a:pt x="349890" y="35385"/>
                  </a:lnTo>
                  <a:lnTo>
                    <a:pt x="351577" y="35385"/>
                  </a:lnTo>
                  <a:close/>
                  <a:moveTo>
                    <a:pt x="338087" y="37031"/>
                  </a:moveTo>
                  <a:lnTo>
                    <a:pt x="344832" y="35385"/>
                  </a:lnTo>
                  <a:lnTo>
                    <a:pt x="338087" y="40323"/>
                  </a:lnTo>
                  <a:lnTo>
                    <a:pt x="338087" y="37031"/>
                  </a:lnTo>
                  <a:lnTo>
                    <a:pt x="343145" y="33739"/>
                  </a:lnTo>
                  <a:lnTo>
                    <a:pt x="338087" y="37031"/>
                  </a:lnTo>
                  <a:close/>
                  <a:moveTo>
                    <a:pt x="343145" y="30448"/>
                  </a:moveTo>
                  <a:lnTo>
                    <a:pt x="343145" y="30448"/>
                  </a:lnTo>
                  <a:close/>
                  <a:moveTo>
                    <a:pt x="343145" y="30448"/>
                  </a:moveTo>
                  <a:lnTo>
                    <a:pt x="334714" y="30448"/>
                  </a:lnTo>
                  <a:lnTo>
                    <a:pt x="339773" y="27156"/>
                  </a:lnTo>
                  <a:lnTo>
                    <a:pt x="343145" y="30448"/>
                  </a:lnTo>
                  <a:close/>
                  <a:moveTo>
                    <a:pt x="343145" y="30448"/>
                  </a:moveTo>
                  <a:lnTo>
                    <a:pt x="338087" y="27156"/>
                  </a:lnTo>
                  <a:lnTo>
                    <a:pt x="341459" y="27156"/>
                  </a:lnTo>
                  <a:lnTo>
                    <a:pt x="343145" y="30448"/>
                  </a:lnTo>
                  <a:close/>
                  <a:moveTo>
                    <a:pt x="402163" y="30448"/>
                  </a:moveTo>
                  <a:lnTo>
                    <a:pt x="397105" y="30448"/>
                  </a:lnTo>
                  <a:lnTo>
                    <a:pt x="397105" y="25510"/>
                  </a:lnTo>
                  <a:lnTo>
                    <a:pt x="402163" y="30448"/>
                  </a:lnTo>
                  <a:close/>
                  <a:moveTo>
                    <a:pt x="405536" y="25510"/>
                  </a:moveTo>
                  <a:lnTo>
                    <a:pt x="402163" y="30448"/>
                  </a:lnTo>
                  <a:lnTo>
                    <a:pt x="402163" y="27156"/>
                  </a:lnTo>
                  <a:lnTo>
                    <a:pt x="405536" y="25510"/>
                  </a:lnTo>
                  <a:close/>
                  <a:moveTo>
                    <a:pt x="403850" y="22218"/>
                  </a:moveTo>
                  <a:lnTo>
                    <a:pt x="397105" y="23864"/>
                  </a:lnTo>
                  <a:lnTo>
                    <a:pt x="398791" y="22218"/>
                  </a:lnTo>
                  <a:lnTo>
                    <a:pt x="403850" y="22218"/>
                  </a:lnTo>
                  <a:close/>
                  <a:moveTo>
                    <a:pt x="338087" y="22218"/>
                  </a:moveTo>
                  <a:lnTo>
                    <a:pt x="338087" y="25510"/>
                  </a:lnTo>
                  <a:lnTo>
                    <a:pt x="336401" y="23864"/>
                  </a:lnTo>
                  <a:lnTo>
                    <a:pt x="338087" y="22218"/>
                  </a:lnTo>
                  <a:close/>
                  <a:moveTo>
                    <a:pt x="216679" y="4114"/>
                  </a:moveTo>
                  <a:lnTo>
                    <a:pt x="241972" y="7405"/>
                  </a:lnTo>
                  <a:lnTo>
                    <a:pt x="260520" y="12343"/>
                  </a:lnTo>
                  <a:lnTo>
                    <a:pt x="260520" y="15635"/>
                  </a:lnTo>
                  <a:lnTo>
                    <a:pt x="262207" y="13989"/>
                  </a:lnTo>
                  <a:lnTo>
                    <a:pt x="275696" y="22218"/>
                  </a:lnTo>
                  <a:lnTo>
                    <a:pt x="275696" y="25510"/>
                  </a:lnTo>
                  <a:lnTo>
                    <a:pt x="277383" y="22218"/>
                  </a:lnTo>
                  <a:lnTo>
                    <a:pt x="290872" y="28802"/>
                  </a:lnTo>
                  <a:lnTo>
                    <a:pt x="289186" y="33739"/>
                  </a:lnTo>
                  <a:lnTo>
                    <a:pt x="285814" y="28802"/>
                  </a:lnTo>
                  <a:lnTo>
                    <a:pt x="282441" y="28802"/>
                  </a:lnTo>
                  <a:lnTo>
                    <a:pt x="280755" y="32094"/>
                  </a:lnTo>
                  <a:lnTo>
                    <a:pt x="285814" y="30448"/>
                  </a:lnTo>
                  <a:lnTo>
                    <a:pt x="292559" y="38677"/>
                  </a:lnTo>
                  <a:lnTo>
                    <a:pt x="290872" y="33739"/>
                  </a:lnTo>
                  <a:lnTo>
                    <a:pt x="292559" y="30448"/>
                  </a:lnTo>
                  <a:lnTo>
                    <a:pt x="297617" y="30448"/>
                  </a:lnTo>
                  <a:lnTo>
                    <a:pt x="302676" y="40323"/>
                  </a:lnTo>
                  <a:lnTo>
                    <a:pt x="302676" y="35385"/>
                  </a:lnTo>
                  <a:lnTo>
                    <a:pt x="309421" y="38677"/>
                  </a:lnTo>
                  <a:lnTo>
                    <a:pt x="311107" y="46906"/>
                  </a:lnTo>
                  <a:lnTo>
                    <a:pt x="316166" y="46906"/>
                  </a:lnTo>
                  <a:lnTo>
                    <a:pt x="311107" y="45260"/>
                  </a:lnTo>
                  <a:lnTo>
                    <a:pt x="311107" y="40323"/>
                  </a:lnTo>
                  <a:lnTo>
                    <a:pt x="317852" y="45260"/>
                  </a:lnTo>
                  <a:lnTo>
                    <a:pt x="319538" y="43615"/>
                  </a:lnTo>
                  <a:lnTo>
                    <a:pt x="322911" y="48552"/>
                  </a:lnTo>
                  <a:lnTo>
                    <a:pt x="322911" y="51844"/>
                  </a:lnTo>
                  <a:lnTo>
                    <a:pt x="326283" y="53490"/>
                  </a:lnTo>
                  <a:lnTo>
                    <a:pt x="322911" y="50198"/>
                  </a:lnTo>
                  <a:lnTo>
                    <a:pt x="324597" y="48552"/>
                  </a:lnTo>
                  <a:lnTo>
                    <a:pt x="327969" y="51844"/>
                  </a:lnTo>
                  <a:lnTo>
                    <a:pt x="329656" y="40323"/>
                  </a:lnTo>
                  <a:lnTo>
                    <a:pt x="329656" y="48552"/>
                  </a:lnTo>
                  <a:lnTo>
                    <a:pt x="334714" y="56782"/>
                  </a:lnTo>
                  <a:lnTo>
                    <a:pt x="329656" y="61719"/>
                  </a:lnTo>
                  <a:lnTo>
                    <a:pt x="326283" y="79824"/>
                  </a:lnTo>
                  <a:lnTo>
                    <a:pt x="329656" y="63365"/>
                  </a:lnTo>
                  <a:lnTo>
                    <a:pt x="334714" y="58427"/>
                  </a:lnTo>
                  <a:lnTo>
                    <a:pt x="334714" y="51844"/>
                  </a:lnTo>
                  <a:lnTo>
                    <a:pt x="338087" y="58427"/>
                  </a:lnTo>
                  <a:lnTo>
                    <a:pt x="333028" y="73240"/>
                  </a:lnTo>
                  <a:lnTo>
                    <a:pt x="334714" y="78178"/>
                  </a:lnTo>
                  <a:lnTo>
                    <a:pt x="333028" y="73240"/>
                  </a:lnTo>
                  <a:lnTo>
                    <a:pt x="336401" y="66657"/>
                  </a:lnTo>
                  <a:lnTo>
                    <a:pt x="339773" y="68302"/>
                  </a:lnTo>
                  <a:lnTo>
                    <a:pt x="336401" y="65011"/>
                  </a:lnTo>
                  <a:lnTo>
                    <a:pt x="339773" y="60073"/>
                  </a:lnTo>
                  <a:lnTo>
                    <a:pt x="341459" y="66657"/>
                  </a:lnTo>
                  <a:lnTo>
                    <a:pt x="341459" y="65011"/>
                  </a:lnTo>
                  <a:lnTo>
                    <a:pt x="344832" y="65011"/>
                  </a:lnTo>
                  <a:lnTo>
                    <a:pt x="349890" y="69949"/>
                  </a:lnTo>
                  <a:lnTo>
                    <a:pt x="346518" y="66657"/>
                  </a:lnTo>
                  <a:lnTo>
                    <a:pt x="349890" y="68302"/>
                  </a:lnTo>
                  <a:lnTo>
                    <a:pt x="351577" y="66657"/>
                  </a:lnTo>
                  <a:lnTo>
                    <a:pt x="348204" y="68302"/>
                  </a:lnTo>
                  <a:lnTo>
                    <a:pt x="344832" y="65011"/>
                  </a:lnTo>
                  <a:lnTo>
                    <a:pt x="339773" y="65011"/>
                  </a:lnTo>
                  <a:lnTo>
                    <a:pt x="339773" y="61719"/>
                  </a:lnTo>
                  <a:lnTo>
                    <a:pt x="344832" y="63365"/>
                  </a:lnTo>
                  <a:lnTo>
                    <a:pt x="341459" y="61719"/>
                  </a:lnTo>
                  <a:lnTo>
                    <a:pt x="341459" y="56782"/>
                  </a:lnTo>
                  <a:lnTo>
                    <a:pt x="353263" y="56782"/>
                  </a:lnTo>
                  <a:lnTo>
                    <a:pt x="353263" y="61719"/>
                  </a:lnTo>
                  <a:lnTo>
                    <a:pt x="353263" y="56782"/>
                  </a:lnTo>
                  <a:lnTo>
                    <a:pt x="360008" y="65011"/>
                  </a:lnTo>
                  <a:lnTo>
                    <a:pt x="354949" y="56782"/>
                  </a:lnTo>
                  <a:lnTo>
                    <a:pt x="341459" y="55136"/>
                  </a:lnTo>
                  <a:lnTo>
                    <a:pt x="338087" y="51844"/>
                  </a:lnTo>
                  <a:lnTo>
                    <a:pt x="346518" y="53490"/>
                  </a:lnTo>
                  <a:lnTo>
                    <a:pt x="354949" y="53490"/>
                  </a:lnTo>
                  <a:lnTo>
                    <a:pt x="356635" y="56782"/>
                  </a:lnTo>
                  <a:lnTo>
                    <a:pt x="365066" y="50198"/>
                  </a:lnTo>
                  <a:lnTo>
                    <a:pt x="366753" y="55136"/>
                  </a:lnTo>
                  <a:lnTo>
                    <a:pt x="366753" y="50198"/>
                  </a:lnTo>
                  <a:lnTo>
                    <a:pt x="385301" y="53490"/>
                  </a:lnTo>
                  <a:lnTo>
                    <a:pt x="390360" y="51844"/>
                  </a:lnTo>
                  <a:lnTo>
                    <a:pt x="397105" y="53490"/>
                  </a:lnTo>
                  <a:lnTo>
                    <a:pt x="361694" y="68302"/>
                  </a:lnTo>
                  <a:lnTo>
                    <a:pt x="343145" y="81470"/>
                  </a:lnTo>
                  <a:lnTo>
                    <a:pt x="329656" y="102866"/>
                  </a:lnTo>
                  <a:lnTo>
                    <a:pt x="322911" y="127554"/>
                  </a:lnTo>
                  <a:lnTo>
                    <a:pt x="324597" y="145658"/>
                  </a:lnTo>
                  <a:lnTo>
                    <a:pt x="331342" y="162117"/>
                  </a:lnTo>
                  <a:lnTo>
                    <a:pt x="380242" y="223014"/>
                  </a:lnTo>
                  <a:lnTo>
                    <a:pt x="390360" y="247702"/>
                  </a:lnTo>
                  <a:lnTo>
                    <a:pt x="392046" y="264160"/>
                  </a:lnTo>
                  <a:lnTo>
                    <a:pt x="390360" y="277327"/>
                  </a:lnTo>
                  <a:lnTo>
                    <a:pt x="366753" y="338224"/>
                  </a:lnTo>
                  <a:lnTo>
                    <a:pt x="363380" y="354683"/>
                  </a:lnTo>
                  <a:lnTo>
                    <a:pt x="363380" y="364558"/>
                  </a:lnTo>
                  <a:lnTo>
                    <a:pt x="380242" y="404059"/>
                  </a:lnTo>
                  <a:lnTo>
                    <a:pt x="360008" y="407350"/>
                  </a:lnTo>
                  <a:lnTo>
                    <a:pt x="354949" y="395829"/>
                  </a:lnTo>
                  <a:lnTo>
                    <a:pt x="295931" y="369496"/>
                  </a:lnTo>
                  <a:lnTo>
                    <a:pt x="292559" y="364558"/>
                  </a:lnTo>
                  <a:lnTo>
                    <a:pt x="290872" y="354683"/>
                  </a:lnTo>
                  <a:lnTo>
                    <a:pt x="277383" y="346453"/>
                  </a:lnTo>
                  <a:lnTo>
                    <a:pt x="274010" y="339870"/>
                  </a:lnTo>
                  <a:lnTo>
                    <a:pt x="279069" y="348100"/>
                  </a:lnTo>
                  <a:lnTo>
                    <a:pt x="292559" y="351391"/>
                  </a:lnTo>
                  <a:lnTo>
                    <a:pt x="287500" y="346453"/>
                  </a:lnTo>
                  <a:lnTo>
                    <a:pt x="280755" y="344808"/>
                  </a:lnTo>
                  <a:lnTo>
                    <a:pt x="285814" y="343162"/>
                  </a:lnTo>
                  <a:lnTo>
                    <a:pt x="294245" y="346453"/>
                  </a:lnTo>
                  <a:lnTo>
                    <a:pt x="297617" y="339870"/>
                  </a:lnTo>
                  <a:lnTo>
                    <a:pt x="279069" y="320120"/>
                  </a:lnTo>
                  <a:lnTo>
                    <a:pt x="263893" y="320120"/>
                  </a:lnTo>
                  <a:lnTo>
                    <a:pt x="257148" y="316828"/>
                  </a:lnTo>
                  <a:lnTo>
                    <a:pt x="252089" y="323411"/>
                  </a:lnTo>
                  <a:lnTo>
                    <a:pt x="245344" y="323411"/>
                  </a:lnTo>
                  <a:lnTo>
                    <a:pt x="235227" y="311890"/>
                  </a:lnTo>
                  <a:lnTo>
                    <a:pt x="220051" y="316828"/>
                  </a:lnTo>
                  <a:lnTo>
                    <a:pt x="208247" y="316828"/>
                  </a:lnTo>
                  <a:lnTo>
                    <a:pt x="184640" y="315182"/>
                  </a:lnTo>
                  <a:lnTo>
                    <a:pt x="181268" y="311890"/>
                  </a:lnTo>
                  <a:lnTo>
                    <a:pt x="169464" y="313536"/>
                  </a:lnTo>
                  <a:lnTo>
                    <a:pt x="167778" y="308599"/>
                  </a:lnTo>
                  <a:lnTo>
                    <a:pt x="159347" y="308599"/>
                  </a:lnTo>
                  <a:lnTo>
                    <a:pt x="157661" y="313536"/>
                  </a:lnTo>
                  <a:lnTo>
                    <a:pt x="159347" y="308599"/>
                  </a:lnTo>
                  <a:lnTo>
                    <a:pt x="154288" y="308599"/>
                  </a:lnTo>
                  <a:lnTo>
                    <a:pt x="154288" y="313536"/>
                  </a:lnTo>
                  <a:lnTo>
                    <a:pt x="154288" y="308599"/>
                  </a:lnTo>
                  <a:lnTo>
                    <a:pt x="149230" y="306953"/>
                  </a:lnTo>
                  <a:lnTo>
                    <a:pt x="149230" y="313536"/>
                  </a:lnTo>
                  <a:lnTo>
                    <a:pt x="144171" y="310245"/>
                  </a:lnTo>
                  <a:lnTo>
                    <a:pt x="144171" y="313536"/>
                  </a:lnTo>
                  <a:lnTo>
                    <a:pt x="135740" y="302015"/>
                  </a:lnTo>
                  <a:lnTo>
                    <a:pt x="139112" y="297078"/>
                  </a:lnTo>
                  <a:lnTo>
                    <a:pt x="125622" y="288848"/>
                  </a:lnTo>
                  <a:lnTo>
                    <a:pt x="118877" y="274035"/>
                  </a:lnTo>
                  <a:lnTo>
                    <a:pt x="120564" y="265806"/>
                  </a:lnTo>
                  <a:lnTo>
                    <a:pt x="108760" y="259223"/>
                  </a:lnTo>
                  <a:lnTo>
                    <a:pt x="103701" y="246056"/>
                  </a:lnTo>
                  <a:lnTo>
                    <a:pt x="80094" y="241118"/>
                  </a:lnTo>
                  <a:lnTo>
                    <a:pt x="69977" y="236181"/>
                  </a:lnTo>
                  <a:lnTo>
                    <a:pt x="75036" y="219722"/>
                  </a:lnTo>
                  <a:lnTo>
                    <a:pt x="64918" y="209847"/>
                  </a:lnTo>
                  <a:lnTo>
                    <a:pt x="48056" y="201617"/>
                  </a:lnTo>
                  <a:lnTo>
                    <a:pt x="41311" y="193388"/>
                  </a:lnTo>
                  <a:lnTo>
                    <a:pt x="32880" y="188451"/>
                  </a:lnTo>
                  <a:lnTo>
                    <a:pt x="12645" y="186805"/>
                  </a:lnTo>
                  <a:lnTo>
                    <a:pt x="4214" y="175284"/>
                  </a:lnTo>
                  <a:lnTo>
                    <a:pt x="5900" y="160471"/>
                  </a:lnTo>
                  <a:lnTo>
                    <a:pt x="12645" y="148950"/>
                  </a:lnTo>
                  <a:lnTo>
                    <a:pt x="10959" y="147304"/>
                  </a:lnTo>
                  <a:lnTo>
                    <a:pt x="14331" y="147304"/>
                  </a:lnTo>
                  <a:lnTo>
                    <a:pt x="12645" y="144012"/>
                  </a:lnTo>
                  <a:lnTo>
                    <a:pt x="14331" y="147304"/>
                  </a:lnTo>
                  <a:lnTo>
                    <a:pt x="21076" y="144012"/>
                  </a:lnTo>
                  <a:lnTo>
                    <a:pt x="19390" y="145658"/>
                  </a:lnTo>
                  <a:lnTo>
                    <a:pt x="27821" y="145658"/>
                  </a:lnTo>
                  <a:lnTo>
                    <a:pt x="27821" y="142367"/>
                  </a:lnTo>
                  <a:lnTo>
                    <a:pt x="27821" y="145658"/>
                  </a:lnTo>
                  <a:lnTo>
                    <a:pt x="36252" y="145658"/>
                  </a:lnTo>
                  <a:lnTo>
                    <a:pt x="32880" y="144012"/>
                  </a:lnTo>
                  <a:lnTo>
                    <a:pt x="34566" y="142367"/>
                  </a:lnTo>
                  <a:lnTo>
                    <a:pt x="46370" y="150596"/>
                  </a:lnTo>
                  <a:lnTo>
                    <a:pt x="51428" y="158825"/>
                  </a:lnTo>
                  <a:lnTo>
                    <a:pt x="46370" y="150596"/>
                  </a:lnTo>
                  <a:lnTo>
                    <a:pt x="36252" y="142367"/>
                  </a:lnTo>
                  <a:lnTo>
                    <a:pt x="42997" y="139075"/>
                  </a:lnTo>
                  <a:lnTo>
                    <a:pt x="48056" y="142367"/>
                  </a:lnTo>
                  <a:lnTo>
                    <a:pt x="49742" y="140720"/>
                  </a:lnTo>
                  <a:lnTo>
                    <a:pt x="48056" y="137429"/>
                  </a:lnTo>
                  <a:lnTo>
                    <a:pt x="49742" y="140720"/>
                  </a:lnTo>
                  <a:lnTo>
                    <a:pt x="53115" y="139075"/>
                  </a:lnTo>
                  <a:lnTo>
                    <a:pt x="53115" y="135783"/>
                  </a:lnTo>
                  <a:lnTo>
                    <a:pt x="54801" y="139075"/>
                  </a:lnTo>
                  <a:lnTo>
                    <a:pt x="59860" y="135783"/>
                  </a:lnTo>
                  <a:lnTo>
                    <a:pt x="56487" y="132491"/>
                  </a:lnTo>
                  <a:lnTo>
                    <a:pt x="66604" y="137429"/>
                  </a:lnTo>
                  <a:lnTo>
                    <a:pt x="80094" y="129199"/>
                  </a:lnTo>
                  <a:lnTo>
                    <a:pt x="76722" y="125908"/>
                  </a:lnTo>
                  <a:lnTo>
                    <a:pt x="80094" y="125908"/>
                  </a:lnTo>
                  <a:lnTo>
                    <a:pt x="76722" y="125908"/>
                  </a:lnTo>
                  <a:lnTo>
                    <a:pt x="80094" y="129199"/>
                  </a:lnTo>
                  <a:lnTo>
                    <a:pt x="86839" y="124262"/>
                  </a:lnTo>
                  <a:lnTo>
                    <a:pt x="90212" y="119324"/>
                  </a:lnTo>
                  <a:lnTo>
                    <a:pt x="88525" y="117678"/>
                  </a:lnTo>
                  <a:lnTo>
                    <a:pt x="91898" y="120970"/>
                  </a:lnTo>
                  <a:lnTo>
                    <a:pt x="100329" y="120970"/>
                  </a:lnTo>
                  <a:lnTo>
                    <a:pt x="112133" y="109449"/>
                  </a:lnTo>
                  <a:lnTo>
                    <a:pt x="112133" y="107803"/>
                  </a:lnTo>
                  <a:lnTo>
                    <a:pt x="113819" y="109449"/>
                  </a:lnTo>
                  <a:lnTo>
                    <a:pt x="120564" y="107803"/>
                  </a:lnTo>
                  <a:lnTo>
                    <a:pt x="125622" y="107803"/>
                  </a:lnTo>
                  <a:lnTo>
                    <a:pt x="127309" y="104512"/>
                  </a:lnTo>
                  <a:lnTo>
                    <a:pt x="127309" y="99574"/>
                  </a:lnTo>
                  <a:lnTo>
                    <a:pt x="128995" y="102866"/>
                  </a:lnTo>
                  <a:lnTo>
                    <a:pt x="145857" y="99574"/>
                  </a:lnTo>
                  <a:lnTo>
                    <a:pt x="145857" y="97928"/>
                  </a:lnTo>
                  <a:lnTo>
                    <a:pt x="157661" y="104512"/>
                  </a:lnTo>
                  <a:lnTo>
                    <a:pt x="161033" y="101220"/>
                  </a:lnTo>
                  <a:lnTo>
                    <a:pt x="184640" y="107803"/>
                  </a:lnTo>
                  <a:lnTo>
                    <a:pt x="198130" y="122616"/>
                  </a:lnTo>
                  <a:lnTo>
                    <a:pt x="191385" y="117678"/>
                  </a:lnTo>
                  <a:lnTo>
                    <a:pt x="194758" y="125908"/>
                  </a:lnTo>
                  <a:lnTo>
                    <a:pt x="196444" y="125908"/>
                  </a:lnTo>
                  <a:lnTo>
                    <a:pt x="198130" y="122616"/>
                  </a:lnTo>
                  <a:lnTo>
                    <a:pt x="204875" y="125908"/>
                  </a:lnTo>
                  <a:lnTo>
                    <a:pt x="209934" y="135783"/>
                  </a:lnTo>
                  <a:lnTo>
                    <a:pt x="218365" y="139075"/>
                  </a:lnTo>
                  <a:lnTo>
                    <a:pt x="233541" y="137429"/>
                  </a:lnTo>
                  <a:lnTo>
                    <a:pt x="213306" y="137429"/>
                  </a:lnTo>
                  <a:lnTo>
                    <a:pt x="208247" y="130845"/>
                  </a:lnTo>
                  <a:lnTo>
                    <a:pt x="209934" y="127554"/>
                  </a:lnTo>
                  <a:lnTo>
                    <a:pt x="216679" y="129199"/>
                  </a:lnTo>
                  <a:lnTo>
                    <a:pt x="216679" y="127554"/>
                  </a:lnTo>
                  <a:lnTo>
                    <a:pt x="226796" y="129199"/>
                  </a:lnTo>
                  <a:lnTo>
                    <a:pt x="228482" y="132491"/>
                  </a:lnTo>
                  <a:lnTo>
                    <a:pt x="230168" y="132491"/>
                  </a:lnTo>
                  <a:lnTo>
                    <a:pt x="226796" y="132491"/>
                  </a:lnTo>
                  <a:lnTo>
                    <a:pt x="228482" y="127554"/>
                  </a:lnTo>
                  <a:lnTo>
                    <a:pt x="236913" y="125908"/>
                  </a:lnTo>
                  <a:lnTo>
                    <a:pt x="240286" y="132491"/>
                  </a:lnTo>
                  <a:lnTo>
                    <a:pt x="238599" y="135783"/>
                  </a:lnTo>
                  <a:lnTo>
                    <a:pt x="240286" y="134137"/>
                  </a:lnTo>
                  <a:lnTo>
                    <a:pt x="240286" y="137429"/>
                  </a:lnTo>
                  <a:lnTo>
                    <a:pt x="245344" y="134137"/>
                  </a:lnTo>
                  <a:lnTo>
                    <a:pt x="248717" y="135783"/>
                  </a:lnTo>
                  <a:lnTo>
                    <a:pt x="247031" y="137429"/>
                  </a:lnTo>
                  <a:lnTo>
                    <a:pt x="247031" y="135783"/>
                  </a:lnTo>
                  <a:lnTo>
                    <a:pt x="241972" y="134137"/>
                  </a:lnTo>
                  <a:lnTo>
                    <a:pt x="240286" y="125908"/>
                  </a:lnTo>
                  <a:lnTo>
                    <a:pt x="253775" y="124262"/>
                  </a:lnTo>
                  <a:lnTo>
                    <a:pt x="253775" y="134137"/>
                  </a:lnTo>
                  <a:lnTo>
                    <a:pt x="250403" y="134137"/>
                  </a:lnTo>
                  <a:lnTo>
                    <a:pt x="255462" y="135783"/>
                  </a:lnTo>
                  <a:lnTo>
                    <a:pt x="257148" y="125908"/>
                  </a:lnTo>
                  <a:lnTo>
                    <a:pt x="258834" y="130845"/>
                  </a:lnTo>
                  <a:lnTo>
                    <a:pt x="260520" y="124262"/>
                  </a:lnTo>
                  <a:lnTo>
                    <a:pt x="262207" y="129199"/>
                  </a:lnTo>
                  <a:lnTo>
                    <a:pt x="260520" y="134137"/>
                  </a:lnTo>
                  <a:lnTo>
                    <a:pt x="262207" y="125908"/>
                  </a:lnTo>
                  <a:lnTo>
                    <a:pt x="267265" y="125908"/>
                  </a:lnTo>
                  <a:lnTo>
                    <a:pt x="267265" y="127554"/>
                  </a:lnTo>
                  <a:lnTo>
                    <a:pt x="265579" y="129199"/>
                  </a:lnTo>
                  <a:lnTo>
                    <a:pt x="268952" y="129199"/>
                  </a:lnTo>
                  <a:lnTo>
                    <a:pt x="263893" y="134137"/>
                  </a:lnTo>
                  <a:lnTo>
                    <a:pt x="268952" y="129199"/>
                  </a:lnTo>
                  <a:lnTo>
                    <a:pt x="268952" y="124262"/>
                  </a:lnTo>
                  <a:lnTo>
                    <a:pt x="272324" y="127554"/>
                  </a:lnTo>
                  <a:lnTo>
                    <a:pt x="272324" y="130845"/>
                  </a:lnTo>
                  <a:lnTo>
                    <a:pt x="277383" y="122616"/>
                  </a:lnTo>
                  <a:lnTo>
                    <a:pt x="297617" y="120970"/>
                  </a:lnTo>
                  <a:lnTo>
                    <a:pt x="299304" y="114387"/>
                  </a:lnTo>
                  <a:lnTo>
                    <a:pt x="290872" y="112741"/>
                  </a:lnTo>
                  <a:lnTo>
                    <a:pt x="299304" y="107803"/>
                  </a:lnTo>
                  <a:lnTo>
                    <a:pt x="294245" y="104512"/>
                  </a:lnTo>
                  <a:lnTo>
                    <a:pt x="297617" y="99574"/>
                  </a:lnTo>
                  <a:lnTo>
                    <a:pt x="295931" y="104512"/>
                  </a:lnTo>
                  <a:lnTo>
                    <a:pt x="299304" y="104512"/>
                  </a:lnTo>
                  <a:lnTo>
                    <a:pt x="302676" y="101220"/>
                  </a:lnTo>
                  <a:lnTo>
                    <a:pt x="302676" y="92991"/>
                  </a:lnTo>
                  <a:lnTo>
                    <a:pt x="295931" y="91345"/>
                  </a:lnTo>
                  <a:lnTo>
                    <a:pt x="294245" y="92991"/>
                  </a:lnTo>
                  <a:lnTo>
                    <a:pt x="297617" y="92991"/>
                  </a:lnTo>
                  <a:lnTo>
                    <a:pt x="292559" y="92991"/>
                  </a:lnTo>
                  <a:lnTo>
                    <a:pt x="290872" y="97928"/>
                  </a:lnTo>
                  <a:lnTo>
                    <a:pt x="284128" y="101220"/>
                  </a:lnTo>
                  <a:lnTo>
                    <a:pt x="279069" y="97928"/>
                  </a:lnTo>
                  <a:lnTo>
                    <a:pt x="274010" y="102866"/>
                  </a:lnTo>
                  <a:lnTo>
                    <a:pt x="267265" y="104512"/>
                  </a:lnTo>
                  <a:lnTo>
                    <a:pt x="248717" y="101220"/>
                  </a:lnTo>
                  <a:lnTo>
                    <a:pt x="225110" y="101220"/>
                  </a:lnTo>
                  <a:lnTo>
                    <a:pt x="211620" y="73240"/>
                  </a:lnTo>
                  <a:lnTo>
                    <a:pt x="198130" y="61719"/>
                  </a:lnTo>
                  <a:lnTo>
                    <a:pt x="188013" y="61719"/>
                  </a:lnTo>
                  <a:lnTo>
                    <a:pt x="184640" y="58427"/>
                  </a:lnTo>
                  <a:lnTo>
                    <a:pt x="182954" y="38677"/>
                  </a:lnTo>
                  <a:lnTo>
                    <a:pt x="186326" y="33739"/>
                  </a:lnTo>
                  <a:lnTo>
                    <a:pt x="182954" y="28802"/>
                  </a:lnTo>
                  <a:lnTo>
                    <a:pt x="184640" y="30448"/>
                  </a:lnTo>
                  <a:lnTo>
                    <a:pt x="186326" y="28802"/>
                  </a:lnTo>
                  <a:lnTo>
                    <a:pt x="182954" y="28802"/>
                  </a:lnTo>
                  <a:lnTo>
                    <a:pt x="186326" y="28802"/>
                  </a:lnTo>
                  <a:lnTo>
                    <a:pt x="193071" y="32094"/>
                  </a:lnTo>
                  <a:lnTo>
                    <a:pt x="194758" y="30448"/>
                  </a:lnTo>
                  <a:lnTo>
                    <a:pt x="191385" y="30448"/>
                  </a:lnTo>
                  <a:lnTo>
                    <a:pt x="194758" y="27156"/>
                  </a:lnTo>
                  <a:lnTo>
                    <a:pt x="191385" y="28802"/>
                  </a:lnTo>
                  <a:lnTo>
                    <a:pt x="194758" y="23864"/>
                  </a:lnTo>
                  <a:lnTo>
                    <a:pt x="196444" y="25510"/>
                  </a:lnTo>
                  <a:lnTo>
                    <a:pt x="196444" y="20573"/>
                  </a:lnTo>
                  <a:lnTo>
                    <a:pt x="21667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3" name="Laren">
              <a:extLst>
                <a:ext uri="{FF2B5EF4-FFF2-40B4-BE49-F238E27FC236}">
                  <a16:creationId xmlns:a16="http://schemas.microsoft.com/office/drawing/2014/main" id="{526208F7-7129-439A-9A1F-8A253C68D2BB}"/>
                </a:ext>
              </a:extLst>
            </p:cNvPr>
            <p:cNvSpPr/>
            <p:nvPr/>
          </p:nvSpPr>
          <p:spPr>
            <a:xfrm>
              <a:off x="6012732" y="3237370"/>
              <a:ext cx="66412" cy="99359"/>
            </a:xfrm>
            <a:custGeom>
              <a:avLst/>
              <a:gdLst/>
              <a:ahLst/>
              <a:cxnLst/>
              <a:rect l="l" t="t" r="r" b="b"/>
              <a:pathLst>
                <a:path w="81957" h="148590" extrusionOk="0">
                  <a:moveTo>
                    <a:pt x="59860" y="15635"/>
                  </a:moveTo>
                  <a:lnTo>
                    <a:pt x="88525" y="48552"/>
                  </a:lnTo>
                  <a:lnTo>
                    <a:pt x="54801" y="119324"/>
                  </a:lnTo>
                  <a:lnTo>
                    <a:pt x="58173" y="119324"/>
                  </a:lnTo>
                  <a:lnTo>
                    <a:pt x="49742" y="150596"/>
                  </a:lnTo>
                  <a:lnTo>
                    <a:pt x="19390" y="81470"/>
                  </a:lnTo>
                  <a:lnTo>
                    <a:pt x="4214" y="65011"/>
                  </a:lnTo>
                  <a:lnTo>
                    <a:pt x="26135" y="18927"/>
                  </a:lnTo>
                  <a:lnTo>
                    <a:pt x="34566" y="20573"/>
                  </a:lnTo>
                  <a:lnTo>
                    <a:pt x="59860" y="4114"/>
                  </a:lnTo>
                  <a:lnTo>
                    <a:pt x="59860"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4" name="Putten">
              <a:extLst>
                <a:ext uri="{FF2B5EF4-FFF2-40B4-BE49-F238E27FC236}">
                  <a16:creationId xmlns:a16="http://schemas.microsoft.com/office/drawing/2014/main" id="{3E09584C-0B88-496F-A540-4C29F665314C}"/>
                </a:ext>
              </a:extLst>
            </p:cNvPr>
            <p:cNvSpPr/>
            <p:nvPr/>
          </p:nvSpPr>
          <p:spPr>
            <a:xfrm>
              <a:off x="6321002" y="3208790"/>
              <a:ext cx="213955" cy="146628"/>
            </a:xfrm>
            <a:custGeom>
              <a:avLst/>
              <a:gdLst/>
              <a:ahLst/>
              <a:cxnLst/>
              <a:rect l="l" t="t" r="r" b="b"/>
              <a:pathLst>
                <a:path w="316120" h="217170" extrusionOk="0">
                  <a:moveTo>
                    <a:pt x="115505" y="4114"/>
                  </a:moveTo>
                  <a:lnTo>
                    <a:pt x="122250" y="9052"/>
                  </a:lnTo>
                  <a:lnTo>
                    <a:pt x="122250" y="13989"/>
                  </a:lnTo>
                  <a:lnTo>
                    <a:pt x="127309" y="17281"/>
                  </a:lnTo>
                  <a:lnTo>
                    <a:pt x="144171" y="20573"/>
                  </a:lnTo>
                  <a:lnTo>
                    <a:pt x="176209" y="37031"/>
                  </a:lnTo>
                  <a:lnTo>
                    <a:pt x="209934" y="40323"/>
                  </a:lnTo>
                  <a:lnTo>
                    <a:pt x="213306" y="43615"/>
                  </a:lnTo>
                  <a:lnTo>
                    <a:pt x="226796" y="43615"/>
                  </a:lnTo>
                  <a:lnTo>
                    <a:pt x="258834" y="55136"/>
                  </a:lnTo>
                  <a:lnTo>
                    <a:pt x="280755" y="76532"/>
                  </a:lnTo>
                  <a:lnTo>
                    <a:pt x="289186" y="86407"/>
                  </a:lnTo>
                  <a:lnTo>
                    <a:pt x="297617" y="91345"/>
                  </a:lnTo>
                  <a:lnTo>
                    <a:pt x="311107" y="106157"/>
                  </a:lnTo>
                  <a:lnTo>
                    <a:pt x="317852" y="125908"/>
                  </a:lnTo>
                  <a:lnTo>
                    <a:pt x="321224" y="127554"/>
                  </a:lnTo>
                  <a:lnTo>
                    <a:pt x="317852" y="165409"/>
                  </a:lnTo>
                  <a:lnTo>
                    <a:pt x="294245" y="171992"/>
                  </a:lnTo>
                  <a:lnTo>
                    <a:pt x="245344" y="206555"/>
                  </a:lnTo>
                  <a:lnTo>
                    <a:pt x="203189" y="214785"/>
                  </a:lnTo>
                  <a:lnTo>
                    <a:pt x="118877" y="221368"/>
                  </a:lnTo>
                  <a:lnTo>
                    <a:pt x="95270" y="180221"/>
                  </a:lnTo>
                  <a:lnTo>
                    <a:pt x="93584" y="180221"/>
                  </a:lnTo>
                  <a:lnTo>
                    <a:pt x="83467" y="170346"/>
                  </a:lnTo>
                  <a:lnTo>
                    <a:pt x="71663" y="152242"/>
                  </a:lnTo>
                  <a:lnTo>
                    <a:pt x="64918" y="152242"/>
                  </a:lnTo>
                  <a:lnTo>
                    <a:pt x="66604" y="144012"/>
                  </a:lnTo>
                  <a:lnTo>
                    <a:pt x="61546" y="142367"/>
                  </a:lnTo>
                  <a:lnTo>
                    <a:pt x="63232" y="140721"/>
                  </a:lnTo>
                  <a:lnTo>
                    <a:pt x="58173" y="140721"/>
                  </a:lnTo>
                  <a:lnTo>
                    <a:pt x="58173" y="147304"/>
                  </a:lnTo>
                  <a:lnTo>
                    <a:pt x="53115" y="150596"/>
                  </a:lnTo>
                  <a:lnTo>
                    <a:pt x="41311" y="145658"/>
                  </a:lnTo>
                  <a:lnTo>
                    <a:pt x="39625" y="139075"/>
                  </a:lnTo>
                  <a:lnTo>
                    <a:pt x="27821" y="140721"/>
                  </a:lnTo>
                  <a:lnTo>
                    <a:pt x="17704" y="132491"/>
                  </a:lnTo>
                  <a:lnTo>
                    <a:pt x="4214" y="89699"/>
                  </a:lnTo>
                  <a:lnTo>
                    <a:pt x="10959" y="88053"/>
                  </a:lnTo>
                  <a:lnTo>
                    <a:pt x="26135" y="74886"/>
                  </a:lnTo>
                  <a:lnTo>
                    <a:pt x="34566" y="73240"/>
                  </a:lnTo>
                  <a:lnTo>
                    <a:pt x="51428" y="69949"/>
                  </a:lnTo>
                  <a:lnTo>
                    <a:pt x="85153" y="73240"/>
                  </a:lnTo>
                  <a:lnTo>
                    <a:pt x="78408" y="68303"/>
                  </a:lnTo>
                  <a:lnTo>
                    <a:pt x="78408" y="65011"/>
                  </a:lnTo>
                  <a:lnTo>
                    <a:pt x="34566" y="71595"/>
                  </a:lnTo>
                  <a:lnTo>
                    <a:pt x="16018" y="76532"/>
                  </a:lnTo>
                  <a:lnTo>
                    <a:pt x="9273" y="81470"/>
                  </a:lnTo>
                  <a:lnTo>
                    <a:pt x="16018" y="76532"/>
                  </a:lnTo>
                  <a:lnTo>
                    <a:pt x="42997" y="69949"/>
                  </a:lnTo>
                  <a:lnTo>
                    <a:pt x="78408" y="65011"/>
                  </a:lnTo>
                  <a:lnTo>
                    <a:pt x="80094" y="68303"/>
                  </a:lnTo>
                  <a:lnTo>
                    <a:pt x="83467" y="69949"/>
                  </a:lnTo>
                  <a:lnTo>
                    <a:pt x="88525" y="68303"/>
                  </a:lnTo>
                  <a:lnTo>
                    <a:pt x="90211" y="63365"/>
                  </a:lnTo>
                  <a:lnTo>
                    <a:pt x="90211" y="53490"/>
                  </a:lnTo>
                  <a:lnTo>
                    <a:pt x="90211" y="60073"/>
                  </a:lnTo>
                  <a:lnTo>
                    <a:pt x="93584" y="60073"/>
                  </a:lnTo>
                  <a:lnTo>
                    <a:pt x="95270" y="56782"/>
                  </a:lnTo>
                  <a:lnTo>
                    <a:pt x="90211" y="53490"/>
                  </a:lnTo>
                  <a:lnTo>
                    <a:pt x="96957" y="55136"/>
                  </a:lnTo>
                  <a:lnTo>
                    <a:pt x="100329" y="50198"/>
                  </a:lnTo>
                  <a:lnTo>
                    <a:pt x="105388" y="38677"/>
                  </a:lnTo>
                  <a:lnTo>
                    <a:pt x="103701" y="35385"/>
                  </a:lnTo>
                  <a:lnTo>
                    <a:pt x="107074" y="35385"/>
                  </a:lnTo>
                  <a:lnTo>
                    <a:pt x="105388" y="35385"/>
                  </a:lnTo>
                  <a:lnTo>
                    <a:pt x="108760" y="30448"/>
                  </a:lnTo>
                  <a:lnTo>
                    <a:pt x="107074" y="25510"/>
                  </a:lnTo>
                  <a:lnTo>
                    <a:pt x="108760" y="20573"/>
                  </a:lnTo>
                  <a:lnTo>
                    <a:pt x="107074" y="23864"/>
                  </a:lnTo>
                  <a:lnTo>
                    <a:pt x="110446" y="20573"/>
                  </a:lnTo>
                  <a:lnTo>
                    <a:pt x="11550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5" name="Goeree-Overflakkee">
              <a:extLst>
                <a:ext uri="{FF2B5EF4-FFF2-40B4-BE49-F238E27FC236}">
                  <a16:creationId xmlns:a16="http://schemas.microsoft.com/office/drawing/2014/main" id="{B914C304-2674-466F-A04F-5C0221520FD2}"/>
                </a:ext>
              </a:extLst>
            </p:cNvPr>
            <p:cNvSpPr/>
            <p:nvPr/>
          </p:nvSpPr>
          <p:spPr>
            <a:xfrm>
              <a:off x="4583960" y="3901678"/>
              <a:ext cx="611964" cy="321596"/>
            </a:xfrm>
            <a:custGeom>
              <a:avLst/>
              <a:gdLst/>
              <a:ahLst/>
              <a:cxnLst/>
              <a:rect l="l" t="t" r="r" b="b"/>
              <a:pathLst>
                <a:path w="878112" h="480060" extrusionOk="0">
                  <a:moveTo>
                    <a:pt x="240286" y="20573"/>
                  </a:moveTo>
                  <a:lnTo>
                    <a:pt x="238599" y="18927"/>
                  </a:lnTo>
                  <a:lnTo>
                    <a:pt x="241972" y="18927"/>
                  </a:lnTo>
                  <a:lnTo>
                    <a:pt x="240286" y="20573"/>
                  </a:lnTo>
                  <a:close/>
                  <a:moveTo>
                    <a:pt x="346518" y="89699"/>
                  </a:moveTo>
                  <a:lnTo>
                    <a:pt x="341459" y="83115"/>
                  </a:lnTo>
                  <a:lnTo>
                    <a:pt x="349890" y="88053"/>
                  </a:lnTo>
                  <a:lnTo>
                    <a:pt x="346518" y="89699"/>
                  </a:lnTo>
                  <a:close/>
                  <a:moveTo>
                    <a:pt x="361694" y="94637"/>
                  </a:moveTo>
                  <a:lnTo>
                    <a:pt x="354949" y="92991"/>
                  </a:lnTo>
                  <a:lnTo>
                    <a:pt x="348204" y="89699"/>
                  </a:lnTo>
                  <a:lnTo>
                    <a:pt x="361694" y="94637"/>
                  </a:lnTo>
                  <a:close/>
                  <a:moveTo>
                    <a:pt x="385301" y="112741"/>
                  </a:moveTo>
                  <a:lnTo>
                    <a:pt x="375184" y="106157"/>
                  </a:lnTo>
                  <a:lnTo>
                    <a:pt x="386987" y="111095"/>
                  </a:lnTo>
                  <a:lnTo>
                    <a:pt x="385301" y="112741"/>
                  </a:lnTo>
                  <a:close/>
                  <a:moveTo>
                    <a:pt x="471298" y="124262"/>
                  </a:moveTo>
                  <a:lnTo>
                    <a:pt x="472985" y="120970"/>
                  </a:lnTo>
                  <a:lnTo>
                    <a:pt x="476357" y="119324"/>
                  </a:lnTo>
                  <a:lnTo>
                    <a:pt x="471298" y="124262"/>
                  </a:lnTo>
                  <a:close/>
                  <a:moveTo>
                    <a:pt x="467926" y="130845"/>
                  </a:moveTo>
                  <a:lnTo>
                    <a:pt x="466240" y="127554"/>
                  </a:lnTo>
                  <a:lnTo>
                    <a:pt x="469612" y="122616"/>
                  </a:lnTo>
                  <a:lnTo>
                    <a:pt x="467926" y="130845"/>
                  </a:lnTo>
                  <a:close/>
                  <a:moveTo>
                    <a:pt x="203189" y="130845"/>
                  </a:moveTo>
                  <a:lnTo>
                    <a:pt x="191385" y="127554"/>
                  </a:lnTo>
                  <a:lnTo>
                    <a:pt x="188013" y="122616"/>
                  </a:lnTo>
                  <a:lnTo>
                    <a:pt x="193071" y="119324"/>
                  </a:lnTo>
                  <a:lnTo>
                    <a:pt x="201503" y="119324"/>
                  </a:lnTo>
                  <a:lnTo>
                    <a:pt x="194758" y="120970"/>
                  </a:lnTo>
                  <a:lnTo>
                    <a:pt x="201503" y="130845"/>
                  </a:lnTo>
                  <a:lnTo>
                    <a:pt x="204875" y="129199"/>
                  </a:lnTo>
                  <a:lnTo>
                    <a:pt x="203189" y="130845"/>
                  </a:lnTo>
                  <a:close/>
                  <a:moveTo>
                    <a:pt x="481416" y="134137"/>
                  </a:moveTo>
                  <a:lnTo>
                    <a:pt x="469612" y="130845"/>
                  </a:lnTo>
                  <a:lnTo>
                    <a:pt x="469612" y="125908"/>
                  </a:lnTo>
                  <a:lnTo>
                    <a:pt x="476357" y="130845"/>
                  </a:lnTo>
                  <a:lnTo>
                    <a:pt x="471298" y="127554"/>
                  </a:lnTo>
                  <a:lnTo>
                    <a:pt x="472985" y="125908"/>
                  </a:lnTo>
                  <a:lnTo>
                    <a:pt x="478043" y="124262"/>
                  </a:lnTo>
                  <a:lnTo>
                    <a:pt x="478043" y="122616"/>
                  </a:lnTo>
                  <a:lnTo>
                    <a:pt x="488161" y="124262"/>
                  </a:lnTo>
                  <a:lnTo>
                    <a:pt x="491533" y="127554"/>
                  </a:lnTo>
                  <a:lnTo>
                    <a:pt x="481416" y="127554"/>
                  </a:lnTo>
                  <a:lnTo>
                    <a:pt x="481416" y="134137"/>
                  </a:lnTo>
                  <a:close/>
                  <a:moveTo>
                    <a:pt x="103701" y="196680"/>
                  </a:moveTo>
                  <a:lnTo>
                    <a:pt x="102015" y="191742"/>
                  </a:lnTo>
                  <a:lnTo>
                    <a:pt x="107074" y="191742"/>
                  </a:lnTo>
                  <a:lnTo>
                    <a:pt x="132367" y="168700"/>
                  </a:lnTo>
                  <a:lnTo>
                    <a:pt x="140798" y="153888"/>
                  </a:lnTo>
                  <a:lnTo>
                    <a:pt x="154288" y="147304"/>
                  </a:lnTo>
                  <a:lnTo>
                    <a:pt x="157661" y="148950"/>
                  </a:lnTo>
                  <a:lnTo>
                    <a:pt x="154288" y="148950"/>
                  </a:lnTo>
                  <a:lnTo>
                    <a:pt x="154288" y="152242"/>
                  </a:lnTo>
                  <a:lnTo>
                    <a:pt x="164406" y="163763"/>
                  </a:lnTo>
                  <a:lnTo>
                    <a:pt x="199816" y="186805"/>
                  </a:lnTo>
                  <a:lnTo>
                    <a:pt x="179582" y="181867"/>
                  </a:lnTo>
                  <a:lnTo>
                    <a:pt x="149230" y="181867"/>
                  </a:lnTo>
                  <a:lnTo>
                    <a:pt x="139112" y="183513"/>
                  </a:lnTo>
                  <a:lnTo>
                    <a:pt x="118878" y="193388"/>
                  </a:lnTo>
                  <a:lnTo>
                    <a:pt x="103701" y="193388"/>
                  </a:lnTo>
                  <a:lnTo>
                    <a:pt x="103701" y="196680"/>
                  </a:lnTo>
                  <a:close/>
                  <a:moveTo>
                    <a:pt x="289186" y="211493"/>
                  </a:moveTo>
                  <a:lnTo>
                    <a:pt x="289186" y="208201"/>
                  </a:lnTo>
                  <a:lnTo>
                    <a:pt x="290872" y="209847"/>
                  </a:lnTo>
                  <a:lnTo>
                    <a:pt x="289186" y="211493"/>
                  </a:lnTo>
                  <a:close/>
                  <a:moveTo>
                    <a:pt x="66605" y="226306"/>
                  </a:moveTo>
                  <a:lnTo>
                    <a:pt x="63232" y="221368"/>
                  </a:lnTo>
                  <a:lnTo>
                    <a:pt x="75036" y="219722"/>
                  </a:lnTo>
                  <a:lnTo>
                    <a:pt x="76722" y="223014"/>
                  </a:lnTo>
                  <a:lnTo>
                    <a:pt x="75036" y="219722"/>
                  </a:lnTo>
                  <a:lnTo>
                    <a:pt x="75036" y="223014"/>
                  </a:lnTo>
                  <a:lnTo>
                    <a:pt x="69977" y="224660"/>
                  </a:lnTo>
                  <a:lnTo>
                    <a:pt x="71663" y="226306"/>
                  </a:lnTo>
                  <a:lnTo>
                    <a:pt x="68291" y="224660"/>
                  </a:lnTo>
                  <a:lnTo>
                    <a:pt x="66605" y="226306"/>
                  </a:lnTo>
                  <a:close/>
                  <a:moveTo>
                    <a:pt x="766388" y="348099"/>
                  </a:moveTo>
                  <a:lnTo>
                    <a:pt x="763015" y="346453"/>
                  </a:lnTo>
                  <a:lnTo>
                    <a:pt x="763015" y="343162"/>
                  </a:lnTo>
                  <a:lnTo>
                    <a:pt x="766388" y="348099"/>
                  </a:lnTo>
                  <a:close/>
                  <a:moveTo>
                    <a:pt x="779877" y="353037"/>
                  </a:moveTo>
                  <a:lnTo>
                    <a:pt x="766388" y="348099"/>
                  </a:lnTo>
                  <a:lnTo>
                    <a:pt x="771446" y="351391"/>
                  </a:lnTo>
                  <a:lnTo>
                    <a:pt x="774819" y="348099"/>
                  </a:lnTo>
                  <a:lnTo>
                    <a:pt x="774819" y="351391"/>
                  </a:lnTo>
                  <a:lnTo>
                    <a:pt x="779877" y="353037"/>
                  </a:lnTo>
                  <a:close/>
                  <a:moveTo>
                    <a:pt x="788309" y="367850"/>
                  </a:moveTo>
                  <a:lnTo>
                    <a:pt x="776505" y="364558"/>
                  </a:lnTo>
                  <a:lnTo>
                    <a:pt x="766388" y="366204"/>
                  </a:lnTo>
                  <a:lnTo>
                    <a:pt x="764701" y="364558"/>
                  </a:lnTo>
                  <a:lnTo>
                    <a:pt x="769760" y="362912"/>
                  </a:lnTo>
                  <a:lnTo>
                    <a:pt x="761329" y="364558"/>
                  </a:lnTo>
                  <a:lnTo>
                    <a:pt x="771446" y="362912"/>
                  </a:lnTo>
                  <a:lnTo>
                    <a:pt x="788309" y="367850"/>
                  </a:lnTo>
                  <a:close/>
                  <a:moveTo>
                    <a:pt x="795054" y="367850"/>
                  </a:moveTo>
                  <a:lnTo>
                    <a:pt x="801798" y="364558"/>
                  </a:lnTo>
                  <a:lnTo>
                    <a:pt x="811916" y="353037"/>
                  </a:lnTo>
                  <a:lnTo>
                    <a:pt x="813602" y="364558"/>
                  </a:lnTo>
                  <a:lnTo>
                    <a:pt x="813602" y="359621"/>
                  </a:lnTo>
                  <a:lnTo>
                    <a:pt x="810230" y="362912"/>
                  </a:lnTo>
                  <a:lnTo>
                    <a:pt x="806857" y="359621"/>
                  </a:lnTo>
                  <a:lnTo>
                    <a:pt x="801798" y="364558"/>
                  </a:lnTo>
                  <a:lnTo>
                    <a:pt x="795054" y="367850"/>
                  </a:lnTo>
                  <a:close/>
                  <a:moveTo>
                    <a:pt x="798426" y="389246"/>
                  </a:moveTo>
                  <a:lnTo>
                    <a:pt x="796740" y="385954"/>
                  </a:lnTo>
                  <a:lnTo>
                    <a:pt x="800112" y="381017"/>
                  </a:lnTo>
                  <a:lnTo>
                    <a:pt x="798426" y="389246"/>
                  </a:lnTo>
                  <a:close/>
                  <a:moveTo>
                    <a:pt x="827092" y="392538"/>
                  </a:moveTo>
                  <a:lnTo>
                    <a:pt x="822033" y="392538"/>
                  </a:lnTo>
                  <a:lnTo>
                    <a:pt x="818661" y="389246"/>
                  </a:lnTo>
                  <a:lnTo>
                    <a:pt x="827092" y="382663"/>
                  </a:lnTo>
                  <a:lnTo>
                    <a:pt x="825406" y="381017"/>
                  </a:lnTo>
                  <a:lnTo>
                    <a:pt x="827092" y="379371"/>
                  </a:lnTo>
                  <a:lnTo>
                    <a:pt x="833837" y="379371"/>
                  </a:lnTo>
                  <a:lnTo>
                    <a:pt x="835523" y="382663"/>
                  </a:lnTo>
                  <a:lnTo>
                    <a:pt x="832150" y="382663"/>
                  </a:lnTo>
                  <a:lnTo>
                    <a:pt x="835523" y="384308"/>
                  </a:lnTo>
                  <a:lnTo>
                    <a:pt x="832150" y="384308"/>
                  </a:lnTo>
                  <a:lnTo>
                    <a:pt x="838895" y="387600"/>
                  </a:lnTo>
                  <a:lnTo>
                    <a:pt x="827092" y="392538"/>
                  </a:lnTo>
                  <a:close/>
                  <a:moveTo>
                    <a:pt x="813602" y="402413"/>
                  </a:moveTo>
                  <a:lnTo>
                    <a:pt x="811916" y="397475"/>
                  </a:lnTo>
                  <a:lnTo>
                    <a:pt x="816974" y="399121"/>
                  </a:lnTo>
                  <a:lnTo>
                    <a:pt x="813602" y="402413"/>
                  </a:lnTo>
                  <a:close/>
                  <a:moveTo>
                    <a:pt x="545492" y="422163"/>
                  </a:moveTo>
                  <a:lnTo>
                    <a:pt x="538748" y="415580"/>
                  </a:lnTo>
                  <a:lnTo>
                    <a:pt x="533689" y="415580"/>
                  </a:lnTo>
                  <a:lnTo>
                    <a:pt x="538748" y="415580"/>
                  </a:lnTo>
                  <a:lnTo>
                    <a:pt x="545492" y="422163"/>
                  </a:lnTo>
                  <a:close/>
                  <a:moveTo>
                    <a:pt x="543806" y="423809"/>
                  </a:moveTo>
                  <a:lnTo>
                    <a:pt x="533689" y="420517"/>
                  </a:lnTo>
                  <a:lnTo>
                    <a:pt x="540434" y="422163"/>
                  </a:lnTo>
                  <a:lnTo>
                    <a:pt x="543806" y="423809"/>
                  </a:lnTo>
                  <a:close/>
                  <a:moveTo>
                    <a:pt x="543806" y="423809"/>
                  </a:moveTo>
                  <a:lnTo>
                    <a:pt x="532003" y="420517"/>
                  </a:lnTo>
                  <a:lnTo>
                    <a:pt x="530316" y="422163"/>
                  </a:lnTo>
                  <a:lnTo>
                    <a:pt x="532003" y="415580"/>
                  </a:lnTo>
                  <a:lnTo>
                    <a:pt x="533689" y="417225"/>
                  </a:lnTo>
                  <a:lnTo>
                    <a:pt x="530316" y="422163"/>
                  </a:lnTo>
                  <a:lnTo>
                    <a:pt x="535375" y="417225"/>
                  </a:lnTo>
                  <a:lnTo>
                    <a:pt x="532003" y="420517"/>
                  </a:lnTo>
                  <a:lnTo>
                    <a:pt x="543806" y="423809"/>
                  </a:lnTo>
                  <a:close/>
                  <a:moveTo>
                    <a:pt x="532003" y="435330"/>
                  </a:moveTo>
                  <a:lnTo>
                    <a:pt x="523571" y="430393"/>
                  </a:lnTo>
                  <a:lnTo>
                    <a:pt x="528630" y="420517"/>
                  </a:lnTo>
                  <a:lnTo>
                    <a:pt x="528630" y="428747"/>
                  </a:lnTo>
                  <a:lnTo>
                    <a:pt x="530316" y="422163"/>
                  </a:lnTo>
                  <a:lnTo>
                    <a:pt x="526944" y="428747"/>
                  </a:lnTo>
                  <a:lnTo>
                    <a:pt x="525258" y="428747"/>
                  </a:lnTo>
                  <a:lnTo>
                    <a:pt x="528630" y="422163"/>
                  </a:lnTo>
                  <a:lnTo>
                    <a:pt x="523571" y="430393"/>
                  </a:lnTo>
                  <a:lnTo>
                    <a:pt x="526944" y="432038"/>
                  </a:lnTo>
                  <a:lnTo>
                    <a:pt x="530316" y="430393"/>
                  </a:lnTo>
                  <a:lnTo>
                    <a:pt x="530316" y="433684"/>
                  </a:lnTo>
                  <a:lnTo>
                    <a:pt x="526944" y="432038"/>
                  </a:lnTo>
                  <a:lnTo>
                    <a:pt x="530316" y="435330"/>
                  </a:lnTo>
                  <a:lnTo>
                    <a:pt x="535375" y="433684"/>
                  </a:lnTo>
                  <a:lnTo>
                    <a:pt x="532003" y="435330"/>
                  </a:lnTo>
                  <a:close/>
                  <a:moveTo>
                    <a:pt x="557296" y="448497"/>
                  </a:moveTo>
                  <a:lnTo>
                    <a:pt x="555610" y="445205"/>
                  </a:lnTo>
                  <a:lnTo>
                    <a:pt x="562355" y="438622"/>
                  </a:lnTo>
                  <a:lnTo>
                    <a:pt x="557296" y="448497"/>
                  </a:lnTo>
                  <a:close/>
                  <a:moveTo>
                    <a:pt x="548865" y="448497"/>
                  </a:moveTo>
                  <a:lnTo>
                    <a:pt x="537061" y="440268"/>
                  </a:lnTo>
                  <a:lnTo>
                    <a:pt x="537061" y="435330"/>
                  </a:lnTo>
                  <a:lnTo>
                    <a:pt x="540434" y="440268"/>
                  </a:lnTo>
                  <a:lnTo>
                    <a:pt x="545492" y="440268"/>
                  </a:lnTo>
                  <a:lnTo>
                    <a:pt x="542120" y="441914"/>
                  </a:lnTo>
                  <a:lnTo>
                    <a:pt x="543806" y="445205"/>
                  </a:lnTo>
                  <a:lnTo>
                    <a:pt x="548865" y="441914"/>
                  </a:lnTo>
                  <a:lnTo>
                    <a:pt x="550551" y="446851"/>
                  </a:lnTo>
                  <a:lnTo>
                    <a:pt x="548865" y="441914"/>
                  </a:lnTo>
                  <a:lnTo>
                    <a:pt x="545492" y="441914"/>
                  </a:lnTo>
                  <a:lnTo>
                    <a:pt x="548865" y="441914"/>
                  </a:lnTo>
                  <a:lnTo>
                    <a:pt x="550551" y="446851"/>
                  </a:lnTo>
                  <a:lnTo>
                    <a:pt x="547179" y="441914"/>
                  </a:lnTo>
                  <a:lnTo>
                    <a:pt x="547179" y="446851"/>
                  </a:lnTo>
                  <a:lnTo>
                    <a:pt x="545492" y="445205"/>
                  </a:lnTo>
                  <a:lnTo>
                    <a:pt x="550551" y="448497"/>
                  </a:lnTo>
                  <a:lnTo>
                    <a:pt x="548865" y="448497"/>
                  </a:lnTo>
                  <a:close/>
                  <a:moveTo>
                    <a:pt x="558982" y="450143"/>
                  </a:moveTo>
                  <a:lnTo>
                    <a:pt x="553924" y="450143"/>
                  </a:lnTo>
                  <a:lnTo>
                    <a:pt x="562355" y="448497"/>
                  </a:lnTo>
                  <a:lnTo>
                    <a:pt x="562355" y="440268"/>
                  </a:lnTo>
                  <a:lnTo>
                    <a:pt x="562355" y="448497"/>
                  </a:lnTo>
                  <a:lnTo>
                    <a:pt x="558982" y="450143"/>
                  </a:lnTo>
                  <a:close/>
                  <a:moveTo>
                    <a:pt x="570786" y="461664"/>
                  </a:moveTo>
                  <a:lnTo>
                    <a:pt x="567413" y="460018"/>
                  </a:lnTo>
                  <a:lnTo>
                    <a:pt x="574158" y="455080"/>
                  </a:lnTo>
                  <a:lnTo>
                    <a:pt x="572472" y="458372"/>
                  </a:lnTo>
                  <a:lnTo>
                    <a:pt x="577531" y="460018"/>
                  </a:lnTo>
                  <a:lnTo>
                    <a:pt x="570786" y="461664"/>
                  </a:lnTo>
                  <a:close/>
                  <a:moveTo>
                    <a:pt x="575844" y="469893"/>
                  </a:moveTo>
                  <a:lnTo>
                    <a:pt x="570786" y="466601"/>
                  </a:lnTo>
                  <a:lnTo>
                    <a:pt x="572472" y="466601"/>
                  </a:lnTo>
                  <a:lnTo>
                    <a:pt x="575844" y="469893"/>
                  </a:lnTo>
                  <a:close/>
                  <a:moveTo>
                    <a:pt x="678704" y="484706"/>
                  </a:moveTo>
                  <a:lnTo>
                    <a:pt x="646666" y="479768"/>
                  </a:lnTo>
                  <a:lnTo>
                    <a:pt x="628117" y="473185"/>
                  </a:lnTo>
                  <a:lnTo>
                    <a:pt x="628117" y="474831"/>
                  </a:lnTo>
                  <a:lnTo>
                    <a:pt x="624745" y="474831"/>
                  </a:lnTo>
                  <a:lnTo>
                    <a:pt x="624745" y="476477"/>
                  </a:lnTo>
                  <a:lnTo>
                    <a:pt x="609569" y="469893"/>
                  </a:lnTo>
                  <a:lnTo>
                    <a:pt x="612941" y="473185"/>
                  </a:lnTo>
                  <a:lnTo>
                    <a:pt x="609569" y="473185"/>
                  </a:lnTo>
                  <a:lnTo>
                    <a:pt x="604510" y="464956"/>
                  </a:lnTo>
                  <a:lnTo>
                    <a:pt x="606197" y="471539"/>
                  </a:lnTo>
                  <a:lnTo>
                    <a:pt x="604510" y="464956"/>
                  </a:lnTo>
                  <a:lnTo>
                    <a:pt x="592707" y="453435"/>
                  </a:lnTo>
                  <a:lnTo>
                    <a:pt x="584276" y="438622"/>
                  </a:lnTo>
                  <a:lnTo>
                    <a:pt x="585962" y="436976"/>
                  </a:lnTo>
                  <a:lnTo>
                    <a:pt x="585962" y="440268"/>
                  </a:lnTo>
                  <a:lnTo>
                    <a:pt x="587648" y="436976"/>
                  </a:lnTo>
                  <a:lnTo>
                    <a:pt x="570786" y="428747"/>
                  </a:lnTo>
                  <a:lnTo>
                    <a:pt x="569100" y="432038"/>
                  </a:lnTo>
                  <a:lnTo>
                    <a:pt x="565727" y="430393"/>
                  </a:lnTo>
                  <a:lnTo>
                    <a:pt x="565727" y="433684"/>
                  </a:lnTo>
                  <a:lnTo>
                    <a:pt x="564041" y="427101"/>
                  </a:lnTo>
                  <a:lnTo>
                    <a:pt x="547179" y="422163"/>
                  </a:lnTo>
                  <a:lnTo>
                    <a:pt x="538748" y="413934"/>
                  </a:lnTo>
                  <a:lnTo>
                    <a:pt x="506709" y="412288"/>
                  </a:lnTo>
                  <a:lnTo>
                    <a:pt x="501651" y="405705"/>
                  </a:lnTo>
                  <a:lnTo>
                    <a:pt x="499964" y="407350"/>
                  </a:lnTo>
                  <a:lnTo>
                    <a:pt x="499964" y="402413"/>
                  </a:lnTo>
                  <a:lnTo>
                    <a:pt x="489847" y="413934"/>
                  </a:lnTo>
                  <a:lnTo>
                    <a:pt x="486475" y="412288"/>
                  </a:lnTo>
                  <a:lnTo>
                    <a:pt x="498278" y="400767"/>
                  </a:lnTo>
                  <a:lnTo>
                    <a:pt x="488161" y="381017"/>
                  </a:lnTo>
                  <a:lnTo>
                    <a:pt x="474671" y="372787"/>
                  </a:lnTo>
                  <a:lnTo>
                    <a:pt x="454436" y="366204"/>
                  </a:lnTo>
                  <a:lnTo>
                    <a:pt x="451064" y="361266"/>
                  </a:lnTo>
                  <a:lnTo>
                    <a:pt x="447691" y="361266"/>
                  </a:lnTo>
                  <a:lnTo>
                    <a:pt x="446005" y="366204"/>
                  </a:lnTo>
                  <a:lnTo>
                    <a:pt x="447691" y="356329"/>
                  </a:lnTo>
                  <a:lnTo>
                    <a:pt x="446005" y="361266"/>
                  </a:lnTo>
                  <a:lnTo>
                    <a:pt x="437574" y="354683"/>
                  </a:lnTo>
                  <a:lnTo>
                    <a:pt x="420712" y="351391"/>
                  </a:lnTo>
                  <a:lnTo>
                    <a:pt x="397105" y="353037"/>
                  </a:lnTo>
                  <a:lnTo>
                    <a:pt x="386987" y="357975"/>
                  </a:lnTo>
                  <a:lnTo>
                    <a:pt x="383615" y="354683"/>
                  </a:lnTo>
                  <a:lnTo>
                    <a:pt x="386987" y="357975"/>
                  </a:lnTo>
                  <a:lnTo>
                    <a:pt x="388673" y="354683"/>
                  </a:lnTo>
                  <a:lnTo>
                    <a:pt x="383615" y="351391"/>
                  </a:lnTo>
                  <a:lnTo>
                    <a:pt x="381929" y="353037"/>
                  </a:lnTo>
                  <a:lnTo>
                    <a:pt x="380242" y="348099"/>
                  </a:lnTo>
                  <a:lnTo>
                    <a:pt x="380242" y="349745"/>
                  </a:lnTo>
                  <a:lnTo>
                    <a:pt x="375184" y="351391"/>
                  </a:lnTo>
                  <a:lnTo>
                    <a:pt x="376870" y="353037"/>
                  </a:lnTo>
                  <a:lnTo>
                    <a:pt x="380242" y="353037"/>
                  </a:lnTo>
                  <a:lnTo>
                    <a:pt x="383615" y="369496"/>
                  </a:lnTo>
                  <a:lnTo>
                    <a:pt x="380242" y="353037"/>
                  </a:lnTo>
                  <a:lnTo>
                    <a:pt x="375184" y="354683"/>
                  </a:lnTo>
                  <a:lnTo>
                    <a:pt x="373497" y="349745"/>
                  </a:lnTo>
                  <a:lnTo>
                    <a:pt x="366753" y="348099"/>
                  </a:lnTo>
                  <a:lnTo>
                    <a:pt x="356635" y="349745"/>
                  </a:lnTo>
                  <a:lnTo>
                    <a:pt x="343145" y="344808"/>
                  </a:lnTo>
                  <a:lnTo>
                    <a:pt x="338087" y="333287"/>
                  </a:lnTo>
                  <a:lnTo>
                    <a:pt x="339773" y="341516"/>
                  </a:lnTo>
                  <a:lnTo>
                    <a:pt x="326283" y="339870"/>
                  </a:lnTo>
                  <a:lnTo>
                    <a:pt x="333028" y="353037"/>
                  </a:lnTo>
                  <a:lnTo>
                    <a:pt x="339773" y="351391"/>
                  </a:lnTo>
                  <a:lnTo>
                    <a:pt x="333028" y="353037"/>
                  </a:lnTo>
                  <a:lnTo>
                    <a:pt x="324597" y="334932"/>
                  </a:lnTo>
                  <a:lnTo>
                    <a:pt x="326283" y="325057"/>
                  </a:lnTo>
                  <a:lnTo>
                    <a:pt x="312793" y="302015"/>
                  </a:lnTo>
                  <a:lnTo>
                    <a:pt x="312793" y="295432"/>
                  </a:lnTo>
                  <a:lnTo>
                    <a:pt x="319538" y="297078"/>
                  </a:lnTo>
                  <a:lnTo>
                    <a:pt x="316166" y="295432"/>
                  </a:lnTo>
                  <a:lnTo>
                    <a:pt x="319538" y="293786"/>
                  </a:lnTo>
                  <a:lnTo>
                    <a:pt x="311107" y="293786"/>
                  </a:lnTo>
                  <a:lnTo>
                    <a:pt x="309421" y="282265"/>
                  </a:lnTo>
                  <a:lnTo>
                    <a:pt x="300990" y="274035"/>
                  </a:lnTo>
                  <a:lnTo>
                    <a:pt x="302676" y="264160"/>
                  </a:lnTo>
                  <a:lnTo>
                    <a:pt x="311107" y="262514"/>
                  </a:lnTo>
                  <a:lnTo>
                    <a:pt x="302676" y="260869"/>
                  </a:lnTo>
                  <a:lnTo>
                    <a:pt x="304362" y="254285"/>
                  </a:lnTo>
                  <a:lnTo>
                    <a:pt x="300990" y="259223"/>
                  </a:lnTo>
                  <a:lnTo>
                    <a:pt x="294245" y="252639"/>
                  </a:lnTo>
                  <a:lnTo>
                    <a:pt x="297617" y="264160"/>
                  </a:lnTo>
                  <a:lnTo>
                    <a:pt x="292559" y="264160"/>
                  </a:lnTo>
                  <a:lnTo>
                    <a:pt x="290872" y="267452"/>
                  </a:lnTo>
                  <a:lnTo>
                    <a:pt x="287500" y="267452"/>
                  </a:lnTo>
                  <a:lnTo>
                    <a:pt x="277383" y="241118"/>
                  </a:lnTo>
                  <a:lnTo>
                    <a:pt x="279069" y="241118"/>
                  </a:lnTo>
                  <a:lnTo>
                    <a:pt x="280755" y="234535"/>
                  </a:lnTo>
                  <a:lnTo>
                    <a:pt x="289186" y="231243"/>
                  </a:lnTo>
                  <a:lnTo>
                    <a:pt x="285814" y="234535"/>
                  </a:lnTo>
                  <a:lnTo>
                    <a:pt x="287500" y="234535"/>
                  </a:lnTo>
                  <a:lnTo>
                    <a:pt x="294245" y="229597"/>
                  </a:lnTo>
                  <a:lnTo>
                    <a:pt x="297617" y="231243"/>
                  </a:lnTo>
                  <a:lnTo>
                    <a:pt x="297617" y="226306"/>
                  </a:lnTo>
                  <a:lnTo>
                    <a:pt x="299304" y="223014"/>
                  </a:lnTo>
                  <a:lnTo>
                    <a:pt x="295931" y="224660"/>
                  </a:lnTo>
                  <a:lnTo>
                    <a:pt x="297617" y="221368"/>
                  </a:lnTo>
                  <a:lnTo>
                    <a:pt x="292559" y="206555"/>
                  </a:lnTo>
                  <a:lnTo>
                    <a:pt x="297617" y="201617"/>
                  </a:lnTo>
                  <a:lnTo>
                    <a:pt x="292559" y="203264"/>
                  </a:lnTo>
                  <a:lnTo>
                    <a:pt x="294245" y="199972"/>
                  </a:lnTo>
                  <a:lnTo>
                    <a:pt x="289186" y="193388"/>
                  </a:lnTo>
                  <a:lnTo>
                    <a:pt x="285814" y="176930"/>
                  </a:lnTo>
                  <a:lnTo>
                    <a:pt x="268951" y="155533"/>
                  </a:lnTo>
                  <a:lnTo>
                    <a:pt x="260520" y="140721"/>
                  </a:lnTo>
                  <a:lnTo>
                    <a:pt x="262207" y="137429"/>
                  </a:lnTo>
                  <a:lnTo>
                    <a:pt x="260520" y="134137"/>
                  </a:lnTo>
                  <a:lnTo>
                    <a:pt x="238599" y="120970"/>
                  </a:lnTo>
                  <a:lnTo>
                    <a:pt x="208247" y="124262"/>
                  </a:lnTo>
                  <a:lnTo>
                    <a:pt x="204875" y="117679"/>
                  </a:lnTo>
                  <a:lnTo>
                    <a:pt x="181268" y="114387"/>
                  </a:lnTo>
                  <a:lnTo>
                    <a:pt x="174523" y="117679"/>
                  </a:lnTo>
                  <a:lnTo>
                    <a:pt x="169464" y="122616"/>
                  </a:lnTo>
                  <a:lnTo>
                    <a:pt x="154288" y="129199"/>
                  </a:lnTo>
                  <a:lnTo>
                    <a:pt x="155974" y="127554"/>
                  </a:lnTo>
                  <a:lnTo>
                    <a:pt x="152602" y="127554"/>
                  </a:lnTo>
                  <a:lnTo>
                    <a:pt x="152602" y="130845"/>
                  </a:lnTo>
                  <a:lnTo>
                    <a:pt x="149230" y="129199"/>
                  </a:lnTo>
                  <a:lnTo>
                    <a:pt x="152602" y="130845"/>
                  </a:lnTo>
                  <a:lnTo>
                    <a:pt x="150916" y="127554"/>
                  </a:lnTo>
                  <a:lnTo>
                    <a:pt x="118878" y="134137"/>
                  </a:lnTo>
                  <a:lnTo>
                    <a:pt x="115505" y="135783"/>
                  </a:lnTo>
                  <a:lnTo>
                    <a:pt x="120564" y="137429"/>
                  </a:lnTo>
                  <a:lnTo>
                    <a:pt x="108760" y="142367"/>
                  </a:lnTo>
                  <a:lnTo>
                    <a:pt x="100329" y="144012"/>
                  </a:lnTo>
                  <a:lnTo>
                    <a:pt x="103701" y="140721"/>
                  </a:lnTo>
                  <a:lnTo>
                    <a:pt x="95270" y="139075"/>
                  </a:lnTo>
                  <a:lnTo>
                    <a:pt x="85153" y="140721"/>
                  </a:lnTo>
                  <a:lnTo>
                    <a:pt x="83467" y="137429"/>
                  </a:lnTo>
                  <a:lnTo>
                    <a:pt x="85153" y="142367"/>
                  </a:lnTo>
                  <a:lnTo>
                    <a:pt x="83467" y="148950"/>
                  </a:lnTo>
                  <a:lnTo>
                    <a:pt x="91898" y="157179"/>
                  </a:lnTo>
                  <a:lnTo>
                    <a:pt x="90212" y="162117"/>
                  </a:lnTo>
                  <a:lnTo>
                    <a:pt x="91898" y="158825"/>
                  </a:lnTo>
                  <a:lnTo>
                    <a:pt x="86839" y="165409"/>
                  </a:lnTo>
                  <a:lnTo>
                    <a:pt x="71663" y="171992"/>
                  </a:lnTo>
                  <a:lnTo>
                    <a:pt x="75036" y="171992"/>
                  </a:lnTo>
                  <a:lnTo>
                    <a:pt x="64918" y="171992"/>
                  </a:lnTo>
                  <a:lnTo>
                    <a:pt x="66605" y="173638"/>
                  </a:lnTo>
                  <a:lnTo>
                    <a:pt x="56487" y="167054"/>
                  </a:lnTo>
                  <a:lnTo>
                    <a:pt x="53115" y="167054"/>
                  </a:lnTo>
                  <a:lnTo>
                    <a:pt x="49742" y="171992"/>
                  </a:lnTo>
                  <a:lnTo>
                    <a:pt x="54801" y="176930"/>
                  </a:lnTo>
                  <a:lnTo>
                    <a:pt x="53115" y="180221"/>
                  </a:lnTo>
                  <a:lnTo>
                    <a:pt x="54801" y="176930"/>
                  </a:lnTo>
                  <a:lnTo>
                    <a:pt x="51429" y="173638"/>
                  </a:lnTo>
                  <a:lnTo>
                    <a:pt x="48056" y="178575"/>
                  </a:lnTo>
                  <a:lnTo>
                    <a:pt x="49742" y="180221"/>
                  </a:lnTo>
                  <a:lnTo>
                    <a:pt x="46370" y="181867"/>
                  </a:lnTo>
                  <a:lnTo>
                    <a:pt x="36253" y="204909"/>
                  </a:lnTo>
                  <a:lnTo>
                    <a:pt x="37939" y="211493"/>
                  </a:lnTo>
                  <a:lnTo>
                    <a:pt x="34566" y="211493"/>
                  </a:lnTo>
                  <a:lnTo>
                    <a:pt x="29508" y="223014"/>
                  </a:lnTo>
                  <a:lnTo>
                    <a:pt x="34566" y="226306"/>
                  </a:lnTo>
                  <a:lnTo>
                    <a:pt x="36253" y="223014"/>
                  </a:lnTo>
                  <a:lnTo>
                    <a:pt x="37939" y="226306"/>
                  </a:lnTo>
                  <a:lnTo>
                    <a:pt x="41311" y="218076"/>
                  </a:lnTo>
                  <a:lnTo>
                    <a:pt x="39625" y="213138"/>
                  </a:lnTo>
                  <a:lnTo>
                    <a:pt x="46370" y="219722"/>
                  </a:lnTo>
                  <a:lnTo>
                    <a:pt x="41311" y="218076"/>
                  </a:lnTo>
                  <a:lnTo>
                    <a:pt x="44684" y="221368"/>
                  </a:lnTo>
                  <a:lnTo>
                    <a:pt x="54801" y="227951"/>
                  </a:lnTo>
                  <a:lnTo>
                    <a:pt x="53115" y="231243"/>
                  </a:lnTo>
                  <a:lnTo>
                    <a:pt x="58173" y="231243"/>
                  </a:lnTo>
                  <a:lnTo>
                    <a:pt x="58173" y="234535"/>
                  </a:lnTo>
                  <a:lnTo>
                    <a:pt x="51429" y="241118"/>
                  </a:lnTo>
                  <a:lnTo>
                    <a:pt x="46370" y="236181"/>
                  </a:lnTo>
                  <a:lnTo>
                    <a:pt x="48056" y="239472"/>
                  </a:lnTo>
                  <a:lnTo>
                    <a:pt x="46370" y="237827"/>
                  </a:lnTo>
                  <a:lnTo>
                    <a:pt x="44684" y="241118"/>
                  </a:lnTo>
                  <a:lnTo>
                    <a:pt x="48056" y="241118"/>
                  </a:lnTo>
                  <a:lnTo>
                    <a:pt x="31194" y="232889"/>
                  </a:lnTo>
                  <a:lnTo>
                    <a:pt x="31194" y="236181"/>
                  </a:lnTo>
                  <a:lnTo>
                    <a:pt x="27821" y="234535"/>
                  </a:lnTo>
                  <a:lnTo>
                    <a:pt x="26135" y="236181"/>
                  </a:lnTo>
                  <a:lnTo>
                    <a:pt x="26135" y="232889"/>
                  </a:lnTo>
                  <a:lnTo>
                    <a:pt x="31194" y="232889"/>
                  </a:lnTo>
                  <a:lnTo>
                    <a:pt x="26135" y="232889"/>
                  </a:lnTo>
                  <a:lnTo>
                    <a:pt x="29508" y="227951"/>
                  </a:lnTo>
                  <a:lnTo>
                    <a:pt x="26135" y="229597"/>
                  </a:lnTo>
                  <a:lnTo>
                    <a:pt x="24449" y="236181"/>
                  </a:lnTo>
                  <a:lnTo>
                    <a:pt x="22763" y="231243"/>
                  </a:lnTo>
                  <a:lnTo>
                    <a:pt x="24449" y="229597"/>
                  </a:lnTo>
                  <a:lnTo>
                    <a:pt x="21076" y="227951"/>
                  </a:lnTo>
                  <a:lnTo>
                    <a:pt x="21076" y="231243"/>
                  </a:lnTo>
                  <a:lnTo>
                    <a:pt x="17704" y="226306"/>
                  </a:lnTo>
                  <a:lnTo>
                    <a:pt x="9273" y="226306"/>
                  </a:lnTo>
                  <a:lnTo>
                    <a:pt x="4214" y="221368"/>
                  </a:lnTo>
                  <a:lnTo>
                    <a:pt x="21076" y="213138"/>
                  </a:lnTo>
                  <a:lnTo>
                    <a:pt x="31194" y="203264"/>
                  </a:lnTo>
                  <a:lnTo>
                    <a:pt x="44684" y="171992"/>
                  </a:lnTo>
                  <a:lnTo>
                    <a:pt x="41311" y="170346"/>
                  </a:lnTo>
                  <a:lnTo>
                    <a:pt x="37939" y="175284"/>
                  </a:lnTo>
                  <a:lnTo>
                    <a:pt x="39625" y="170346"/>
                  </a:lnTo>
                  <a:lnTo>
                    <a:pt x="44684" y="168700"/>
                  </a:lnTo>
                  <a:lnTo>
                    <a:pt x="46370" y="155533"/>
                  </a:lnTo>
                  <a:lnTo>
                    <a:pt x="32880" y="119324"/>
                  </a:lnTo>
                  <a:lnTo>
                    <a:pt x="31194" y="106157"/>
                  </a:lnTo>
                  <a:lnTo>
                    <a:pt x="34566" y="92991"/>
                  </a:lnTo>
                  <a:lnTo>
                    <a:pt x="49742" y="76532"/>
                  </a:lnTo>
                  <a:lnTo>
                    <a:pt x="90212" y="63365"/>
                  </a:lnTo>
                  <a:lnTo>
                    <a:pt x="88525" y="60073"/>
                  </a:lnTo>
                  <a:lnTo>
                    <a:pt x="90212" y="63365"/>
                  </a:lnTo>
                  <a:lnTo>
                    <a:pt x="91898" y="63365"/>
                  </a:lnTo>
                  <a:lnTo>
                    <a:pt x="91898" y="60073"/>
                  </a:lnTo>
                  <a:lnTo>
                    <a:pt x="91898" y="63365"/>
                  </a:lnTo>
                  <a:lnTo>
                    <a:pt x="95270" y="63365"/>
                  </a:lnTo>
                  <a:lnTo>
                    <a:pt x="93584" y="58427"/>
                  </a:lnTo>
                  <a:lnTo>
                    <a:pt x="95270" y="63365"/>
                  </a:lnTo>
                  <a:lnTo>
                    <a:pt x="98643" y="61719"/>
                  </a:lnTo>
                  <a:lnTo>
                    <a:pt x="96957" y="58427"/>
                  </a:lnTo>
                  <a:lnTo>
                    <a:pt x="98643" y="61719"/>
                  </a:lnTo>
                  <a:lnTo>
                    <a:pt x="100329" y="61719"/>
                  </a:lnTo>
                  <a:lnTo>
                    <a:pt x="100329" y="56782"/>
                  </a:lnTo>
                  <a:lnTo>
                    <a:pt x="102015" y="61719"/>
                  </a:lnTo>
                  <a:lnTo>
                    <a:pt x="103701" y="61719"/>
                  </a:lnTo>
                  <a:lnTo>
                    <a:pt x="103701" y="56782"/>
                  </a:lnTo>
                  <a:lnTo>
                    <a:pt x="105388" y="61719"/>
                  </a:lnTo>
                  <a:lnTo>
                    <a:pt x="108760" y="61719"/>
                  </a:lnTo>
                  <a:lnTo>
                    <a:pt x="208247" y="20573"/>
                  </a:lnTo>
                  <a:lnTo>
                    <a:pt x="221737" y="18927"/>
                  </a:lnTo>
                  <a:lnTo>
                    <a:pt x="257148" y="5760"/>
                  </a:lnTo>
                  <a:lnTo>
                    <a:pt x="274010" y="4114"/>
                  </a:lnTo>
                  <a:lnTo>
                    <a:pt x="280755" y="7406"/>
                  </a:lnTo>
                  <a:lnTo>
                    <a:pt x="285814" y="12343"/>
                  </a:lnTo>
                  <a:lnTo>
                    <a:pt x="277383" y="10698"/>
                  </a:lnTo>
                  <a:lnTo>
                    <a:pt x="268951" y="17281"/>
                  </a:lnTo>
                  <a:lnTo>
                    <a:pt x="268951" y="7406"/>
                  </a:lnTo>
                  <a:lnTo>
                    <a:pt x="255462" y="10698"/>
                  </a:lnTo>
                  <a:lnTo>
                    <a:pt x="235227" y="18927"/>
                  </a:lnTo>
                  <a:lnTo>
                    <a:pt x="238599" y="22219"/>
                  </a:lnTo>
                  <a:lnTo>
                    <a:pt x="231855" y="20573"/>
                  </a:lnTo>
                  <a:lnTo>
                    <a:pt x="233541" y="22219"/>
                  </a:lnTo>
                  <a:lnTo>
                    <a:pt x="231855" y="20573"/>
                  </a:lnTo>
                  <a:lnTo>
                    <a:pt x="228482" y="22219"/>
                  </a:lnTo>
                  <a:lnTo>
                    <a:pt x="225110" y="20573"/>
                  </a:lnTo>
                  <a:lnTo>
                    <a:pt x="226796" y="25510"/>
                  </a:lnTo>
                  <a:lnTo>
                    <a:pt x="221737" y="23864"/>
                  </a:lnTo>
                  <a:lnTo>
                    <a:pt x="214992" y="27156"/>
                  </a:lnTo>
                  <a:lnTo>
                    <a:pt x="218365" y="28802"/>
                  </a:lnTo>
                  <a:lnTo>
                    <a:pt x="203189" y="30448"/>
                  </a:lnTo>
                  <a:lnTo>
                    <a:pt x="214992" y="30448"/>
                  </a:lnTo>
                  <a:lnTo>
                    <a:pt x="231855" y="23864"/>
                  </a:lnTo>
                  <a:lnTo>
                    <a:pt x="243658" y="23864"/>
                  </a:lnTo>
                  <a:lnTo>
                    <a:pt x="241972" y="27156"/>
                  </a:lnTo>
                  <a:lnTo>
                    <a:pt x="245344" y="28802"/>
                  </a:lnTo>
                  <a:lnTo>
                    <a:pt x="243658" y="25510"/>
                  </a:lnTo>
                  <a:lnTo>
                    <a:pt x="247031" y="25510"/>
                  </a:lnTo>
                  <a:lnTo>
                    <a:pt x="247031" y="30448"/>
                  </a:lnTo>
                  <a:lnTo>
                    <a:pt x="248717" y="23864"/>
                  </a:lnTo>
                  <a:lnTo>
                    <a:pt x="255462" y="27156"/>
                  </a:lnTo>
                  <a:lnTo>
                    <a:pt x="255462" y="23864"/>
                  </a:lnTo>
                  <a:lnTo>
                    <a:pt x="268951" y="23864"/>
                  </a:lnTo>
                  <a:lnTo>
                    <a:pt x="279069" y="28802"/>
                  </a:lnTo>
                  <a:lnTo>
                    <a:pt x="275696" y="32094"/>
                  </a:lnTo>
                  <a:lnTo>
                    <a:pt x="274010" y="30448"/>
                  </a:lnTo>
                  <a:lnTo>
                    <a:pt x="275696" y="33740"/>
                  </a:lnTo>
                  <a:lnTo>
                    <a:pt x="265579" y="28802"/>
                  </a:lnTo>
                  <a:lnTo>
                    <a:pt x="270638" y="30448"/>
                  </a:lnTo>
                  <a:lnTo>
                    <a:pt x="272324" y="33740"/>
                  </a:lnTo>
                  <a:lnTo>
                    <a:pt x="270638" y="33740"/>
                  </a:lnTo>
                  <a:lnTo>
                    <a:pt x="275696" y="33740"/>
                  </a:lnTo>
                  <a:lnTo>
                    <a:pt x="274010" y="38677"/>
                  </a:lnTo>
                  <a:lnTo>
                    <a:pt x="265579" y="38677"/>
                  </a:lnTo>
                  <a:lnTo>
                    <a:pt x="270638" y="40323"/>
                  </a:lnTo>
                  <a:lnTo>
                    <a:pt x="268951" y="43615"/>
                  </a:lnTo>
                  <a:lnTo>
                    <a:pt x="260520" y="38677"/>
                  </a:lnTo>
                  <a:lnTo>
                    <a:pt x="268951" y="43615"/>
                  </a:lnTo>
                  <a:lnTo>
                    <a:pt x="275696" y="38677"/>
                  </a:lnTo>
                  <a:lnTo>
                    <a:pt x="279069" y="43615"/>
                  </a:lnTo>
                  <a:lnTo>
                    <a:pt x="297617" y="56782"/>
                  </a:lnTo>
                  <a:lnTo>
                    <a:pt x="307735" y="50198"/>
                  </a:lnTo>
                  <a:lnTo>
                    <a:pt x="299304" y="61719"/>
                  </a:lnTo>
                  <a:lnTo>
                    <a:pt x="300990" y="61719"/>
                  </a:lnTo>
                  <a:lnTo>
                    <a:pt x="309421" y="69949"/>
                  </a:lnTo>
                  <a:lnTo>
                    <a:pt x="312793" y="66657"/>
                  </a:lnTo>
                  <a:lnTo>
                    <a:pt x="306048" y="60073"/>
                  </a:lnTo>
                  <a:lnTo>
                    <a:pt x="306048" y="55136"/>
                  </a:lnTo>
                  <a:lnTo>
                    <a:pt x="317852" y="60073"/>
                  </a:lnTo>
                  <a:lnTo>
                    <a:pt x="321224" y="55136"/>
                  </a:lnTo>
                  <a:lnTo>
                    <a:pt x="322911" y="56782"/>
                  </a:lnTo>
                  <a:lnTo>
                    <a:pt x="329656" y="50198"/>
                  </a:lnTo>
                  <a:lnTo>
                    <a:pt x="322911" y="56782"/>
                  </a:lnTo>
                  <a:lnTo>
                    <a:pt x="322911" y="69949"/>
                  </a:lnTo>
                  <a:lnTo>
                    <a:pt x="326283" y="74886"/>
                  </a:lnTo>
                  <a:lnTo>
                    <a:pt x="316166" y="71595"/>
                  </a:lnTo>
                  <a:lnTo>
                    <a:pt x="314480" y="76532"/>
                  </a:lnTo>
                  <a:lnTo>
                    <a:pt x="321224" y="83115"/>
                  </a:lnTo>
                  <a:lnTo>
                    <a:pt x="321224" y="86407"/>
                  </a:lnTo>
                  <a:lnTo>
                    <a:pt x="329656" y="74886"/>
                  </a:lnTo>
                  <a:lnTo>
                    <a:pt x="331342" y="78178"/>
                  </a:lnTo>
                  <a:lnTo>
                    <a:pt x="336400" y="79824"/>
                  </a:lnTo>
                  <a:lnTo>
                    <a:pt x="338087" y="76532"/>
                  </a:lnTo>
                  <a:lnTo>
                    <a:pt x="329656" y="74886"/>
                  </a:lnTo>
                  <a:lnTo>
                    <a:pt x="338087" y="76532"/>
                  </a:lnTo>
                  <a:lnTo>
                    <a:pt x="338087" y="79824"/>
                  </a:lnTo>
                  <a:lnTo>
                    <a:pt x="353263" y="88053"/>
                  </a:lnTo>
                  <a:lnTo>
                    <a:pt x="338087" y="81470"/>
                  </a:lnTo>
                  <a:lnTo>
                    <a:pt x="351576" y="96282"/>
                  </a:lnTo>
                  <a:lnTo>
                    <a:pt x="392046" y="114387"/>
                  </a:lnTo>
                  <a:lnTo>
                    <a:pt x="430829" y="139075"/>
                  </a:lnTo>
                  <a:lnTo>
                    <a:pt x="439260" y="140721"/>
                  </a:lnTo>
                  <a:lnTo>
                    <a:pt x="435888" y="145658"/>
                  </a:lnTo>
                  <a:lnTo>
                    <a:pt x="440946" y="142367"/>
                  </a:lnTo>
                  <a:lnTo>
                    <a:pt x="439260" y="144012"/>
                  </a:lnTo>
                  <a:lnTo>
                    <a:pt x="451064" y="148950"/>
                  </a:lnTo>
                  <a:lnTo>
                    <a:pt x="446005" y="157179"/>
                  </a:lnTo>
                  <a:lnTo>
                    <a:pt x="461181" y="162117"/>
                  </a:lnTo>
                  <a:lnTo>
                    <a:pt x="461181" y="160471"/>
                  </a:lnTo>
                  <a:lnTo>
                    <a:pt x="454436" y="157179"/>
                  </a:lnTo>
                  <a:lnTo>
                    <a:pt x="457809" y="152242"/>
                  </a:lnTo>
                  <a:lnTo>
                    <a:pt x="466240" y="157179"/>
                  </a:lnTo>
                  <a:lnTo>
                    <a:pt x="464554" y="155533"/>
                  </a:lnTo>
                  <a:lnTo>
                    <a:pt x="461181" y="162117"/>
                  </a:lnTo>
                  <a:lnTo>
                    <a:pt x="467926" y="165409"/>
                  </a:lnTo>
                  <a:lnTo>
                    <a:pt x="472985" y="160471"/>
                  </a:lnTo>
                  <a:lnTo>
                    <a:pt x="469612" y="158825"/>
                  </a:lnTo>
                  <a:lnTo>
                    <a:pt x="472985" y="158825"/>
                  </a:lnTo>
                  <a:lnTo>
                    <a:pt x="503337" y="178575"/>
                  </a:lnTo>
                  <a:lnTo>
                    <a:pt x="503337" y="183513"/>
                  </a:lnTo>
                  <a:lnTo>
                    <a:pt x="505023" y="180221"/>
                  </a:lnTo>
                  <a:lnTo>
                    <a:pt x="513454" y="183513"/>
                  </a:lnTo>
                  <a:lnTo>
                    <a:pt x="515140" y="185159"/>
                  </a:lnTo>
                  <a:lnTo>
                    <a:pt x="542120" y="191742"/>
                  </a:lnTo>
                  <a:lnTo>
                    <a:pt x="543806" y="193388"/>
                  </a:lnTo>
                  <a:lnTo>
                    <a:pt x="537061" y="193388"/>
                  </a:lnTo>
                  <a:lnTo>
                    <a:pt x="543806" y="193388"/>
                  </a:lnTo>
                  <a:lnTo>
                    <a:pt x="542120" y="195034"/>
                  </a:lnTo>
                  <a:lnTo>
                    <a:pt x="552237" y="186805"/>
                  </a:lnTo>
                  <a:lnTo>
                    <a:pt x="543806" y="193388"/>
                  </a:lnTo>
                  <a:lnTo>
                    <a:pt x="545492" y="195034"/>
                  </a:lnTo>
                  <a:lnTo>
                    <a:pt x="543806" y="196680"/>
                  </a:lnTo>
                  <a:lnTo>
                    <a:pt x="552237" y="188451"/>
                  </a:lnTo>
                  <a:lnTo>
                    <a:pt x="548865" y="196680"/>
                  </a:lnTo>
                  <a:lnTo>
                    <a:pt x="553924" y="203264"/>
                  </a:lnTo>
                  <a:lnTo>
                    <a:pt x="584276" y="236181"/>
                  </a:lnTo>
                  <a:lnTo>
                    <a:pt x="618000" y="259223"/>
                  </a:lnTo>
                  <a:lnTo>
                    <a:pt x="621373" y="265806"/>
                  </a:lnTo>
                  <a:lnTo>
                    <a:pt x="629804" y="270744"/>
                  </a:lnTo>
                  <a:lnTo>
                    <a:pt x="626431" y="267452"/>
                  </a:lnTo>
                  <a:lnTo>
                    <a:pt x="624745" y="270744"/>
                  </a:lnTo>
                  <a:lnTo>
                    <a:pt x="626431" y="272390"/>
                  </a:lnTo>
                  <a:lnTo>
                    <a:pt x="629804" y="270744"/>
                  </a:lnTo>
                  <a:lnTo>
                    <a:pt x="624745" y="275682"/>
                  </a:lnTo>
                  <a:lnTo>
                    <a:pt x="624745" y="277327"/>
                  </a:lnTo>
                  <a:lnTo>
                    <a:pt x="629804" y="272390"/>
                  </a:lnTo>
                  <a:lnTo>
                    <a:pt x="629804" y="275682"/>
                  </a:lnTo>
                  <a:lnTo>
                    <a:pt x="650038" y="300369"/>
                  </a:lnTo>
                  <a:lnTo>
                    <a:pt x="648352" y="303661"/>
                  </a:lnTo>
                  <a:lnTo>
                    <a:pt x="650038" y="302015"/>
                  </a:lnTo>
                  <a:lnTo>
                    <a:pt x="653411" y="308599"/>
                  </a:lnTo>
                  <a:lnTo>
                    <a:pt x="660156" y="311890"/>
                  </a:lnTo>
                  <a:lnTo>
                    <a:pt x="655097" y="315182"/>
                  </a:lnTo>
                  <a:lnTo>
                    <a:pt x="660156" y="316828"/>
                  </a:lnTo>
                  <a:lnTo>
                    <a:pt x="658470" y="315182"/>
                  </a:lnTo>
                  <a:lnTo>
                    <a:pt x="661842" y="313536"/>
                  </a:lnTo>
                  <a:lnTo>
                    <a:pt x="670273" y="321766"/>
                  </a:lnTo>
                  <a:lnTo>
                    <a:pt x="677018" y="325057"/>
                  </a:lnTo>
                  <a:lnTo>
                    <a:pt x="683763" y="321766"/>
                  </a:lnTo>
                  <a:lnTo>
                    <a:pt x="680390" y="331641"/>
                  </a:lnTo>
                  <a:lnTo>
                    <a:pt x="685449" y="323411"/>
                  </a:lnTo>
                  <a:lnTo>
                    <a:pt x="683763" y="325057"/>
                  </a:lnTo>
                  <a:lnTo>
                    <a:pt x="688822" y="328349"/>
                  </a:lnTo>
                  <a:lnTo>
                    <a:pt x="705684" y="333287"/>
                  </a:lnTo>
                  <a:lnTo>
                    <a:pt x="739408" y="362912"/>
                  </a:lnTo>
                  <a:lnTo>
                    <a:pt x="754584" y="369496"/>
                  </a:lnTo>
                  <a:lnTo>
                    <a:pt x="795054" y="371141"/>
                  </a:lnTo>
                  <a:lnTo>
                    <a:pt x="810230" y="369496"/>
                  </a:lnTo>
                  <a:lnTo>
                    <a:pt x="813602" y="364558"/>
                  </a:lnTo>
                  <a:lnTo>
                    <a:pt x="811916" y="369496"/>
                  </a:lnTo>
                  <a:lnTo>
                    <a:pt x="838895" y="371141"/>
                  </a:lnTo>
                  <a:lnTo>
                    <a:pt x="850699" y="366204"/>
                  </a:lnTo>
                  <a:lnTo>
                    <a:pt x="850699" y="362912"/>
                  </a:lnTo>
                  <a:lnTo>
                    <a:pt x="845640" y="361266"/>
                  </a:lnTo>
                  <a:lnTo>
                    <a:pt x="852385" y="364558"/>
                  </a:lnTo>
                  <a:lnTo>
                    <a:pt x="857444" y="354683"/>
                  </a:lnTo>
                  <a:lnTo>
                    <a:pt x="854071" y="351391"/>
                  </a:lnTo>
                  <a:lnTo>
                    <a:pt x="860816" y="349745"/>
                  </a:lnTo>
                  <a:lnTo>
                    <a:pt x="860816" y="351391"/>
                  </a:lnTo>
                  <a:lnTo>
                    <a:pt x="865875" y="356329"/>
                  </a:lnTo>
                  <a:lnTo>
                    <a:pt x="862503" y="354683"/>
                  </a:lnTo>
                  <a:lnTo>
                    <a:pt x="860816" y="357975"/>
                  </a:lnTo>
                  <a:lnTo>
                    <a:pt x="860816" y="366204"/>
                  </a:lnTo>
                  <a:lnTo>
                    <a:pt x="874306" y="364558"/>
                  </a:lnTo>
                  <a:lnTo>
                    <a:pt x="862503" y="371141"/>
                  </a:lnTo>
                  <a:lnTo>
                    <a:pt x="859130" y="369496"/>
                  </a:lnTo>
                  <a:lnTo>
                    <a:pt x="860816" y="366204"/>
                  </a:lnTo>
                  <a:lnTo>
                    <a:pt x="859130" y="366204"/>
                  </a:lnTo>
                  <a:lnTo>
                    <a:pt x="859130" y="371141"/>
                  </a:lnTo>
                  <a:lnTo>
                    <a:pt x="862503" y="372787"/>
                  </a:lnTo>
                  <a:lnTo>
                    <a:pt x="869247" y="381017"/>
                  </a:lnTo>
                  <a:lnTo>
                    <a:pt x="854071" y="392538"/>
                  </a:lnTo>
                  <a:lnTo>
                    <a:pt x="855758" y="387600"/>
                  </a:lnTo>
                  <a:lnTo>
                    <a:pt x="850699" y="384308"/>
                  </a:lnTo>
                  <a:lnTo>
                    <a:pt x="842268" y="392538"/>
                  </a:lnTo>
                  <a:lnTo>
                    <a:pt x="843954" y="385954"/>
                  </a:lnTo>
                  <a:lnTo>
                    <a:pt x="832150" y="377725"/>
                  </a:lnTo>
                  <a:lnTo>
                    <a:pt x="825406" y="379371"/>
                  </a:lnTo>
                  <a:lnTo>
                    <a:pt x="823719" y="385954"/>
                  </a:lnTo>
                  <a:lnTo>
                    <a:pt x="818661" y="387600"/>
                  </a:lnTo>
                  <a:lnTo>
                    <a:pt x="816974" y="385954"/>
                  </a:lnTo>
                  <a:lnTo>
                    <a:pt x="815288" y="387600"/>
                  </a:lnTo>
                  <a:lnTo>
                    <a:pt x="815288" y="379371"/>
                  </a:lnTo>
                  <a:lnTo>
                    <a:pt x="823719" y="377725"/>
                  </a:lnTo>
                  <a:lnTo>
                    <a:pt x="815288" y="377725"/>
                  </a:lnTo>
                  <a:lnTo>
                    <a:pt x="813602" y="376079"/>
                  </a:lnTo>
                  <a:lnTo>
                    <a:pt x="815288" y="377725"/>
                  </a:lnTo>
                  <a:lnTo>
                    <a:pt x="810230" y="387600"/>
                  </a:lnTo>
                  <a:lnTo>
                    <a:pt x="805171" y="389246"/>
                  </a:lnTo>
                  <a:lnTo>
                    <a:pt x="805171" y="377725"/>
                  </a:lnTo>
                  <a:lnTo>
                    <a:pt x="805171" y="392538"/>
                  </a:lnTo>
                  <a:lnTo>
                    <a:pt x="805171" y="379371"/>
                  </a:lnTo>
                  <a:lnTo>
                    <a:pt x="803485" y="382663"/>
                  </a:lnTo>
                  <a:lnTo>
                    <a:pt x="805171" y="390892"/>
                  </a:lnTo>
                  <a:lnTo>
                    <a:pt x="800112" y="387600"/>
                  </a:lnTo>
                  <a:lnTo>
                    <a:pt x="800112" y="382663"/>
                  </a:lnTo>
                  <a:lnTo>
                    <a:pt x="798426" y="381017"/>
                  </a:lnTo>
                  <a:lnTo>
                    <a:pt x="801798" y="379371"/>
                  </a:lnTo>
                  <a:lnTo>
                    <a:pt x="800112" y="374433"/>
                  </a:lnTo>
                  <a:lnTo>
                    <a:pt x="779877" y="374433"/>
                  </a:lnTo>
                  <a:lnTo>
                    <a:pt x="796740" y="376079"/>
                  </a:lnTo>
                  <a:lnTo>
                    <a:pt x="796740" y="379371"/>
                  </a:lnTo>
                  <a:lnTo>
                    <a:pt x="793367" y="377725"/>
                  </a:lnTo>
                  <a:lnTo>
                    <a:pt x="796740" y="379371"/>
                  </a:lnTo>
                  <a:lnTo>
                    <a:pt x="793367" y="385954"/>
                  </a:lnTo>
                  <a:lnTo>
                    <a:pt x="795054" y="384308"/>
                  </a:lnTo>
                  <a:lnTo>
                    <a:pt x="793367" y="387600"/>
                  </a:lnTo>
                  <a:lnTo>
                    <a:pt x="800112" y="394183"/>
                  </a:lnTo>
                  <a:lnTo>
                    <a:pt x="798426" y="395829"/>
                  </a:lnTo>
                  <a:lnTo>
                    <a:pt x="801798" y="399121"/>
                  </a:lnTo>
                  <a:lnTo>
                    <a:pt x="801798" y="394183"/>
                  </a:lnTo>
                  <a:lnTo>
                    <a:pt x="805171" y="394183"/>
                  </a:lnTo>
                  <a:lnTo>
                    <a:pt x="803485" y="400767"/>
                  </a:lnTo>
                  <a:lnTo>
                    <a:pt x="806857" y="395829"/>
                  </a:lnTo>
                  <a:lnTo>
                    <a:pt x="808543" y="397475"/>
                  </a:lnTo>
                  <a:lnTo>
                    <a:pt x="813602" y="405705"/>
                  </a:lnTo>
                  <a:lnTo>
                    <a:pt x="811916" y="408996"/>
                  </a:lnTo>
                  <a:lnTo>
                    <a:pt x="808543" y="408996"/>
                  </a:lnTo>
                  <a:lnTo>
                    <a:pt x="810230" y="410642"/>
                  </a:lnTo>
                  <a:lnTo>
                    <a:pt x="811916" y="415580"/>
                  </a:lnTo>
                  <a:lnTo>
                    <a:pt x="811916" y="410642"/>
                  </a:lnTo>
                  <a:lnTo>
                    <a:pt x="815288" y="412288"/>
                  </a:lnTo>
                  <a:lnTo>
                    <a:pt x="810230" y="417225"/>
                  </a:lnTo>
                  <a:lnTo>
                    <a:pt x="811916" y="420517"/>
                  </a:lnTo>
                  <a:lnTo>
                    <a:pt x="789995" y="417225"/>
                  </a:lnTo>
                  <a:lnTo>
                    <a:pt x="806857" y="418872"/>
                  </a:lnTo>
                  <a:lnTo>
                    <a:pt x="811916" y="422163"/>
                  </a:lnTo>
                  <a:lnTo>
                    <a:pt x="810230" y="420517"/>
                  </a:lnTo>
                  <a:lnTo>
                    <a:pt x="808543" y="430393"/>
                  </a:lnTo>
                  <a:lnTo>
                    <a:pt x="795054" y="446851"/>
                  </a:lnTo>
                  <a:lnTo>
                    <a:pt x="754584" y="464956"/>
                  </a:lnTo>
                  <a:lnTo>
                    <a:pt x="734349" y="471539"/>
                  </a:lnTo>
                  <a:lnTo>
                    <a:pt x="730977" y="468247"/>
                  </a:lnTo>
                  <a:lnTo>
                    <a:pt x="730977" y="469893"/>
                  </a:lnTo>
                  <a:lnTo>
                    <a:pt x="725919" y="471539"/>
                  </a:lnTo>
                  <a:lnTo>
                    <a:pt x="707370" y="473185"/>
                  </a:lnTo>
                  <a:lnTo>
                    <a:pt x="678704" y="484706"/>
                  </a:lnTo>
                  <a:close/>
                  <a:moveTo>
                    <a:pt x="316166" y="71595"/>
                  </a:moveTo>
                  <a:lnTo>
                    <a:pt x="316166" y="69949"/>
                  </a:lnTo>
                  <a:lnTo>
                    <a:pt x="312793" y="68303"/>
                  </a:lnTo>
                  <a:lnTo>
                    <a:pt x="316166" y="7159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6" name="Duiven">
              <a:extLst>
                <a:ext uri="{FF2B5EF4-FFF2-40B4-BE49-F238E27FC236}">
                  <a16:creationId xmlns:a16="http://schemas.microsoft.com/office/drawing/2014/main" id="{3CB5AB5B-51D1-4D4F-A5F9-4B21FC8FB123}"/>
                </a:ext>
              </a:extLst>
            </p:cNvPr>
            <p:cNvSpPr/>
            <p:nvPr/>
          </p:nvSpPr>
          <p:spPr>
            <a:xfrm>
              <a:off x="6835459" y="3704097"/>
              <a:ext cx="111927" cy="113412"/>
            </a:xfrm>
            <a:custGeom>
              <a:avLst/>
              <a:gdLst/>
              <a:ahLst/>
              <a:cxnLst/>
              <a:rect l="l" t="t" r="r" b="b"/>
              <a:pathLst>
                <a:path w="163914" h="171450" extrusionOk="0">
                  <a:moveTo>
                    <a:pt x="149230" y="4114"/>
                  </a:moveTo>
                  <a:lnTo>
                    <a:pt x="150916" y="7406"/>
                  </a:lnTo>
                  <a:lnTo>
                    <a:pt x="161033" y="9052"/>
                  </a:lnTo>
                  <a:lnTo>
                    <a:pt x="159347" y="22219"/>
                  </a:lnTo>
                  <a:lnTo>
                    <a:pt x="149230" y="22219"/>
                  </a:lnTo>
                  <a:lnTo>
                    <a:pt x="145857" y="61719"/>
                  </a:lnTo>
                  <a:lnTo>
                    <a:pt x="137426" y="74886"/>
                  </a:lnTo>
                  <a:lnTo>
                    <a:pt x="152602" y="83116"/>
                  </a:lnTo>
                  <a:lnTo>
                    <a:pt x="140798" y="106158"/>
                  </a:lnTo>
                  <a:lnTo>
                    <a:pt x="137426" y="104512"/>
                  </a:lnTo>
                  <a:lnTo>
                    <a:pt x="135740" y="127554"/>
                  </a:lnTo>
                  <a:lnTo>
                    <a:pt x="130681" y="125908"/>
                  </a:lnTo>
                  <a:lnTo>
                    <a:pt x="122250" y="135783"/>
                  </a:lnTo>
                  <a:lnTo>
                    <a:pt x="127309" y="137429"/>
                  </a:lnTo>
                  <a:lnTo>
                    <a:pt x="128995" y="142367"/>
                  </a:lnTo>
                  <a:lnTo>
                    <a:pt x="123936" y="152242"/>
                  </a:lnTo>
                  <a:lnTo>
                    <a:pt x="125622" y="153888"/>
                  </a:lnTo>
                  <a:lnTo>
                    <a:pt x="122250" y="162117"/>
                  </a:lnTo>
                  <a:lnTo>
                    <a:pt x="120564" y="165409"/>
                  </a:lnTo>
                  <a:lnTo>
                    <a:pt x="115505" y="163763"/>
                  </a:lnTo>
                  <a:lnTo>
                    <a:pt x="113819" y="168700"/>
                  </a:lnTo>
                  <a:lnTo>
                    <a:pt x="105388" y="167054"/>
                  </a:lnTo>
                  <a:lnTo>
                    <a:pt x="98643" y="163763"/>
                  </a:lnTo>
                  <a:lnTo>
                    <a:pt x="80094" y="162117"/>
                  </a:lnTo>
                  <a:lnTo>
                    <a:pt x="56487" y="171992"/>
                  </a:lnTo>
                  <a:lnTo>
                    <a:pt x="46370" y="173638"/>
                  </a:lnTo>
                  <a:lnTo>
                    <a:pt x="39625" y="170346"/>
                  </a:lnTo>
                  <a:lnTo>
                    <a:pt x="37939" y="171992"/>
                  </a:lnTo>
                  <a:lnTo>
                    <a:pt x="24449" y="150596"/>
                  </a:lnTo>
                  <a:lnTo>
                    <a:pt x="9273" y="135783"/>
                  </a:lnTo>
                  <a:lnTo>
                    <a:pt x="16018" y="132491"/>
                  </a:lnTo>
                  <a:lnTo>
                    <a:pt x="5900" y="119324"/>
                  </a:lnTo>
                  <a:lnTo>
                    <a:pt x="4214" y="109449"/>
                  </a:lnTo>
                  <a:lnTo>
                    <a:pt x="10959" y="109449"/>
                  </a:lnTo>
                  <a:lnTo>
                    <a:pt x="26135" y="99574"/>
                  </a:lnTo>
                  <a:lnTo>
                    <a:pt x="32880" y="99574"/>
                  </a:lnTo>
                  <a:lnTo>
                    <a:pt x="34566" y="94636"/>
                  </a:lnTo>
                  <a:lnTo>
                    <a:pt x="34566" y="91345"/>
                  </a:lnTo>
                  <a:lnTo>
                    <a:pt x="32880" y="91345"/>
                  </a:lnTo>
                  <a:lnTo>
                    <a:pt x="37939" y="81470"/>
                  </a:lnTo>
                  <a:lnTo>
                    <a:pt x="32880" y="78178"/>
                  </a:lnTo>
                  <a:lnTo>
                    <a:pt x="32880" y="73240"/>
                  </a:lnTo>
                  <a:lnTo>
                    <a:pt x="37939" y="51844"/>
                  </a:lnTo>
                  <a:lnTo>
                    <a:pt x="32880" y="48552"/>
                  </a:lnTo>
                  <a:lnTo>
                    <a:pt x="36252" y="38677"/>
                  </a:lnTo>
                  <a:lnTo>
                    <a:pt x="31194" y="28802"/>
                  </a:lnTo>
                  <a:lnTo>
                    <a:pt x="41311" y="28802"/>
                  </a:lnTo>
                  <a:lnTo>
                    <a:pt x="46370" y="25510"/>
                  </a:lnTo>
                  <a:lnTo>
                    <a:pt x="58173" y="15635"/>
                  </a:lnTo>
                  <a:lnTo>
                    <a:pt x="68291" y="12343"/>
                  </a:lnTo>
                  <a:lnTo>
                    <a:pt x="88525" y="13989"/>
                  </a:lnTo>
                  <a:lnTo>
                    <a:pt x="96957" y="32094"/>
                  </a:lnTo>
                  <a:lnTo>
                    <a:pt x="108760" y="30448"/>
                  </a:lnTo>
                  <a:lnTo>
                    <a:pt x="122250" y="10697"/>
                  </a:lnTo>
                  <a:lnTo>
                    <a:pt x="14923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7" name="Roerdalen">
              <a:extLst>
                <a:ext uri="{FF2B5EF4-FFF2-40B4-BE49-F238E27FC236}">
                  <a16:creationId xmlns:a16="http://schemas.microsoft.com/office/drawing/2014/main" id="{996290F2-3B6C-40A2-9D87-FE6822424EEA}"/>
                </a:ext>
              </a:extLst>
            </p:cNvPr>
            <p:cNvSpPr/>
            <p:nvPr/>
          </p:nvSpPr>
          <p:spPr>
            <a:xfrm>
              <a:off x="6799324" y="4965235"/>
              <a:ext cx="284003" cy="165561"/>
            </a:xfrm>
            <a:custGeom>
              <a:avLst/>
              <a:gdLst/>
              <a:ahLst/>
              <a:cxnLst/>
              <a:rect l="l" t="t" r="r" b="b"/>
              <a:pathLst>
                <a:path w="421494" h="240030" extrusionOk="0">
                  <a:moveTo>
                    <a:pt x="397105" y="32094"/>
                  </a:moveTo>
                  <a:lnTo>
                    <a:pt x="351576" y="55136"/>
                  </a:lnTo>
                  <a:lnTo>
                    <a:pt x="408908" y="89699"/>
                  </a:lnTo>
                  <a:lnTo>
                    <a:pt x="390360" y="104512"/>
                  </a:lnTo>
                  <a:lnTo>
                    <a:pt x="392046" y="114387"/>
                  </a:lnTo>
                  <a:lnTo>
                    <a:pt x="386987" y="112741"/>
                  </a:lnTo>
                  <a:lnTo>
                    <a:pt x="378556" y="116033"/>
                  </a:lnTo>
                  <a:lnTo>
                    <a:pt x="366753" y="114387"/>
                  </a:lnTo>
                  <a:lnTo>
                    <a:pt x="361694" y="117679"/>
                  </a:lnTo>
                  <a:lnTo>
                    <a:pt x="346518" y="122617"/>
                  </a:lnTo>
                  <a:lnTo>
                    <a:pt x="333028" y="122617"/>
                  </a:lnTo>
                  <a:lnTo>
                    <a:pt x="326283" y="129200"/>
                  </a:lnTo>
                  <a:lnTo>
                    <a:pt x="326283" y="132492"/>
                  </a:lnTo>
                  <a:lnTo>
                    <a:pt x="317852" y="137429"/>
                  </a:lnTo>
                  <a:lnTo>
                    <a:pt x="294245" y="144012"/>
                  </a:lnTo>
                  <a:lnTo>
                    <a:pt x="287500" y="148950"/>
                  </a:lnTo>
                  <a:lnTo>
                    <a:pt x="280755" y="147304"/>
                  </a:lnTo>
                  <a:lnTo>
                    <a:pt x="275696" y="160471"/>
                  </a:lnTo>
                  <a:lnTo>
                    <a:pt x="272324" y="162117"/>
                  </a:lnTo>
                  <a:lnTo>
                    <a:pt x="275696" y="165409"/>
                  </a:lnTo>
                  <a:lnTo>
                    <a:pt x="268951" y="170346"/>
                  </a:lnTo>
                  <a:lnTo>
                    <a:pt x="272324" y="173638"/>
                  </a:lnTo>
                  <a:lnTo>
                    <a:pt x="267265" y="175284"/>
                  </a:lnTo>
                  <a:lnTo>
                    <a:pt x="263893" y="170346"/>
                  </a:lnTo>
                  <a:lnTo>
                    <a:pt x="262207" y="178576"/>
                  </a:lnTo>
                  <a:lnTo>
                    <a:pt x="255462" y="181867"/>
                  </a:lnTo>
                  <a:lnTo>
                    <a:pt x="255462" y="186805"/>
                  </a:lnTo>
                  <a:lnTo>
                    <a:pt x="231855" y="195034"/>
                  </a:lnTo>
                  <a:lnTo>
                    <a:pt x="223423" y="206556"/>
                  </a:lnTo>
                  <a:lnTo>
                    <a:pt x="226796" y="209847"/>
                  </a:lnTo>
                  <a:lnTo>
                    <a:pt x="194758" y="241118"/>
                  </a:lnTo>
                  <a:lnTo>
                    <a:pt x="184640" y="229598"/>
                  </a:lnTo>
                  <a:lnTo>
                    <a:pt x="181268" y="216431"/>
                  </a:lnTo>
                  <a:lnTo>
                    <a:pt x="174523" y="218076"/>
                  </a:lnTo>
                  <a:lnTo>
                    <a:pt x="172837" y="211493"/>
                  </a:lnTo>
                  <a:lnTo>
                    <a:pt x="176209" y="209847"/>
                  </a:lnTo>
                  <a:lnTo>
                    <a:pt x="171151" y="201618"/>
                  </a:lnTo>
                  <a:lnTo>
                    <a:pt x="157661" y="193389"/>
                  </a:lnTo>
                  <a:lnTo>
                    <a:pt x="159347" y="190097"/>
                  </a:lnTo>
                  <a:lnTo>
                    <a:pt x="139112" y="199972"/>
                  </a:lnTo>
                  <a:lnTo>
                    <a:pt x="134053" y="188451"/>
                  </a:lnTo>
                  <a:lnTo>
                    <a:pt x="113819" y="183514"/>
                  </a:lnTo>
                  <a:lnTo>
                    <a:pt x="110446" y="190097"/>
                  </a:lnTo>
                  <a:lnTo>
                    <a:pt x="110446" y="188451"/>
                  </a:lnTo>
                  <a:lnTo>
                    <a:pt x="103701" y="195034"/>
                  </a:lnTo>
                  <a:lnTo>
                    <a:pt x="100329" y="193389"/>
                  </a:lnTo>
                  <a:lnTo>
                    <a:pt x="93584" y="198326"/>
                  </a:lnTo>
                  <a:lnTo>
                    <a:pt x="83467" y="190097"/>
                  </a:lnTo>
                  <a:lnTo>
                    <a:pt x="66605" y="203264"/>
                  </a:lnTo>
                  <a:lnTo>
                    <a:pt x="64918" y="199972"/>
                  </a:lnTo>
                  <a:lnTo>
                    <a:pt x="63232" y="203264"/>
                  </a:lnTo>
                  <a:lnTo>
                    <a:pt x="56487" y="203264"/>
                  </a:lnTo>
                  <a:lnTo>
                    <a:pt x="56487" y="201618"/>
                  </a:lnTo>
                  <a:lnTo>
                    <a:pt x="44684" y="203264"/>
                  </a:lnTo>
                  <a:lnTo>
                    <a:pt x="44684" y="199972"/>
                  </a:lnTo>
                  <a:lnTo>
                    <a:pt x="24449" y="201618"/>
                  </a:lnTo>
                  <a:lnTo>
                    <a:pt x="12645" y="185159"/>
                  </a:lnTo>
                  <a:lnTo>
                    <a:pt x="4214" y="167055"/>
                  </a:lnTo>
                  <a:lnTo>
                    <a:pt x="7587" y="160471"/>
                  </a:lnTo>
                  <a:lnTo>
                    <a:pt x="4214" y="153888"/>
                  </a:lnTo>
                  <a:lnTo>
                    <a:pt x="110446" y="50198"/>
                  </a:lnTo>
                  <a:lnTo>
                    <a:pt x="112133" y="53490"/>
                  </a:lnTo>
                  <a:lnTo>
                    <a:pt x="117191" y="51844"/>
                  </a:lnTo>
                  <a:lnTo>
                    <a:pt x="118878" y="56782"/>
                  </a:lnTo>
                  <a:lnTo>
                    <a:pt x="115505" y="66657"/>
                  </a:lnTo>
                  <a:lnTo>
                    <a:pt x="123936" y="63365"/>
                  </a:lnTo>
                  <a:lnTo>
                    <a:pt x="122250" y="69949"/>
                  </a:lnTo>
                  <a:lnTo>
                    <a:pt x="127309" y="74886"/>
                  </a:lnTo>
                  <a:lnTo>
                    <a:pt x="128995" y="68303"/>
                  </a:lnTo>
                  <a:lnTo>
                    <a:pt x="134053" y="69949"/>
                  </a:lnTo>
                  <a:lnTo>
                    <a:pt x="135740" y="83116"/>
                  </a:lnTo>
                  <a:lnTo>
                    <a:pt x="145857" y="81470"/>
                  </a:lnTo>
                  <a:lnTo>
                    <a:pt x="157661" y="73240"/>
                  </a:lnTo>
                  <a:lnTo>
                    <a:pt x="166092" y="78178"/>
                  </a:lnTo>
                  <a:lnTo>
                    <a:pt x="177895" y="78178"/>
                  </a:lnTo>
                  <a:lnTo>
                    <a:pt x="182954" y="86407"/>
                  </a:lnTo>
                  <a:lnTo>
                    <a:pt x="198130" y="84762"/>
                  </a:lnTo>
                  <a:lnTo>
                    <a:pt x="199816" y="86407"/>
                  </a:lnTo>
                  <a:lnTo>
                    <a:pt x="223423" y="83116"/>
                  </a:lnTo>
                  <a:lnTo>
                    <a:pt x="223423" y="79824"/>
                  </a:lnTo>
                  <a:lnTo>
                    <a:pt x="235227" y="74886"/>
                  </a:lnTo>
                  <a:lnTo>
                    <a:pt x="230168" y="61720"/>
                  </a:lnTo>
                  <a:lnTo>
                    <a:pt x="214992" y="58427"/>
                  </a:lnTo>
                  <a:lnTo>
                    <a:pt x="211620" y="51844"/>
                  </a:lnTo>
                  <a:lnTo>
                    <a:pt x="225110" y="50198"/>
                  </a:lnTo>
                  <a:lnTo>
                    <a:pt x="221737" y="40323"/>
                  </a:lnTo>
                  <a:lnTo>
                    <a:pt x="221737" y="28802"/>
                  </a:lnTo>
                  <a:lnTo>
                    <a:pt x="250403" y="32094"/>
                  </a:lnTo>
                  <a:lnTo>
                    <a:pt x="263893" y="60074"/>
                  </a:lnTo>
                  <a:lnTo>
                    <a:pt x="275696" y="63365"/>
                  </a:lnTo>
                  <a:lnTo>
                    <a:pt x="285814" y="60074"/>
                  </a:lnTo>
                  <a:lnTo>
                    <a:pt x="290872" y="63365"/>
                  </a:lnTo>
                  <a:lnTo>
                    <a:pt x="295931" y="60074"/>
                  </a:lnTo>
                  <a:lnTo>
                    <a:pt x="309421" y="53490"/>
                  </a:lnTo>
                  <a:lnTo>
                    <a:pt x="319538" y="41969"/>
                  </a:lnTo>
                  <a:lnTo>
                    <a:pt x="326283" y="35385"/>
                  </a:lnTo>
                  <a:lnTo>
                    <a:pt x="392046" y="4114"/>
                  </a:lnTo>
                  <a:lnTo>
                    <a:pt x="417339" y="22219"/>
                  </a:lnTo>
                  <a:lnTo>
                    <a:pt x="397105" y="3209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8" name="Hulst">
              <a:extLst>
                <a:ext uri="{FF2B5EF4-FFF2-40B4-BE49-F238E27FC236}">
                  <a16:creationId xmlns:a16="http://schemas.microsoft.com/office/drawing/2014/main" id="{BE912934-12AC-49F2-A8A3-16050018E1D0}"/>
                </a:ext>
              </a:extLst>
            </p:cNvPr>
            <p:cNvSpPr/>
            <p:nvPr/>
          </p:nvSpPr>
          <p:spPr>
            <a:xfrm>
              <a:off x="4676431" y="4609265"/>
              <a:ext cx="328335" cy="277068"/>
            </a:xfrm>
            <a:custGeom>
              <a:avLst/>
              <a:gdLst/>
              <a:ahLst/>
              <a:cxnLst/>
              <a:rect l="l" t="t" r="r" b="b"/>
              <a:pathLst>
                <a:path w="468326" h="411480" extrusionOk="0">
                  <a:moveTo>
                    <a:pt x="4214" y="101220"/>
                  </a:moveTo>
                  <a:lnTo>
                    <a:pt x="5900" y="99574"/>
                  </a:lnTo>
                  <a:lnTo>
                    <a:pt x="10959" y="96282"/>
                  </a:lnTo>
                  <a:lnTo>
                    <a:pt x="4214" y="101220"/>
                  </a:lnTo>
                  <a:close/>
                  <a:moveTo>
                    <a:pt x="370125" y="106158"/>
                  </a:moveTo>
                  <a:lnTo>
                    <a:pt x="360008" y="101220"/>
                  </a:lnTo>
                  <a:lnTo>
                    <a:pt x="370125" y="99574"/>
                  </a:lnTo>
                  <a:lnTo>
                    <a:pt x="370125" y="106158"/>
                  </a:lnTo>
                  <a:close/>
                  <a:moveTo>
                    <a:pt x="442632" y="124262"/>
                  </a:moveTo>
                  <a:lnTo>
                    <a:pt x="437574" y="112741"/>
                  </a:lnTo>
                  <a:lnTo>
                    <a:pt x="432515" y="91345"/>
                  </a:lnTo>
                  <a:lnTo>
                    <a:pt x="442632" y="124262"/>
                  </a:lnTo>
                  <a:close/>
                  <a:moveTo>
                    <a:pt x="299303" y="139075"/>
                  </a:moveTo>
                  <a:lnTo>
                    <a:pt x="295931" y="137429"/>
                  </a:lnTo>
                  <a:lnTo>
                    <a:pt x="302676" y="139075"/>
                  </a:lnTo>
                  <a:lnTo>
                    <a:pt x="299303" y="139075"/>
                  </a:lnTo>
                  <a:close/>
                  <a:moveTo>
                    <a:pt x="366752" y="147304"/>
                  </a:moveTo>
                  <a:lnTo>
                    <a:pt x="360008" y="145658"/>
                  </a:lnTo>
                  <a:lnTo>
                    <a:pt x="360008" y="144013"/>
                  </a:lnTo>
                  <a:lnTo>
                    <a:pt x="358321" y="142367"/>
                  </a:lnTo>
                  <a:lnTo>
                    <a:pt x="358321" y="145658"/>
                  </a:lnTo>
                  <a:lnTo>
                    <a:pt x="356635" y="144013"/>
                  </a:lnTo>
                  <a:lnTo>
                    <a:pt x="354949" y="139075"/>
                  </a:lnTo>
                  <a:lnTo>
                    <a:pt x="354949" y="144013"/>
                  </a:lnTo>
                  <a:lnTo>
                    <a:pt x="349890" y="142367"/>
                  </a:lnTo>
                  <a:lnTo>
                    <a:pt x="348204" y="135783"/>
                  </a:lnTo>
                  <a:lnTo>
                    <a:pt x="349890" y="134137"/>
                  </a:lnTo>
                  <a:lnTo>
                    <a:pt x="344831" y="134137"/>
                  </a:lnTo>
                  <a:lnTo>
                    <a:pt x="343145" y="132491"/>
                  </a:lnTo>
                  <a:lnTo>
                    <a:pt x="346518" y="132491"/>
                  </a:lnTo>
                  <a:lnTo>
                    <a:pt x="343145" y="132491"/>
                  </a:lnTo>
                  <a:lnTo>
                    <a:pt x="339773" y="125908"/>
                  </a:lnTo>
                  <a:lnTo>
                    <a:pt x="344831" y="125908"/>
                  </a:lnTo>
                  <a:lnTo>
                    <a:pt x="344831" y="129200"/>
                  </a:lnTo>
                  <a:lnTo>
                    <a:pt x="346518" y="125908"/>
                  </a:lnTo>
                  <a:lnTo>
                    <a:pt x="354949" y="125908"/>
                  </a:lnTo>
                  <a:lnTo>
                    <a:pt x="348204" y="125908"/>
                  </a:lnTo>
                  <a:lnTo>
                    <a:pt x="346518" y="122616"/>
                  </a:lnTo>
                  <a:lnTo>
                    <a:pt x="344831" y="124262"/>
                  </a:lnTo>
                  <a:lnTo>
                    <a:pt x="339773" y="124262"/>
                  </a:lnTo>
                  <a:lnTo>
                    <a:pt x="336400" y="119324"/>
                  </a:lnTo>
                  <a:lnTo>
                    <a:pt x="338087" y="114387"/>
                  </a:lnTo>
                  <a:lnTo>
                    <a:pt x="341459" y="116033"/>
                  </a:lnTo>
                  <a:lnTo>
                    <a:pt x="338087" y="114387"/>
                  </a:lnTo>
                  <a:lnTo>
                    <a:pt x="338087" y="109449"/>
                  </a:lnTo>
                  <a:lnTo>
                    <a:pt x="344831" y="107803"/>
                  </a:lnTo>
                  <a:lnTo>
                    <a:pt x="344831" y="109449"/>
                  </a:lnTo>
                  <a:lnTo>
                    <a:pt x="348204" y="107803"/>
                  </a:lnTo>
                  <a:lnTo>
                    <a:pt x="348204" y="111095"/>
                  </a:lnTo>
                  <a:lnTo>
                    <a:pt x="349890" y="109449"/>
                  </a:lnTo>
                  <a:lnTo>
                    <a:pt x="351576" y="112741"/>
                  </a:lnTo>
                  <a:lnTo>
                    <a:pt x="349890" y="116033"/>
                  </a:lnTo>
                  <a:lnTo>
                    <a:pt x="351576" y="114387"/>
                  </a:lnTo>
                  <a:lnTo>
                    <a:pt x="349890" y="107803"/>
                  </a:lnTo>
                  <a:lnTo>
                    <a:pt x="354949" y="109449"/>
                  </a:lnTo>
                  <a:lnTo>
                    <a:pt x="354949" y="120971"/>
                  </a:lnTo>
                  <a:lnTo>
                    <a:pt x="356635" y="111095"/>
                  </a:lnTo>
                  <a:lnTo>
                    <a:pt x="356635" y="117679"/>
                  </a:lnTo>
                  <a:lnTo>
                    <a:pt x="360008" y="114387"/>
                  </a:lnTo>
                  <a:lnTo>
                    <a:pt x="358321" y="114387"/>
                  </a:lnTo>
                  <a:lnTo>
                    <a:pt x="354949" y="104512"/>
                  </a:lnTo>
                  <a:lnTo>
                    <a:pt x="370125" y="107803"/>
                  </a:lnTo>
                  <a:lnTo>
                    <a:pt x="370125" y="112741"/>
                  </a:lnTo>
                  <a:lnTo>
                    <a:pt x="366752" y="112741"/>
                  </a:lnTo>
                  <a:lnTo>
                    <a:pt x="370125" y="114387"/>
                  </a:lnTo>
                  <a:lnTo>
                    <a:pt x="370125" y="120971"/>
                  </a:lnTo>
                  <a:lnTo>
                    <a:pt x="365066" y="122616"/>
                  </a:lnTo>
                  <a:lnTo>
                    <a:pt x="370125" y="120971"/>
                  </a:lnTo>
                  <a:lnTo>
                    <a:pt x="370125" y="124262"/>
                  </a:lnTo>
                  <a:lnTo>
                    <a:pt x="365066" y="124262"/>
                  </a:lnTo>
                  <a:lnTo>
                    <a:pt x="370125" y="125908"/>
                  </a:lnTo>
                  <a:lnTo>
                    <a:pt x="363380" y="129200"/>
                  </a:lnTo>
                  <a:lnTo>
                    <a:pt x="365066" y="129200"/>
                  </a:lnTo>
                  <a:lnTo>
                    <a:pt x="358321" y="130845"/>
                  </a:lnTo>
                  <a:lnTo>
                    <a:pt x="361694" y="130845"/>
                  </a:lnTo>
                  <a:lnTo>
                    <a:pt x="370125" y="125908"/>
                  </a:lnTo>
                  <a:lnTo>
                    <a:pt x="366752" y="132491"/>
                  </a:lnTo>
                  <a:lnTo>
                    <a:pt x="365066" y="132491"/>
                  </a:lnTo>
                  <a:lnTo>
                    <a:pt x="366752" y="132491"/>
                  </a:lnTo>
                  <a:lnTo>
                    <a:pt x="366752" y="140721"/>
                  </a:lnTo>
                  <a:lnTo>
                    <a:pt x="371811" y="144013"/>
                  </a:lnTo>
                  <a:lnTo>
                    <a:pt x="366752" y="147304"/>
                  </a:lnTo>
                  <a:close/>
                  <a:moveTo>
                    <a:pt x="376870" y="150596"/>
                  </a:moveTo>
                  <a:lnTo>
                    <a:pt x="376870" y="148950"/>
                  </a:lnTo>
                  <a:lnTo>
                    <a:pt x="381928" y="148950"/>
                  </a:lnTo>
                  <a:lnTo>
                    <a:pt x="376870" y="150596"/>
                  </a:lnTo>
                  <a:close/>
                  <a:moveTo>
                    <a:pt x="434201" y="153888"/>
                  </a:moveTo>
                  <a:lnTo>
                    <a:pt x="432515" y="150596"/>
                  </a:lnTo>
                  <a:lnTo>
                    <a:pt x="437574" y="148950"/>
                  </a:lnTo>
                  <a:lnTo>
                    <a:pt x="434201" y="153888"/>
                  </a:lnTo>
                  <a:close/>
                  <a:moveTo>
                    <a:pt x="348204" y="153888"/>
                  </a:moveTo>
                  <a:lnTo>
                    <a:pt x="344831" y="152242"/>
                  </a:lnTo>
                  <a:lnTo>
                    <a:pt x="343145" y="150596"/>
                  </a:lnTo>
                  <a:lnTo>
                    <a:pt x="348204" y="153888"/>
                  </a:lnTo>
                  <a:close/>
                  <a:moveTo>
                    <a:pt x="312793" y="168700"/>
                  </a:moveTo>
                  <a:lnTo>
                    <a:pt x="307735" y="165409"/>
                  </a:lnTo>
                  <a:lnTo>
                    <a:pt x="314479" y="163763"/>
                  </a:lnTo>
                  <a:lnTo>
                    <a:pt x="307735" y="165409"/>
                  </a:lnTo>
                  <a:lnTo>
                    <a:pt x="306048" y="162117"/>
                  </a:lnTo>
                  <a:lnTo>
                    <a:pt x="309421" y="160471"/>
                  </a:lnTo>
                  <a:lnTo>
                    <a:pt x="304362" y="160471"/>
                  </a:lnTo>
                  <a:lnTo>
                    <a:pt x="307735" y="158825"/>
                  </a:lnTo>
                  <a:lnTo>
                    <a:pt x="302676" y="158825"/>
                  </a:lnTo>
                  <a:lnTo>
                    <a:pt x="299303" y="153888"/>
                  </a:lnTo>
                  <a:lnTo>
                    <a:pt x="307735" y="150596"/>
                  </a:lnTo>
                  <a:lnTo>
                    <a:pt x="309421" y="153888"/>
                  </a:lnTo>
                  <a:lnTo>
                    <a:pt x="309421" y="150596"/>
                  </a:lnTo>
                  <a:lnTo>
                    <a:pt x="311107" y="153888"/>
                  </a:lnTo>
                  <a:lnTo>
                    <a:pt x="309421" y="150596"/>
                  </a:lnTo>
                  <a:lnTo>
                    <a:pt x="314479" y="158825"/>
                  </a:lnTo>
                  <a:lnTo>
                    <a:pt x="322911" y="155533"/>
                  </a:lnTo>
                  <a:lnTo>
                    <a:pt x="314479" y="155533"/>
                  </a:lnTo>
                  <a:lnTo>
                    <a:pt x="311107" y="152242"/>
                  </a:lnTo>
                  <a:lnTo>
                    <a:pt x="317852" y="153888"/>
                  </a:lnTo>
                  <a:lnTo>
                    <a:pt x="311107" y="150596"/>
                  </a:lnTo>
                  <a:lnTo>
                    <a:pt x="316166" y="148950"/>
                  </a:lnTo>
                  <a:lnTo>
                    <a:pt x="311107" y="148950"/>
                  </a:lnTo>
                  <a:lnTo>
                    <a:pt x="316166" y="142367"/>
                  </a:lnTo>
                  <a:lnTo>
                    <a:pt x="316166" y="135783"/>
                  </a:lnTo>
                  <a:lnTo>
                    <a:pt x="314479" y="144013"/>
                  </a:lnTo>
                  <a:lnTo>
                    <a:pt x="309421" y="144013"/>
                  </a:lnTo>
                  <a:lnTo>
                    <a:pt x="312793" y="145658"/>
                  </a:lnTo>
                  <a:lnTo>
                    <a:pt x="309421" y="147304"/>
                  </a:lnTo>
                  <a:lnTo>
                    <a:pt x="299303" y="150596"/>
                  </a:lnTo>
                  <a:lnTo>
                    <a:pt x="297617" y="148950"/>
                  </a:lnTo>
                  <a:lnTo>
                    <a:pt x="300990" y="148950"/>
                  </a:lnTo>
                  <a:lnTo>
                    <a:pt x="304362" y="145658"/>
                  </a:lnTo>
                  <a:lnTo>
                    <a:pt x="302676" y="142367"/>
                  </a:lnTo>
                  <a:lnTo>
                    <a:pt x="309421" y="145658"/>
                  </a:lnTo>
                  <a:lnTo>
                    <a:pt x="304362" y="142367"/>
                  </a:lnTo>
                  <a:lnTo>
                    <a:pt x="309421" y="140721"/>
                  </a:lnTo>
                  <a:lnTo>
                    <a:pt x="300990" y="140721"/>
                  </a:lnTo>
                  <a:lnTo>
                    <a:pt x="311107" y="140721"/>
                  </a:lnTo>
                  <a:lnTo>
                    <a:pt x="299303" y="140721"/>
                  </a:lnTo>
                  <a:lnTo>
                    <a:pt x="309421" y="134137"/>
                  </a:lnTo>
                  <a:lnTo>
                    <a:pt x="302676" y="137429"/>
                  </a:lnTo>
                  <a:lnTo>
                    <a:pt x="300990" y="137429"/>
                  </a:lnTo>
                  <a:lnTo>
                    <a:pt x="302676" y="130845"/>
                  </a:lnTo>
                  <a:lnTo>
                    <a:pt x="299303" y="135783"/>
                  </a:lnTo>
                  <a:lnTo>
                    <a:pt x="297617" y="135783"/>
                  </a:lnTo>
                  <a:lnTo>
                    <a:pt x="299303" y="132491"/>
                  </a:lnTo>
                  <a:lnTo>
                    <a:pt x="297617" y="135783"/>
                  </a:lnTo>
                  <a:lnTo>
                    <a:pt x="292559" y="135783"/>
                  </a:lnTo>
                  <a:lnTo>
                    <a:pt x="292559" y="132491"/>
                  </a:lnTo>
                  <a:lnTo>
                    <a:pt x="295931" y="129200"/>
                  </a:lnTo>
                  <a:lnTo>
                    <a:pt x="292559" y="130845"/>
                  </a:lnTo>
                  <a:lnTo>
                    <a:pt x="289186" y="139075"/>
                  </a:lnTo>
                  <a:lnTo>
                    <a:pt x="287500" y="134137"/>
                  </a:lnTo>
                  <a:lnTo>
                    <a:pt x="295931" y="127554"/>
                  </a:lnTo>
                  <a:lnTo>
                    <a:pt x="287500" y="134137"/>
                  </a:lnTo>
                  <a:lnTo>
                    <a:pt x="285814" y="129200"/>
                  </a:lnTo>
                  <a:lnTo>
                    <a:pt x="290872" y="129200"/>
                  </a:lnTo>
                  <a:lnTo>
                    <a:pt x="287500" y="129200"/>
                  </a:lnTo>
                  <a:lnTo>
                    <a:pt x="290872" y="125908"/>
                  </a:lnTo>
                  <a:lnTo>
                    <a:pt x="287500" y="129200"/>
                  </a:lnTo>
                  <a:lnTo>
                    <a:pt x="285814" y="125908"/>
                  </a:lnTo>
                  <a:lnTo>
                    <a:pt x="285814" y="129200"/>
                  </a:lnTo>
                  <a:lnTo>
                    <a:pt x="282441" y="124262"/>
                  </a:lnTo>
                  <a:lnTo>
                    <a:pt x="282441" y="127554"/>
                  </a:lnTo>
                  <a:lnTo>
                    <a:pt x="279069" y="129200"/>
                  </a:lnTo>
                  <a:lnTo>
                    <a:pt x="277382" y="122616"/>
                  </a:lnTo>
                  <a:lnTo>
                    <a:pt x="295931" y="117679"/>
                  </a:lnTo>
                  <a:lnTo>
                    <a:pt x="299303" y="119324"/>
                  </a:lnTo>
                  <a:lnTo>
                    <a:pt x="304362" y="119324"/>
                  </a:lnTo>
                  <a:lnTo>
                    <a:pt x="304362" y="124262"/>
                  </a:lnTo>
                  <a:lnTo>
                    <a:pt x="304362" y="119324"/>
                  </a:lnTo>
                  <a:lnTo>
                    <a:pt x="309421" y="120971"/>
                  </a:lnTo>
                  <a:lnTo>
                    <a:pt x="311107" y="124262"/>
                  </a:lnTo>
                  <a:lnTo>
                    <a:pt x="306048" y="127554"/>
                  </a:lnTo>
                  <a:lnTo>
                    <a:pt x="311107" y="124262"/>
                  </a:lnTo>
                  <a:lnTo>
                    <a:pt x="319538" y="125908"/>
                  </a:lnTo>
                  <a:lnTo>
                    <a:pt x="317852" y="129200"/>
                  </a:lnTo>
                  <a:lnTo>
                    <a:pt x="319538" y="127554"/>
                  </a:lnTo>
                  <a:lnTo>
                    <a:pt x="324597" y="137429"/>
                  </a:lnTo>
                  <a:lnTo>
                    <a:pt x="319538" y="137429"/>
                  </a:lnTo>
                  <a:lnTo>
                    <a:pt x="326283" y="140721"/>
                  </a:lnTo>
                  <a:lnTo>
                    <a:pt x="321224" y="140721"/>
                  </a:lnTo>
                  <a:lnTo>
                    <a:pt x="326283" y="142367"/>
                  </a:lnTo>
                  <a:lnTo>
                    <a:pt x="319538" y="144013"/>
                  </a:lnTo>
                  <a:lnTo>
                    <a:pt x="324597" y="142367"/>
                  </a:lnTo>
                  <a:lnTo>
                    <a:pt x="329655" y="152242"/>
                  </a:lnTo>
                  <a:lnTo>
                    <a:pt x="326283" y="150596"/>
                  </a:lnTo>
                  <a:lnTo>
                    <a:pt x="326283" y="142367"/>
                  </a:lnTo>
                  <a:lnTo>
                    <a:pt x="334714" y="152242"/>
                  </a:lnTo>
                  <a:lnTo>
                    <a:pt x="333028" y="155533"/>
                  </a:lnTo>
                  <a:lnTo>
                    <a:pt x="329655" y="153888"/>
                  </a:lnTo>
                  <a:lnTo>
                    <a:pt x="333028" y="158825"/>
                  </a:lnTo>
                  <a:lnTo>
                    <a:pt x="329655" y="160471"/>
                  </a:lnTo>
                  <a:lnTo>
                    <a:pt x="333028" y="158825"/>
                  </a:lnTo>
                  <a:lnTo>
                    <a:pt x="336400" y="162117"/>
                  </a:lnTo>
                  <a:lnTo>
                    <a:pt x="326283" y="165409"/>
                  </a:lnTo>
                  <a:lnTo>
                    <a:pt x="321224" y="165409"/>
                  </a:lnTo>
                  <a:lnTo>
                    <a:pt x="324597" y="163763"/>
                  </a:lnTo>
                  <a:lnTo>
                    <a:pt x="322911" y="163763"/>
                  </a:lnTo>
                  <a:lnTo>
                    <a:pt x="312793" y="168700"/>
                  </a:lnTo>
                  <a:close/>
                  <a:moveTo>
                    <a:pt x="159347" y="412288"/>
                  </a:moveTo>
                  <a:lnTo>
                    <a:pt x="154288" y="402413"/>
                  </a:lnTo>
                  <a:lnTo>
                    <a:pt x="147543" y="407350"/>
                  </a:lnTo>
                  <a:lnTo>
                    <a:pt x="135740" y="412288"/>
                  </a:lnTo>
                  <a:lnTo>
                    <a:pt x="130681" y="402413"/>
                  </a:lnTo>
                  <a:lnTo>
                    <a:pt x="120564" y="402413"/>
                  </a:lnTo>
                  <a:lnTo>
                    <a:pt x="105388" y="410643"/>
                  </a:lnTo>
                  <a:lnTo>
                    <a:pt x="102015" y="407350"/>
                  </a:lnTo>
                  <a:lnTo>
                    <a:pt x="91898" y="412288"/>
                  </a:lnTo>
                  <a:lnTo>
                    <a:pt x="90212" y="407350"/>
                  </a:lnTo>
                  <a:lnTo>
                    <a:pt x="88525" y="407350"/>
                  </a:lnTo>
                  <a:lnTo>
                    <a:pt x="86839" y="402413"/>
                  </a:lnTo>
                  <a:lnTo>
                    <a:pt x="88525" y="399121"/>
                  </a:lnTo>
                  <a:lnTo>
                    <a:pt x="86839" y="395830"/>
                  </a:lnTo>
                  <a:lnTo>
                    <a:pt x="78408" y="392538"/>
                  </a:lnTo>
                  <a:lnTo>
                    <a:pt x="78408" y="390892"/>
                  </a:lnTo>
                  <a:lnTo>
                    <a:pt x="69977" y="392538"/>
                  </a:lnTo>
                  <a:lnTo>
                    <a:pt x="66604" y="267452"/>
                  </a:lnTo>
                  <a:lnTo>
                    <a:pt x="66604" y="265806"/>
                  </a:lnTo>
                  <a:lnTo>
                    <a:pt x="56487" y="267452"/>
                  </a:lnTo>
                  <a:lnTo>
                    <a:pt x="32880" y="257577"/>
                  </a:lnTo>
                  <a:lnTo>
                    <a:pt x="27821" y="247702"/>
                  </a:lnTo>
                  <a:lnTo>
                    <a:pt x="34566" y="214785"/>
                  </a:lnTo>
                  <a:lnTo>
                    <a:pt x="42997" y="190097"/>
                  </a:lnTo>
                  <a:lnTo>
                    <a:pt x="39625" y="144013"/>
                  </a:lnTo>
                  <a:lnTo>
                    <a:pt x="32880" y="130845"/>
                  </a:lnTo>
                  <a:lnTo>
                    <a:pt x="37939" y="114387"/>
                  </a:lnTo>
                  <a:lnTo>
                    <a:pt x="36252" y="112741"/>
                  </a:lnTo>
                  <a:lnTo>
                    <a:pt x="12645" y="109449"/>
                  </a:lnTo>
                  <a:lnTo>
                    <a:pt x="31194" y="104512"/>
                  </a:lnTo>
                  <a:lnTo>
                    <a:pt x="32880" y="109449"/>
                  </a:lnTo>
                  <a:lnTo>
                    <a:pt x="37939" y="111095"/>
                  </a:lnTo>
                  <a:lnTo>
                    <a:pt x="39625" y="96282"/>
                  </a:lnTo>
                  <a:lnTo>
                    <a:pt x="46370" y="86407"/>
                  </a:lnTo>
                  <a:lnTo>
                    <a:pt x="46370" y="71595"/>
                  </a:lnTo>
                  <a:lnTo>
                    <a:pt x="39625" y="68303"/>
                  </a:lnTo>
                  <a:lnTo>
                    <a:pt x="34566" y="76532"/>
                  </a:lnTo>
                  <a:lnTo>
                    <a:pt x="36252" y="78178"/>
                  </a:lnTo>
                  <a:lnTo>
                    <a:pt x="32880" y="76532"/>
                  </a:lnTo>
                  <a:lnTo>
                    <a:pt x="42997" y="61719"/>
                  </a:lnTo>
                  <a:lnTo>
                    <a:pt x="46370" y="40323"/>
                  </a:lnTo>
                  <a:lnTo>
                    <a:pt x="51428" y="41969"/>
                  </a:lnTo>
                  <a:lnTo>
                    <a:pt x="51428" y="35385"/>
                  </a:lnTo>
                  <a:lnTo>
                    <a:pt x="46370" y="27156"/>
                  </a:lnTo>
                  <a:lnTo>
                    <a:pt x="51428" y="33740"/>
                  </a:lnTo>
                  <a:lnTo>
                    <a:pt x="63232" y="13989"/>
                  </a:lnTo>
                  <a:lnTo>
                    <a:pt x="59860" y="13989"/>
                  </a:lnTo>
                  <a:lnTo>
                    <a:pt x="56487" y="7406"/>
                  </a:lnTo>
                  <a:lnTo>
                    <a:pt x="59860" y="13989"/>
                  </a:lnTo>
                  <a:lnTo>
                    <a:pt x="64918" y="12343"/>
                  </a:lnTo>
                  <a:lnTo>
                    <a:pt x="63232" y="7406"/>
                  </a:lnTo>
                  <a:lnTo>
                    <a:pt x="64918" y="12343"/>
                  </a:lnTo>
                  <a:lnTo>
                    <a:pt x="66604" y="10698"/>
                  </a:lnTo>
                  <a:lnTo>
                    <a:pt x="66604" y="12343"/>
                  </a:lnTo>
                  <a:lnTo>
                    <a:pt x="76722" y="12343"/>
                  </a:lnTo>
                  <a:lnTo>
                    <a:pt x="85153" y="10698"/>
                  </a:lnTo>
                  <a:lnTo>
                    <a:pt x="88525" y="12343"/>
                  </a:lnTo>
                  <a:lnTo>
                    <a:pt x="88525" y="10698"/>
                  </a:lnTo>
                  <a:lnTo>
                    <a:pt x="90212" y="13989"/>
                  </a:lnTo>
                  <a:lnTo>
                    <a:pt x="91898" y="9052"/>
                  </a:lnTo>
                  <a:lnTo>
                    <a:pt x="90212" y="13989"/>
                  </a:lnTo>
                  <a:lnTo>
                    <a:pt x="93584" y="15635"/>
                  </a:lnTo>
                  <a:lnTo>
                    <a:pt x="93584" y="4114"/>
                  </a:lnTo>
                  <a:lnTo>
                    <a:pt x="95270" y="18927"/>
                  </a:lnTo>
                  <a:lnTo>
                    <a:pt x="98643" y="10698"/>
                  </a:lnTo>
                  <a:lnTo>
                    <a:pt x="96956" y="18927"/>
                  </a:lnTo>
                  <a:lnTo>
                    <a:pt x="100329" y="20573"/>
                  </a:lnTo>
                  <a:lnTo>
                    <a:pt x="100329" y="15635"/>
                  </a:lnTo>
                  <a:lnTo>
                    <a:pt x="100329" y="20573"/>
                  </a:lnTo>
                  <a:lnTo>
                    <a:pt x="103701" y="20573"/>
                  </a:lnTo>
                  <a:lnTo>
                    <a:pt x="103701" y="17281"/>
                  </a:lnTo>
                  <a:lnTo>
                    <a:pt x="103701" y="20573"/>
                  </a:lnTo>
                  <a:lnTo>
                    <a:pt x="107074" y="22219"/>
                  </a:lnTo>
                  <a:lnTo>
                    <a:pt x="108760" y="18927"/>
                  </a:lnTo>
                  <a:lnTo>
                    <a:pt x="108760" y="22219"/>
                  </a:lnTo>
                  <a:lnTo>
                    <a:pt x="112132" y="22219"/>
                  </a:lnTo>
                  <a:lnTo>
                    <a:pt x="113819" y="18927"/>
                  </a:lnTo>
                  <a:lnTo>
                    <a:pt x="112132" y="22219"/>
                  </a:lnTo>
                  <a:lnTo>
                    <a:pt x="120564" y="23864"/>
                  </a:lnTo>
                  <a:lnTo>
                    <a:pt x="122250" y="18927"/>
                  </a:lnTo>
                  <a:lnTo>
                    <a:pt x="120564" y="23864"/>
                  </a:lnTo>
                  <a:lnTo>
                    <a:pt x="125622" y="25510"/>
                  </a:lnTo>
                  <a:lnTo>
                    <a:pt x="125622" y="22219"/>
                  </a:lnTo>
                  <a:lnTo>
                    <a:pt x="125622" y="25510"/>
                  </a:lnTo>
                  <a:lnTo>
                    <a:pt x="130681" y="25510"/>
                  </a:lnTo>
                  <a:lnTo>
                    <a:pt x="130681" y="22219"/>
                  </a:lnTo>
                  <a:lnTo>
                    <a:pt x="130681" y="25510"/>
                  </a:lnTo>
                  <a:lnTo>
                    <a:pt x="134053" y="25510"/>
                  </a:lnTo>
                  <a:lnTo>
                    <a:pt x="130681" y="30448"/>
                  </a:lnTo>
                  <a:lnTo>
                    <a:pt x="130681" y="35385"/>
                  </a:lnTo>
                  <a:lnTo>
                    <a:pt x="134053" y="33740"/>
                  </a:lnTo>
                  <a:lnTo>
                    <a:pt x="132367" y="35385"/>
                  </a:lnTo>
                  <a:lnTo>
                    <a:pt x="139112" y="33740"/>
                  </a:lnTo>
                  <a:lnTo>
                    <a:pt x="139112" y="27156"/>
                  </a:lnTo>
                  <a:lnTo>
                    <a:pt x="142485" y="41969"/>
                  </a:lnTo>
                  <a:lnTo>
                    <a:pt x="152602" y="45261"/>
                  </a:lnTo>
                  <a:lnTo>
                    <a:pt x="149229" y="41969"/>
                  </a:lnTo>
                  <a:lnTo>
                    <a:pt x="152602" y="45261"/>
                  </a:lnTo>
                  <a:lnTo>
                    <a:pt x="154288" y="51844"/>
                  </a:lnTo>
                  <a:lnTo>
                    <a:pt x="152602" y="45261"/>
                  </a:lnTo>
                  <a:lnTo>
                    <a:pt x="149229" y="45261"/>
                  </a:lnTo>
                  <a:lnTo>
                    <a:pt x="157661" y="71595"/>
                  </a:lnTo>
                  <a:lnTo>
                    <a:pt x="154288" y="69949"/>
                  </a:lnTo>
                  <a:lnTo>
                    <a:pt x="155974" y="73240"/>
                  </a:lnTo>
                  <a:lnTo>
                    <a:pt x="155974" y="74886"/>
                  </a:lnTo>
                  <a:lnTo>
                    <a:pt x="159347" y="73240"/>
                  </a:lnTo>
                  <a:lnTo>
                    <a:pt x="161033" y="74886"/>
                  </a:lnTo>
                  <a:lnTo>
                    <a:pt x="159347" y="78178"/>
                  </a:lnTo>
                  <a:lnTo>
                    <a:pt x="171150" y="99574"/>
                  </a:lnTo>
                  <a:lnTo>
                    <a:pt x="181268" y="111095"/>
                  </a:lnTo>
                  <a:lnTo>
                    <a:pt x="225110" y="116033"/>
                  </a:lnTo>
                  <a:lnTo>
                    <a:pt x="226796" y="109449"/>
                  </a:lnTo>
                  <a:lnTo>
                    <a:pt x="223423" y="107803"/>
                  </a:lnTo>
                  <a:lnTo>
                    <a:pt x="241972" y="111095"/>
                  </a:lnTo>
                  <a:lnTo>
                    <a:pt x="236913" y="111095"/>
                  </a:lnTo>
                  <a:lnTo>
                    <a:pt x="236913" y="117679"/>
                  </a:lnTo>
                  <a:lnTo>
                    <a:pt x="238599" y="119324"/>
                  </a:lnTo>
                  <a:lnTo>
                    <a:pt x="252089" y="127554"/>
                  </a:lnTo>
                  <a:lnTo>
                    <a:pt x="250403" y="132491"/>
                  </a:lnTo>
                  <a:lnTo>
                    <a:pt x="253775" y="125908"/>
                  </a:lnTo>
                  <a:lnTo>
                    <a:pt x="260520" y="134137"/>
                  </a:lnTo>
                  <a:lnTo>
                    <a:pt x="258834" y="135783"/>
                  </a:lnTo>
                  <a:lnTo>
                    <a:pt x="262206" y="134137"/>
                  </a:lnTo>
                  <a:lnTo>
                    <a:pt x="274010" y="142367"/>
                  </a:lnTo>
                  <a:lnTo>
                    <a:pt x="274010" y="147304"/>
                  </a:lnTo>
                  <a:lnTo>
                    <a:pt x="275696" y="142367"/>
                  </a:lnTo>
                  <a:lnTo>
                    <a:pt x="280755" y="145658"/>
                  </a:lnTo>
                  <a:lnTo>
                    <a:pt x="284127" y="148950"/>
                  </a:lnTo>
                  <a:lnTo>
                    <a:pt x="279069" y="153888"/>
                  </a:lnTo>
                  <a:lnTo>
                    <a:pt x="284127" y="148950"/>
                  </a:lnTo>
                  <a:lnTo>
                    <a:pt x="287500" y="153888"/>
                  </a:lnTo>
                  <a:lnTo>
                    <a:pt x="284127" y="157179"/>
                  </a:lnTo>
                  <a:lnTo>
                    <a:pt x="287500" y="153888"/>
                  </a:lnTo>
                  <a:lnTo>
                    <a:pt x="299303" y="167055"/>
                  </a:lnTo>
                  <a:lnTo>
                    <a:pt x="304362" y="178575"/>
                  </a:lnTo>
                  <a:lnTo>
                    <a:pt x="314479" y="190097"/>
                  </a:lnTo>
                  <a:lnTo>
                    <a:pt x="319538" y="193388"/>
                  </a:lnTo>
                  <a:lnTo>
                    <a:pt x="316166" y="190097"/>
                  </a:lnTo>
                  <a:lnTo>
                    <a:pt x="314479" y="188451"/>
                  </a:lnTo>
                  <a:lnTo>
                    <a:pt x="316166" y="188451"/>
                  </a:lnTo>
                  <a:lnTo>
                    <a:pt x="327969" y="198326"/>
                  </a:lnTo>
                  <a:lnTo>
                    <a:pt x="336400" y="199972"/>
                  </a:lnTo>
                  <a:lnTo>
                    <a:pt x="334714" y="204910"/>
                  </a:lnTo>
                  <a:lnTo>
                    <a:pt x="334714" y="201618"/>
                  </a:lnTo>
                  <a:lnTo>
                    <a:pt x="336400" y="203264"/>
                  </a:lnTo>
                  <a:lnTo>
                    <a:pt x="336400" y="199972"/>
                  </a:lnTo>
                  <a:lnTo>
                    <a:pt x="327969" y="198326"/>
                  </a:lnTo>
                  <a:lnTo>
                    <a:pt x="324597" y="195034"/>
                  </a:lnTo>
                  <a:lnTo>
                    <a:pt x="334714" y="195034"/>
                  </a:lnTo>
                  <a:lnTo>
                    <a:pt x="339773" y="198326"/>
                  </a:lnTo>
                  <a:lnTo>
                    <a:pt x="334714" y="195034"/>
                  </a:lnTo>
                  <a:lnTo>
                    <a:pt x="338087" y="195034"/>
                  </a:lnTo>
                  <a:lnTo>
                    <a:pt x="329655" y="195034"/>
                  </a:lnTo>
                  <a:lnTo>
                    <a:pt x="326283" y="193388"/>
                  </a:lnTo>
                  <a:lnTo>
                    <a:pt x="326283" y="191742"/>
                  </a:lnTo>
                  <a:lnTo>
                    <a:pt x="341459" y="193388"/>
                  </a:lnTo>
                  <a:lnTo>
                    <a:pt x="349890" y="203264"/>
                  </a:lnTo>
                  <a:lnTo>
                    <a:pt x="348204" y="199972"/>
                  </a:lnTo>
                  <a:lnTo>
                    <a:pt x="354949" y="199972"/>
                  </a:lnTo>
                  <a:lnTo>
                    <a:pt x="346518" y="199972"/>
                  </a:lnTo>
                  <a:lnTo>
                    <a:pt x="346518" y="195034"/>
                  </a:lnTo>
                  <a:lnTo>
                    <a:pt x="353263" y="195034"/>
                  </a:lnTo>
                  <a:lnTo>
                    <a:pt x="348204" y="193388"/>
                  </a:lnTo>
                  <a:lnTo>
                    <a:pt x="351576" y="188451"/>
                  </a:lnTo>
                  <a:lnTo>
                    <a:pt x="354949" y="190097"/>
                  </a:lnTo>
                  <a:lnTo>
                    <a:pt x="354949" y="188451"/>
                  </a:lnTo>
                  <a:lnTo>
                    <a:pt x="344831" y="195034"/>
                  </a:lnTo>
                  <a:lnTo>
                    <a:pt x="341459" y="191742"/>
                  </a:lnTo>
                  <a:lnTo>
                    <a:pt x="346518" y="190097"/>
                  </a:lnTo>
                  <a:lnTo>
                    <a:pt x="344831" y="190097"/>
                  </a:lnTo>
                  <a:lnTo>
                    <a:pt x="346518" y="183513"/>
                  </a:lnTo>
                  <a:lnTo>
                    <a:pt x="341459" y="191742"/>
                  </a:lnTo>
                  <a:lnTo>
                    <a:pt x="334714" y="193388"/>
                  </a:lnTo>
                  <a:lnTo>
                    <a:pt x="334714" y="188451"/>
                  </a:lnTo>
                  <a:lnTo>
                    <a:pt x="339773" y="186805"/>
                  </a:lnTo>
                  <a:lnTo>
                    <a:pt x="333028" y="193388"/>
                  </a:lnTo>
                  <a:lnTo>
                    <a:pt x="329655" y="191742"/>
                  </a:lnTo>
                  <a:lnTo>
                    <a:pt x="334714" y="181867"/>
                  </a:lnTo>
                  <a:lnTo>
                    <a:pt x="331342" y="186805"/>
                  </a:lnTo>
                  <a:lnTo>
                    <a:pt x="331342" y="190097"/>
                  </a:lnTo>
                  <a:lnTo>
                    <a:pt x="321224" y="190097"/>
                  </a:lnTo>
                  <a:lnTo>
                    <a:pt x="319538" y="188451"/>
                  </a:lnTo>
                  <a:lnTo>
                    <a:pt x="322911" y="188451"/>
                  </a:lnTo>
                  <a:lnTo>
                    <a:pt x="324597" y="185159"/>
                  </a:lnTo>
                  <a:lnTo>
                    <a:pt x="322911" y="188451"/>
                  </a:lnTo>
                  <a:lnTo>
                    <a:pt x="322911" y="185159"/>
                  </a:lnTo>
                  <a:lnTo>
                    <a:pt x="319538" y="188451"/>
                  </a:lnTo>
                  <a:lnTo>
                    <a:pt x="311107" y="181867"/>
                  </a:lnTo>
                  <a:lnTo>
                    <a:pt x="324597" y="178575"/>
                  </a:lnTo>
                  <a:lnTo>
                    <a:pt x="331342" y="180221"/>
                  </a:lnTo>
                  <a:lnTo>
                    <a:pt x="321224" y="176930"/>
                  </a:lnTo>
                  <a:lnTo>
                    <a:pt x="319538" y="180221"/>
                  </a:lnTo>
                  <a:lnTo>
                    <a:pt x="311107" y="180221"/>
                  </a:lnTo>
                  <a:lnTo>
                    <a:pt x="311107" y="175284"/>
                  </a:lnTo>
                  <a:lnTo>
                    <a:pt x="314479" y="176930"/>
                  </a:lnTo>
                  <a:lnTo>
                    <a:pt x="311107" y="175284"/>
                  </a:lnTo>
                  <a:lnTo>
                    <a:pt x="309421" y="176930"/>
                  </a:lnTo>
                  <a:lnTo>
                    <a:pt x="309421" y="171992"/>
                  </a:lnTo>
                  <a:lnTo>
                    <a:pt x="319538" y="168700"/>
                  </a:lnTo>
                  <a:lnTo>
                    <a:pt x="319538" y="171992"/>
                  </a:lnTo>
                  <a:lnTo>
                    <a:pt x="319538" y="168700"/>
                  </a:lnTo>
                  <a:lnTo>
                    <a:pt x="327969" y="170346"/>
                  </a:lnTo>
                  <a:lnTo>
                    <a:pt x="327969" y="167055"/>
                  </a:lnTo>
                  <a:lnTo>
                    <a:pt x="336400" y="165409"/>
                  </a:lnTo>
                  <a:lnTo>
                    <a:pt x="333028" y="171992"/>
                  </a:lnTo>
                  <a:lnTo>
                    <a:pt x="338087" y="167055"/>
                  </a:lnTo>
                  <a:lnTo>
                    <a:pt x="341459" y="173638"/>
                  </a:lnTo>
                  <a:lnTo>
                    <a:pt x="338087" y="178575"/>
                  </a:lnTo>
                  <a:lnTo>
                    <a:pt x="341459" y="173638"/>
                  </a:lnTo>
                  <a:lnTo>
                    <a:pt x="344831" y="180221"/>
                  </a:lnTo>
                  <a:lnTo>
                    <a:pt x="344831" y="175284"/>
                  </a:lnTo>
                  <a:lnTo>
                    <a:pt x="354949" y="180221"/>
                  </a:lnTo>
                  <a:lnTo>
                    <a:pt x="344831" y="175284"/>
                  </a:lnTo>
                  <a:lnTo>
                    <a:pt x="349890" y="171992"/>
                  </a:lnTo>
                  <a:lnTo>
                    <a:pt x="344831" y="175284"/>
                  </a:lnTo>
                  <a:lnTo>
                    <a:pt x="343145" y="173638"/>
                  </a:lnTo>
                  <a:lnTo>
                    <a:pt x="333028" y="158825"/>
                  </a:lnTo>
                  <a:lnTo>
                    <a:pt x="334714" y="153888"/>
                  </a:lnTo>
                  <a:lnTo>
                    <a:pt x="343145" y="158825"/>
                  </a:lnTo>
                  <a:lnTo>
                    <a:pt x="348204" y="165409"/>
                  </a:lnTo>
                  <a:lnTo>
                    <a:pt x="344831" y="158825"/>
                  </a:lnTo>
                  <a:lnTo>
                    <a:pt x="353263" y="162117"/>
                  </a:lnTo>
                  <a:lnTo>
                    <a:pt x="353263" y="170346"/>
                  </a:lnTo>
                  <a:lnTo>
                    <a:pt x="360008" y="175284"/>
                  </a:lnTo>
                  <a:lnTo>
                    <a:pt x="358321" y="181867"/>
                  </a:lnTo>
                  <a:lnTo>
                    <a:pt x="361694" y="193388"/>
                  </a:lnTo>
                  <a:lnTo>
                    <a:pt x="358321" y="195034"/>
                  </a:lnTo>
                  <a:lnTo>
                    <a:pt x="358321" y="198326"/>
                  </a:lnTo>
                  <a:lnTo>
                    <a:pt x="358321" y="195034"/>
                  </a:lnTo>
                  <a:lnTo>
                    <a:pt x="361694" y="193388"/>
                  </a:lnTo>
                  <a:lnTo>
                    <a:pt x="360008" y="186805"/>
                  </a:lnTo>
                  <a:lnTo>
                    <a:pt x="363380" y="185159"/>
                  </a:lnTo>
                  <a:lnTo>
                    <a:pt x="365066" y="183513"/>
                  </a:lnTo>
                  <a:lnTo>
                    <a:pt x="368439" y="191742"/>
                  </a:lnTo>
                  <a:lnTo>
                    <a:pt x="366752" y="190097"/>
                  </a:lnTo>
                  <a:lnTo>
                    <a:pt x="370125" y="190097"/>
                  </a:lnTo>
                  <a:lnTo>
                    <a:pt x="366752" y="188451"/>
                  </a:lnTo>
                  <a:lnTo>
                    <a:pt x="366752" y="183513"/>
                  </a:lnTo>
                  <a:lnTo>
                    <a:pt x="360008" y="180221"/>
                  </a:lnTo>
                  <a:lnTo>
                    <a:pt x="370125" y="183513"/>
                  </a:lnTo>
                  <a:lnTo>
                    <a:pt x="361694" y="181867"/>
                  </a:lnTo>
                  <a:lnTo>
                    <a:pt x="366752" y="175284"/>
                  </a:lnTo>
                  <a:lnTo>
                    <a:pt x="376870" y="181867"/>
                  </a:lnTo>
                  <a:lnTo>
                    <a:pt x="375184" y="180221"/>
                  </a:lnTo>
                  <a:lnTo>
                    <a:pt x="378556" y="180221"/>
                  </a:lnTo>
                  <a:lnTo>
                    <a:pt x="375184" y="178575"/>
                  </a:lnTo>
                  <a:lnTo>
                    <a:pt x="378556" y="176930"/>
                  </a:lnTo>
                  <a:lnTo>
                    <a:pt x="373497" y="178575"/>
                  </a:lnTo>
                  <a:lnTo>
                    <a:pt x="370125" y="173638"/>
                  </a:lnTo>
                  <a:lnTo>
                    <a:pt x="361694" y="173638"/>
                  </a:lnTo>
                  <a:lnTo>
                    <a:pt x="358321" y="168700"/>
                  </a:lnTo>
                  <a:lnTo>
                    <a:pt x="360008" y="167055"/>
                  </a:lnTo>
                  <a:lnTo>
                    <a:pt x="363380" y="167055"/>
                  </a:lnTo>
                  <a:lnTo>
                    <a:pt x="360008" y="167055"/>
                  </a:lnTo>
                  <a:lnTo>
                    <a:pt x="356635" y="160471"/>
                  </a:lnTo>
                  <a:lnTo>
                    <a:pt x="368439" y="160471"/>
                  </a:lnTo>
                  <a:lnTo>
                    <a:pt x="370125" y="163763"/>
                  </a:lnTo>
                  <a:lnTo>
                    <a:pt x="368439" y="162117"/>
                  </a:lnTo>
                  <a:lnTo>
                    <a:pt x="373497" y="162117"/>
                  </a:lnTo>
                  <a:lnTo>
                    <a:pt x="370125" y="160471"/>
                  </a:lnTo>
                  <a:lnTo>
                    <a:pt x="376870" y="162117"/>
                  </a:lnTo>
                  <a:lnTo>
                    <a:pt x="378556" y="167055"/>
                  </a:lnTo>
                  <a:lnTo>
                    <a:pt x="383615" y="167055"/>
                  </a:lnTo>
                  <a:lnTo>
                    <a:pt x="381928" y="173638"/>
                  </a:lnTo>
                  <a:lnTo>
                    <a:pt x="386987" y="175284"/>
                  </a:lnTo>
                  <a:lnTo>
                    <a:pt x="385301" y="176930"/>
                  </a:lnTo>
                  <a:lnTo>
                    <a:pt x="386987" y="175284"/>
                  </a:lnTo>
                  <a:lnTo>
                    <a:pt x="390360" y="176930"/>
                  </a:lnTo>
                  <a:lnTo>
                    <a:pt x="381928" y="173638"/>
                  </a:lnTo>
                  <a:lnTo>
                    <a:pt x="383615" y="171992"/>
                  </a:lnTo>
                  <a:lnTo>
                    <a:pt x="386987" y="171992"/>
                  </a:lnTo>
                  <a:lnTo>
                    <a:pt x="383615" y="167055"/>
                  </a:lnTo>
                  <a:lnTo>
                    <a:pt x="397104" y="173638"/>
                  </a:lnTo>
                  <a:lnTo>
                    <a:pt x="380242" y="165409"/>
                  </a:lnTo>
                  <a:lnTo>
                    <a:pt x="380242" y="160471"/>
                  </a:lnTo>
                  <a:lnTo>
                    <a:pt x="386987" y="163763"/>
                  </a:lnTo>
                  <a:lnTo>
                    <a:pt x="383615" y="160471"/>
                  </a:lnTo>
                  <a:lnTo>
                    <a:pt x="375184" y="157179"/>
                  </a:lnTo>
                  <a:lnTo>
                    <a:pt x="354949" y="155533"/>
                  </a:lnTo>
                  <a:lnTo>
                    <a:pt x="361694" y="153888"/>
                  </a:lnTo>
                  <a:lnTo>
                    <a:pt x="351576" y="155533"/>
                  </a:lnTo>
                  <a:lnTo>
                    <a:pt x="346518" y="148950"/>
                  </a:lnTo>
                  <a:lnTo>
                    <a:pt x="356635" y="153888"/>
                  </a:lnTo>
                  <a:lnTo>
                    <a:pt x="360008" y="153888"/>
                  </a:lnTo>
                  <a:lnTo>
                    <a:pt x="354949" y="153888"/>
                  </a:lnTo>
                  <a:lnTo>
                    <a:pt x="351576" y="150596"/>
                  </a:lnTo>
                  <a:lnTo>
                    <a:pt x="363380" y="148950"/>
                  </a:lnTo>
                  <a:lnTo>
                    <a:pt x="370125" y="152242"/>
                  </a:lnTo>
                  <a:lnTo>
                    <a:pt x="386987" y="148950"/>
                  </a:lnTo>
                  <a:lnTo>
                    <a:pt x="386987" y="152242"/>
                  </a:lnTo>
                  <a:lnTo>
                    <a:pt x="388673" y="153888"/>
                  </a:lnTo>
                  <a:lnTo>
                    <a:pt x="386987" y="148950"/>
                  </a:lnTo>
                  <a:lnTo>
                    <a:pt x="390360" y="150596"/>
                  </a:lnTo>
                  <a:lnTo>
                    <a:pt x="395418" y="158825"/>
                  </a:lnTo>
                  <a:lnTo>
                    <a:pt x="392046" y="150596"/>
                  </a:lnTo>
                  <a:lnTo>
                    <a:pt x="395418" y="150596"/>
                  </a:lnTo>
                  <a:lnTo>
                    <a:pt x="398791" y="155533"/>
                  </a:lnTo>
                  <a:lnTo>
                    <a:pt x="403849" y="155533"/>
                  </a:lnTo>
                  <a:lnTo>
                    <a:pt x="403849" y="160471"/>
                  </a:lnTo>
                  <a:lnTo>
                    <a:pt x="402163" y="163763"/>
                  </a:lnTo>
                  <a:lnTo>
                    <a:pt x="408908" y="158825"/>
                  </a:lnTo>
                  <a:lnTo>
                    <a:pt x="405536" y="158825"/>
                  </a:lnTo>
                  <a:lnTo>
                    <a:pt x="403849" y="155533"/>
                  </a:lnTo>
                  <a:lnTo>
                    <a:pt x="392046" y="147304"/>
                  </a:lnTo>
                  <a:lnTo>
                    <a:pt x="395418" y="147304"/>
                  </a:lnTo>
                  <a:lnTo>
                    <a:pt x="405536" y="152242"/>
                  </a:lnTo>
                  <a:lnTo>
                    <a:pt x="397104" y="147304"/>
                  </a:lnTo>
                  <a:lnTo>
                    <a:pt x="380242" y="145658"/>
                  </a:lnTo>
                  <a:lnTo>
                    <a:pt x="376870" y="144013"/>
                  </a:lnTo>
                  <a:lnTo>
                    <a:pt x="378556" y="142367"/>
                  </a:lnTo>
                  <a:lnTo>
                    <a:pt x="373497" y="144013"/>
                  </a:lnTo>
                  <a:lnTo>
                    <a:pt x="368439" y="140721"/>
                  </a:lnTo>
                  <a:lnTo>
                    <a:pt x="368439" y="134137"/>
                  </a:lnTo>
                  <a:lnTo>
                    <a:pt x="373497" y="127554"/>
                  </a:lnTo>
                  <a:lnTo>
                    <a:pt x="386987" y="139075"/>
                  </a:lnTo>
                  <a:lnTo>
                    <a:pt x="393732" y="140721"/>
                  </a:lnTo>
                  <a:lnTo>
                    <a:pt x="385301" y="137429"/>
                  </a:lnTo>
                  <a:lnTo>
                    <a:pt x="381928" y="134137"/>
                  </a:lnTo>
                  <a:lnTo>
                    <a:pt x="388673" y="135783"/>
                  </a:lnTo>
                  <a:lnTo>
                    <a:pt x="402163" y="145658"/>
                  </a:lnTo>
                  <a:lnTo>
                    <a:pt x="410594" y="142367"/>
                  </a:lnTo>
                  <a:lnTo>
                    <a:pt x="429143" y="142367"/>
                  </a:lnTo>
                  <a:lnTo>
                    <a:pt x="425770" y="140721"/>
                  </a:lnTo>
                  <a:lnTo>
                    <a:pt x="413967" y="142367"/>
                  </a:lnTo>
                  <a:lnTo>
                    <a:pt x="412281" y="135783"/>
                  </a:lnTo>
                  <a:lnTo>
                    <a:pt x="413967" y="130845"/>
                  </a:lnTo>
                  <a:lnTo>
                    <a:pt x="417339" y="130845"/>
                  </a:lnTo>
                  <a:lnTo>
                    <a:pt x="413967" y="130845"/>
                  </a:lnTo>
                  <a:lnTo>
                    <a:pt x="410594" y="140721"/>
                  </a:lnTo>
                  <a:lnTo>
                    <a:pt x="402163" y="144013"/>
                  </a:lnTo>
                  <a:lnTo>
                    <a:pt x="397104" y="139075"/>
                  </a:lnTo>
                  <a:lnTo>
                    <a:pt x="402163" y="135783"/>
                  </a:lnTo>
                  <a:lnTo>
                    <a:pt x="397104" y="137429"/>
                  </a:lnTo>
                  <a:lnTo>
                    <a:pt x="397104" y="135783"/>
                  </a:lnTo>
                  <a:lnTo>
                    <a:pt x="402163" y="135783"/>
                  </a:lnTo>
                  <a:lnTo>
                    <a:pt x="408908" y="132491"/>
                  </a:lnTo>
                  <a:lnTo>
                    <a:pt x="403849" y="134137"/>
                  </a:lnTo>
                  <a:lnTo>
                    <a:pt x="405536" y="130845"/>
                  </a:lnTo>
                  <a:lnTo>
                    <a:pt x="403849" y="134137"/>
                  </a:lnTo>
                  <a:lnTo>
                    <a:pt x="405536" y="130845"/>
                  </a:lnTo>
                  <a:lnTo>
                    <a:pt x="402163" y="135783"/>
                  </a:lnTo>
                  <a:lnTo>
                    <a:pt x="398791" y="132491"/>
                  </a:lnTo>
                  <a:lnTo>
                    <a:pt x="393732" y="135783"/>
                  </a:lnTo>
                  <a:lnTo>
                    <a:pt x="381928" y="129200"/>
                  </a:lnTo>
                  <a:lnTo>
                    <a:pt x="388673" y="130845"/>
                  </a:lnTo>
                  <a:lnTo>
                    <a:pt x="378556" y="127554"/>
                  </a:lnTo>
                  <a:lnTo>
                    <a:pt x="383615" y="125908"/>
                  </a:lnTo>
                  <a:lnTo>
                    <a:pt x="378556" y="125908"/>
                  </a:lnTo>
                  <a:lnTo>
                    <a:pt x="376870" y="124262"/>
                  </a:lnTo>
                  <a:lnTo>
                    <a:pt x="378556" y="111095"/>
                  </a:lnTo>
                  <a:lnTo>
                    <a:pt x="376870" y="119324"/>
                  </a:lnTo>
                  <a:lnTo>
                    <a:pt x="378556" y="119324"/>
                  </a:lnTo>
                  <a:lnTo>
                    <a:pt x="378556" y="117679"/>
                  </a:lnTo>
                  <a:lnTo>
                    <a:pt x="381928" y="116033"/>
                  </a:lnTo>
                  <a:lnTo>
                    <a:pt x="381928" y="119324"/>
                  </a:lnTo>
                  <a:lnTo>
                    <a:pt x="381928" y="116033"/>
                  </a:lnTo>
                  <a:lnTo>
                    <a:pt x="376870" y="116033"/>
                  </a:lnTo>
                  <a:lnTo>
                    <a:pt x="380242" y="107803"/>
                  </a:lnTo>
                  <a:lnTo>
                    <a:pt x="380242" y="114387"/>
                  </a:lnTo>
                  <a:lnTo>
                    <a:pt x="380242" y="109449"/>
                  </a:lnTo>
                  <a:lnTo>
                    <a:pt x="381928" y="111095"/>
                  </a:lnTo>
                  <a:lnTo>
                    <a:pt x="380242" y="107803"/>
                  </a:lnTo>
                  <a:lnTo>
                    <a:pt x="383615" y="102866"/>
                  </a:lnTo>
                  <a:lnTo>
                    <a:pt x="386987" y="124262"/>
                  </a:lnTo>
                  <a:lnTo>
                    <a:pt x="386987" y="120971"/>
                  </a:lnTo>
                  <a:lnTo>
                    <a:pt x="393732" y="127554"/>
                  </a:lnTo>
                  <a:lnTo>
                    <a:pt x="392046" y="124262"/>
                  </a:lnTo>
                  <a:lnTo>
                    <a:pt x="395418" y="125908"/>
                  </a:lnTo>
                  <a:lnTo>
                    <a:pt x="392046" y="124262"/>
                  </a:lnTo>
                  <a:lnTo>
                    <a:pt x="388673" y="120971"/>
                  </a:lnTo>
                  <a:lnTo>
                    <a:pt x="386987" y="119324"/>
                  </a:lnTo>
                  <a:lnTo>
                    <a:pt x="392046" y="117679"/>
                  </a:lnTo>
                  <a:lnTo>
                    <a:pt x="393732" y="122616"/>
                  </a:lnTo>
                  <a:lnTo>
                    <a:pt x="392046" y="117679"/>
                  </a:lnTo>
                  <a:lnTo>
                    <a:pt x="393732" y="117679"/>
                  </a:lnTo>
                  <a:lnTo>
                    <a:pt x="403849" y="122616"/>
                  </a:lnTo>
                  <a:lnTo>
                    <a:pt x="395418" y="117679"/>
                  </a:lnTo>
                  <a:lnTo>
                    <a:pt x="403849" y="119324"/>
                  </a:lnTo>
                  <a:lnTo>
                    <a:pt x="403849" y="116033"/>
                  </a:lnTo>
                  <a:lnTo>
                    <a:pt x="407222" y="112741"/>
                  </a:lnTo>
                  <a:lnTo>
                    <a:pt x="402163" y="116033"/>
                  </a:lnTo>
                  <a:lnTo>
                    <a:pt x="403849" y="119324"/>
                  </a:lnTo>
                  <a:lnTo>
                    <a:pt x="398791" y="117679"/>
                  </a:lnTo>
                  <a:lnTo>
                    <a:pt x="402163" y="111095"/>
                  </a:lnTo>
                  <a:lnTo>
                    <a:pt x="398791" y="117679"/>
                  </a:lnTo>
                  <a:lnTo>
                    <a:pt x="386987" y="116033"/>
                  </a:lnTo>
                  <a:lnTo>
                    <a:pt x="392046" y="112741"/>
                  </a:lnTo>
                  <a:lnTo>
                    <a:pt x="398791" y="111095"/>
                  </a:lnTo>
                  <a:lnTo>
                    <a:pt x="386987" y="112741"/>
                  </a:lnTo>
                  <a:lnTo>
                    <a:pt x="386987" y="107803"/>
                  </a:lnTo>
                  <a:lnTo>
                    <a:pt x="390360" y="109449"/>
                  </a:lnTo>
                  <a:lnTo>
                    <a:pt x="386987" y="106158"/>
                  </a:lnTo>
                  <a:lnTo>
                    <a:pt x="393732" y="107803"/>
                  </a:lnTo>
                  <a:lnTo>
                    <a:pt x="390360" y="106158"/>
                  </a:lnTo>
                  <a:lnTo>
                    <a:pt x="397104" y="104512"/>
                  </a:lnTo>
                  <a:lnTo>
                    <a:pt x="390360" y="106158"/>
                  </a:lnTo>
                  <a:lnTo>
                    <a:pt x="386987" y="104512"/>
                  </a:lnTo>
                  <a:lnTo>
                    <a:pt x="395418" y="101220"/>
                  </a:lnTo>
                  <a:lnTo>
                    <a:pt x="386987" y="102866"/>
                  </a:lnTo>
                  <a:lnTo>
                    <a:pt x="388673" y="96282"/>
                  </a:lnTo>
                  <a:lnTo>
                    <a:pt x="393732" y="97928"/>
                  </a:lnTo>
                  <a:lnTo>
                    <a:pt x="390360" y="92991"/>
                  </a:lnTo>
                  <a:lnTo>
                    <a:pt x="395418" y="97928"/>
                  </a:lnTo>
                  <a:lnTo>
                    <a:pt x="392046" y="92991"/>
                  </a:lnTo>
                  <a:lnTo>
                    <a:pt x="393732" y="91345"/>
                  </a:lnTo>
                  <a:lnTo>
                    <a:pt x="397104" y="94637"/>
                  </a:lnTo>
                  <a:lnTo>
                    <a:pt x="395418" y="91345"/>
                  </a:lnTo>
                  <a:lnTo>
                    <a:pt x="398791" y="92991"/>
                  </a:lnTo>
                  <a:lnTo>
                    <a:pt x="395418" y="91345"/>
                  </a:lnTo>
                  <a:lnTo>
                    <a:pt x="398791" y="89699"/>
                  </a:lnTo>
                  <a:lnTo>
                    <a:pt x="412281" y="92991"/>
                  </a:lnTo>
                  <a:lnTo>
                    <a:pt x="402163" y="96282"/>
                  </a:lnTo>
                  <a:lnTo>
                    <a:pt x="405536" y="96282"/>
                  </a:lnTo>
                  <a:lnTo>
                    <a:pt x="402163" y="101220"/>
                  </a:lnTo>
                  <a:lnTo>
                    <a:pt x="402163" y="104512"/>
                  </a:lnTo>
                  <a:lnTo>
                    <a:pt x="402163" y="99574"/>
                  </a:lnTo>
                  <a:lnTo>
                    <a:pt x="407222" y="102866"/>
                  </a:lnTo>
                  <a:lnTo>
                    <a:pt x="403849" y="99574"/>
                  </a:lnTo>
                  <a:lnTo>
                    <a:pt x="405536" y="96282"/>
                  </a:lnTo>
                  <a:lnTo>
                    <a:pt x="412281" y="94637"/>
                  </a:lnTo>
                  <a:lnTo>
                    <a:pt x="412281" y="96282"/>
                  </a:lnTo>
                  <a:lnTo>
                    <a:pt x="415653" y="94637"/>
                  </a:lnTo>
                  <a:lnTo>
                    <a:pt x="415653" y="101220"/>
                  </a:lnTo>
                  <a:lnTo>
                    <a:pt x="417339" y="102866"/>
                  </a:lnTo>
                  <a:lnTo>
                    <a:pt x="417339" y="96282"/>
                  </a:lnTo>
                  <a:lnTo>
                    <a:pt x="422398" y="96282"/>
                  </a:lnTo>
                  <a:lnTo>
                    <a:pt x="430829" y="106158"/>
                  </a:lnTo>
                  <a:lnTo>
                    <a:pt x="425770" y="109449"/>
                  </a:lnTo>
                  <a:lnTo>
                    <a:pt x="417339" y="107803"/>
                  </a:lnTo>
                  <a:lnTo>
                    <a:pt x="425770" y="111095"/>
                  </a:lnTo>
                  <a:lnTo>
                    <a:pt x="415653" y="116033"/>
                  </a:lnTo>
                  <a:lnTo>
                    <a:pt x="413967" y="111095"/>
                  </a:lnTo>
                  <a:lnTo>
                    <a:pt x="413967" y="119324"/>
                  </a:lnTo>
                  <a:lnTo>
                    <a:pt x="410594" y="119324"/>
                  </a:lnTo>
                  <a:lnTo>
                    <a:pt x="413967" y="119324"/>
                  </a:lnTo>
                  <a:lnTo>
                    <a:pt x="412281" y="124262"/>
                  </a:lnTo>
                  <a:lnTo>
                    <a:pt x="415653" y="124262"/>
                  </a:lnTo>
                  <a:lnTo>
                    <a:pt x="417339" y="120971"/>
                  </a:lnTo>
                  <a:lnTo>
                    <a:pt x="413967" y="122616"/>
                  </a:lnTo>
                  <a:lnTo>
                    <a:pt x="415653" y="116033"/>
                  </a:lnTo>
                  <a:lnTo>
                    <a:pt x="427457" y="111095"/>
                  </a:lnTo>
                  <a:lnTo>
                    <a:pt x="424084" y="114387"/>
                  </a:lnTo>
                  <a:lnTo>
                    <a:pt x="425770" y="112741"/>
                  </a:lnTo>
                  <a:lnTo>
                    <a:pt x="425770" y="116033"/>
                  </a:lnTo>
                  <a:lnTo>
                    <a:pt x="427457" y="111095"/>
                  </a:lnTo>
                  <a:lnTo>
                    <a:pt x="429143" y="109449"/>
                  </a:lnTo>
                  <a:lnTo>
                    <a:pt x="429143" y="112741"/>
                  </a:lnTo>
                  <a:lnTo>
                    <a:pt x="429143" y="109449"/>
                  </a:lnTo>
                  <a:lnTo>
                    <a:pt x="432515" y="107803"/>
                  </a:lnTo>
                  <a:lnTo>
                    <a:pt x="434201" y="112741"/>
                  </a:lnTo>
                  <a:lnTo>
                    <a:pt x="427457" y="117679"/>
                  </a:lnTo>
                  <a:lnTo>
                    <a:pt x="427457" y="120971"/>
                  </a:lnTo>
                  <a:lnTo>
                    <a:pt x="422398" y="119324"/>
                  </a:lnTo>
                  <a:lnTo>
                    <a:pt x="425770" y="122616"/>
                  </a:lnTo>
                  <a:lnTo>
                    <a:pt x="424084" y="120971"/>
                  </a:lnTo>
                  <a:lnTo>
                    <a:pt x="427457" y="120971"/>
                  </a:lnTo>
                  <a:lnTo>
                    <a:pt x="430829" y="116033"/>
                  </a:lnTo>
                  <a:lnTo>
                    <a:pt x="435888" y="119324"/>
                  </a:lnTo>
                  <a:lnTo>
                    <a:pt x="437574" y="122616"/>
                  </a:lnTo>
                  <a:lnTo>
                    <a:pt x="434201" y="124262"/>
                  </a:lnTo>
                  <a:lnTo>
                    <a:pt x="437574" y="127554"/>
                  </a:lnTo>
                  <a:lnTo>
                    <a:pt x="430829" y="127554"/>
                  </a:lnTo>
                  <a:lnTo>
                    <a:pt x="434201" y="127554"/>
                  </a:lnTo>
                  <a:lnTo>
                    <a:pt x="432515" y="135783"/>
                  </a:lnTo>
                  <a:lnTo>
                    <a:pt x="435888" y="127554"/>
                  </a:lnTo>
                  <a:lnTo>
                    <a:pt x="439260" y="135783"/>
                  </a:lnTo>
                  <a:lnTo>
                    <a:pt x="437574" y="129200"/>
                  </a:lnTo>
                  <a:lnTo>
                    <a:pt x="444319" y="125908"/>
                  </a:lnTo>
                  <a:lnTo>
                    <a:pt x="442632" y="124262"/>
                  </a:lnTo>
                  <a:lnTo>
                    <a:pt x="457808" y="147304"/>
                  </a:lnTo>
                  <a:lnTo>
                    <a:pt x="449377" y="135783"/>
                  </a:lnTo>
                  <a:lnTo>
                    <a:pt x="447691" y="142367"/>
                  </a:lnTo>
                  <a:lnTo>
                    <a:pt x="444319" y="142367"/>
                  </a:lnTo>
                  <a:lnTo>
                    <a:pt x="447691" y="142367"/>
                  </a:lnTo>
                  <a:lnTo>
                    <a:pt x="444319" y="145658"/>
                  </a:lnTo>
                  <a:lnTo>
                    <a:pt x="440946" y="145658"/>
                  </a:lnTo>
                  <a:lnTo>
                    <a:pt x="442632" y="147304"/>
                  </a:lnTo>
                  <a:lnTo>
                    <a:pt x="439260" y="150596"/>
                  </a:lnTo>
                  <a:lnTo>
                    <a:pt x="435888" y="148950"/>
                  </a:lnTo>
                  <a:lnTo>
                    <a:pt x="440946" y="147304"/>
                  </a:lnTo>
                  <a:lnTo>
                    <a:pt x="437574" y="145658"/>
                  </a:lnTo>
                  <a:lnTo>
                    <a:pt x="432515" y="150596"/>
                  </a:lnTo>
                  <a:lnTo>
                    <a:pt x="434201" y="155533"/>
                  </a:lnTo>
                  <a:lnTo>
                    <a:pt x="410594" y="171992"/>
                  </a:lnTo>
                  <a:lnTo>
                    <a:pt x="437574" y="150596"/>
                  </a:lnTo>
                  <a:lnTo>
                    <a:pt x="444319" y="147304"/>
                  </a:lnTo>
                  <a:lnTo>
                    <a:pt x="446005" y="148950"/>
                  </a:lnTo>
                  <a:lnTo>
                    <a:pt x="449377" y="142367"/>
                  </a:lnTo>
                  <a:lnTo>
                    <a:pt x="454436" y="147304"/>
                  </a:lnTo>
                  <a:lnTo>
                    <a:pt x="454436" y="153888"/>
                  </a:lnTo>
                  <a:lnTo>
                    <a:pt x="459495" y="152242"/>
                  </a:lnTo>
                  <a:lnTo>
                    <a:pt x="466240" y="160471"/>
                  </a:lnTo>
                  <a:lnTo>
                    <a:pt x="356635" y="292140"/>
                  </a:lnTo>
                  <a:lnTo>
                    <a:pt x="238599" y="369496"/>
                  </a:lnTo>
                  <a:lnTo>
                    <a:pt x="216678" y="385954"/>
                  </a:lnTo>
                  <a:lnTo>
                    <a:pt x="206561" y="390892"/>
                  </a:lnTo>
                  <a:lnTo>
                    <a:pt x="208247" y="392538"/>
                  </a:lnTo>
                  <a:lnTo>
                    <a:pt x="196444" y="399121"/>
                  </a:lnTo>
                  <a:lnTo>
                    <a:pt x="193071" y="405705"/>
                  </a:lnTo>
                  <a:lnTo>
                    <a:pt x="159347" y="412288"/>
                  </a:lnTo>
                  <a:close/>
                  <a:moveTo>
                    <a:pt x="235227" y="117679"/>
                  </a:moveTo>
                  <a:lnTo>
                    <a:pt x="236913" y="111095"/>
                  </a:lnTo>
                  <a:lnTo>
                    <a:pt x="226796" y="109449"/>
                  </a:lnTo>
                  <a:lnTo>
                    <a:pt x="225110" y="116033"/>
                  </a:lnTo>
                  <a:lnTo>
                    <a:pt x="235227" y="117679"/>
                  </a:lnTo>
                  <a:close/>
                  <a:moveTo>
                    <a:pt x="46370" y="71595"/>
                  </a:moveTo>
                  <a:lnTo>
                    <a:pt x="54801" y="63365"/>
                  </a:lnTo>
                  <a:lnTo>
                    <a:pt x="51428" y="53490"/>
                  </a:lnTo>
                  <a:lnTo>
                    <a:pt x="44684" y="53490"/>
                  </a:lnTo>
                  <a:lnTo>
                    <a:pt x="39625" y="68303"/>
                  </a:lnTo>
                  <a:lnTo>
                    <a:pt x="46370" y="71595"/>
                  </a:lnTo>
                  <a:close/>
                  <a:moveTo>
                    <a:pt x="44684" y="53490"/>
                  </a:moveTo>
                  <a:lnTo>
                    <a:pt x="51428" y="53490"/>
                  </a:lnTo>
                  <a:lnTo>
                    <a:pt x="51428" y="48552"/>
                  </a:lnTo>
                  <a:lnTo>
                    <a:pt x="46370" y="48552"/>
                  </a:lnTo>
                  <a:lnTo>
                    <a:pt x="51428" y="48552"/>
                  </a:lnTo>
                  <a:lnTo>
                    <a:pt x="51428" y="41969"/>
                  </a:lnTo>
                  <a:lnTo>
                    <a:pt x="46370" y="41969"/>
                  </a:lnTo>
                  <a:lnTo>
                    <a:pt x="44684" y="5349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99" name="Beemster">
              <a:extLst>
                <a:ext uri="{FF2B5EF4-FFF2-40B4-BE49-F238E27FC236}">
                  <a16:creationId xmlns:a16="http://schemas.microsoft.com/office/drawing/2014/main" id="{6E62D96D-CB23-4E1E-BF96-AA6496A263BC}"/>
                </a:ext>
              </a:extLst>
            </p:cNvPr>
            <p:cNvSpPr/>
            <p:nvPr/>
          </p:nvSpPr>
          <p:spPr>
            <a:xfrm>
              <a:off x="5661066" y="2694430"/>
              <a:ext cx="162176" cy="175026"/>
            </a:xfrm>
            <a:custGeom>
              <a:avLst/>
              <a:gdLst/>
              <a:ahLst/>
              <a:cxnLst/>
              <a:rect l="l" t="t" r="r" b="b"/>
              <a:pathLst>
                <a:path w="245871" h="251460" extrusionOk="0">
                  <a:moveTo>
                    <a:pt x="194757" y="20573"/>
                  </a:moveTo>
                  <a:lnTo>
                    <a:pt x="194757" y="30448"/>
                  </a:lnTo>
                  <a:lnTo>
                    <a:pt x="182954" y="37031"/>
                  </a:lnTo>
                  <a:lnTo>
                    <a:pt x="179582" y="40323"/>
                  </a:lnTo>
                  <a:lnTo>
                    <a:pt x="179582" y="55136"/>
                  </a:lnTo>
                  <a:lnTo>
                    <a:pt x="186326" y="69949"/>
                  </a:lnTo>
                  <a:lnTo>
                    <a:pt x="188013" y="84761"/>
                  </a:lnTo>
                  <a:lnTo>
                    <a:pt x="194757" y="84761"/>
                  </a:lnTo>
                  <a:lnTo>
                    <a:pt x="209934" y="74886"/>
                  </a:lnTo>
                  <a:lnTo>
                    <a:pt x="225110" y="69949"/>
                  </a:lnTo>
                  <a:lnTo>
                    <a:pt x="243658" y="81470"/>
                  </a:lnTo>
                  <a:lnTo>
                    <a:pt x="252089" y="97928"/>
                  </a:lnTo>
                  <a:lnTo>
                    <a:pt x="220051" y="130845"/>
                  </a:lnTo>
                  <a:lnTo>
                    <a:pt x="221737" y="150596"/>
                  </a:lnTo>
                  <a:lnTo>
                    <a:pt x="218365" y="160471"/>
                  </a:lnTo>
                  <a:lnTo>
                    <a:pt x="220051" y="167054"/>
                  </a:lnTo>
                  <a:lnTo>
                    <a:pt x="194757" y="198326"/>
                  </a:lnTo>
                  <a:lnTo>
                    <a:pt x="186326" y="239473"/>
                  </a:lnTo>
                  <a:lnTo>
                    <a:pt x="174523" y="249348"/>
                  </a:lnTo>
                  <a:lnTo>
                    <a:pt x="144171" y="252639"/>
                  </a:lnTo>
                  <a:lnTo>
                    <a:pt x="135740" y="249348"/>
                  </a:lnTo>
                  <a:lnTo>
                    <a:pt x="118877" y="237826"/>
                  </a:lnTo>
                  <a:lnTo>
                    <a:pt x="95270" y="236181"/>
                  </a:lnTo>
                  <a:lnTo>
                    <a:pt x="66604" y="229597"/>
                  </a:lnTo>
                  <a:lnTo>
                    <a:pt x="42997" y="218076"/>
                  </a:lnTo>
                  <a:lnTo>
                    <a:pt x="27821" y="218076"/>
                  </a:lnTo>
                  <a:lnTo>
                    <a:pt x="19390" y="213139"/>
                  </a:lnTo>
                  <a:lnTo>
                    <a:pt x="10959" y="203264"/>
                  </a:lnTo>
                  <a:lnTo>
                    <a:pt x="4214" y="183513"/>
                  </a:lnTo>
                  <a:lnTo>
                    <a:pt x="17704" y="171992"/>
                  </a:lnTo>
                  <a:lnTo>
                    <a:pt x="32880" y="145658"/>
                  </a:lnTo>
                  <a:lnTo>
                    <a:pt x="46370" y="127554"/>
                  </a:lnTo>
                  <a:lnTo>
                    <a:pt x="53115" y="99574"/>
                  </a:lnTo>
                  <a:lnTo>
                    <a:pt x="58173" y="94636"/>
                  </a:lnTo>
                  <a:lnTo>
                    <a:pt x="66604" y="91345"/>
                  </a:lnTo>
                  <a:lnTo>
                    <a:pt x="75036" y="84761"/>
                  </a:lnTo>
                  <a:lnTo>
                    <a:pt x="85153" y="69949"/>
                  </a:lnTo>
                  <a:lnTo>
                    <a:pt x="90211" y="50198"/>
                  </a:lnTo>
                  <a:lnTo>
                    <a:pt x="103701" y="33739"/>
                  </a:lnTo>
                  <a:lnTo>
                    <a:pt x="128995" y="15635"/>
                  </a:lnTo>
                  <a:lnTo>
                    <a:pt x="144171" y="18927"/>
                  </a:lnTo>
                  <a:lnTo>
                    <a:pt x="149229" y="25510"/>
                  </a:lnTo>
                  <a:lnTo>
                    <a:pt x="157661" y="22218"/>
                  </a:lnTo>
                  <a:lnTo>
                    <a:pt x="181268" y="4114"/>
                  </a:lnTo>
                  <a:lnTo>
                    <a:pt x="188013" y="7406"/>
                  </a:lnTo>
                  <a:lnTo>
                    <a:pt x="194757"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0" name="Leiden">
              <a:extLst>
                <a:ext uri="{FF2B5EF4-FFF2-40B4-BE49-F238E27FC236}">
                  <a16:creationId xmlns:a16="http://schemas.microsoft.com/office/drawing/2014/main" id="{FE249208-68A1-4623-9A7B-EF2A0FC67DC9}"/>
                </a:ext>
              </a:extLst>
            </p:cNvPr>
            <p:cNvSpPr/>
            <p:nvPr/>
          </p:nvSpPr>
          <p:spPr>
            <a:xfrm>
              <a:off x="5234202" y="3374527"/>
              <a:ext cx="80323" cy="103946"/>
            </a:xfrm>
            <a:custGeom>
              <a:avLst/>
              <a:gdLst/>
              <a:ahLst/>
              <a:cxnLst/>
              <a:rect l="l" t="t" r="r" b="b"/>
              <a:pathLst>
                <a:path w="128789" h="160020" extrusionOk="0">
                  <a:moveTo>
                    <a:pt x="123936" y="25510"/>
                  </a:moveTo>
                  <a:lnTo>
                    <a:pt x="125622" y="28802"/>
                  </a:lnTo>
                  <a:lnTo>
                    <a:pt x="120564" y="37031"/>
                  </a:lnTo>
                  <a:lnTo>
                    <a:pt x="122250" y="50198"/>
                  </a:lnTo>
                  <a:lnTo>
                    <a:pt x="118877" y="61719"/>
                  </a:lnTo>
                  <a:lnTo>
                    <a:pt x="128995" y="71594"/>
                  </a:lnTo>
                  <a:lnTo>
                    <a:pt x="132367" y="94636"/>
                  </a:lnTo>
                  <a:lnTo>
                    <a:pt x="120564" y="101220"/>
                  </a:lnTo>
                  <a:lnTo>
                    <a:pt x="112133" y="109449"/>
                  </a:lnTo>
                  <a:lnTo>
                    <a:pt x="115505" y="112741"/>
                  </a:lnTo>
                  <a:lnTo>
                    <a:pt x="54801" y="162117"/>
                  </a:lnTo>
                  <a:lnTo>
                    <a:pt x="54801" y="150596"/>
                  </a:lnTo>
                  <a:lnTo>
                    <a:pt x="48056" y="139075"/>
                  </a:lnTo>
                  <a:lnTo>
                    <a:pt x="44684" y="137429"/>
                  </a:lnTo>
                  <a:lnTo>
                    <a:pt x="42997" y="144012"/>
                  </a:lnTo>
                  <a:lnTo>
                    <a:pt x="41311" y="142367"/>
                  </a:lnTo>
                  <a:lnTo>
                    <a:pt x="49742" y="125908"/>
                  </a:lnTo>
                  <a:lnTo>
                    <a:pt x="46370" y="119324"/>
                  </a:lnTo>
                  <a:lnTo>
                    <a:pt x="44684" y="88053"/>
                  </a:lnTo>
                  <a:lnTo>
                    <a:pt x="34566" y="88053"/>
                  </a:lnTo>
                  <a:lnTo>
                    <a:pt x="19390" y="107803"/>
                  </a:lnTo>
                  <a:lnTo>
                    <a:pt x="12645" y="109449"/>
                  </a:lnTo>
                  <a:lnTo>
                    <a:pt x="10959" y="96282"/>
                  </a:lnTo>
                  <a:lnTo>
                    <a:pt x="4214" y="74886"/>
                  </a:lnTo>
                  <a:lnTo>
                    <a:pt x="19390" y="56781"/>
                  </a:lnTo>
                  <a:lnTo>
                    <a:pt x="27821" y="35385"/>
                  </a:lnTo>
                  <a:lnTo>
                    <a:pt x="46370" y="38677"/>
                  </a:lnTo>
                  <a:lnTo>
                    <a:pt x="49742" y="30448"/>
                  </a:lnTo>
                  <a:lnTo>
                    <a:pt x="64918" y="15635"/>
                  </a:lnTo>
                  <a:lnTo>
                    <a:pt x="78408" y="22218"/>
                  </a:lnTo>
                  <a:lnTo>
                    <a:pt x="78408" y="18926"/>
                  </a:lnTo>
                  <a:lnTo>
                    <a:pt x="85153" y="25510"/>
                  </a:lnTo>
                  <a:lnTo>
                    <a:pt x="91898" y="15635"/>
                  </a:lnTo>
                  <a:lnTo>
                    <a:pt x="93584" y="5760"/>
                  </a:lnTo>
                  <a:lnTo>
                    <a:pt x="103701" y="4114"/>
                  </a:lnTo>
                  <a:lnTo>
                    <a:pt x="125622" y="9052"/>
                  </a:lnTo>
                  <a:lnTo>
                    <a:pt x="123936" y="2551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1" name="Lopik">
              <a:extLst>
                <a:ext uri="{FF2B5EF4-FFF2-40B4-BE49-F238E27FC236}">
                  <a16:creationId xmlns:a16="http://schemas.microsoft.com/office/drawing/2014/main" id="{622A1C0A-4039-4E39-9A42-4F86D95FC15E}"/>
                </a:ext>
              </a:extLst>
            </p:cNvPr>
            <p:cNvSpPr/>
            <p:nvPr/>
          </p:nvSpPr>
          <p:spPr>
            <a:xfrm>
              <a:off x="5644632" y="3635527"/>
              <a:ext cx="241749" cy="144723"/>
            </a:xfrm>
            <a:custGeom>
              <a:avLst/>
              <a:gdLst/>
              <a:ahLst/>
              <a:cxnLst/>
              <a:rect l="l" t="t" r="r" b="b"/>
              <a:pathLst>
                <a:path w="351245" h="217170" extrusionOk="0">
                  <a:moveTo>
                    <a:pt x="289186" y="4114"/>
                  </a:moveTo>
                  <a:lnTo>
                    <a:pt x="311107" y="56782"/>
                  </a:lnTo>
                  <a:lnTo>
                    <a:pt x="322911" y="53490"/>
                  </a:lnTo>
                  <a:lnTo>
                    <a:pt x="341459" y="74886"/>
                  </a:lnTo>
                  <a:lnTo>
                    <a:pt x="339773" y="78178"/>
                  </a:lnTo>
                  <a:lnTo>
                    <a:pt x="353262" y="88053"/>
                  </a:lnTo>
                  <a:lnTo>
                    <a:pt x="322911" y="114387"/>
                  </a:lnTo>
                  <a:lnTo>
                    <a:pt x="312793" y="135783"/>
                  </a:lnTo>
                  <a:lnTo>
                    <a:pt x="307735" y="140721"/>
                  </a:lnTo>
                  <a:lnTo>
                    <a:pt x="295931" y="140721"/>
                  </a:lnTo>
                  <a:lnTo>
                    <a:pt x="262207" y="119324"/>
                  </a:lnTo>
                  <a:lnTo>
                    <a:pt x="255462" y="119324"/>
                  </a:lnTo>
                  <a:lnTo>
                    <a:pt x="240286" y="129200"/>
                  </a:lnTo>
                  <a:lnTo>
                    <a:pt x="220051" y="155534"/>
                  </a:lnTo>
                  <a:lnTo>
                    <a:pt x="209934" y="163763"/>
                  </a:lnTo>
                  <a:lnTo>
                    <a:pt x="199816" y="163763"/>
                  </a:lnTo>
                  <a:lnTo>
                    <a:pt x="179582" y="153888"/>
                  </a:lnTo>
                  <a:lnTo>
                    <a:pt x="166092" y="153888"/>
                  </a:lnTo>
                  <a:lnTo>
                    <a:pt x="157661" y="160471"/>
                  </a:lnTo>
                  <a:lnTo>
                    <a:pt x="142485" y="188451"/>
                  </a:lnTo>
                  <a:lnTo>
                    <a:pt x="130681" y="203264"/>
                  </a:lnTo>
                  <a:lnTo>
                    <a:pt x="69977" y="214785"/>
                  </a:lnTo>
                  <a:lnTo>
                    <a:pt x="61546" y="175284"/>
                  </a:lnTo>
                  <a:lnTo>
                    <a:pt x="44684" y="142367"/>
                  </a:lnTo>
                  <a:lnTo>
                    <a:pt x="24449" y="124262"/>
                  </a:lnTo>
                  <a:lnTo>
                    <a:pt x="22763" y="125908"/>
                  </a:lnTo>
                  <a:lnTo>
                    <a:pt x="4214" y="99574"/>
                  </a:lnTo>
                  <a:lnTo>
                    <a:pt x="120564" y="38677"/>
                  </a:lnTo>
                  <a:lnTo>
                    <a:pt x="135740" y="41969"/>
                  </a:lnTo>
                  <a:lnTo>
                    <a:pt x="189699" y="23864"/>
                  </a:lnTo>
                  <a:lnTo>
                    <a:pt x="228482" y="15635"/>
                  </a:lnTo>
                  <a:lnTo>
                    <a:pt x="247031" y="15635"/>
                  </a:lnTo>
                  <a:lnTo>
                    <a:pt x="28918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2" name="Enschede">
              <a:extLst>
                <a:ext uri="{FF2B5EF4-FFF2-40B4-BE49-F238E27FC236}">
                  <a16:creationId xmlns:a16="http://schemas.microsoft.com/office/drawing/2014/main" id="{B0478E3F-B06D-40E9-B945-738C1F3CCE79}"/>
                </a:ext>
              </a:extLst>
            </p:cNvPr>
            <p:cNvSpPr/>
            <p:nvPr/>
          </p:nvSpPr>
          <p:spPr>
            <a:xfrm>
              <a:off x="7660361" y="3203345"/>
              <a:ext cx="233754" cy="201400"/>
            </a:xfrm>
            <a:custGeom>
              <a:avLst/>
              <a:gdLst/>
              <a:ahLst/>
              <a:cxnLst/>
              <a:rect l="l" t="t" r="r" b="b"/>
              <a:pathLst>
                <a:path w="339536" h="308610" extrusionOk="0">
                  <a:moveTo>
                    <a:pt x="236913" y="4114"/>
                  </a:moveTo>
                  <a:lnTo>
                    <a:pt x="240285" y="12343"/>
                  </a:lnTo>
                  <a:lnTo>
                    <a:pt x="247030" y="9052"/>
                  </a:lnTo>
                  <a:lnTo>
                    <a:pt x="280755" y="7405"/>
                  </a:lnTo>
                  <a:lnTo>
                    <a:pt x="324597" y="46906"/>
                  </a:lnTo>
                  <a:lnTo>
                    <a:pt x="331341" y="92991"/>
                  </a:lnTo>
                  <a:lnTo>
                    <a:pt x="329656" y="102866"/>
                  </a:lnTo>
                  <a:lnTo>
                    <a:pt x="319538" y="120970"/>
                  </a:lnTo>
                  <a:lnTo>
                    <a:pt x="321224" y="135783"/>
                  </a:lnTo>
                  <a:lnTo>
                    <a:pt x="344831" y="158825"/>
                  </a:lnTo>
                  <a:lnTo>
                    <a:pt x="341459" y="180221"/>
                  </a:lnTo>
                  <a:lnTo>
                    <a:pt x="326283" y="214785"/>
                  </a:lnTo>
                  <a:lnTo>
                    <a:pt x="317852" y="223014"/>
                  </a:lnTo>
                  <a:lnTo>
                    <a:pt x="319538" y="231243"/>
                  </a:lnTo>
                  <a:lnTo>
                    <a:pt x="299303" y="257577"/>
                  </a:lnTo>
                  <a:lnTo>
                    <a:pt x="275696" y="262514"/>
                  </a:lnTo>
                  <a:lnTo>
                    <a:pt x="248717" y="265806"/>
                  </a:lnTo>
                  <a:lnTo>
                    <a:pt x="236913" y="269098"/>
                  </a:lnTo>
                  <a:lnTo>
                    <a:pt x="233541" y="274035"/>
                  </a:lnTo>
                  <a:lnTo>
                    <a:pt x="233541" y="283911"/>
                  </a:lnTo>
                  <a:lnTo>
                    <a:pt x="209934" y="305307"/>
                  </a:lnTo>
                  <a:lnTo>
                    <a:pt x="179581" y="302015"/>
                  </a:lnTo>
                  <a:lnTo>
                    <a:pt x="115505" y="283911"/>
                  </a:lnTo>
                  <a:lnTo>
                    <a:pt x="95270" y="283911"/>
                  </a:lnTo>
                  <a:lnTo>
                    <a:pt x="81780" y="295432"/>
                  </a:lnTo>
                  <a:lnTo>
                    <a:pt x="54801" y="272390"/>
                  </a:lnTo>
                  <a:lnTo>
                    <a:pt x="21076" y="237827"/>
                  </a:lnTo>
                  <a:lnTo>
                    <a:pt x="19390" y="208201"/>
                  </a:lnTo>
                  <a:lnTo>
                    <a:pt x="9273" y="191742"/>
                  </a:lnTo>
                  <a:lnTo>
                    <a:pt x="4214" y="173638"/>
                  </a:lnTo>
                  <a:lnTo>
                    <a:pt x="22763" y="150596"/>
                  </a:lnTo>
                  <a:lnTo>
                    <a:pt x="17704" y="135783"/>
                  </a:lnTo>
                  <a:lnTo>
                    <a:pt x="31194" y="122616"/>
                  </a:lnTo>
                  <a:lnTo>
                    <a:pt x="90211" y="142367"/>
                  </a:lnTo>
                  <a:lnTo>
                    <a:pt x="98643" y="109449"/>
                  </a:lnTo>
                  <a:lnTo>
                    <a:pt x="110446" y="97928"/>
                  </a:lnTo>
                  <a:lnTo>
                    <a:pt x="134053" y="83115"/>
                  </a:lnTo>
                  <a:lnTo>
                    <a:pt x="128995" y="66657"/>
                  </a:lnTo>
                  <a:lnTo>
                    <a:pt x="134053" y="60073"/>
                  </a:lnTo>
                  <a:lnTo>
                    <a:pt x="134053" y="51844"/>
                  </a:lnTo>
                  <a:lnTo>
                    <a:pt x="115505" y="37031"/>
                  </a:lnTo>
                  <a:lnTo>
                    <a:pt x="125622" y="28802"/>
                  </a:lnTo>
                  <a:lnTo>
                    <a:pt x="171150" y="37031"/>
                  </a:lnTo>
                  <a:lnTo>
                    <a:pt x="184640" y="32094"/>
                  </a:lnTo>
                  <a:lnTo>
                    <a:pt x="191385" y="20573"/>
                  </a:lnTo>
                  <a:lnTo>
                    <a:pt x="188012" y="15635"/>
                  </a:lnTo>
                  <a:lnTo>
                    <a:pt x="193071" y="13989"/>
                  </a:lnTo>
                  <a:lnTo>
                    <a:pt x="193071" y="10697"/>
                  </a:lnTo>
                  <a:lnTo>
                    <a:pt x="199816" y="10697"/>
                  </a:lnTo>
                  <a:lnTo>
                    <a:pt x="203188" y="15635"/>
                  </a:lnTo>
                  <a:lnTo>
                    <a:pt x="204875" y="13989"/>
                  </a:lnTo>
                  <a:lnTo>
                    <a:pt x="211620" y="9052"/>
                  </a:lnTo>
                  <a:lnTo>
                    <a:pt x="23691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3" name="Midden-Drenthe">
              <a:extLst>
                <a:ext uri="{FF2B5EF4-FFF2-40B4-BE49-F238E27FC236}">
                  <a16:creationId xmlns:a16="http://schemas.microsoft.com/office/drawing/2014/main" id="{BCDE293E-5E8C-4FF7-8D39-EF1D90109DA8}"/>
                </a:ext>
              </a:extLst>
            </p:cNvPr>
            <p:cNvSpPr/>
            <p:nvPr/>
          </p:nvSpPr>
          <p:spPr>
            <a:xfrm>
              <a:off x="7226545" y="2057611"/>
              <a:ext cx="390389" cy="428455"/>
            </a:xfrm>
            <a:custGeom>
              <a:avLst/>
              <a:gdLst/>
              <a:ahLst/>
              <a:cxnLst/>
              <a:rect l="l" t="t" r="r" b="b"/>
              <a:pathLst>
                <a:path w="561992" h="651510" extrusionOk="0">
                  <a:moveTo>
                    <a:pt x="193071" y="4114"/>
                  </a:moveTo>
                  <a:lnTo>
                    <a:pt x="199816" y="33739"/>
                  </a:lnTo>
                  <a:lnTo>
                    <a:pt x="208247" y="32094"/>
                  </a:lnTo>
                  <a:lnTo>
                    <a:pt x="201503" y="35385"/>
                  </a:lnTo>
                  <a:lnTo>
                    <a:pt x="209934" y="40323"/>
                  </a:lnTo>
                  <a:lnTo>
                    <a:pt x="199816" y="55136"/>
                  </a:lnTo>
                  <a:lnTo>
                    <a:pt x="206561" y="58427"/>
                  </a:lnTo>
                  <a:lnTo>
                    <a:pt x="189699" y="83115"/>
                  </a:lnTo>
                  <a:lnTo>
                    <a:pt x="204875" y="92991"/>
                  </a:lnTo>
                  <a:lnTo>
                    <a:pt x="193071" y="111095"/>
                  </a:lnTo>
                  <a:lnTo>
                    <a:pt x="203189" y="117679"/>
                  </a:lnTo>
                  <a:lnTo>
                    <a:pt x="188013" y="137429"/>
                  </a:lnTo>
                  <a:lnTo>
                    <a:pt x="196444" y="142367"/>
                  </a:lnTo>
                  <a:lnTo>
                    <a:pt x="198130" y="140721"/>
                  </a:lnTo>
                  <a:lnTo>
                    <a:pt x="201503" y="142367"/>
                  </a:lnTo>
                  <a:lnTo>
                    <a:pt x="208247" y="134137"/>
                  </a:lnTo>
                  <a:lnTo>
                    <a:pt x="241972" y="153888"/>
                  </a:lnTo>
                  <a:lnTo>
                    <a:pt x="238599" y="162117"/>
                  </a:lnTo>
                  <a:lnTo>
                    <a:pt x="253776" y="171992"/>
                  </a:lnTo>
                  <a:lnTo>
                    <a:pt x="258834" y="171992"/>
                  </a:lnTo>
                  <a:lnTo>
                    <a:pt x="258834" y="176930"/>
                  </a:lnTo>
                  <a:lnTo>
                    <a:pt x="262207" y="175284"/>
                  </a:lnTo>
                  <a:lnTo>
                    <a:pt x="267265" y="178576"/>
                  </a:lnTo>
                  <a:lnTo>
                    <a:pt x="268951" y="152242"/>
                  </a:lnTo>
                  <a:lnTo>
                    <a:pt x="275696" y="124262"/>
                  </a:lnTo>
                  <a:lnTo>
                    <a:pt x="309421" y="148950"/>
                  </a:lnTo>
                  <a:lnTo>
                    <a:pt x="341459" y="209847"/>
                  </a:lnTo>
                  <a:lnTo>
                    <a:pt x="385301" y="211493"/>
                  </a:lnTo>
                  <a:lnTo>
                    <a:pt x="402163" y="224660"/>
                  </a:lnTo>
                  <a:lnTo>
                    <a:pt x="462867" y="231243"/>
                  </a:lnTo>
                  <a:lnTo>
                    <a:pt x="476357" y="242764"/>
                  </a:lnTo>
                  <a:lnTo>
                    <a:pt x="494906" y="313536"/>
                  </a:lnTo>
                  <a:lnTo>
                    <a:pt x="547179" y="334933"/>
                  </a:lnTo>
                  <a:lnTo>
                    <a:pt x="545492" y="346453"/>
                  </a:lnTo>
                  <a:lnTo>
                    <a:pt x="558982" y="364558"/>
                  </a:lnTo>
                  <a:lnTo>
                    <a:pt x="545492" y="376079"/>
                  </a:lnTo>
                  <a:lnTo>
                    <a:pt x="521885" y="381017"/>
                  </a:lnTo>
                  <a:lnTo>
                    <a:pt x="528630" y="407350"/>
                  </a:lnTo>
                  <a:lnTo>
                    <a:pt x="510081" y="430393"/>
                  </a:lnTo>
                  <a:lnTo>
                    <a:pt x="508395" y="428747"/>
                  </a:lnTo>
                  <a:lnTo>
                    <a:pt x="501651" y="433684"/>
                  </a:lnTo>
                  <a:lnTo>
                    <a:pt x="499964" y="440268"/>
                  </a:lnTo>
                  <a:lnTo>
                    <a:pt x="508395" y="460018"/>
                  </a:lnTo>
                  <a:lnTo>
                    <a:pt x="505023" y="471539"/>
                  </a:lnTo>
                  <a:lnTo>
                    <a:pt x="489847" y="476477"/>
                  </a:lnTo>
                  <a:lnTo>
                    <a:pt x="486474" y="489644"/>
                  </a:lnTo>
                  <a:lnTo>
                    <a:pt x="481416" y="494581"/>
                  </a:lnTo>
                  <a:lnTo>
                    <a:pt x="484788" y="497873"/>
                  </a:lnTo>
                  <a:lnTo>
                    <a:pt x="481416" y="502811"/>
                  </a:lnTo>
                  <a:lnTo>
                    <a:pt x="459495" y="492935"/>
                  </a:lnTo>
                  <a:lnTo>
                    <a:pt x="393732" y="586750"/>
                  </a:lnTo>
                  <a:lnTo>
                    <a:pt x="351576" y="654230"/>
                  </a:lnTo>
                  <a:lnTo>
                    <a:pt x="306049" y="631188"/>
                  </a:lnTo>
                  <a:lnTo>
                    <a:pt x="319538" y="581812"/>
                  </a:lnTo>
                  <a:lnTo>
                    <a:pt x="275696" y="583458"/>
                  </a:lnTo>
                  <a:lnTo>
                    <a:pt x="272324" y="576875"/>
                  </a:lnTo>
                  <a:lnTo>
                    <a:pt x="238599" y="591687"/>
                  </a:lnTo>
                  <a:lnTo>
                    <a:pt x="230168" y="575229"/>
                  </a:lnTo>
                  <a:lnTo>
                    <a:pt x="226796" y="576875"/>
                  </a:lnTo>
                  <a:lnTo>
                    <a:pt x="223424" y="573583"/>
                  </a:lnTo>
                  <a:lnTo>
                    <a:pt x="204875" y="570291"/>
                  </a:lnTo>
                  <a:lnTo>
                    <a:pt x="213306" y="534082"/>
                  </a:lnTo>
                  <a:lnTo>
                    <a:pt x="206561" y="517623"/>
                  </a:lnTo>
                  <a:lnTo>
                    <a:pt x="150916" y="499519"/>
                  </a:lnTo>
                  <a:lnTo>
                    <a:pt x="155974" y="463310"/>
                  </a:lnTo>
                  <a:lnTo>
                    <a:pt x="157661" y="461664"/>
                  </a:lnTo>
                  <a:lnTo>
                    <a:pt x="159347" y="463310"/>
                  </a:lnTo>
                  <a:lnTo>
                    <a:pt x="167778" y="448497"/>
                  </a:lnTo>
                  <a:lnTo>
                    <a:pt x="186326" y="410642"/>
                  </a:lnTo>
                  <a:lnTo>
                    <a:pt x="181268" y="408996"/>
                  </a:lnTo>
                  <a:lnTo>
                    <a:pt x="161033" y="407350"/>
                  </a:lnTo>
                  <a:lnTo>
                    <a:pt x="157661" y="392538"/>
                  </a:lnTo>
                  <a:lnTo>
                    <a:pt x="161033" y="382663"/>
                  </a:lnTo>
                  <a:lnTo>
                    <a:pt x="157661" y="372787"/>
                  </a:lnTo>
                  <a:lnTo>
                    <a:pt x="142485" y="381017"/>
                  </a:lnTo>
                  <a:lnTo>
                    <a:pt x="128995" y="381017"/>
                  </a:lnTo>
                  <a:lnTo>
                    <a:pt x="118878" y="377725"/>
                  </a:lnTo>
                  <a:lnTo>
                    <a:pt x="112133" y="379371"/>
                  </a:lnTo>
                  <a:lnTo>
                    <a:pt x="110446" y="366204"/>
                  </a:lnTo>
                  <a:lnTo>
                    <a:pt x="117191" y="364558"/>
                  </a:lnTo>
                  <a:lnTo>
                    <a:pt x="112133" y="333287"/>
                  </a:lnTo>
                  <a:lnTo>
                    <a:pt x="108760" y="325057"/>
                  </a:lnTo>
                  <a:lnTo>
                    <a:pt x="107074" y="326703"/>
                  </a:lnTo>
                  <a:lnTo>
                    <a:pt x="95270" y="313536"/>
                  </a:lnTo>
                  <a:lnTo>
                    <a:pt x="98643" y="308599"/>
                  </a:lnTo>
                  <a:lnTo>
                    <a:pt x="95270" y="303661"/>
                  </a:lnTo>
                  <a:lnTo>
                    <a:pt x="37939" y="287203"/>
                  </a:lnTo>
                  <a:lnTo>
                    <a:pt x="24449" y="306953"/>
                  </a:lnTo>
                  <a:lnTo>
                    <a:pt x="24449" y="320120"/>
                  </a:lnTo>
                  <a:lnTo>
                    <a:pt x="19390" y="318474"/>
                  </a:lnTo>
                  <a:lnTo>
                    <a:pt x="16018" y="305307"/>
                  </a:lnTo>
                  <a:lnTo>
                    <a:pt x="24449" y="285557"/>
                  </a:lnTo>
                  <a:lnTo>
                    <a:pt x="4214" y="275681"/>
                  </a:lnTo>
                  <a:lnTo>
                    <a:pt x="16018" y="252639"/>
                  </a:lnTo>
                  <a:lnTo>
                    <a:pt x="21076" y="254285"/>
                  </a:lnTo>
                  <a:lnTo>
                    <a:pt x="29508" y="244410"/>
                  </a:lnTo>
                  <a:lnTo>
                    <a:pt x="31194" y="244410"/>
                  </a:lnTo>
                  <a:lnTo>
                    <a:pt x="32880" y="241118"/>
                  </a:lnTo>
                  <a:lnTo>
                    <a:pt x="31194" y="239472"/>
                  </a:lnTo>
                  <a:lnTo>
                    <a:pt x="36253" y="231243"/>
                  </a:lnTo>
                  <a:lnTo>
                    <a:pt x="39625" y="232889"/>
                  </a:lnTo>
                  <a:lnTo>
                    <a:pt x="42997" y="227951"/>
                  </a:lnTo>
                  <a:lnTo>
                    <a:pt x="41311" y="226305"/>
                  </a:lnTo>
                  <a:lnTo>
                    <a:pt x="42997" y="223014"/>
                  </a:lnTo>
                  <a:lnTo>
                    <a:pt x="17704" y="208201"/>
                  </a:lnTo>
                  <a:lnTo>
                    <a:pt x="53115" y="181867"/>
                  </a:lnTo>
                  <a:lnTo>
                    <a:pt x="103701" y="86407"/>
                  </a:lnTo>
                  <a:lnTo>
                    <a:pt x="81780" y="53490"/>
                  </a:lnTo>
                  <a:lnTo>
                    <a:pt x="19307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4" name="Heiloo">
              <a:extLst>
                <a:ext uri="{FF2B5EF4-FFF2-40B4-BE49-F238E27FC236}">
                  <a16:creationId xmlns:a16="http://schemas.microsoft.com/office/drawing/2014/main" id="{5C25E008-A0E4-4DB8-893D-DC853569607B}"/>
                </a:ext>
              </a:extLst>
            </p:cNvPr>
            <p:cNvSpPr/>
            <p:nvPr/>
          </p:nvSpPr>
          <p:spPr>
            <a:xfrm>
              <a:off x="5482680" y="2671024"/>
              <a:ext cx="89848" cy="75608"/>
            </a:xfrm>
            <a:custGeom>
              <a:avLst/>
              <a:gdLst/>
              <a:ahLst/>
              <a:cxnLst/>
              <a:rect l="l" t="t" r="r" b="b"/>
              <a:pathLst>
                <a:path w="128789" h="114300" extrusionOk="0">
                  <a:moveTo>
                    <a:pt x="73349" y="4114"/>
                  </a:moveTo>
                  <a:lnTo>
                    <a:pt x="96957" y="18927"/>
                  </a:lnTo>
                  <a:lnTo>
                    <a:pt x="108760" y="32094"/>
                  </a:lnTo>
                  <a:lnTo>
                    <a:pt x="98643" y="46907"/>
                  </a:lnTo>
                  <a:lnTo>
                    <a:pt x="103701" y="51844"/>
                  </a:lnTo>
                  <a:lnTo>
                    <a:pt x="102015" y="55136"/>
                  </a:lnTo>
                  <a:lnTo>
                    <a:pt x="105388" y="71594"/>
                  </a:lnTo>
                  <a:lnTo>
                    <a:pt x="105388" y="79824"/>
                  </a:lnTo>
                  <a:lnTo>
                    <a:pt x="127309" y="84761"/>
                  </a:lnTo>
                  <a:lnTo>
                    <a:pt x="125622" y="91345"/>
                  </a:lnTo>
                  <a:lnTo>
                    <a:pt x="115505" y="88053"/>
                  </a:lnTo>
                  <a:lnTo>
                    <a:pt x="108760" y="116033"/>
                  </a:lnTo>
                  <a:lnTo>
                    <a:pt x="88525" y="114387"/>
                  </a:lnTo>
                  <a:lnTo>
                    <a:pt x="85153" y="116033"/>
                  </a:lnTo>
                  <a:lnTo>
                    <a:pt x="83467" y="112741"/>
                  </a:lnTo>
                  <a:lnTo>
                    <a:pt x="54801" y="111095"/>
                  </a:lnTo>
                  <a:lnTo>
                    <a:pt x="53115" y="109449"/>
                  </a:lnTo>
                  <a:lnTo>
                    <a:pt x="46370" y="107803"/>
                  </a:lnTo>
                  <a:lnTo>
                    <a:pt x="42997" y="114387"/>
                  </a:lnTo>
                  <a:lnTo>
                    <a:pt x="37939" y="114387"/>
                  </a:lnTo>
                  <a:lnTo>
                    <a:pt x="26135" y="109449"/>
                  </a:lnTo>
                  <a:lnTo>
                    <a:pt x="27821" y="104512"/>
                  </a:lnTo>
                  <a:lnTo>
                    <a:pt x="14332" y="102866"/>
                  </a:lnTo>
                  <a:lnTo>
                    <a:pt x="14332" y="99574"/>
                  </a:lnTo>
                  <a:lnTo>
                    <a:pt x="4214" y="91345"/>
                  </a:lnTo>
                  <a:lnTo>
                    <a:pt x="9273" y="88053"/>
                  </a:lnTo>
                  <a:lnTo>
                    <a:pt x="7587" y="83115"/>
                  </a:lnTo>
                  <a:lnTo>
                    <a:pt x="9273" y="81470"/>
                  </a:lnTo>
                  <a:lnTo>
                    <a:pt x="10959" y="55136"/>
                  </a:lnTo>
                  <a:lnTo>
                    <a:pt x="16018" y="50198"/>
                  </a:lnTo>
                  <a:lnTo>
                    <a:pt x="24449" y="33740"/>
                  </a:lnTo>
                  <a:lnTo>
                    <a:pt x="27821" y="17281"/>
                  </a:lnTo>
                  <a:lnTo>
                    <a:pt x="34566" y="7406"/>
                  </a:lnTo>
                  <a:lnTo>
                    <a:pt x="61546" y="15635"/>
                  </a:lnTo>
                  <a:lnTo>
                    <a:pt x="7334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5" name="Beesel">
              <a:extLst>
                <a:ext uri="{FF2B5EF4-FFF2-40B4-BE49-F238E27FC236}">
                  <a16:creationId xmlns:a16="http://schemas.microsoft.com/office/drawing/2014/main" id="{9EA7DABB-AF5E-4DDD-B8FE-4D6A6C5B4700}"/>
                </a:ext>
              </a:extLst>
            </p:cNvPr>
            <p:cNvSpPr/>
            <p:nvPr/>
          </p:nvSpPr>
          <p:spPr>
            <a:xfrm>
              <a:off x="6889931" y="4803580"/>
              <a:ext cx="129823" cy="92635"/>
            </a:xfrm>
            <a:custGeom>
              <a:avLst/>
              <a:gdLst/>
              <a:ahLst/>
              <a:cxnLst/>
              <a:rect l="l" t="t" r="r" b="b"/>
              <a:pathLst>
                <a:path w="187330" h="137160" extrusionOk="0">
                  <a:moveTo>
                    <a:pt x="128995" y="7406"/>
                  </a:moveTo>
                  <a:lnTo>
                    <a:pt x="130681" y="9052"/>
                  </a:lnTo>
                  <a:lnTo>
                    <a:pt x="135740" y="10698"/>
                  </a:lnTo>
                  <a:lnTo>
                    <a:pt x="140798" y="9052"/>
                  </a:lnTo>
                  <a:lnTo>
                    <a:pt x="155974" y="25510"/>
                  </a:lnTo>
                  <a:lnTo>
                    <a:pt x="161033" y="18927"/>
                  </a:lnTo>
                  <a:lnTo>
                    <a:pt x="172836" y="23864"/>
                  </a:lnTo>
                  <a:lnTo>
                    <a:pt x="181268" y="33740"/>
                  </a:lnTo>
                  <a:lnTo>
                    <a:pt x="189699" y="46906"/>
                  </a:lnTo>
                  <a:lnTo>
                    <a:pt x="189699" y="51844"/>
                  </a:lnTo>
                  <a:lnTo>
                    <a:pt x="189699" y="58427"/>
                  </a:lnTo>
                  <a:lnTo>
                    <a:pt x="128995" y="124262"/>
                  </a:lnTo>
                  <a:lnTo>
                    <a:pt x="108760" y="137429"/>
                  </a:lnTo>
                  <a:lnTo>
                    <a:pt x="93584" y="127554"/>
                  </a:lnTo>
                  <a:lnTo>
                    <a:pt x="76722" y="112741"/>
                  </a:lnTo>
                  <a:lnTo>
                    <a:pt x="63232" y="127554"/>
                  </a:lnTo>
                  <a:lnTo>
                    <a:pt x="56487" y="129199"/>
                  </a:lnTo>
                  <a:lnTo>
                    <a:pt x="46370" y="127554"/>
                  </a:lnTo>
                  <a:lnTo>
                    <a:pt x="39625" y="130845"/>
                  </a:lnTo>
                  <a:lnTo>
                    <a:pt x="27821" y="120970"/>
                  </a:lnTo>
                  <a:lnTo>
                    <a:pt x="27821" y="117679"/>
                  </a:lnTo>
                  <a:lnTo>
                    <a:pt x="21076" y="117679"/>
                  </a:lnTo>
                  <a:lnTo>
                    <a:pt x="22763" y="112741"/>
                  </a:lnTo>
                  <a:lnTo>
                    <a:pt x="19390" y="107803"/>
                  </a:lnTo>
                  <a:lnTo>
                    <a:pt x="9273" y="102866"/>
                  </a:lnTo>
                  <a:lnTo>
                    <a:pt x="4214" y="97928"/>
                  </a:lnTo>
                  <a:lnTo>
                    <a:pt x="4214" y="91345"/>
                  </a:lnTo>
                  <a:lnTo>
                    <a:pt x="9273" y="83115"/>
                  </a:lnTo>
                  <a:lnTo>
                    <a:pt x="16018" y="79824"/>
                  </a:lnTo>
                  <a:lnTo>
                    <a:pt x="27821" y="81470"/>
                  </a:lnTo>
                  <a:lnTo>
                    <a:pt x="36252" y="79824"/>
                  </a:lnTo>
                  <a:lnTo>
                    <a:pt x="39625" y="76532"/>
                  </a:lnTo>
                  <a:lnTo>
                    <a:pt x="42997" y="61719"/>
                  </a:lnTo>
                  <a:lnTo>
                    <a:pt x="71663" y="30448"/>
                  </a:lnTo>
                  <a:lnTo>
                    <a:pt x="86839" y="22218"/>
                  </a:lnTo>
                  <a:lnTo>
                    <a:pt x="93584" y="25510"/>
                  </a:lnTo>
                  <a:lnTo>
                    <a:pt x="98643" y="25510"/>
                  </a:lnTo>
                  <a:lnTo>
                    <a:pt x="105388" y="13989"/>
                  </a:lnTo>
                  <a:lnTo>
                    <a:pt x="127309" y="4114"/>
                  </a:lnTo>
                  <a:lnTo>
                    <a:pt x="128995"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6" name="Papendrecht">
              <a:extLst>
                <a:ext uri="{FF2B5EF4-FFF2-40B4-BE49-F238E27FC236}">
                  <a16:creationId xmlns:a16="http://schemas.microsoft.com/office/drawing/2014/main" id="{9757D498-9E02-425B-B497-0DCD23BC43D5}"/>
                </a:ext>
              </a:extLst>
            </p:cNvPr>
            <p:cNvSpPr/>
            <p:nvPr/>
          </p:nvSpPr>
          <p:spPr>
            <a:xfrm>
              <a:off x="5474579" y="3917465"/>
              <a:ext cx="79949" cy="47271"/>
            </a:xfrm>
            <a:custGeom>
              <a:avLst/>
              <a:gdLst/>
              <a:ahLst/>
              <a:cxnLst/>
              <a:rect l="l" t="t" r="r" b="b"/>
              <a:pathLst>
                <a:path w="117081" h="68580" extrusionOk="0">
                  <a:moveTo>
                    <a:pt x="61546" y="23864"/>
                  </a:moveTo>
                  <a:lnTo>
                    <a:pt x="75036" y="23864"/>
                  </a:lnTo>
                  <a:lnTo>
                    <a:pt x="108760" y="10697"/>
                  </a:lnTo>
                  <a:lnTo>
                    <a:pt x="110446" y="18926"/>
                  </a:lnTo>
                  <a:lnTo>
                    <a:pt x="117191" y="20573"/>
                  </a:lnTo>
                  <a:lnTo>
                    <a:pt x="96956" y="69949"/>
                  </a:lnTo>
                  <a:lnTo>
                    <a:pt x="61546" y="66657"/>
                  </a:lnTo>
                  <a:lnTo>
                    <a:pt x="24449" y="73240"/>
                  </a:lnTo>
                  <a:lnTo>
                    <a:pt x="7587" y="71594"/>
                  </a:lnTo>
                  <a:lnTo>
                    <a:pt x="4214" y="48552"/>
                  </a:lnTo>
                  <a:lnTo>
                    <a:pt x="9273" y="28802"/>
                  </a:lnTo>
                  <a:lnTo>
                    <a:pt x="21076" y="15635"/>
                  </a:lnTo>
                  <a:lnTo>
                    <a:pt x="24449" y="4114"/>
                  </a:lnTo>
                  <a:lnTo>
                    <a:pt x="36252" y="12343"/>
                  </a:lnTo>
                  <a:lnTo>
                    <a:pt x="61546" y="2386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7" name="Huizen">
              <a:extLst>
                <a:ext uri="{FF2B5EF4-FFF2-40B4-BE49-F238E27FC236}">
                  <a16:creationId xmlns:a16="http://schemas.microsoft.com/office/drawing/2014/main" id="{F8914C25-EAB7-439A-9DE1-14A512C68903}"/>
                </a:ext>
              </a:extLst>
            </p:cNvPr>
            <p:cNvSpPr/>
            <p:nvPr/>
          </p:nvSpPr>
          <p:spPr>
            <a:xfrm>
              <a:off x="6008126" y="3168507"/>
              <a:ext cx="126186" cy="85074"/>
            </a:xfrm>
            <a:custGeom>
              <a:avLst/>
              <a:gdLst/>
              <a:ahLst/>
              <a:cxnLst/>
              <a:rect l="l" t="t" r="r" b="b"/>
              <a:pathLst>
                <a:path w="163914" h="125730" extrusionOk="0">
                  <a:moveTo>
                    <a:pt x="169464" y="28802"/>
                  </a:moveTo>
                  <a:lnTo>
                    <a:pt x="169464" y="32094"/>
                  </a:lnTo>
                  <a:lnTo>
                    <a:pt x="167778" y="30448"/>
                  </a:lnTo>
                  <a:lnTo>
                    <a:pt x="166092" y="30448"/>
                  </a:lnTo>
                  <a:lnTo>
                    <a:pt x="167778" y="32094"/>
                  </a:lnTo>
                  <a:lnTo>
                    <a:pt x="164405" y="32094"/>
                  </a:lnTo>
                  <a:lnTo>
                    <a:pt x="166092" y="27156"/>
                  </a:lnTo>
                  <a:lnTo>
                    <a:pt x="169464" y="28802"/>
                  </a:lnTo>
                  <a:close/>
                  <a:moveTo>
                    <a:pt x="93584" y="18927"/>
                  </a:moveTo>
                  <a:lnTo>
                    <a:pt x="96957" y="22219"/>
                  </a:lnTo>
                  <a:lnTo>
                    <a:pt x="90211" y="32094"/>
                  </a:lnTo>
                  <a:lnTo>
                    <a:pt x="93584" y="25510"/>
                  </a:lnTo>
                  <a:lnTo>
                    <a:pt x="96957" y="25510"/>
                  </a:lnTo>
                  <a:lnTo>
                    <a:pt x="96957" y="17281"/>
                  </a:lnTo>
                  <a:lnTo>
                    <a:pt x="96957" y="20573"/>
                  </a:lnTo>
                  <a:lnTo>
                    <a:pt x="100329" y="17281"/>
                  </a:lnTo>
                  <a:lnTo>
                    <a:pt x="98643" y="20573"/>
                  </a:lnTo>
                  <a:lnTo>
                    <a:pt x="105388" y="23864"/>
                  </a:lnTo>
                  <a:lnTo>
                    <a:pt x="100329" y="12343"/>
                  </a:lnTo>
                  <a:lnTo>
                    <a:pt x="103701" y="5760"/>
                  </a:lnTo>
                  <a:lnTo>
                    <a:pt x="103701" y="13989"/>
                  </a:lnTo>
                  <a:lnTo>
                    <a:pt x="107074" y="17281"/>
                  </a:lnTo>
                  <a:lnTo>
                    <a:pt x="108760" y="25510"/>
                  </a:lnTo>
                  <a:lnTo>
                    <a:pt x="108760" y="23864"/>
                  </a:lnTo>
                  <a:lnTo>
                    <a:pt x="113819" y="28802"/>
                  </a:lnTo>
                  <a:lnTo>
                    <a:pt x="118877" y="32094"/>
                  </a:lnTo>
                  <a:lnTo>
                    <a:pt x="125622" y="30448"/>
                  </a:lnTo>
                  <a:lnTo>
                    <a:pt x="123936" y="32094"/>
                  </a:lnTo>
                  <a:lnTo>
                    <a:pt x="125622" y="30448"/>
                  </a:lnTo>
                  <a:lnTo>
                    <a:pt x="140798" y="35385"/>
                  </a:lnTo>
                  <a:lnTo>
                    <a:pt x="161033" y="51844"/>
                  </a:lnTo>
                  <a:lnTo>
                    <a:pt x="150916" y="61719"/>
                  </a:lnTo>
                  <a:lnTo>
                    <a:pt x="145857" y="55136"/>
                  </a:lnTo>
                  <a:lnTo>
                    <a:pt x="135740" y="68303"/>
                  </a:lnTo>
                  <a:lnTo>
                    <a:pt x="98643" y="86407"/>
                  </a:lnTo>
                  <a:lnTo>
                    <a:pt x="98643" y="88053"/>
                  </a:lnTo>
                  <a:lnTo>
                    <a:pt x="76722" y="91345"/>
                  </a:lnTo>
                  <a:lnTo>
                    <a:pt x="69977" y="101220"/>
                  </a:lnTo>
                  <a:lnTo>
                    <a:pt x="44684" y="101220"/>
                  </a:lnTo>
                  <a:lnTo>
                    <a:pt x="37939" y="107803"/>
                  </a:lnTo>
                  <a:lnTo>
                    <a:pt x="32880" y="124262"/>
                  </a:lnTo>
                  <a:lnTo>
                    <a:pt x="9273" y="106157"/>
                  </a:lnTo>
                  <a:lnTo>
                    <a:pt x="4214" y="99574"/>
                  </a:lnTo>
                  <a:lnTo>
                    <a:pt x="19390" y="91345"/>
                  </a:lnTo>
                  <a:lnTo>
                    <a:pt x="19390" y="86407"/>
                  </a:lnTo>
                  <a:lnTo>
                    <a:pt x="16018" y="84761"/>
                  </a:lnTo>
                  <a:lnTo>
                    <a:pt x="17704" y="81470"/>
                  </a:lnTo>
                  <a:lnTo>
                    <a:pt x="21076" y="83115"/>
                  </a:lnTo>
                  <a:lnTo>
                    <a:pt x="21076" y="73240"/>
                  </a:lnTo>
                  <a:lnTo>
                    <a:pt x="17704" y="74886"/>
                  </a:lnTo>
                  <a:lnTo>
                    <a:pt x="16018" y="69949"/>
                  </a:lnTo>
                  <a:lnTo>
                    <a:pt x="7586" y="63365"/>
                  </a:lnTo>
                  <a:lnTo>
                    <a:pt x="21076" y="58427"/>
                  </a:lnTo>
                  <a:lnTo>
                    <a:pt x="19390" y="53490"/>
                  </a:lnTo>
                  <a:lnTo>
                    <a:pt x="24449" y="45261"/>
                  </a:lnTo>
                  <a:lnTo>
                    <a:pt x="37939" y="46906"/>
                  </a:lnTo>
                  <a:lnTo>
                    <a:pt x="42997" y="41969"/>
                  </a:lnTo>
                  <a:lnTo>
                    <a:pt x="49742" y="50198"/>
                  </a:lnTo>
                  <a:lnTo>
                    <a:pt x="73349" y="41969"/>
                  </a:lnTo>
                  <a:lnTo>
                    <a:pt x="71663" y="18927"/>
                  </a:lnTo>
                  <a:lnTo>
                    <a:pt x="91898" y="18927"/>
                  </a:lnTo>
                  <a:lnTo>
                    <a:pt x="102015" y="4114"/>
                  </a:lnTo>
                  <a:lnTo>
                    <a:pt x="93584"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8" name="Uitgeest">
              <a:extLst>
                <a:ext uri="{FF2B5EF4-FFF2-40B4-BE49-F238E27FC236}">
                  <a16:creationId xmlns:a16="http://schemas.microsoft.com/office/drawing/2014/main" id="{13B430D0-1FE3-4840-ABE0-577643DB0E71}"/>
                </a:ext>
              </a:extLst>
            </p:cNvPr>
            <p:cNvSpPr/>
            <p:nvPr/>
          </p:nvSpPr>
          <p:spPr>
            <a:xfrm>
              <a:off x="5506065" y="2793483"/>
              <a:ext cx="92128" cy="85015"/>
            </a:xfrm>
            <a:custGeom>
              <a:avLst/>
              <a:gdLst/>
              <a:ahLst/>
              <a:cxnLst/>
              <a:rect l="l" t="t" r="r" b="b"/>
              <a:pathLst>
                <a:path w="140498" h="137160" extrusionOk="0">
                  <a:moveTo>
                    <a:pt x="48056" y="4114"/>
                  </a:moveTo>
                  <a:lnTo>
                    <a:pt x="48056" y="22219"/>
                  </a:lnTo>
                  <a:lnTo>
                    <a:pt x="54801" y="15635"/>
                  </a:lnTo>
                  <a:lnTo>
                    <a:pt x="56487" y="15635"/>
                  </a:lnTo>
                  <a:lnTo>
                    <a:pt x="83467" y="28802"/>
                  </a:lnTo>
                  <a:lnTo>
                    <a:pt x="102015" y="41969"/>
                  </a:lnTo>
                  <a:lnTo>
                    <a:pt x="112133" y="38677"/>
                  </a:lnTo>
                  <a:lnTo>
                    <a:pt x="120564" y="45261"/>
                  </a:lnTo>
                  <a:lnTo>
                    <a:pt x="135740" y="46906"/>
                  </a:lnTo>
                  <a:lnTo>
                    <a:pt x="142485" y="81470"/>
                  </a:lnTo>
                  <a:lnTo>
                    <a:pt x="118877" y="81470"/>
                  </a:lnTo>
                  <a:lnTo>
                    <a:pt x="118877" y="83115"/>
                  </a:lnTo>
                  <a:lnTo>
                    <a:pt x="113819" y="81470"/>
                  </a:lnTo>
                  <a:lnTo>
                    <a:pt x="110446" y="84761"/>
                  </a:lnTo>
                  <a:lnTo>
                    <a:pt x="96957" y="78178"/>
                  </a:lnTo>
                  <a:lnTo>
                    <a:pt x="93584" y="79824"/>
                  </a:lnTo>
                  <a:lnTo>
                    <a:pt x="90212" y="88053"/>
                  </a:lnTo>
                  <a:lnTo>
                    <a:pt x="96957" y="102866"/>
                  </a:lnTo>
                  <a:lnTo>
                    <a:pt x="93584" y="109449"/>
                  </a:lnTo>
                  <a:lnTo>
                    <a:pt x="64918" y="137429"/>
                  </a:lnTo>
                  <a:lnTo>
                    <a:pt x="48056" y="140721"/>
                  </a:lnTo>
                  <a:lnTo>
                    <a:pt x="36252" y="135783"/>
                  </a:lnTo>
                  <a:lnTo>
                    <a:pt x="26135" y="127554"/>
                  </a:lnTo>
                  <a:lnTo>
                    <a:pt x="22763" y="120970"/>
                  </a:lnTo>
                  <a:lnTo>
                    <a:pt x="27821" y="112741"/>
                  </a:lnTo>
                  <a:lnTo>
                    <a:pt x="29508" y="112741"/>
                  </a:lnTo>
                  <a:lnTo>
                    <a:pt x="31194" y="104512"/>
                  </a:lnTo>
                  <a:lnTo>
                    <a:pt x="27821" y="102866"/>
                  </a:lnTo>
                  <a:lnTo>
                    <a:pt x="24449" y="107803"/>
                  </a:lnTo>
                  <a:lnTo>
                    <a:pt x="19390" y="106158"/>
                  </a:lnTo>
                  <a:lnTo>
                    <a:pt x="9273" y="109449"/>
                  </a:lnTo>
                  <a:lnTo>
                    <a:pt x="10959" y="104512"/>
                  </a:lnTo>
                  <a:lnTo>
                    <a:pt x="7587" y="102866"/>
                  </a:lnTo>
                  <a:lnTo>
                    <a:pt x="4214" y="91345"/>
                  </a:lnTo>
                  <a:lnTo>
                    <a:pt x="4214" y="79824"/>
                  </a:lnTo>
                  <a:lnTo>
                    <a:pt x="14332" y="56782"/>
                  </a:lnTo>
                  <a:lnTo>
                    <a:pt x="10959" y="20573"/>
                  </a:lnTo>
                  <a:lnTo>
                    <a:pt x="24449" y="18927"/>
                  </a:lnTo>
                  <a:lnTo>
                    <a:pt x="27821" y="15635"/>
                  </a:lnTo>
                  <a:lnTo>
                    <a:pt x="27821" y="12343"/>
                  </a:lnTo>
                  <a:lnTo>
                    <a:pt x="4805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09" name="Steenbergen">
              <a:extLst>
                <a:ext uri="{FF2B5EF4-FFF2-40B4-BE49-F238E27FC236}">
                  <a16:creationId xmlns:a16="http://schemas.microsoft.com/office/drawing/2014/main" id="{05DAFA39-2C36-4E4D-8D42-029CA8A95A77}"/>
                </a:ext>
              </a:extLst>
            </p:cNvPr>
            <p:cNvSpPr/>
            <p:nvPr/>
          </p:nvSpPr>
          <p:spPr>
            <a:xfrm>
              <a:off x="4958258" y="4216277"/>
              <a:ext cx="261924" cy="193899"/>
            </a:xfrm>
            <a:custGeom>
              <a:avLst/>
              <a:gdLst/>
              <a:ahLst/>
              <a:cxnLst/>
              <a:rect l="l" t="t" r="r" b="b"/>
              <a:pathLst>
                <a:path w="386369" h="285750" extrusionOk="0">
                  <a:moveTo>
                    <a:pt x="198130" y="30448"/>
                  </a:moveTo>
                  <a:lnTo>
                    <a:pt x="204875" y="25510"/>
                  </a:lnTo>
                  <a:lnTo>
                    <a:pt x="208247" y="27156"/>
                  </a:lnTo>
                  <a:lnTo>
                    <a:pt x="198130" y="30448"/>
                  </a:lnTo>
                  <a:close/>
                  <a:moveTo>
                    <a:pt x="201502" y="32094"/>
                  </a:moveTo>
                  <a:lnTo>
                    <a:pt x="199816" y="30448"/>
                  </a:lnTo>
                  <a:lnTo>
                    <a:pt x="203189" y="28802"/>
                  </a:lnTo>
                  <a:lnTo>
                    <a:pt x="201502" y="32094"/>
                  </a:lnTo>
                  <a:close/>
                  <a:moveTo>
                    <a:pt x="86839" y="37031"/>
                  </a:moveTo>
                  <a:lnTo>
                    <a:pt x="86839" y="32094"/>
                  </a:lnTo>
                  <a:lnTo>
                    <a:pt x="90212" y="32094"/>
                  </a:lnTo>
                  <a:lnTo>
                    <a:pt x="90212" y="35385"/>
                  </a:lnTo>
                  <a:lnTo>
                    <a:pt x="86839" y="37031"/>
                  </a:lnTo>
                  <a:close/>
                  <a:moveTo>
                    <a:pt x="169464" y="41969"/>
                  </a:moveTo>
                  <a:lnTo>
                    <a:pt x="169464" y="40323"/>
                  </a:lnTo>
                  <a:lnTo>
                    <a:pt x="172837" y="38677"/>
                  </a:lnTo>
                  <a:lnTo>
                    <a:pt x="169464" y="41969"/>
                  </a:lnTo>
                  <a:close/>
                  <a:moveTo>
                    <a:pt x="166092" y="41969"/>
                  </a:moveTo>
                  <a:lnTo>
                    <a:pt x="169464" y="38677"/>
                  </a:lnTo>
                  <a:lnTo>
                    <a:pt x="186326" y="30448"/>
                  </a:lnTo>
                  <a:lnTo>
                    <a:pt x="166092" y="41969"/>
                  </a:lnTo>
                  <a:close/>
                  <a:moveTo>
                    <a:pt x="102015" y="63365"/>
                  </a:moveTo>
                  <a:lnTo>
                    <a:pt x="96957" y="60074"/>
                  </a:lnTo>
                  <a:lnTo>
                    <a:pt x="102015" y="60074"/>
                  </a:lnTo>
                  <a:lnTo>
                    <a:pt x="102015" y="63365"/>
                  </a:lnTo>
                  <a:close/>
                  <a:moveTo>
                    <a:pt x="287500" y="282265"/>
                  </a:moveTo>
                  <a:lnTo>
                    <a:pt x="166092" y="255931"/>
                  </a:lnTo>
                  <a:lnTo>
                    <a:pt x="169464" y="242764"/>
                  </a:lnTo>
                  <a:lnTo>
                    <a:pt x="120564" y="227951"/>
                  </a:lnTo>
                  <a:lnTo>
                    <a:pt x="122250" y="221368"/>
                  </a:lnTo>
                  <a:lnTo>
                    <a:pt x="98643" y="213138"/>
                  </a:lnTo>
                  <a:lnTo>
                    <a:pt x="83467" y="232889"/>
                  </a:lnTo>
                  <a:lnTo>
                    <a:pt x="85153" y="241118"/>
                  </a:lnTo>
                  <a:lnTo>
                    <a:pt x="78408" y="260869"/>
                  </a:lnTo>
                  <a:lnTo>
                    <a:pt x="73349" y="262514"/>
                  </a:lnTo>
                  <a:lnTo>
                    <a:pt x="69977" y="249348"/>
                  </a:lnTo>
                  <a:lnTo>
                    <a:pt x="63232" y="232889"/>
                  </a:lnTo>
                  <a:lnTo>
                    <a:pt x="16018" y="175284"/>
                  </a:lnTo>
                  <a:lnTo>
                    <a:pt x="7587" y="155534"/>
                  </a:lnTo>
                  <a:lnTo>
                    <a:pt x="4214" y="139075"/>
                  </a:lnTo>
                  <a:lnTo>
                    <a:pt x="4214" y="125908"/>
                  </a:lnTo>
                  <a:lnTo>
                    <a:pt x="10959" y="109449"/>
                  </a:lnTo>
                  <a:lnTo>
                    <a:pt x="19390" y="94637"/>
                  </a:lnTo>
                  <a:lnTo>
                    <a:pt x="37939" y="78178"/>
                  </a:lnTo>
                  <a:lnTo>
                    <a:pt x="78408" y="60074"/>
                  </a:lnTo>
                  <a:lnTo>
                    <a:pt x="83467" y="61719"/>
                  </a:lnTo>
                  <a:lnTo>
                    <a:pt x="80094" y="65011"/>
                  </a:lnTo>
                  <a:lnTo>
                    <a:pt x="100329" y="65011"/>
                  </a:lnTo>
                  <a:lnTo>
                    <a:pt x="102015" y="68303"/>
                  </a:lnTo>
                  <a:lnTo>
                    <a:pt x="102015" y="65011"/>
                  </a:lnTo>
                  <a:lnTo>
                    <a:pt x="102015" y="71595"/>
                  </a:lnTo>
                  <a:lnTo>
                    <a:pt x="98643" y="76532"/>
                  </a:lnTo>
                  <a:lnTo>
                    <a:pt x="95270" y="76532"/>
                  </a:lnTo>
                  <a:lnTo>
                    <a:pt x="98643" y="76532"/>
                  </a:lnTo>
                  <a:lnTo>
                    <a:pt x="102015" y="73240"/>
                  </a:lnTo>
                  <a:lnTo>
                    <a:pt x="105388" y="83116"/>
                  </a:lnTo>
                  <a:lnTo>
                    <a:pt x="103701" y="76532"/>
                  </a:lnTo>
                  <a:lnTo>
                    <a:pt x="107074" y="81470"/>
                  </a:lnTo>
                  <a:lnTo>
                    <a:pt x="107074" y="76532"/>
                  </a:lnTo>
                  <a:lnTo>
                    <a:pt x="115505" y="78178"/>
                  </a:lnTo>
                  <a:lnTo>
                    <a:pt x="122250" y="83116"/>
                  </a:lnTo>
                  <a:lnTo>
                    <a:pt x="117191" y="78178"/>
                  </a:lnTo>
                  <a:lnTo>
                    <a:pt x="105388" y="74886"/>
                  </a:lnTo>
                  <a:lnTo>
                    <a:pt x="107074" y="73240"/>
                  </a:lnTo>
                  <a:lnTo>
                    <a:pt x="103701" y="71595"/>
                  </a:lnTo>
                  <a:lnTo>
                    <a:pt x="103701" y="68303"/>
                  </a:lnTo>
                  <a:lnTo>
                    <a:pt x="122250" y="65011"/>
                  </a:lnTo>
                  <a:lnTo>
                    <a:pt x="110446" y="63365"/>
                  </a:lnTo>
                  <a:lnTo>
                    <a:pt x="118877" y="56782"/>
                  </a:lnTo>
                  <a:lnTo>
                    <a:pt x="135740" y="51844"/>
                  </a:lnTo>
                  <a:lnTo>
                    <a:pt x="137426" y="53490"/>
                  </a:lnTo>
                  <a:lnTo>
                    <a:pt x="132367" y="56782"/>
                  </a:lnTo>
                  <a:lnTo>
                    <a:pt x="135740" y="65011"/>
                  </a:lnTo>
                  <a:lnTo>
                    <a:pt x="134053" y="56782"/>
                  </a:lnTo>
                  <a:lnTo>
                    <a:pt x="139112" y="56782"/>
                  </a:lnTo>
                  <a:lnTo>
                    <a:pt x="140798" y="60074"/>
                  </a:lnTo>
                  <a:lnTo>
                    <a:pt x="140798" y="56782"/>
                  </a:lnTo>
                  <a:lnTo>
                    <a:pt x="144171" y="58427"/>
                  </a:lnTo>
                  <a:lnTo>
                    <a:pt x="137426" y="55136"/>
                  </a:lnTo>
                  <a:lnTo>
                    <a:pt x="140798" y="55136"/>
                  </a:lnTo>
                  <a:lnTo>
                    <a:pt x="140798" y="51844"/>
                  </a:lnTo>
                  <a:lnTo>
                    <a:pt x="161033" y="45261"/>
                  </a:lnTo>
                  <a:lnTo>
                    <a:pt x="164405" y="41969"/>
                  </a:lnTo>
                  <a:lnTo>
                    <a:pt x="161033" y="46906"/>
                  </a:lnTo>
                  <a:lnTo>
                    <a:pt x="166092" y="46906"/>
                  </a:lnTo>
                  <a:lnTo>
                    <a:pt x="161033" y="50198"/>
                  </a:lnTo>
                  <a:lnTo>
                    <a:pt x="159347" y="56782"/>
                  </a:lnTo>
                  <a:lnTo>
                    <a:pt x="164405" y="48552"/>
                  </a:lnTo>
                  <a:lnTo>
                    <a:pt x="166092" y="53490"/>
                  </a:lnTo>
                  <a:lnTo>
                    <a:pt x="174523" y="53490"/>
                  </a:lnTo>
                  <a:lnTo>
                    <a:pt x="167778" y="53490"/>
                  </a:lnTo>
                  <a:lnTo>
                    <a:pt x="166092" y="43615"/>
                  </a:lnTo>
                  <a:lnTo>
                    <a:pt x="169464" y="46906"/>
                  </a:lnTo>
                  <a:lnTo>
                    <a:pt x="167778" y="41969"/>
                  </a:lnTo>
                  <a:lnTo>
                    <a:pt x="171150" y="43615"/>
                  </a:lnTo>
                  <a:lnTo>
                    <a:pt x="188013" y="35385"/>
                  </a:lnTo>
                  <a:lnTo>
                    <a:pt x="201502" y="32094"/>
                  </a:lnTo>
                  <a:lnTo>
                    <a:pt x="203189" y="38677"/>
                  </a:lnTo>
                  <a:lnTo>
                    <a:pt x="199816" y="41969"/>
                  </a:lnTo>
                  <a:lnTo>
                    <a:pt x="203189" y="38677"/>
                  </a:lnTo>
                  <a:lnTo>
                    <a:pt x="203189" y="33740"/>
                  </a:lnTo>
                  <a:lnTo>
                    <a:pt x="209934" y="33740"/>
                  </a:lnTo>
                  <a:lnTo>
                    <a:pt x="204875" y="38677"/>
                  </a:lnTo>
                  <a:lnTo>
                    <a:pt x="211620" y="35385"/>
                  </a:lnTo>
                  <a:lnTo>
                    <a:pt x="226796" y="37031"/>
                  </a:lnTo>
                  <a:lnTo>
                    <a:pt x="236913" y="35385"/>
                  </a:lnTo>
                  <a:lnTo>
                    <a:pt x="252089" y="28802"/>
                  </a:lnTo>
                  <a:lnTo>
                    <a:pt x="268951" y="18927"/>
                  </a:lnTo>
                  <a:lnTo>
                    <a:pt x="275696" y="13989"/>
                  </a:lnTo>
                  <a:lnTo>
                    <a:pt x="280755" y="4114"/>
                  </a:lnTo>
                  <a:lnTo>
                    <a:pt x="280755" y="7406"/>
                  </a:lnTo>
                  <a:lnTo>
                    <a:pt x="284127" y="10698"/>
                  </a:lnTo>
                  <a:lnTo>
                    <a:pt x="292559" y="20573"/>
                  </a:lnTo>
                  <a:lnTo>
                    <a:pt x="299303" y="23864"/>
                  </a:lnTo>
                  <a:lnTo>
                    <a:pt x="309421" y="35385"/>
                  </a:lnTo>
                  <a:lnTo>
                    <a:pt x="322911" y="40323"/>
                  </a:lnTo>
                  <a:lnTo>
                    <a:pt x="327969" y="51844"/>
                  </a:lnTo>
                  <a:lnTo>
                    <a:pt x="341459" y="66657"/>
                  </a:lnTo>
                  <a:lnTo>
                    <a:pt x="348204" y="71595"/>
                  </a:lnTo>
                  <a:lnTo>
                    <a:pt x="365066" y="73240"/>
                  </a:lnTo>
                  <a:lnTo>
                    <a:pt x="371811" y="89699"/>
                  </a:lnTo>
                  <a:lnTo>
                    <a:pt x="385301" y="106158"/>
                  </a:lnTo>
                  <a:lnTo>
                    <a:pt x="381929" y="111095"/>
                  </a:lnTo>
                  <a:lnTo>
                    <a:pt x="380242" y="107803"/>
                  </a:lnTo>
                  <a:lnTo>
                    <a:pt x="376870" y="120970"/>
                  </a:lnTo>
                  <a:lnTo>
                    <a:pt x="368439" y="117679"/>
                  </a:lnTo>
                  <a:lnTo>
                    <a:pt x="375184" y="180221"/>
                  </a:lnTo>
                  <a:lnTo>
                    <a:pt x="393732" y="221368"/>
                  </a:lnTo>
                  <a:lnTo>
                    <a:pt x="390360" y="226306"/>
                  </a:lnTo>
                  <a:lnTo>
                    <a:pt x="388673" y="247702"/>
                  </a:lnTo>
                  <a:lnTo>
                    <a:pt x="385301" y="252639"/>
                  </a:lnTo>
                  <a:lnTo>
                    <a:pt x="370125" y="254285"/>
                  </a:lnTo>
                  <a:lnTo>
                    <a:pt x="366752" y="262514"/>
                  </a:lnTo>
                  <a:lnTo>
                    <a:pt x="343145" y="262514"/>
                  </a:lnTo>
                  <a:lnTo>
                    <a:pt x="287500" y="282265"/>
                  </a:lnTo>
                  <a:close/>
                  <a:moveTo>
                    <a:pt x="88525" y="78178"/>
                  </a:moveTo>
                  <a:lnTo>
                    <a:pt x="95270" y="71595"/>
                  </a:lnTo>
                  <a:lnTo>
                    <a:pt x="93584" y="66657"/>
                  </a:lnTo>
                  <a:lnTo>
                    <a:pt x="95270" y="71595"/>
                  </a:lnTo>
                  <a:lnTo>
                    <a:pt x="90212" y="78178"/>
                  </a:lnTo>
                  <a:lnTo>
                    <a:pt x="86839" y="78178"/>
                  </a:lnTo>
                  <a:lnTo>
                    <a:pt x="88525" y="7817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0" name="Peel en Maas">
              <a:extLst>
                <a:ext uri="{FF2B5EF4-FFF2-40B4-BE49-F238E27FC236}">
                  <a16:creationId xmlns:a16="http://schemas.microsoft.com/office/drawing/2014/main" id="{065F62D7-3A0E-446E-944B-7818B99B39F0}"/>
                </a:ext>
              </a:extLst>
            </p:cNvPr>
            <p:cNvSpPr/>
            <p:nvPr/>
          </p:nvSpPr>
          <p:spPr>
            <a:xfrm>
              <a:off x="6705704" y="4649546"/>
              <a:ext cx="313703" cy="212772"/>
            </a:xfrm>
            <a:custGeom>
              <a:avLst/>
              <a:gdLst/>
              <a:ahLst/>
              <a:cxnLst/>
              <a:rect l="l" t="t" r="r" b="b"/>
              <a:pathLst>
                <a:path w="456618" h="320040" extrusionOk="0">
                  <a:moveTo>
                    <a:pt x="376870" y="4114"/>
                  </a:moveTo>
                  <a:lnTo>
                    <a:pt x="378556" y="9052"/>
                  </a:lnTo>
                  <a:lnTo>
                    <a:pt x="383614" y="7406"/>
                  </a:lnTo>
                  <a:lnTo>
                    <a:pt x="390359" y="12343"/>
                  </a:lnTo>
                  <a:lnTo>
                    <a:pt x="393732" y="12343"/>
                  </a:lnTo>
                  <a:lnTo>
                    <a:pt x="397105" y="17281"/>
                  </a:lnTo>
                  <a:lnTo>
                    <a:pt x="403849" y="20573"/>
                  </a:lnTo>
                  <a:lnTo>
                    <a:pt x="403849" y="27156"/>
                  </a:lnTo>
                  <a:lnTo>
                    <a:pt x="383614" y="46906"/>
                  </a:lnTo>
                  <a:lnTo>
                    <a:pt x="397105" y="60073"/>
                  </a:lnTo>
                  <a:lnTo>
                    <a:pt x="398791" y="65011"/>
                  </a:lnTo>
                  <a:lnTo>
                    <a:pt x="405535" y="61719"/>
                  </a:lnTo>
                  <a:lnTo>
                    <a:pt x="419025" y="97928"/>
                  </a:lnTo>
                  <a:lnTo>
                    <a:pt x="430829" y="99574"/>
                  </a:lnTo>
                  <a:lnTo>
                    <a:pt x="447691" y="124262"/>
                  </a:lnTo>
                  <a:lnTo>
                    <a:pt x="449378" y="122616"/>
                  </a:lnTo>
                  <a:lnTo>
                    <a:pt x="454436" y="127554"/>
                  </a:lnTo>
                  <a:lnTo>
                    <a:pt x="456122" y="130845"/>
                  </a:lnTo>
                  <a:lnTo>
                    <a:pt x="446005" y="140721"/>
                  </a:lnTo>
                  <a:lnTo>
                    <a:pt x="447691" y="163763"/>
                  </a:lnTo>
                  <a:lnTo>
                    <a:pt x="444319" y="178576"/>
                  </a:lnTo>
                  <a:lnTo>
                    <a:pt x="425770" y="213138"/>
                  </a:lnTo>
                  <a:lnTo>
                    <a:pt x="403849" y="237827"/>
                  </a:lnTo>
                  <a:lnTo>
                    <a:pt x="375184" y="250993"/>
                  </a:lnTo>
                  <a:lnTo>
                    <a:pt x="368439" y="262514"/>
                  </a:lnTo>
                  <a:lnTo>
                    <a:pt x="363380" y="262514"/>
                  </a:lnTo>
                  <a:lnTo>
                    <a:pt x="356635" y="259223"/>
                  </a:lnTo>
                  <a:lnTo>
                    <a:pt x="338086" y="270744"/>
                  </a:lnTo>
                  <a:lnTo>
                    <a:pt x="312793" y="298723"/>
                  </a:lnTo>
                  <a:lnTo>
                    <a:pt x="309421" y="313536"/>
                  </a:lnTo>
                  <a:lnTo>
                    <a:pt x="304362" y="316828"/>
                  </a:lnTo>
                  <a:lnTo>
                    <a:pt x="280755" y="318474"/>
                  </a:lnTo>
                  <a:lnTo>
                    <a:pt x="282441" y="305307"/>
                  </a:lnTo>
                  <a:lnTo>
                    <a:pt x="279068" y="290494"/>
                  </a:lnTo>
                  <a:lnTo>
                    <a:pt x="194757" y="236181"/>
                  </a:lnTo>
                  <a:lnTo>
                    <a:pt x="122250" y="204909"/>
                  </a:lnTo>
                  <a:lnTo>
                    <a:pt x="127309" y="219722"/>
                  </a:lnTo>
                  <a:lnTo>
                    <a:pt x="85153" y="199972"/>
                  </a:lnTo>
                  <a:lnTo>
                    <a:pt x="36252" y="188451"/>
                  </a:lnTo>
                  <a:lnTo>
                    <a:pt x="4214" y="145658"/>
                  </a:lnTo>
                  <a:lnTo>
                    <a:pt x="16018" y="124262"/>
                  </a:lnTo>
                  <a:lnTo>
                    <a:pt x="69977" y="109449"/>
                  </a:lnTo>
                  <a:lnTo>
                    <a:pt x="157661" y="32094"/>
                  </a:lnTo>
                  <a:lnTo>
                    <a:pt x="181268" y="37031"/>
                  </a:lnTo>
                  <a:lnTo>
                    <a:pt x="198130" y="48552"/>
                  </a:lnTo>
                  <a:lnTo>
                    <a:pt x="248716" y="48552"/>
                  </a:lnTo>
                  <a:lnTo>
                    <a:pt x="292559" y="37031"/>
                  </a:lnTo>
                  <a:lnTo>
                    <a:pt x="37687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1" name="Ommen">
              <a:extLst>
                <a:ext uri="{FF2B5EF4-FFF2-40B4-BE49-F238E27FC236}">
                  <a16:creationId xmlns:a16="http://schemas.microsoft.com/office/drawing/2014/main" id="{27AA5E9B-8DB0-4363-896F-6B1BC0172CD2}"/>
                </a:ext>
              </a:extLst>
            </p:cNvPr>
            <p:cNvSpPr/>
            <p:nvPr/>
          </p:nvSpPr>
          <p:spPr>
            <a:xfrm>
              <a:off x="7198512" y="2721921"/>
              <a:ext cx="298636" cy="262954"/>
            </a:xfrm>
            <a:custGeom>
              <a:avLst/>
              <a:gdLst/>
              <a:ahLst/>
              <a:cxnLst/>
              <a:rect l="l" t="t" r="r" b="b"/>
              <a:pathLst>
                <a:path w="433202" h="400050" extrusionOk="0">
                  <a:moveTo>
                    <a:pt x="7586" y="4114"/>
                  </a:moveTo>
                  <a:lnTo>
                    <a:pt x="123936" y="5760"/>
                  </a:lnTo>
                  <a:lnTo>
                    <a:pt x="142484" y="56782"/>
                  </a:lnTo>
                  <a:lnTo>
                    <a:pt x="162719" y="53490"/>
                  </a:lnTo>
                  <a:lnTo>
                    <a:pt x="177895" y="58427"/>
                  </a:lnTo>
                  <a:lnTo>
                    <a:pt x="253775" y="56782"/>
                  </a:lnTo>
                  <a:lnTo>
                    <a:pt x="265579" y="51844"/>
                  </a:lnTo>
                  <a:lnTo>
                    <a:pt x="277382" y="40323"/>
                  </a:lnTo>
                  <a:lnTo>
                    <a:pt x="304362" y="76532"/>
                  </a:lnTo>
                  <a:lnTo>
                    <a:pt x="316166" y="111095"/>
                  </a:lnTo>
                  <a:lnTo>
                    <a:pt x="319538" y="137429"/>
                  </a:lnTo>
                  <a:lnTo>
                    <a:pt x="324597" y="153888"/>
                  </a:lnTo>
                  <a:lnTo>
                    <a:pt x="326283" y="153888"/>
                  </a:lnTo>
                  <a:lnTo>
                    <a:pt x="334714" y="158825"/>
                  </a:lnTo>
                  <a:lnTo>
                    <a:pt x="334714" y="163763"/>
                  </a:lnTo>
                  <a:lnTo>
                    <a:pt x="336400" y="171992"/>
                  </a:lnTo>
                  <a:lnTo>
                    <a:pt x="334714" y="176930"/>
                  </a:lnTo>
                  <a:lnTo>
                    <a:pt x="343145" y="178576"/>
                  </a:lnTo>
                  <a:lnTo>
                    <a:pt x="341459" y="183513"/>
                  </a:lnTo>
                  <a:lnTo>
                    <a:pt x="348204" y="186805"/>
                  </a:lnTo>
                  <a:lnTo>
                    <a:pt x="354949" y="191742"/>
                  </a:lnTo>
                  <a:lnTo>
                    <a:pt x="358321" y="190097"/>
                  </a:lnTo>
                  <a:lnTo>
                    <a:pt x="354949" y="185159"/>
                  </a:lnTo>
                  <a:lnTo>
                    <a:pt x="361693" y="176930"/>
                  </a:lnTo>
                  <a:lnTo>
                    <a:pt x="365066" y="175284"/>
                  </a:lnTo>
                  <a:lnTo>
                    <a:pt x="370125" y="176930"/>
                  </a:lnTo>
                  <a:lnTo>
                    <a:pt x="373497" y="183513"/>
                  </a:lnTo>
                  <a:lnTo>
                    <a:pt x="370125" y="186805"/>
                  </a:lnTo>
                  <a:lnTo>
                    <a:pt x="363380" y="185159"/>
                  </a:lnTo>
                  <a:lnTo>
                    <a:pt x="365066" y="191742"/>
                  </a:lnTo>
                  <a:lnTo>
                    <a:pt x="375184" y="195034"/>
                  </a:lnTo>
                  <a:lnTo>
                    <a:pt x="383614" y="203263"/>
                  </a:lnTo>
                  <a:lnTo>
                    <a:pt x="439260" y="239472"/>
                  </a:lnTo>
                  <a:lnTo>
                    <a:pt x="417339" y="269098"/>
                  </a:lnTo>
                  <a:lnTo>
                    <a:pt x="356635" y="252639"/>
                  </a:lnTo>
                  <a:lnTo>
                    <a:pt x="282441" y="246056"/>
                  </a:lnTo>
                  <a:lnTo>
                    <a:pt x="279068" y="267452"/>
                  </a:lnTo>
                  <a:lnTo>
                    <a:pt x="265579" y="269098"/>
                  </a:lnTo>
                  <a:lnTo>
                    <a:pt x="267265" y="274036"/>
                  </a:lnTo>
                  <a:lnTo>
                    <a:pt x="262207" y="274036"/>
                  </a:lnTo>
                  <a:lnTo>
                    <a:pt x="257148" y="280619"/>
                  </a:lnTo>
                  <a:lnTo>
                    <a:pt x="241972" y="278973"/>
                  </a:lnTo>
                  <a:lnTo>
                    <a:pt x="233541" y="283911"/>
                  </a:lnTo>
                  <a:lnTo>
                    <a:pt x="221737" y="283911"/>
                  </a:lnTo>
                  <a:lnTo>
                    <a:pt x="216678" y="288848"/>
                  </a:lnTo>
                  <a:lnTo>
                    <a:pt x="216678" y="293786"/>
                  </a:lnTo>
                  <a:lnTo>
                    <a:pt x="211620" y="297078"/>
                  </a:lnTo>
                  <a:lnTo>
                    <a:pt x="204875" y="298723"/>
                  </a:lnTo>
                  <a:lnTo>
                    <a:pt x="204875" y="293786"/>
                  </a:lnTo>
                  <a:lnTo>
                    <a:pt x="203189" y="295432"/>
                  </a:lnTo>
                  <a:lnTo>
                    <a:pt x="199816" y="302015"/>
                  </a:lnTo>
                  <a:lnTo>
                    <a:pt x="203189" y="305307"/>
                  </a:lnTo>
                  <a:lnTo>
                    <a:pt x="203189" y="310244"/>
                  </a:lnTo>
                  <a:lnTo>
                    <a:pt x="199816" y="305307"/>
                  </a:lnTo>
                  <a:lnTo>
                    <a:pt x="194757" y="308599"/>
                  </a:lnTo>
                  <a:lnTo>
                    <a:pt x="201502" y="318474"/>
                  </a:lnTo>
                  <a:lnTo>
                    <a:pt x="193071" y="320120"/>
                  </a:lnTo>
                  <a:lnTo>
                    <a:pt x="191385" y="325057"/>
                  </a:lnTo>
                  <a:lnTo>
                    <a:pt x="193071" y="326703"/>
                  </a:lnTo>
                  <a:lnTo>
                    <a:pt x="186326" y="331641"/>
                  </a:lnTo>
                  <a:lnTo>
                    <a:pt x="191385" y="334933"/>
                  </a:lnTo>
                  <a:lnTo>
                    <a:pt x="188013" y="346454"/>
                  </a:lnTo>
                  <a:lnTo>
                    <a:pt x="181268" y="349745"/>
                  </a:lnTo>
                  <a:lnTo>
                    <a:pt x="182954" y="359620"/>
                  </a:lnTo>
                  <a:lnTo>
                    <a:pt x="167778" y="372787"/>
                  </a:lnTo>
                  <a:lnTo>
                    <a:pt x="110446" y="399121"/>
                  </a:lnTo>
                  <a:lnTo>
                    <a:pt x="95270" y="395829"/>
                  </a:lnTo>
                  <a:lnTo>
                    <a:pt x="100329" y="372787"/>
                  </a:lnTo>
                  <a:lnTo>
                    <a:pt x="95270" y="371141"/>
                  </a:lnTo>
                  <a:lnTo>
                    <a:pt x="88525" y="353037"/>
                  </a:lnTo>
                  <a:lnTo>
                    <a:pt x="83467" y="354683"/>
                  </a:lnTo>
                  <a:lnTo>
                    <a:pt x="80094" y="348099"/>
                  </a:lnTo>
                  <a:lnTo>
                    <a:pt x="91898" y="331641"/>
                  </a:lnTo>
                  <a:lnTo>
                    <a:pt x="37938" y="331641"/>
                  </a:lnTo>
                  <a:lnTo>
                    <a:pt x="37938" y="270744"/>
                  </a:lnTo>
                  <a:lnTo>
                    <a:pt x="22763" y="209847"/>
                  </a:lnTo>
                  <a:lnTo>
                    <a:pt x="26135" y="208201"/>
                  </a:lnTo>
                  <a:lnTo>
                    <a:pt x="24449" y="201618"/>
                  </a:lnTo>
                  <a:lnTo>
                    <a:pt x="19390" y="196680"/>
                  </a:lnTo>
                  <a:lnTo>
                    <a:pt x="21076" y="190097"/>
                  </a:lnTo>
                  <a:lnTo>
                    <a:pt x="17704" y="173638"/>
                  </a:lnTo>
                  <a:lnTo>
                    <a:pt x="29507" y="175284"/>
                  </a:lnTo>
                  <a:lnTo>
                    <a:pt x="36252" y="180221"/>
                  </a:lnTo>
                  <a:lnTo>
                    <a:pt x="48056" y="170346"/>
                  </a:lnTo>
                  <a:lnTo>
                    <a:pt x="51428" y="171992"/>
                  </a:lnTo>
                  <a:lnTo>
                    <a:pt x="63232" y="167054"/>
                  </a:lnTo>
                  <a:lnTo>
                    <a:pt x="4214" y="4114"/>
                  </a:lnTo>
                  <a:lnTo>
                    <a:pt x="758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2" name="Aalten">
              <a:extLst>
                <a:ext uri="{FF2B5EF4-FFF2-40B4-BE49-F238E27FC236}">
                  <a16:creationId xmlns:a16="http://schemas.microsoft.com/office/drawing/2014/main" id="{0AED28AC-B0DA-4306-86F2-70E455654E1B}"/>
                </a:ext>
              </a:extLst>
            </p:cNvPr>
            <p:cNvSpPr/>
            <p:nvPr/>
          </p:nvSpPr>
          <p:spPr>
            <a:xfrm>
              <a:off x="7370558" y="3712534"/>
              <a:ext cx="212050" cy="193839"/>
            </a:xfrm>
            <a:custGeom>
              <a:avLst/>
              <a:gdLst/>
              <a:ahLst/>
              <a:cxnLst/>
              <a:rect l="l" t="t" r="r" b="b"/>
              <a:pathLst>
                <a:path w="316120" h="297180" extrusionOk="0">
                  <a:moveTo>
                    <a:pt x="154288" y="7406"/>
                  </a:moveTo>
                  <a:lnTo>
                    <a:pt x="161033" y="9052"/>
                  </a:lnTo>
                  <a:lnTo>
                    <a:pt x="169464" y="5760"/>
                  </a:lnTo>
                  <a:lnTo>
                    <a:pt x="194758" y="7406"/>
                  </a:lnTo>
                  <a:lnTo>
                    <a:pt x="194758" y="10698"/>
                  </a:lnTo>
                  <a:lnTo>
                    <a:pt x="204875" y="10698"/>
                  </a:lnTo>
                  <a:lnTo>
                    <a:pt x="250403" y="18927"/>
                  </a:lnTo>
                  <a:lnTo>
                    <a:pt x="258834" y="22219"/>
                  </a:lnTo>
                  <a:lnTo>
                    <a:pt x="267265" y="30448"/>
                  </a:lnTo>
                  <a:lnTo>
                    <a:pt x="267265" y="37031"/>
                  </a:lnTo>
                  <a:lnTo>
                    <a:pt x="252089" y="60074"/>
                  </a:lnTo>
                  <a:lnTo>
                    <a:pt x="258834" y="66657"/>
                  </a:lnTo>
                  <a:lnTo>
                    <a:pt x="260520" y="73241"/>
                  </a:lnTo>
                  <a:lnTo>
                    <a:pt x="257148" y="89699"/>
                  </a:lnTo>
                  <a:lnTo>
                    <a:pt x="260520" y="89699"/>
                  </a:lnTo>
                  <a:lnTo>
                    <a:pt x="260520" y="96283"/>
                  </a:lnTo>
                  <a:lnTo>
                    <a:pt x="275697" y="107803"/>
                  </a:lnTo>
                  <a:lnTo>
                    <a:pt x="287500" y="112741"/>
                  </a:lnTo>
                  <a:lnTo>
                    <a:pt x="290872" y="107803"/>
                  </a:lnTo>
                  <a:lnTo>
                    <a:pt x="295931" y="107803"/>
                  </a:lnTo>
                  <a:lnTo>
                    <a:pt x="295931" y="112741"/>
                  </a:lnTo>
                  <a:lnTo>
                    <a:pt x="299304" y="111095"/>
                  </a:lnTo>
                  <a:lnTo>
                    <a:pt x="297617" y="122616"/>
                  </a:lnTo>
                  <a:lnTo>
                    <a:pt x="306049" y="132492"/>
                  </a:lnTo>
                  <a:lnTo>
                    <a:pt x="306049" y="135783"/>
                  </a:lnTo>
                  <a:lnTo>
                    <a:pt x="302676" y="135783"/>
                  </a:lnTo>
                  <a:lnTo>
                    <a:pt x="302676" y="142367"/>
                  </a:lnTo>
                  <a:lnTo>
                    <a:pt x="307735" y="140721"/>
                  </a:lnTo>
                  <a:lnTo>
                    <a:pt x="314480" y="147304"/>
                  </a:lnTo>
                  <a:lnTo>
                    <a:pt x="267265" y="170346"/>
                  </a:lnTo>
                  <a:lnTo>
                    <a:pt x="262207" y="178576"/>
                  </a:lnTo>
                  <a:lnTo>
                    <a:pt x="252089" y="180221"/>
                  </a:lnTo>
                  <a:lnTo>
                    <a:pt x="248717" y="176930"/>
                  </a:lnTo>
                  <a:lnTo>
                    <a:pt x="188013" y="196680"/>
                  </a:lnTo>
                  <a:lnTo>
                    <a:pt x="164406" y="211493"/>
                  </a:lnTo>
                  <a:lnTo>
                    <a:pt x="150916" y="221368"/>
                  </a:lnTo>
                  <a:lnTo>
                    <a:pt x="150916" y="226306"/>
                  </a:lnTo>
                  <a:lnTo>
                    <a:pt x="142485" y="227952"/>
                  </a:lnTo>
                  <a:lnTo>
                    <a:pt x="142485" y="223014"/>
                  </a:lnTo>
                  <a:lnTo>
                    <a:pt x="137426" y="221368"/>
                  </a:lnTo>
                  <a:lnTo>
                    <a:pt x="137426" y="216431"/>
                  </a:lnTo>
                  <a:lnTo>
                    <a:pt x="130681" y="218076"/>
                  </a:lnTo>
                  <a:lnTo>
                    <a:pt x="134053" y="224660"/>
                  </a:lnTo>
                  <a:lnTo>
                    <a:pt x="125622" y="221368"/>
                  </a:lnTo>
                  <a:lnTo>
                    <a:pt x="118878" y="229597"/>
                  </a:lnTo>
                  <a:lnTo>
                    <a:pt x="102015" y="239473"/>
                  </a:lnTo>
                  <a:lnTo>
                    <a:pt x="103701" y="241118"/>
                  </a:lnTo>
                  <a:lnTo>
                    <a:pt x="95270" y="247702"/>
                  </a:lnTo>
                  <a:lnTo>
                    <a:pt x="81780" y="247702"/>
                  </a:lnTo>
                  <a:lnTo>
                    <a:pt x="63232" y="262515"/>
                  </a:lnTo>
                  <a:lnTo>
                    <a:pt x="59860" y="260869"/>
                  </a:lnTo>
                  <a:lnTo>
                    <a:pt x="61546" y="269098"/>
                  </a:lnTo>
                  <a:lnTo>
                    <a:pt x="56487" y="277328"/>
                  </a:lnTo>
                  <a:lnTo>
                    <a:pt x="31194" y="288849"/>
                  </a:lnTo>
                  <a:lnTo>
                    <a:pt x="22763" y="288849"/>
                  </a:lnTo>
                  <a:lnTo>
                    <a:pt x="16018" y="297078"/>
                  </a:lnTo>
                  <a:lnTo>
                    <a:pt x="4214" y="293786"/>
                  </a:lnTo>
                  <a:lnTo>
                    <a:pt x="9273" y="282265"/>
                  </a:lnTo>
                  <a:lnTo>
                    <a:pt x="9273" y="272390"/>
                  </a:lnTo>
                  <a:lnTo>
                    <a:pt x="14332" y="270744"/>
                  </a:lnTo>
                  <a:lnTo>
                    <a:pt x="14332" y="260869"/>
                  </a:lnTo>
                  <a:lnTo>
                    <a:pt x="29508" y="247702"/>
                  </a:lnTo>
                  <a:lnTo>
                    <a:pt x="32880" y="236181"/>
                  </a:lnTo>
                  <a:lnTo>
                    <a:pt x="24449" y="213139"/>
                  </a:lnTo>
                  <a:lnTo>
                    <a:pt x="27822" y="199972"/>
                  </a:lnTo>
                  <a:lnTo>
                    <a:pt x="14332" y="167055"/>
                  </a:lnTo>
                  <a:lnTo>
                    <a:pt x="37939" y="155534"/>
                  </a:lnTo>
                  <a:lnTo>
                    <a:pt x="36253" y="150596"/>
                  </a:lnTo>
                  <a:lnTo>
                    <a:pt x="42997" y="147304"/>
                  </a:lnTo>
                  <a:lnTo>
                    <a:pt x="41311" y="142367"/>
                  </a:lnTo>
                  <a:lnTo>
                    <a:pt x="44684" y="142367"/>
                  </a:lnTo>
                  <a:lnTo>
                    <a:pt x="44684" y="122616"/>
                  </a:lnTo>
                  <a:lnTo>
                    <a:pt x="51428" y="112741"/>
                  </a:lnTo>
                  <a:lnTo>
                    <a:pt x="48056" y="111095"/>
                  </a:lnTo>
                  <a:lnTo>
                    <a:pt x="59860" y="89699"/>
                  </a:lnTo>
                  <a:lnTo>
                    <a:pt x="56487" y="89699"/>
                  </a:lnTo>
                  <a:lnTo>
                    <a:pt x="61546" y="73241"/>
                  </a:lnTo>
                  <a:lnTo>
                    <a:pt x="81780" y="68303"/>
                  </a:lnTo>
                  <a:lnTo>
                    <a:pt x="85153" y="50198"/>
                  </a:lnTo>
                  <a:lnTo>
                    <a:pt x="105388" y="33740"/>
                  </a:lnTo>
                  <a:lnTo>
                    <a:pt x="95270" y="23864"/>
                  </a:lnTo>
                  <a:lnTo>
                    <a:pt x="125622" y="7406"/>
                  </a:lnTo>
                  <a:lnTo>
                    <a:pt x="144171" y="4114"/>
                  </a:lnTo>
                  <a:lnTo>
                    <a:pt x="154288"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3" name="Gorinchem">
              <a:extLst>
                <a:ext uri="{FF2B5EF4-FFF2-40B4-BE49-F238E27FC236}">
                  <a16:creationId xmlns:a16="http://schemas.microsoft.com/office/drawing/2014/main" id="{49CA3E59-53EF-4C1C-988C-76F86FA389FC}"/>
                </a:ext>
              </a:extLst>
            </p:cNvPr>
            <p:cNvSpPr/>
            <p:nvPr/>
          </p:nvSpPr>
          <p:spPr>
            <a:xfrm>
              <a:off x="5736350" y="3899500"/>
              <a:ext cx="121828" cy="75608"/>
            </a:xfrm>
            <a:custGeom>
              <a:avLst/>
              <a:gdLst/>
              <a:ahLst/>
              <a:cxnLst/>
              <a:rect l="l" t="t" r="r" b="b"/>
              <a:pathLst>
                <a:path w="175622" h="114300" extrusionOk="0">
                  <a:moveTo>
                    <a:pt x="46370" y="10698"/>
                  </a:moveTo>
                  <a:lnTo>
                    <a:pt x="59859" y="15635"/>
                  </a:lnTo>
                  <a:lnTo>
                    <a:pt x="63232" y="7406"/>
                  </a:lnTo>
                  <a:lnTo>
                    <a:pt x="83467" y="13989"/>
                  </a:lnTo>
                  <a:lnTo>
                    <a:pt x="98642" y="20573"/>
                  </a:lnTo>
                  <a:lnTo>
                    <a:pt x="96956" y="33740"/>
                  </a:lnTo>
                  <a:lnTo>
                    <a:pt x="118877" y="40323"/>
                  </a:lnTo>
                  <a:lnTo>
                    <a:pt x="123936" y="32094"/>
                  </a:lnTo>
                  <a:lnTo>
                    <a:pt x="123936" y="51844"/>
                  </a:lnTo>
                  <a:lnTo>
                    <a:pt x="128995" y="53490"/>
                  </a:lnTo>
                  <a:lnTo>
                    <a:pt x="130681" y="50198"/>
                  </a:lnTo>
                  <a:lnTo>
                    <a:pt x="142484" y="56782"/>
                  </a:lnTo>
                  <a:lnTo>
                    <a:pt x="172836" y="60074"/>
                  </a:lnTo>
                  <a:lnTo>
                    <a:pt x="164405" y="114387"/>
                  </a:lnTo>
                  <a:lnTo>
                    <a:pt x="137426" y="107803"/>
                  </a:lnTo>
                  <a:lnTo>
                    <a:pt x="105388" y="107803"/>
                  </a:lnTo>
                  <a:lnTo>
                    <a:pt x="26135" y="89699"/>
                  </a:lnTo>
                  <a:lnTo>
                    <a:pt x="12645" y="89699"/>
                  </a:lnTo>
                  <a:lnTo>
                    <a:pt x="9273" y="61719"/>
                  </a:lnTo>
                  <a:lnTo>
                    <a:pt x="4214" y="60074"/>
                  </a:lnTo>
                  <a:lnTo>
                    <a:pt x="17704" y="61719"/>
                  </a:lnTo>
                  <a:lnTo>
                    <a:pt x="27821" y="55136"/>
                  </a:lnTo>
                  <a:lnTo>
                    <a:pt x="29507" y="51844"/>
                  </a:lnTo>
                  <a:lnTo>
                    <a:pt x="37938" y="50198"/>
                  </a:lnTo>
                  <a:lnTo>
                    <a:pt x="31194" y="4114"/>
                  </a:lnTo>
                  <a:lnTo>
                    <a:pt x="46370"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4" name="Hof van Twente">
              <a:extLst>
                <a:ext uri="{FF2B5EF4-FFF2-40B4-BE49-F238E27FC236}">
                  <a16:creationId xmlns:a16="http://schemas.microsoft.com/office/drawing/2014/main" id="{7426B142-B906-423B-AD24-976BCA5ACD04}"/>
                </a:ext>
              </a:extLst>
            </p:cNvPr>
            <p:cNvSpPr/>
            <p:nvPr/>
          </p:nvSpPr>
          <p:spPr>
            <a:xfrm>
              <a:off x="7300235" y="3170684"/>
              <a:ext cx="358410" cy="231643"/>
            </a:xfrm>
            <a:custGeom>
              <a:avLst/>
              <a:gdLst/>
              <a:ahLst/>
              <a:cxnLst/>
              <a:rect l="l" t="t" r="r" b="b"/>
              <a:pathLst>
                <a:path w="515159" h="354330" extrusionOk="0">
                  <a:moveTo>
                    <a:pt x="422398" y="4114"/>
                  </a:moveTo>
                  <a:lnTo>
                    <a:pt x="435887" y="5760"/>
                  </a:lnTo>
                  <a:lnTo>
                    <a:pt x="449377" y="15635"/>
                  </a:lnTo>
                  <a:lnTo>
                    <a:pt x="469612" y="35385"/>
                  </a:lnTo>
                  <a:lnTo>
                    <a:pt x="478043" y="46906"/>
                  </a:lnTo>
                  <a:lnTo>
                    <a:pt x="483102" y="48552"/>
                  </a:lnTo>
                  <a:lnTo>
                    <a:pt x="501650" y="68303"/>
                  </a:lnTo>
                  <a:lnTo>
                    <a:pt x="508395" y="86407"/>
                  </a:lnTo>
                  <a:lnTo>
                    <a:pt x="508395" y="97928"/>
                  </a:lnTo>
                  <a:lnTo>
                    <a:pt x="506709" y="104512"/>
                  </a:lnTo>
                  <a:lnTo>
                    <a:pt x="515140" y="139075"/>
                  </a:lnTo>
                  <a:lnTo>
                    <a:pt x="508395" y="140720"/>
                  </a:lnTo>
                  <a:lnTo>
                    <a:pt x="471298" y="139075"/>
                  </a:lnTo>
                  <a:lnTo>
                    <a:pt x="464553" y="148950"/>
                  </a:lnTo>
                  <a:lnTo>
                    <a:pt x="462867" y="160471"/>
                  </a:lnTo>
                  <a:lnTo>
                    <a:pt x="466239" y="160471"/>
                  </a:lnTo>
                  <a:lnTo>
                    <a:pt x="467926" y="173638"/>
                  </a:lnTo>
                  <a:lnTo>
                    <a:pt x="462867" y="175284"/>
                  </a:lnTo>
                  <a:lnTo>
                    <a:pt x="461181" y="167054"/>
                  </a:lnTo>
                  <a:lnTo>
                    <a:pt x="454436" y="203264"/>
                  </a:lnTo>
                  <a:lnTo>
                    <a:pt x="440946" y="219722"/>
                  </a:lnTo>
                  <a:lnTo>
                    <a:pt x="439260" y="226306"/>
                  </a:lnTo>
                  <a:lnTo>
                    <a:pt x="456122" y="250993"/>
                  </a:lnTo>
                  <a:lnTo>
                    <a:pt x="442632" y="270744"/>
                  </a:lnTo>
                  <a:lnTo>
                    <a:pt x="434201" y="275682"/>
                  </a:lnTo>
                  <a:lnTo>
                    <a:pt x="395418" y="272390"/>
                  </a:lnTo>
                  <a:lnTo>
                    <a:pt x="366752" y="283911"/>
                  </a:lnTo>
                  <a:lnTo>
                    <a:pt x="322911" y="295432"/>
                  </a:lnTo>
                  <a:lnTo>
                    <a:pt x="329655" y="300369"/>
                  </a:lnTo>
                  <a:lnTo>
                    <a:pt x="338086" y="302015"/>
                  </a:lnTo>
                  <a:lnTo>
                    <a:pt x="346518" y="313536"/>
                  </a:lnTo>
                  <a:lnTo>
                    <a:pt x="351576" y="313536"/>
                  </a:lnTo>
                  <a:lnTo>
                    <a:pt x="358321" y="323411"/>
                  </a:lnTo>
                  <a:lnTo>
                    <a:pt x="348204" y="346453"/>
                  </a:lnTo>
                  <a:lnTo>
                    <a:pt x="339773" y="334932"/>
                  </a:lnTo>
                  <a:lnTo>
                    <a:pt x="333028" y="331641"/>
                  </a:lnTo>
                  <a:lnTo>
                    <a:pt x="329655" y="336579"/>
                  </a:lnTo>
                  <a:lnTo>
                    <a:pt x="324597" y="336579"/>
                  </a:lnTo>
                  <a:lnTo>
                    <a:pt x="326283" y="338224"/>
                  </a:lnTo>
                  <a:lnTo>
                    <a:pt x="324597" y="344808"/>
                  </a:lnTo>
                  <a:lnTo>
                    <a:pt x="319538" y="344808"/>
                  </a:lnTo>
                  <a:lnTo>
                    <a:pt x="304362" y="357975"/>
                  </a:lnTo>
                  <a:lnTo>
                    <a:pt x="300989" y="353037"/>
                  </a:lnTo>
                  <a:lnTo>
                    <a:pt x="297617" y="353037"/>
                  </a:lnTo>
                  <a:lnTo>
                    <a:pt x="290872" y="343162"/>
                  </a:lnTo>
                  <a:lnTo>
                    <a:pt x="295931" y="334932"/>
                  </a:lnTo>
                  <a:lnTo>
                    <a:pt x="270638" y="311890"/>
                  </a:lnTo>
                  <a:lnTo>
                    <a:pt x="218365" y="325057"/>
                  </a:lnTo>
                  <a:lnTo>
                    <a:pt x="155974" y="316828"/>
                  </a:lnTo>
                  <a:lnTo>
                    <a:pt x="127308" y="326703"/>
                  </a:lnTo>
                  <a:lnTo>
                    <a:pt x="122250" y="326703"/>
                  </a:lnTo>
                  <a:lnTo>
                    <a:pt x="120563" y="320120"/>
                  </a:lnTo>
                  <a:lnTo>
                    <a:pt x="102015" y="315182"/>
                  </a:lnTo>
                  <a:lnTo>
                    <a:pt x="88525" y="290494"/>
                  </a:lnTo>
                  <a:lnTo>
                    <a:pt x="88525" y="274035"/>
                  </a:lnTo>
                  <a:lnTo>
                    <a:pt x="68290" y="270744"/>
                  </a:lnTo>
                  <a:lnTo>
                    <a:pt x="64918" y="267452"/>
                  </a:lnTo>
                  <a:lnTo>
                    <a:pt x="54801" y="247702"/>
                  </a:lnTo>
                  <a:lnTo>
                    <a:pt x="41311" y="231243"/>
                  </a:lnTo>
                  <a:lnTo>
                    <a:pt x="29507" y="223014"/>
                  </a:lnTo>
                  <a:lnTo>
                    <a:pt x="14331" y="196680"/>
                  </a:lnTo>
                  <a:lnTo>
                    <a:pt x="5900" y="183513"/>
                  </a:lnTo>
                  <a:lnTo>
                    <a:pt x="4214" y="171992"/>
                  </a:lnTo>
                  <a:lnTo>
                    <a:pt x="19390" y="155533"/>
                  </a:lnTo>
                  <a:lnTo>
                    <a:pt x="22763" y="157179"/>
                  </a:lnTo>
                  <a:lnTo>
                    <a:pt x="27821" y="150596"/>
                  </a:lnTo>
                  <a:lnTo>
                    <a:pt x="24449" y="148950"/>
                  </a:lnTo>
                  <a:lnTo>
                    <a:pt x="73349" y="119324"/>
                  </a:lnTo>
                  <a:lnTo>
                    <a:pt x="95270" y="97928"/>
                  </a:lnTo>
                  <a:lnTo>
                    <a:pt x="142484" y="76532"/>
                  </a:lnTo>
                  <a:lnTo>
                    <a:pt x="164405" y="69949"/>
                  </a:lnTo>
                  <a:lnTo>
                    <a:pt x="193071" y="71594"/>
                  </a:lnTo>
                  <a:lnTo>
                    <a:pt x="211620" y="69949"/>
                  </a:lnTo>
                  <a:lnTo>
                    <a:pt x="225109" y="91345"/>
                  </a:lnTo>
                  <a:lnTo>
                    <a:pt x="233541" y="101220"/>
                  </a:lnTo>
                  <a:lnTo>
                    <a:pt x="245344" y="102866"/>
                  </a:lnTo>
                  <a:lnTo>
                    <a:pt x="274010" y="97928"/>
                  </a:lnTo>
                  <a:lnTo>
                    <a:pt x="290872" y="97928"/>
                  </a:lnTo>
                  <a:lnTo>
                    <a:pt x="321224" y="51844"/>
                  </a:lnTo>
                  <a:lnTo>
                    <a:pt x="331341" y="48552"/>
                  </a:lnTo>
                  <a:lnTo>
                    <a:pt x="336400" y="50198"/>
                  </a:lnTo>
                  <a:lnTo>
                    <a:pt x="338086" y="46906"/>
                  </a:lnTo>
                  <a:lnTo>
                    <a:pt x="344831" y="46906"/>
                  </a:lnTo>
                  <a:lnTo>
                    <a:pt x="353262" y="41969"/>
                  </a:lnTo>
                  <a:lnTo>
                    <a:pt x="368439" y="38677"/>
                  </a:lnTo>
                  <a:lnTo>
                    <a:pt x="368439" y="37031"/>
                  </a:lnTo>
                  <a:lnTo>
                    <a:pt x="395418" y="22219"/>
                  </a:lnTo>
                  <a:lnTo>
                    <a:pt x="407222" y="10697"/>
                  </a:lnTo>
                  <a:lnTo>
                    <a:pt x="42239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5" name="Meppel">
              <a:extLst>
                <a:ext uri="{FF2B5EF4-FFF2-40B4-BE49-F238E27FC236}">
                  <a16:creationId xmlns:a16="http://schemas.microsoft.com/office/drawing/2014/main" id="{F5C517F9-A5D2-4CC6-BB84-2AFCC11E01AF}"/>
                </a:ext>
              </a:extLst>
            </p:cNvPr>
            <p:cNvSpPr/>
            <p:nvPr/>
          </p:nvSpPr>
          <p:spPr>
            <a:xfrm>
              <a:off x="6990461" y="2436424"/>
              <a:ext cx="172076" cy="163597"/>
            </a:xfrm>
            <a:custGeom>
              <a:avLst/>
              <a:gdLst/>
              <a:ahLst/>
              <a:cxnLst/>
              <a:rect l="l" t="t" r="r" b="b"/>
              <a:pathLst>
                <a:path w="257579" h="251460" extrusionOk="0">
                  <a:moveTo>
                    <a:pt x="86839" y="9052"/>
                  </a:moveTo>
                  <a:lnTo>
                    <a:pt x="127309" y="109449"/>
                  </a:lnTo>
                  <a:lnTo>
                    <a:pt x="152602" y="63365"/>
                  </a:lnTo>
                  <a:lnTo>
                    <a:pt x="176209" y="81470"/>
                  </a:lnTo>
                  <a:lnTo>
                    <a:pt x="150916" y="130845"/>
                  </a:lnTo>
                  <a:lnTo>
                    <a:pt x="150916" y="171992"/>
                  </a:lnTo>
                  <a:lnTo>
                    <a:pt x="162719" y="171992"/>
                  </a:lnTo>
                  <a:lnTo>
                    <a:pt x="174523" y="163763"/>
                  </a:lnTo>
                  <a:lnTo>
                    <a:pt x="181268" y="165409"/>
                  </a:lnTo>
                  <a:lnTo>
                    <a:pt x="198130" y="158825"/>
                  </a:lnTo>
                  <a:lnTo>
                    <a:pt x="204875" y="165409"/>
                  </a:lnTo>
                  <a:lnTo>
                    <a:pt x="236913" y="163763"/>
                  </a:lnTo>
                  <a:lnTo>
                    <a:pt x="236913" y="170346"/>
                  </a:lnTo>
                  <a:lnTo>
                    <a:pt x="241972" y="170346"/>
                  </a:lnTo>
                  <a:lnTo>
                    <a:pt x="240286" y="176930"/>
                  </a:lnTo>
                  <a:lnTo>
                    <a:pt x="241972" y="175284"/>
                  </a:lnTo>
                  <a:lnTo>
                    <a:pt x="245344" y="178576"/>
                  </a:lnTo>
                  <a:lnTo>
                    <a:pt x="240286" y="183513"/>
                  </a:lnTo>
                  <a:lnTo>
                    <a:pt x="238599" y="190097"/>
                  </a:lnTo>
                  <a:lnTo>
                    <a:pt x="255461" y="180221"/>
                  </a:lnTo>
                  <a:lnTo>
                    <a:pt x="253775" y="203264"/>
                  </a:lnTo>
                  <a:lnTo>
                    <a:pt x="240286" y="201618"/>
                  </a:lnTo>
                  <a:lnTo>
                    <a:pt x="238599" y="208201"/>
                  </a:lnTo>
                  <a:lnTo>
                    <a:pt x="252089" y="216430"/>
                  </a:lnTo>
                  <a:lnTo>
                    <a:pt x="252089" y="221368"/>
                  </a:lnTo>
                  <a:lnTo>
                    <a:pt x="238599" y="218076"/>
                  </a:lnTo>
                  <a:lnTo>
                    <a:pt x="230168" y="221368"/>
                  </a:lnTo>
                  <a:lnTo>
                    <a:pt x="235227" y="241118"/>
                  </a:lnTo>
                  <a:lnTo>
                    <a:pt x="230168" y="242764"/>
                  </a:lnTo>
                  <a:lnTo>
                    <a:pt x="225109" y="255931"/>
                  </a:lnTo>
                  <a:lnTo>
                    <a:pt x="225109" y="252639"/>
                  </a:lnTo>
                  <a:lnTo>
                    <a:pt x="216678" y="249348"/>
                  </a:lnTo>
                  <a:lnTo>
                    <a:pt x="204875" y="250994"/>
                  </a:lnTo>
                  <a:lnTo>
                    <a:pt x="203188" y="247702"/>
                  </a:lnTo>
                  <a:lnTo>
                    <a:pt x="199816" y="247702"/>
                  </a:lnTo>
                  <a:lnTo>
                    <a:pt x="196443" y="244410"/>
                  </a:lnTo>
                  <a:lnTo>
                    <a:pt x="199816" y="242764"/>
                  </a:lnTo>
                  <a:lnTo>
                    <a:pt x="198130" y="237827"/>
                  </a:lnTo>
                  <a:lnTo>
                    <a:pt x="191385" y="229597"/>
                  </a:lnTo>
                  <a:lnTo>
                    <a:pt x="181268" y="232889"/>
                  </a:lnTo>
                  <a:lnTo>
                    <a:pt x="174523" y="229597"/>
                  </a:lnTo>
                  <a:lnTo>
                    <a:pt x="176209" y="226306"/>
                  </a:lnTo>
                  <a:lnTo>
                    <a:pt x="174523" y="224660"/>
                  </a:lnTo>
                  <a:lnTo>
                    <a:pt x="166092" y="224660"/>
                  </a:lnTo>
                  <a:lnTo>
                    <a:pt x="157661" y="221368"/>
                  </a:lnTo>
                  <a:lnTo>
                    <a:pt x="154288" y="216430"/>
                  </a:lnTo>
                  <a:lnTo>
                    <a:pt x="155974" y="213139"/>
                  </a:lnTo>
                  <a:lnTo>
                    <a:pt x="152602" y="214785"/>
                  </a:lnTo>
                  <a:lnTo>
                    <a:pt x="150916" y="211493"/>
                  </a:lnTo>
                  <a:lnTo>
                    <a:pt x="147543" y="213139"/>
                  </a:lnTo>
                  <a:lnTo>
                    <a:pt x="144171" y="216430"/>
                  </a:lnTo>
                  <a:lnTo>
                    <a:pt x="128995" y="216430"/>
                  </a:lnTo>
                  <a:lnTo>
                    <a:pt x="118877" y="229597"/>
                  </a:lnTo>
                  <a:lnTo>
                    <a:pt x="117191" y="236181"/>
                  </a:lnTo>
                  <a:lnTo>
                    <a:pt x="113819" y="236181"/>
                  </a:lnTo>
                  <a:lnTo>
                    <a:pt x="112132" y="229597"/>
                  </a:lnTo>
                  <a:lnTo>
                    <a:pt x="107074" y="229597"/>
                  </a:lnTo>
                  <a:lnTo>
                    <a:pt x="103701" y="221368"/>
                  </a:lnTo>
                  <a:lnTo>
                    <a:pt x="96957" y="224660"/>
                  </a:lnTo>
                  <a:lnTo>
                    <a:pt x="102015" y="234535"/>
                  </a:lnTo>
                  <a:lnTo>
                    <a:pt x="98643" y="236181"/>
                  </a:lnTo>
                  <a:lnTo>
                    <a:pt x="100329" y="239473"/>
                  </a:lnTo>
                  <a:lnTo>
                    <a:pt x="69977" y="227951"/>
                  </a:lnTo>
                  <a:lnTo>
                    <a:pt x="80094" y="213139"/>
                  </a:lnTo>
                  <a:lnTo>
                    <a:pt x="68291" y="201618"/>
                  </a:lnTo>
                  <a:lnTo>
                    <a:pt x="63232" y="198326"/>
                  </a:lnTo>
                  <a:lnTo>
                    <a:pt x="59859" y="199972"/>
                  </a:lnTo>
                  <a:lnTo>
                    <a:pt x="48056" y="162117"/>
                  </a:lnTo>
                  <a:lnTo>
                    <a:pt x="4214" y="58428"/>
                  </a:lnTo>
                  <a:lnTo>
                    <a:pt x="5900" y="50198"/>
                  </a:lnTo>
                  <a:lnTo>
                    <a:pt x="14332" y="43615"/>
                  </a:lnTo>
                  <a:lnTo>
                    <a:pt x="58173" y="28802"/>
                  </a:lnTo>
                  <a:lnTo>
                    <a:pt x="69977" y="20573"/>
                  </a:lnTo>
                  <a:lnTo>
                    <a:pt x="76722" y="18927"/>
                  </a:lnTo>
                  <a:lnTo>
                    <a:pt x="81780" y="4114"/>
                  </a:lnTo>
                  <a:lnTo>
                    <a:pt x="86839"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6" name="Maasgouw">
              <a:extLst>
                <a:ext uri="{FF2B5EF4-FFF2-40B4-BE49-F238E27FC236}">
                  <a16:creationId xmlns:a16="http://schemas.microsoft.com/office/drawing/2014/main" id="{7D2132D1-B521-4CFB-B311-86A762BECC47}"/>
                </a:ext>
              </a:extLst>
            </p:cNvPr>
            <p:cNvSpPr/>
            <p:nvPr/>
          </p:nvSpPr>
          <p:spPr>
            <a:xfrm>
              <a:off x="6672228" y="4934479"/>
              <a:ext cx="166533" cy="191994"/>
            </a:xfrm>
            <a:custGeom>
              <a:avLst/>
              <a:gdLst/>
              <a:ahLst/>
              <a:cxnLst/>
              <a:rect l="l" t="t" r="r" b="b"/>
              <a:pathLst>
                <a:path w="234163" h="285750" extrusionOk="0">
                  <a:moveTo>
                    <a:pt x="135740" y="4114"/>
                  </a:moveTo>
                  <a:lnTo>
                    <a:pt x="157661" y="15635"/>
                  </a:lnTo>
                  <a:lnTo>
                    <a:pt x="159347" y="22218"/>
                  </a:lnTo>
                  <a:lnTo>
                    <a:pt x="154288" y="27156"/>
                  </a:lnTo>
                  <a:lnTo>
                    <a:pt x="155974" y="28802"/>
                  </a:lnTo>
                  <a:lnTo>
                    <a:pt x="167778" y="20573"/>
                  </a:lnTo>
                  <a:lnTo>
                    <a:pt x="184640" y="33740"/>
                  </a:lnTo>
                  <a:lnTo>
                    <a:pt x="216678" y="33740"/>
                  </a:lnTo>
                  <a:lnTo>
                    <a:pt x="225110" y="40323"/>
                  </a:lnTo>
                  <a:lnTo>
                    <a:pt x="199816" y="61719"/>
                  </a:lnTo>
                  <a:lnTo>
                    <a:pt x="189699" y="74886"/>
                  </a:lnTo>
                  <a:lnTo>
                    <a:pt x="179582" y="92991"/>
                  </a:lnTo>
                  <a:lnTo>
                    <a:pt x="186326" y="96282"/>
                  </a:lnTo>
                  <a:lnTo>
                    <a:pt x="179582" y="112741"/>
                  </a:lnTo>
                  <a:lnTo>
                    <a:pt x="172837" y="117679"/>
                  </a:lnTo>
                  <a:lnTo>
                    <a:pt x="181268" y="116032"/>
                  </a:lnTo>
                  <a:lnTo>
                    <a:pt x="188013" y="117679"/>
                  </a:lnTo>
                  <a:lnTo>
                    <a:pt x="209934" y="137429"/>
                  </a:lnTo>
                  <a:lnTo>
                    <a:pt x="220051" y="137429"/>
                  </a:lnTo>
                  <a:lnTo>
                    <a:pt x="228482" y="142367"/>
                  </a:lnTo>
                  <a:lnTo>
                    <a:pt x="233541" y="140721"/>
                  </a:lnTo>
                  <a:lnTo>
                    <a:pt x="164405" y="208201"/>
                  </a:lnTo>
                  <a:lnTo>
                    <a:pt x="159347" y="199971"/>
                  </a:lnTo>
                  <a:lnTo>
                    <a:pt x="152602" y="204909"/>
                  </a:lnTo>
                  <a:lnTo>
                    <a:pt x="144171" y="198326"/>
                  </a:lnTo>
                  <a:lnTo>
                    <a:pt x="132367" y="201618"/>
                  </a:lnTo>
                  <a:lnTo>
                    <a:pt x="125622" y="199971"/>
                  </a:lnTo>
                  <a:lnTo>
                    <a:pt x="120564" y="203264"/>
                  </a:lnTo>
                  <a:lnTo>
                    <a:pt x="118877" y="199971"/>
                  </a:lnTo>
                  <a:lnTo>
                    <a:pt x="107074" y="201618"/>
                  </a:lnTo>
                  <a:lnTo>
                    <a:pt x="103701" y="199971"/>
                  </a:lnTo>
                  <a:lnTo>
                    <a:pt x="71663" y="262515"/>
                  </a:lnTo>
                  <a:lnTo>
                    <a:pt x="68291" y="260868"/>
                  </a:lnTo>
                  <a:lnTo>
                    <a:pt x="61546" y="272390"/>
                  </a:lnTo>
                  <a:lnTo>
                    <a:pt x="49742" y="277327"/>
                  </a:lnTo>
                  <a:lnTo>
                    <a:pt x="44684" y="285557"/>
                  </a:lnTo>
                  <a:lnTo>
                    <a:pt x="42997" y="275681"/>
                  </a:lnTo>
                  <a:lnTo>
                    <a:pt x="36252" y="267452"/>
                  </a:lnTo>
                  <a:lnTo>
                    <a:pt x="27821" y="264160"/>
                  </a:lnTo>
                  <a:lnTo>
                    <a:pt x="14332" y="267452"/>
                  </a:lnTo>
                  <a:lnTo>
                    <a:pt x="9273" y="264160"/>
                  </a:lnTo>
                  <a:lnTo>
                    <a:pt x="4214" y="254285"/>
                  </a:lnTo>
                  <a:lnTo>
                    <a:pt x="4214" y="247702"/>
                  </a:lnTo>
                  <a:lnTo>
                    <a:pt x="7586" y="241118"/>
                  </a:lnTo>
                  <a:lnTo>
                    <a:pt x="29507" y="214784"/>
                  </a:lnTo>
                  <a:lnTo>
                    <a:pt x="56487" y="208201"/>
                  </a:lnTo>
                  <a:lnTo>
                    <a:pt x="63232" y="186805"/>
                  </a:lnTo>
                  <a:lnTo>
                    <a:pt x="78408" y="176929"/>
                  </a:lnTo>
                  <a:lnTo>
                    <a:pt x="48056" y="155534"/>
                  </a:lnTo>
                  <a:lnTo>
                    <a:pt x="51428" y="147304"/>
                  </a:lnTo>
                  <a:lnTo>
                    <a:pt x="41311" y="142367"/>
                  </a:lnTo>
                  <a:lnTo>
                    <a:pt x="41311" y="134137"/>
                  </a:lnTo>
                  <a:lnTo>
                    <a:pt x="34566" y="129199"/>
                  </a:lnTo>
                  <a:lnTo>
                    <a:pt x="31194" y="120970"/>
                  </a:lnTo>
                  <a:lnTo>
                    <a:pt x="34566" y="117679"/>
                  </a:lnTo>
                  <a:lnTo>
                    <a:pt x="32880" y="114387"/>
                  </a:lnTo>
                  <a:lnTo>
                    <a:pt x="61546" y="94637"/>
                  </a:lnTo>
                  <a:lnTo>
                    <a:pt x="71663" y="104512"/>
                  </a:lnTo>
                  <a:lnTo>
                    <a:pt x="64918" y="92991"/>
                  </a:lnTo>
                  <a:lnTo>
                    <a:pt x="105388" y="65011"/>
                  </a:lnTo>
                  <a:lnTo>
                    <a:pt x="96957" y="53490"/>
                  </a:lnTo>
                  <a:lnTo>
                    <a:pt x="113819" y="17281"/>
                  </a:lnTo>
                  <a:lnTo>
                    <a:pt x="120564" y="10698"/>
                  </a:lnTo>
                  <a:lnTo>
                    <a:pt x="128995" y="5760"/>
                  </a:lnTo>
                  <a:lnTo>
                    <a:pt x="132367" y="9052"/>
                  </a:lnTo>
                  <a:lnTo>
                    <a:pt x="13574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7" name="Vlieland">
              <a:extLst>
                <a:ext uri="{FF2B5EF4-FFF2-40B4-BE49-F238E27FC236}">
                  <a16:creationId xmlns:a16="http://schemas.microsoft.com/office/drawing/2014/main" id="{4B2DD3AA-2639-4846-A446-DE09A1EF0ACC}"/>
                </a:ext>
              </a:extLst>
            </p:cNvPr>
            <p:cNvSpPr/>
            <p:nvPr/>
          </p:nvSpPr>
          <p:spPr>
            <a:xfrm>
              <a:off x="5673817" y="1575621"/>
              <a:ext cx="323603" cy="163596"/>
            </a:xfrm>
            <a:custGeom>
              <a:avLst/>
              <a:gdLst/>
              <a:ahLst/>
              <a:cxnLst/>
              <a:rect l="l" t="t" r="r" b="b"/>
              <a:pathLst>
                <a:path w="468326" h="251460" extrusionOk="0">
                  <a:moveTo>
                    <a:pt x="420712" y="27156"/>
                  </a:moveTo>
                  <a:lnTo>
                    <a:pt x="424084" y="22219"/>
                  </a:lnTo>
                  <a:lnTo>
                    <a:pt x="430829" y="25510"/>
                  </a:lnTo>
                  <a:lnTo>
                    <a:pt x="424084" y="23864"/>
                  </a:lnTo>
                  <a:lnTo>
                    <a:pt x="420712" y="27156"/>
                  </a:lnTo>
                  <a:close/>
                  <a:moveTo>
                    <a:pt x="405535" y="73240"/>
                  </a:moveTo>
                  <a:lnTo>
                    <a:pt x="398791" y="63365"/>
                  </a:lnTo>
                  <a:lnTo>
                    <a:pt x="398791" y="51844"/>
                  </a:lnTo>
                  <a:lnTo>
                    <a:pt x="422398" y="30448"/>
                  </a:lnTo>
                  <a:lnTo>
                    <a:pt x="442633" y="30448"/>
                  </a:lnTo>
                  <a:lnTo>
                    <a:pt x="466240" y="37031"/>
                  </a:lnTo>
                  <a:lnTo>
                    <a:pt x="466240" y="40323"/>
                  </a:lnTo>
                  <a:lnTo>
                    <a:pt x="449378" y="40323"/>
                  </a:lnTo>
                  <a:lnTo>
                    <a:pt x="442633" y="48552"/>
                  </a:lnTo>
                  <a:lnTo>
                    <a:pt x="429143" y="55136"/>
                  </a:lnTo>
                  <a:lnTo>
                    <a:pt x="422398" y="61719"/>
                  </a:lnTo>
                  <a:lnTo>
                    <a:pt x="410594" y="65011"/>
                  </a:lnTo>
                  <a:lnTo>
                    <a:pt x="405535" y="73240"/>
                  </a:lnTo>
                  <a:close/>
                  <a:moveTo>
                    <a:pt x="21076" y="249348"/>
                  </a:moveTo>
                  <a:lnTo>
                    <a:pt x="14332" y="247702"/>
                  </a:lnTo>
                  <a:lnTo>
                    <a:pt x="10959" y="242764"/>
                  </a:lnTo>
                  <a:lnTo>
                    <a:pt x="9273" y="229597"/>
                  </a:lnTo>
                  <a:lnTo>
                    <a:pt x="4214" y="227952"/>
                  </a:lnTo>
                  <a:lnTo>
                    <a:pt x="7587" y="216430"/>
                  </a:lnTo>
                  <a:lnTo>
                    <a:pt x="46370" y="191743"/>
                  </a:lnTo>
                  <a:lnTo>
                    <a:pt x="123936" y="139075"/>
                  </a:lnTo>
                  <a:lnTo>
                    <a:pt x="135740" y="129200"/>
                  </a:lnTo>
                  <a:lnTo>
                    <a:pt x="134053" y="127554"/>
                  </a:lnTo>
                  <a:lnTo>
                    <a:pt x="135740" y="129200"/>
                  </a:lnTo>
                  <a:lnTo>
                    <a:pt x="145857" y="120970"/>
                  </a:lnTo>
                  <a:lnTo>
                    <a:pt x="142484" y="117679"/>
                  </a:lnTo>
                  <a:lnTo>
                    <a:pt x="145857" y="119325"/>
                  </a:lnTo>
                  <a:lnTo>
                    <a:pt x="149230" y="117679"/>
                  </a:lnTo>
                  <a:lnTo>
                    <a:pt x="149230" y="116033"/>
                  </a:lnTo>
                  <a:lnTo>
                    <a:pt x="145857" y="112741"/>
                  </a:lnTo>
                  <a:lnTo>
                    <a:pt x="150916" y="116033"/>
                  </a:lnTo>
                  <a:lnTo>
                    <a:pt x="152602" y="112741"/>
                  </a:lnTo>
                  <a:lnTo>
                    <a:pt x="154288" y="111095"/>
                  </a:lnTo>
                  <a:lnTo>
                    <a:pt x="150916" y="107803"/>
                  </a:lnTo>
                  <a:lnTo>
                    <a:pt x="154288" y="111095"/>
                  </a:lnTo>
                  <a:lnTo>
                    <a:pt x="157661" y="106158"/>
                  </a:lnTo>
                  <a:lnTo>
                    <a:pt x="154288" y="102866"/>
                  </a:lnTo>
                  <a:lnTo>
                    <a:pt x="159347" y="106158"/>
                  </a:lnTo>
                  <a:lnTo>
                    <a:pt x="161033" y="104512"/>
                  </a:lnTo>
                  <a:lnTo>
                    <a:pt x="164405" y="101220"/>
                  </a:lnTo>
                  <a:lnTo>
                    <a:pt x="162719" y="96283"/>
                  </a:lnTo>
                  <a:lnTo>
                    <a:pt x="166092" y="99574"/>
                  </a:lnTo>
                  <a:lnTo>
                    <a:pt x="171150" y="96283"/>
                  </a:lnTo>
                  <a:lnTo>
                    <a:pt x="167778" y="91345"/>
                  </a:lnTo>
                  <a:lnTo>
                    <a:pt x="171150" y="96283"/>
                  </a:lnTo>
                  <a:lnTo>
                    <a:pt x="172837" y="94637"/>
                  </a:lnTo>
                  <a:lnTo>
                    <a:pt x="176209" y="91345"/>
                  </a:lnTo>
                  <a:lnTo>
                    <a:pt x="174523" y="88053"/>
                  </a:lnTo>
                  <a:lnTo>
                    <a:pt x="176209" y="91345"/>
                  </a:lnTo>
                  <a:lnTo>
                    <a:pt x="179582" y="89699"/>
                  </a:lnTo>
                  <a:lnTo>
                    <a:pt x="177895" y="84761"/>
                  </a:lnTo>
                  <a:lnTo>
                    <a:pt x="179582" y="88053"/>
                  </a:lnTo>
                  <a:lnTo>
                    <a:pt x="182954" y="88053"/>
                  </a:lnTo>
                  <a:lnTo>
                    <a:pt x="181268" y="83116"/>
                  </a:lnTo>
                  <a:lnTo>
                    <a:pt x="182954" y="86407"/>
                  </a:lnTo>
                  <a:lnTo>
                    <a:pt x="186326" y="84761"/>
                  </a:lnTo>
                  <a:lnTo>
                    <a:pt x="184640" y="79824"/>
                  </a:lnTo>
                  <a:lnTo>
                    <a:pt x="188013" y="83116"/>
                  </a:lnTo>
                  <a:lnTo>
                    <a:pt x="189699" y="81470"/>
                  </a:lnTo>
                  <a:lnTo>
                    <a:pt x="186326" y="78178"/>
                  </a:lnTo>
                  <a:lnTo>
                    <a:pt x="189699" y="81470"/>
                  </a:lnTo>
                  <a:lnTo>
                    <a:pt x="193071" y="79824"/>
                  </a:lnTo>
                  <a:lnTo>
                    <a:pt x="193071" y="78178"/>
                  </a:lnTo>
                  <a:lnTo>
                    <a:pt x="191385" y="74886"/>
                  </a:lnTo>
                  <a:lnTo>
                    <a:pt x="194757" y="78178"/>
                  </a:lnTo>
                  <a:lnTo>
                    <a:pt x="196444" y="76532"/>
                  </a:lnTo>
                  <a:lnTo>
                    <a:pt x="194757" y="73240"/>
                  </a:lnTo>
                  <a:lnTo>
                    <a:pt x="196444" y="76532"/>
                  </a:lnTo>
                  <a:lnTo>
                    <a:pt x="199816" y="74886"/>
                  </a:lnTo>
                  <a:lnTo>
                    <a:pt x="196444" y="71594"/>
                  </a:lnTo>
                  <a:lnTo>
                    <a:pt x="199816" y="74886"/>
                  </a:lnTo>
                  <a:lnTo>
                    <a:pt x="201503" y="73240"/>
                  </a:lnTo>
                  <a:lnTo>
                    <a:pt x="199816" y="69949"/>
                  </a:lnTo>
                  <a:lnTo>
                    <a:pt x="203189" y="73240"/>
                  </a:lnTo>
                  <a:lnTo>
                    <a:pt x="204875" y="71594"/>
                  </a:lnTo>
                  <a:lnTo>
                    <a:pt x="203189" y="66657"/>
                  </a:lnTo>
                  <a:lnTo>
                    <a:pt x="206561" y="69949"/>
                  </a:lnTo>
                  <a:lnTo>
                    <a:pt x="208247" y="68303"/>
                  </a:lnTo>
                  <a:lnTo>
                    <a:pt x="206561" y="65011"/>
                  </a:lnTo>
                  <a:lnTo>
                    <a:pt x="209934" y="68303"/>
                  </a:lnTo>
                  <a:lnTo>
                    <a:pt x="211620" y="66657"/>
                  </a:lnTo>
                  <a:lnTo>
                    <a:pt x="209934" y="63365"/>
                  </a:lnTo>
                  <a:lnTo>
                    <a:pt x="211620" y="66657"/>
                  </a:lnTo>
                  <a:lnTo>
                    <a:pt x="214992" y="63365"/>
                  </a:lnTo>
                  <a:lnTo>
                    <a:pt x="213306" y="60074"/>
                  </a:lnTo>
                  <a:lnTo>
                    <a:pt x="214992" y="63365"/>
                  </a:lnTo>
                  <a:lnTo>
                    <a:pt x="218365" y="61719"/>
                  </a:lnTo>
                  <a:lnTo>
                    <a:pt x="216678" y="58428"/>
                  </a:lnTo>
                  <a:lnTo>
                    <a:pt x="218365" y="61719"/>
                  </a:lnTo>
                  <a:lnTo>
                    <a:pt x="221737" y="60074"/>
                  </a:lnTo>
                  <a:lnTo>
                    <a:pt x="220051" y="56782"/>
                  </a:lnTo>
                  <a:lnTo>
                    <a:pt x="221737" y="58428"/>
                  </a:lnTo>
                  <a:lnTo>
                    <a:pt x="225109" y="56782"/>
                  </a:lnTo>
                  <a:lnTo>
                    <a:pt x="223423" y="53490"/>
                  </a:lnTo>
                  <a:lnTo>
                    <a:pt x="225109" y="56782"/>
                  </a:lnTo>
                  <a:lnTo>
                    <a:pt x="228482" y="55136"/>
                  </a:lnTo>
                  <a:lnTo>
                    <a:pt x="226796" y="51844"/>
                  </a:lnTo>
                  <a:lnTo>
                    <a:pt x="228482" y="55136"/>
                  </a:lnTo>
                  <a:lnTo>
                    <a:pt x="231855" y="53490"/>
                  </a:lnTo>
                  <a:lnTo>
                    <a:pt x="230168" y="50198"/>
                  </a:lnTo>
                  <a:lnTo>
                    <a:pt x="231855" y="53490"/>
                  </a:lnTo>
                  <a:lnTo>
                    <a:pt x="235227" y="51844"/>
                  </a:lnTo>
                  <a:lnTo>
                    <a:pt x="233541" y="46907"/>
                  </a:lnTo>
                  <a:lnTo>
                    <a:pt x="235227" y="50198"/>
                  </a:lnTo>
                  <a:lnTo>
                    <a:pt x="238599" y="48552"/>
                  </a:lnTo>
                  <a:lnTo>
                    <a:pt x="236913" y="45261"/>
                  </a:lnTo>
                  <a:lnTo>
                    <a:pt x="240286" y="48552"/>
                  </a:lnTo>
                  <a:lnTo>
                    <a:pt x="241972" y="46907"/>
                  </a:lnTo>
                  <a:lnTo>
                    <a:pt x="240286" y="43615"/>
                  </a:lnTo>
                  <a:lnTo>
                    <a:pt x="243658" y="46907"/>
                  </a:lnTo>
                  <a:lnTo>
                    <a:pt x="245344" y="45261"/>
                  </a:lnTo>
                  <a:lnTo>
                    <a:pt x="243658" y="41969"/>
                  </a:lnTo>
                  <a:lnTo>
                    <a:pt x="247030" y="45261"/>
                  </a:lnTo>
                  <a:lnTo>
                    <a:pt x="248716" y="43615"/>
                  </a:lnTo>
                  <a:lnTo>
                    <a:pt x="248716" y="40323"/>
                  </a:lnTo>
                  <a:lnTo>
                    <a:pt x="250403" y="43615"/>
                  </a:lnTo>
                  <a:lnTo>
                    <a:pt x="253775" y="41969"/>
                  </a:lnTo>
                  <a:lnTo>
                    <a:pt x="252089" y="38677"/>
                  </a:lnTo>
                  <a:lnTo>
                    <a:pt x="253775" y="40323"/>
                  </a:lnTo>
                  <a:lnTo>
                    <a:pt x="260520" y="37031"/>
                  </a:lnTo>
                  <a:lnTo>
                    <a:pt x="258834" y="35386"/>
                  </a:lnTo>
                  <a:lnTo>
                    <a:pt x="260520" y="37031"/>
                  </a:lnTo>
                  <a:lnTo>
                    <a:pt x="292559" y="20573"/>
                  </a:lnTo>
                  <a:lnTo>
                    <a:pt x="290872" y="18927"/>
                  </a:lnTo>
                  <a:lnTo>
                    <a:pt x="292559" y="20573"/>
                  </a:lnTo>
                  <a:lnTo>
                    <a:pt x="300989" y="17281"/>
                  </a:lnTo>
                  <a:lnTo>
                    <a:pt x="302676" y="13989"/>
                  </a:lnTo>
                  <a:lnTo>
                    <a:pt x="302676" y="15635"/>
                  </a:lnTo>
                  <a:lnTo>
                    <a:pt x="306048" y="13989"/>
                  </a:lnTo>
                  <a:lnTo>
                    <a:pt x="306048" y="12343"/>
                  </a:lnTo>
                  <a:lnTo>
                    <a:pt x="306048" y="13989"/>
                  </a:lnTo>
                  <a:lnTo>
                    <a:pt x="309421" y="12343"/>
                  </a:lnTo>
                  <a:lnTo>
                    <a:pt x="309421" y="10697"/>
                  </a:lnTo>
                  <a:lnTo>
                    <a:pt x="311107" y="12343"/>
                  </a:lnTo>
                  <a:lnTo>
                    <a:pt x="314480" y="10697"/>
                  </a:lnTo>
                  <a:lnTo>
                    <a:pt x="312793" y="9052"/>
                  </a:lnTo>
                  <a:lnTo>
                    <a:pt x="316166" y="10697"/>
                  </a:lnTo>
                  <a:lnTo>
                    <a:pt x="316166" y="7406"/>
                  </a:lnTo>
                  <a:lnTo>
                    <a:pt x="317852" y="9052"/>
                  </a:lnTo>
                  <a:lnTo>
                    <a:pt x="321224" y="9052"/>
                  </a:lnTo>
                  <a:lnTo>
                    <a:pt x="319538" y="5760"/>
                  </a:lnTo>
                  <a:lnTo>
                    <a:pt x="321224" y="9052"/>
                  </a:lnTo>
                  <a:lnTo>
                    <a:pt x="324597" y="7406"/>
                  </a:lnTo>
                  <a:lnTo>
                    <a:pt x="324597" y="5760"/>
                  </a:lnTo>
                  <a:lnTo>
                    <a:pt x="324597" y="7406"/>
                  </a:lnTo>
                  <a:lnTo>
                    <a:pt x="327969" y="7406"/>
                  </a:lnTo>
                  <a:lnTo>
                    <a:pt x="327969" y="4114"/>
                  </a:lnTo>
                  <a:lnTo>
                    <a:pt x="329655" y="7406"/>
                  </a:lnTo>
                  <a:lnTo>
                    <a:pt x="334714" y="9052"/>
                  </a:lnTo>
                  <a:lnTo>
                    <a:pt x="338087" y="7406"/>
                  </a:lnTo>
                  <a:lnTo>
                    <a:pt x="338087" y="4114"/>
                  </a:lnTo>
                  <a:lnTo>
                    <a:pt x="339773" y="9052"/>
                  </a:lnTo>
                  <a:lnTo>
                    <a:pt x="344832" y="9052"/>
                  </a:lnTo>
                  <a:lnTo>
                    <a:pt x="346518" y="5760"/>
                  </a:lnTo>
                  <a:lnTo>
                    <a:pt x="344832" y="9052"/>
                  </a:lnTo>
                  <a:lnTo>
                    <a:pt x="348204" y="10697"/>
                  </a:lnTo>
                  <a:lnTo>
                    <a:pt x="353262" y="10697"/>
                  </a:lnTo>
                  <a:lnTo>
                    <a:pt x="354949" y="7406"/>
                  </a:lnTo>
                  <a:lnTo>
                    <a:pt x="354949" y="12343"/>
                  </a:lnTo>
                  <a:lnTo>
                    <a:pt x="363380" y="12343"/>
                  </a:lnTo>
                  <a:lnTo>
                    <a:pt x="363380" y="9052"/>
                  </a:lnTo>
                  <a:lnTo>
                    <a:pt x="365066" y="12343"/>
                  </a:lnTo>
                  <a:lnTo>
                    <a:pt x="371811" y="13989"/>
                  </a:lnTo>
                  <a:lnTo>
                    <a:pt x="373497" y="10697"/>
                  </a:lnTo>
                  <a:lnTo>
                    <a:pt x="373497" y="15635"/>
                  </a:lnTo>
                  <a:lnTo>
                    <a:pt x="378556" y="13989"/>
                  </a:lnTo>
                  <a:lnTo>
                    <a:pt x="376870" y="15635"/>
                  </a:lnTo>
                  <a:lnTo>
                    <a:pt x="376870" y="23864"/>
                  </a:lnTo>
                  <a:lnTo>
                    <a:pt x="378556" y="25510"/>
                  </a:lnTo>
                  <a:lnTo>
                    <a:pt x="375184" y="25510"/>
                  </a:lnTo>
                  <a:lnTo>
                    <a:pt x="366753" y="40323"/>
                  </a:lnTo>
                  <a:lnTo>
                    <a:pt x="365066" y="35386"/>
                  </a:lnTo>
                  <a:lnTo>
                    <a:pt x="360007" y="32094"/>
                  </a:lnTo>
                  <a:lnTo>
                    <a:pt x="358321" y="33740"/>
                  </a:lnTo>
                  <a:lnTo>
                    <a:pt x="365066" y="40323"/>
                  </a:lnTo>
                  <a:lnTo>
                    <a:pt x="360007" y="35386"/>
                  </a:lnTo>
                  <a:lnTo>
                    <a:pt x="358321" y="38677"/>
                  </a:lnTo>
                  <a:lnTo>
                    <a:pt x="358321" y="35386"/>
                  </a:lnTo>
                  <a:lnTo>
                    <a:pt x="354949" y="35386"/>
                  </a:lnTo>
                  <a:lnTo>
                    <a:pt x="354949" y="38677"/>
                  </a:lnTo>
                  <a:lnTo>
                    <a:pt x="354949" y="35386"/>
                  </a:lnTo>
                  <a:lnTo>
                    <a:pt x="349890" y="35386"/>
                  </a:lnTo>
                  <a:lnTo>
                    <a:pt x="349890" y="38677"/>
                  </a:lnTo>
                  <a:lnTo>
                    <a:pt x="343145" y="35386"/>
                  </a:lnTo>
                  <a:lnTo>
                    <a:pt x="343145" y="37031"/>
                  </a:lnTo>
                  <a:lnTo>
                    <a:pt x="339773" y="37031"/>
                  </a:lnTo>
                  <a:lnTo>
                    <a:pt x="338087" y="38677"/>
                  </a:lnTo>
                  <a:lnTo>
                    <a:pt x="339773" y="37031"/>
                  </a:lnTo>
                  <a:lnTo>
                    <a:pt x="333028" y="41969"/>
                  </a:lnTo>
                  <a:lnTo>
                    <a:pt x="334714" y="38677"/>
                  </a:lnTo>
                  <a:lnTo>
                    <a:pt x="329655" y="40323"/>
                  </a:lnTo>
                  <a:lnTo>
                    <a:pt x="331342" y="41969"/>
                  </a:lnTo>
                  <a:lnTo>
                    <a:pt x="329655" y="40323"/>
                  </a:lnTo>
                  <a:lnTo>
                    <a:pt x="322911" y="41969"/>
                  </a:lnTo>
                  <a:lnTo>
                    <a:pt x="309421" y="56782"/>
                  </a:lnTo>
                  <a:lnTo>
                    <a:pt x="290872" y="66657"/>
                  </a:lnTo>
                  <a:lnTo>
                    <a:pt x="270638" y="76532"/>
                  </a:lnTo>
                  <a:lnTo>
                    <a:pt x="211620" y="96283"/>
                  </a:lnTo>
                  <a:lnTo>
                    <a:pt x="188013" y="111095"/>
                  </a:lnTo>
                  <a:lnTo>
                    <a:pt x="188013" y="117679"/>
                  </a:lnTo>
                  <a:lnTo>
                    <a:pt x="189699" y="125908"/>
                  </a:lnTo>
                  <a:lnTo>
                    <a:pt x="193071" y="125908"/>
                  </a:lnTo>
                  <a:lnTo>
                    <a:pt x="189699" y="127554"/>
                  </a:lnTo>
                  <a:lnTo>
                    <a:pt x="191385" y="130846"/>
                  </a:lnTo>
                  <a:lnTo>
                    <a:pt x="194757" y="130846"/>
                  </a:lnTo>
                  <a:lnTo>
                    <a:pt x="194757" y="135783"/>
                  </a:lnTo>
                  <a:lnTo>
                    <a:pt x="198130" y="132491"/>
                  </a:lnTo>
                  <a:lnTo>
                    <a:pt x="199816" y="135783"/>
                  </a:lnTo>
                  <a:lnTo>
                    <a:pt x="196444" y="139075"/>
                  </a:lnTo>
                  <a:lnTo>
                    <a:pt x="186326" y="137429"/>
                  </a:lnTo>
                  <a:lnTo>
                    <a:pt x="177895" y="140721"/>
                  </a:lnTo>
                  <a:lnTo>
                    <a:pt x="166092" y="150596"/>
                  </a:lnTo>
                  <a:lnTo>
                    <a:pt x="166092" y="153888"/>
                  </a:lnTo>
                  <a:lnTo>
                    <a:pt x="154288" y="150596"/>
                  </a:lnTo>
                  <a:lnTo>
                    <a:pt x="157661" y="153888"/>
                  </a:lnTo>
                  <a:lnTo>
                    <a:pt x="164405" y="155534"/>
                  </a:lnTo>
                  <a:lnTo>
                    <a:pt x="164405" y="158825"/>
                  </a:lnTo>
                  <a:lnTo>
                    <a:pt x="159347" y="162117"/>
                  </a:lnTo>
                  <a:lnTo>
                    <a:pt x="149230" y="158825"/>
                  </a:lnTo>
                  <a:lnTo>
                    <a:pt x="149230" y="163763"/>
                  </a:lnTo>
                  <a:lnTo>
                    <a:pt x="145857" y="163763"/>
                  </a:lnTo>
                  <a:lnTo>
                    <a:pt x="149230" y="165409"/>
                  </a:lnTo>
                  <a:lnTo>
                    <a:pt x="147543" y="168700"/>
                  </a:lnTo>
                  <a:lnTo>
                    <a:pt x="128995" y="178576"/>
                  </a:lnTo>
                  <a:lnTo>
                    <a:pt x="135740" y="185159"/>
                  </a:lnTo>
                  <a:lnTo>
                    <a:pt x="132367" y="191743"/>
                  </a:lnTo>
                  <a:lnTo>
                    <a:pt x="132367" y="199972"/>
                  </a:lnTo>
                  <a:lnTo>
                    <a:pt x="118877" y="209847"/>
                  </a:lnTo>
                  <a:lnTo>
                    <a:pt x="110446" y="219722"/>
                  </a:lnTo>
                  <a:lnTo>
                    <a:pt x="102015" y="223014"/>
                  </a:lnTo>
                  <a:lnTo>
                    <a:pt x="100329" y="231243"/>
                  </a:lnTo>
                  <a:lnTo>
                    <a:pt x="61546" y="229597"/>
                  </a:lnTo>
                  <a:lnTo>
                    <a:pt x="49742" y="231243"/>
                  </a:lnTo>
                  <a:lnTo>
                    <a:pt x="21076" y="249348"/>
                  </a:lnTo>
                  <a:close/>
                  <a:moveTo>
                    <a:pt x="349890" y="37031"/>
                  </a:moveTo>
                  <a:lnTo>
                    <a:pt x="349890" y="35386"/>
                  </a:lnTo>
                  <a:lnTo>
                    <a:pt x="346518" y="35386"/>
                  </a:lnTo>
                  <a:lnTo>
                    <a:pt x="349890" y="3703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8" name="Bunnik">
              <a:extLst>
                <a:ext uri="{FF2B5EF4-FFF2-40B4-BE49-F238E27FC236}">
                  <a16:creationId xmlns:a16="http://schemas.microsoft.com/office/drawing/2014/main" id="{97456CA1-00B4-436F-8462-6252F9C47DB9}"/>
                </a:ext>
              </a:extLst>
            </p:cNvPr>
            <p:cNvSpPr/>
            <p:nvPr/>
          </p:nvSpPr>
          <p:spPr>
            <a:xfrm>
              <a:off x="5974735" y="3545708"/>
              <a:ext cx="146361" cy="137164"/>
            </a:xfrm>
            <a:custGeom>
              <a:avLst/>
              <a:gdLst/>
              <a:ahLst/>
              <a:cxnLst/>
              <a:rect l="l" t="t" r="r" b="b"/>
              <a:pathLst>
                <a:path w="199038" h="205740" extrusionOk="0">
                  <a:moveTo>
                    <a:pt x="16017" y="4114"/>
                  </a:moveTo>
                  <a:lnTo>
                    <a:pt x="24449" y="12343"/>
                  </a:lnTo>
                  <a:lnTo>
                    <a:pt x="31194" y="7406"/>
                  </a:lnTo>
                  <a:lnTo>
                    <a:pt x="42997" y="9052"/>
                  </a:lnTo>
                  <a:lnTo>
                    <a:pt x="46370" y="13989"/>
                  </a:lnTo>
                  <a:lnTo>
                    <a:pt x="63232" y="9052"/>
                  </a:lnTo>
                  <a:lnTo>
                    <a:pt x="73349" y="12343"/>
                  </a:lnTo>
                  <a:lnTo>
                    <a:pt x="76722" y="12343"/>
                  </a:lnTo>
                  <a:lnTo>
                    <a:pt x="113819" y="40323"/>
                  </a:lnTo>
                  <a:lnTo>
                    <a:pt x="103701" y="53490"/>
                  </a:lnTo>
                  <a:lnTo>
                    <a:pt x="147543" y="56782"/>
                  </a:lnTo>
                  <a:lnTo>
                    <a:pt x="154288" y="66657"/>
                  </a:lnTo>
                  <a:lnTo>
                    <a:pt x="147543" y="83116"/>
                  </a:lnTo>
                  <a:lnTo>
                    <a:pt x="152602" y="86407"/>
                  </a:lnTo>
                  <a:lnTo>
                    <a:pt x="150915" y="97928"/>
                  </a:lnTo>
                  <a:lnTo>
                    <a:pt x="155974" y="104512"/>
                  </a:lnTo>
                  <a:lnTo>
                    <a:pt x="162719" y="104512"/>
                  </a:lnTo>
                  <a:lnTo>
                    <a:pt x="162719" y="119324"/>
                  </a:lnTo>
                  <a:lnTo>
                    <a:pt x="169464" y="120971"/>
                  </a:lnTo>
                  <a:lnTo>
                    <a:pt x="172836" y="120971"/>
                  </a:lnTo>
                  <a:lnTo>
                    <a:pt x="181267" y="127554"/>
                  </a:lnTo>
                  <a:lnTo>
                    <a:pt x="182954" y="130845"/>
                  </a:lnTo>
                  <a:lnTo>
                    <a:pt x="171150" y="139075"/>
                  </a:lnTo>
                  <a:lnTo>
                    <a:pt x="181267" y="153888"/>
                  </a:lnTo>
                  <a:lnTo>
                    <a:pt x="184640" y="162117"/>
                  </a:lnTo>
                  <a:lnTo>
                    <a:pt x="196443" y="171992"/>
                  </a:lnTo>
                  <a:lnTo>
                    <a:pt x="194757" y="175284"/>
                  </a:lnTo>
                  <a:lnTo>
                    <a:pt x="196443" y="176930"/>
                  </a:lnTo>
                  <a:lnTo>
                    <a:pt x="189699" y="183513"/>
                  </a:lnTo>
                  <a:lnTo>
                    <a:pt x="191385" y="191742"/>
                  </a:lnTo>
                  <a:lnTo>
                    <a:pt x="193071" y="195034"/>
                  </a:lnTo>
                  <a:lnTo>
                    <a:pt x="191385" y="199972"/>
                  </a:lnTo>
                  <a:lnTo>
                    <a:pt x="184640" y="203264"/>
                  </a:lnTo>
                  <a:lnTo>
                    <a:pt x="179581" y="201618"/>
                  </a:lnTo>
                  <a:lnTo>
                    <a:pt x="176209" y="196680"/>
                  </a:lnTo>
                  <a:lnTo>
                    <a:pt x="176209" y="190097"/>
                  </a:lnTo>
                  <a:lnTo>
                    <a:pt x="172836" y="190097"/>
                  </a:lnTo>
                  <a:lnTo>
                    <a:pt x="166092" y="195034"/>
                  </a:lnTo>
                  <a:lnTo>
                    <a:pt x="140798" y="199972"/>
                  </a:lnTo>
                  <a:lnTo>
                    <a:pt x="122250" y="171992"/>
                  </a:lnTo>
                  <a:lnTo>
                    <a:pt x="112132" y="163763"/>
                  </a:lnTo>
                  <a:lnTo>
                    <a:pt x="103701" y="160471"/>
                  </a:lnTo>
                  <a:lnTo>
                    <a:pt x="78408" y="155534"/>
                  </a:lnTo>
                  <a:lnTo>
                    <a:pt x="80094" y="148950"/>
                  </a:lnTo>
                  <a:lnTo>
                    <a:pt x="73349" y="135783"/>
                  </a:lnTo>
                  <a:lnTo>
                    <a:pt x="76722" y="120971"/>
                  </a:lnTo>
                  <a:lnTo>
                    <a:pt x="68290" y="109449"/>
                  </a:lnTo>
                  <a:lnTo>
                    <a:pt x="63232" y="114387"/>
                  </a:lnTo>
                  <a:lnTo>
                    <a:pt x="59859" y="107803"/>
                  </a:lnTo>
                  <a:lnTo>
                    <a:pt x="61546" y="92991"/>
                  </a:lnTo>
                  <a:lnTo>
                    <a:pt x="42997" y="84761"/>
                  </a:lnTo>
                  <a:lnTo>
                    <a:pt x="16017" y="88053"/>
                  </a:lnTo>
                  <a:lnTo>
                    <a:pt x="4214" y="60074"/>
                  </a:lnTo>
                  <a:lnTo>
                    <a:pt x="10959" y="56782"/>
                  </a:lnTo>
                  <a:lnTo>
                    <a:pt x="9273" y="43615"/>
                  </a:lnTo>
                  <a:lnTo>
                    <a:pt x="12645" y="35385"/>
                  </a:lnTo>
                  <a:lnTo>
                    <a:pt x="9273" y="30448"/>
                  </a:lnTo>
                  <a:lnTo>
                    <a:pt x="7586" y="25510"/>
                  </a:lnTo>
                  <a:lnTo>
                    <a:pt x="14331" y="9052"/>
                  </a:lnTo>
                  <a:lnTo>
                    <a:pt x="14331" y="4114"/>
                  </a:lnTo>
                  <a:lnTo>
                    <a:pt x="1601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19" name="Lochem">
              <a:extLst>
                <a:ext uri="{FF2B5EF4-FFF2-40B4-BE49-F238E27FC236}">
                  <a16:creationId xmlns:a16="http://schemas.microsoft.com/office/drawing/2014/main" id="{A745EA60-0674-449D-BB57-373AC770E11D}"/>
                </a:ext>
              </a:extLst>
            </p:cNvPr>
            <p:cNvSpPr/>
            <p:nvPr/>
          </p:nvSpPr>
          <p:spPr>
            <a:xfrm>
              <a:off x="7030048" y="3274385"/>
              <a:ext cx="360315" cy="244083"/>
            </a:xfrm>
            <a:custGeom>
              <a:avLst/>
              <a:gdLst/>
              <a:ahLst/>
              <a:cxnLst/>
              <a:rect l="l" t="t" r="r" b="b"/>
              <a:pathLst>
                <a:path w="515159" h="365760" extrusionOk="0">
                  <a:moveTo>
                    <a:pt x="356635" y="12344"/>
                  </a:moveTo>
                  <a:lnTo>
                    <a:pt x="376870" y="9052"/>
                  </a:lnTo>
                  <a:lnTo>
                    <a:pt x="397105" y="12344"/>
                  </a:lnTo>
                  <a:lnTo>
                    <a:pt x="398791" y="23865"/>
                  </a:lnTo>
                  <a:lnTo>
                    <a:pt x="407222" y="37031"/>
                  </a:lnTo>
                  <a:lnTo>
                    <a:pt x="417339" y="56782"/>
                  </a:lnTo>
                  <a:lnTo>
                    <a:pt x="444319" y="83116"/>
                  </a:lnTo>
                  <a:lnTo>
                    <a:pt x="461181" y="111095"/>
                  </a:lnTo>
                  <a:lnTo>
                    <a:pt x="481416" y="114387"/>
                  </a:lnTo>
                  <a:lnTo>
                    <a:pt x="481416" y="130846"/>
                  </a:lnTo>
                  <a:lnTo>
                    <a:pt x="494906" y="155534"/>
                  </a:lnTo>
                  <a:lnTo>
                    <a:pt x="510082" y="158825"/>
                  </a:lnTo>
                  <a:lnTo>
                    <a:pt x="515141" y="165409"/>
                  </a:lnTo>
                  <a:lnTo>
                    <a:pt x="518513" y="176930"/>
                  </a:lnTo>
                  <a:lnTo>
                    <a:pt x="516827" y="185159"/>
                  </a:lnTo>
                  <a:lnTo>
                    <a:pt x="503337" y="216431"/>
                  </a:lnTo>
                  <a:lnTo>
                    <a:pt x="469612" y="227952"/>
                  </a:lnTo>
                  <a:lnTo>
                    <a:pt x="471299" y="229597"/>
                  </a:lnTo>
                  <a:lnTo>
                    <a:pt x="471299" y="232889"/>
                  </a:lnTo>
                  <a:lnTo>
                    <a:pt x="476357" y="234535"/>
                  </a:lnTo>
                  <a:lnTo>
                    <a:pt x="476357" y="239473"/>
                  </a:lnTo>
                  <a:lnTo>
                    <a:pt x="479730" y="241118"/>
                  </a:lnTo>
                  <a:lnTo>
                    <a:pt x="481416" y="239473"/>
                  </a:lnTo>
                  <a:lnTo>
                    <a:pt x="483102" y="242764"/>
                  </a:lnTo>
                  <a:lnTo>
                    <a:pt x="484788" y="250994"/>
                  </a:lnTo>
                  <a:lnTo>
                    <a:pt x="486475" y="247702"/>
                  </a:lnTo>
                  <a:lnTo>
                    <a:pt x="489847" y="249348"/>
                  </a:lnTo>
                  <a:lnTo>
                    <a:pt x="488161" y="246056"/>
                  </a:lnTo>
                  <a:lnTo>
                    <a:pt x="493220" y="250994"/>
                  </a:lnTo>
                  <a:lnTo>
                    <a:pt x="499964" y="250994"/>
                  </a:lnTo>
                  <a:lnTo>
                    <a:pt x="503337" y="264160"/>
                  </a:lnTo>
                  <a:lnTo>
                    <a:pt x="505023" y="264160"/>
                  </a:lnTo>
                  <a:lnTo>
                    <a:pt x="511768" y="270744"/>
                  </a:lnTo>
                  <a:lnTo>
                    <a:pt x="508396" y="277328"/>
                  </a:lnTo>
                  <a:lnTo>
                    <a:pt x="510082" y="280619"/>
                  </a:lnTo>
                  <a:lnTo>
                    <a:pt x="511768" y="288849"/>
                  </a:lnTo>
                  <a:lnTo>
                    <a:pt x="516827" y="292140"/>
                  </a:lnTo>
                  <a:lnTo>
                    <a:pt x="513454" y="303661"/>
                  </a:lnTo>
                  <a:lnTo>
                    <a:pt x="515141" y="305307"/>
                  </a:lnTo>
                  <a:lnTo>
                    <a:pt x="511768" y="306953"/>
                  </a:lnTo>
                  <a:lnTo>
                    <a:pt x="510082" y="315182"/>
                  </a:lnTo>
                  <a:lnTo>
                    <a:pt x="501651" y="326704"/>
                  </a:lnTo>
                  <a:lnTo>
                    <a:pt x="501651" y="339870"/>
                  </a:lnTo>
                  <a:lnTo>
                    <a:pt x="496592" y="353037"/>
                  </a:lnTo>
                  <a:lnTo>
                    <a:pt x="488161" y="349746"/>
                  </a:lnTo>
                  <a:lnTo>
                    <a:pt x="488161" y="344808"/>
                  </a:lnTo>
                  <a:lnTo>
                    <a:pt x="484788" y="343162"/>
                  </a:lnTo>
                  <a:lnTo>
                    <a:pt x="484788" y="339870"/>
                  </a:lnTo>
                  <a:lnTo>
                    <a:pt x="478043" y="338224"/>
                  </a:lnTo>
                  <a:lnTo>
                    <a:pt x="472985" y="341516"/>
                  </a:lnTo>
                  <a:lnTo>
                    <a:pt x="471299" y="344808"/>
                  </a:lnTo>
                  <a:lnTo>
                    <a:pt x="469612" y="338224"/>
                  </a:lnTo>
                  <a:lnTo>
                    <a:pt x="461181" y="334933"/>
                  </a:lnTo>
                  <a:lnTo>
                    <a:pt x="446005" y="339870"/>
                  </a:lnTo>
                  <a:lnTo>
                    <a:pt x="437574" y="348100"/>
                  </a:lnTo>
                  <a:lnTo>
                    <a:pt x="434202" y="346454"/>
                  </a:lnTo>
                  <a:lnTo>
                    <a:pt x="413967" y="362912"/>
                  </a:lnTo>
                  <a:lnTo>
                    <a:pt x="363380" y="325057"/>
                  </a:lnTo>
                  <a:lnTo>
                    <a:pt x="371811" y="313536"/>
                  </a:lnTo>
                  <a:lnTo>
                    <a:pt x="375184" y="313536"/>
                  </a:lnTo>
                  <a:lnTo>
                    <a:pt x="363380" y="298724"/>
                  </a:lnTo>
                  <a:lnTo>
                    <a:pt x="370125" y="280619"/>
                  </a:lnTo>
                  <a:lnTo>
                    <a:pt x="365066" y="278973"/>
                  </a:lnTo>
                  <a:lnTo>
                    <a:pt x="351577" y="287203"/>
                  </a:lnTo>
                  <a:lnTo>
                    <a:pt x="351577" y="290494"/>
                  </a:lnTo>
                  <a:lnTo>
                    <a:pt x="346518" y="293786"/>
                  </a:lnTo>
                  <a:lnTo>
                    <a:pt x="341459" y="290494"/>
                  </a:lnTo>
                  <a:lnTo>
                    <a:pt x="329656" y="298724"/>
                  </a:lnTo>
                  <a:lnTo>
                    <a:pt x="317852" y="292140"/>
                  </a:lnTo>
                  <a:lnTo>
                    <a:pt x="319538" y="290494"/>
                  </a:lnTo>
                  <a:lnTo>
                    <a:pt x="312793" y="283911"/>
                  </a:lnTo>
                  <a:lnTo>
                    <a:pt x="311107" y="270744"/>
                  </a:lnTo>
                  <a:lnTo>
                    <a:pt x="267265" y="265807"/>
                  </a:lnTo>
                  <a:lnTo>
                    <a:pt x="260520" y="229597"/>
                  </a:lnTo>
                  <a:lnTo>
                    <a:pt x="231855" y="234535"/>
                  </a:lnTo>
                  <a:lnTo>
                    <a:pt x="225110" y="239473"/>
                  </a:lnTo>
                  <a:lnTo>
                    <a:pt x="220051" y="237827"/>
                  </a:lnTo>
                  <a:lnTo>
                    <a:pt x="216679" y="239473"/>
                  </a:lnTo>
                  <a:lnTo>
                    <a:pt x="208247" y="237827"/>
                  </a:lnTo>
                  <a:lnTo>
                    <a:pt x="198130" y="241118"/>
                  </a:lnTo>
                  <a:lnTo>
                    <a:pt x="193072" y="237827"/>
                  </a:lnTo>
                  <a:lnTo>
                    <a:pt x="184640" y="239473"/>
                  </a:lnTo>
                  <a:lnTo>
                    <a:pt x="177895" y="237827"/>
                  </a:lnTo>
                  <a:lnTo>
                    <a:pt x="169464" y="244410"/>
                  </a:lnTo>
                  <a:lnTo>
                    <a:pt x="149230" y="246056"/>
                  </a:lnTo>
                  <a:lnTo>
                    <a:pt x="145857" y="244410"/>
                  </a:lnTo>
                  <a:lnTo>
                    <a:pt x="128995" y="247702"/>
                  </a:lnTo>
                  <a:lnTo>
                    <a:pt x="125622" y="224660"/>
                  </a:lnTo>
                  <a:lnTo>
                    <a:pt x="118878" y="224660"/>
                  </a:lnTo>
                  <a:lnTo>
                    <a:pt x="107074" y="229597"/>
                  </a:lnTo>
                  <a:lnTo>
                    <a:pt x="107074" y="224660"/>
                  </a:lnTo>
                  <a:lnTo>
                    <a:pt x="100329" y="223014"/>
                  </a:lnTo>
                  <a:lnTo>
                    <a:pt x="100329" y="218076"/>
                  </a:lnTo>
                  <a:lnTo>
                    <a:pt x="95270" y="218076"/>
                  </a:lnTo>
                  <a:lnTo>
                    <a:pt x="98643" y="214785"/>
                  </a:lnTo>
                  <a:lnTo>
                    <a:pt x="96957" y="209847"/>
                  </a:lnTo>
                  <a:lnTo>
                    <a:pt x="90212" y="208201"/>
                  </a:lnTo>
                  <a:lnTo>
                    <a:pt x="81781" y="198326"/>
                  </a:lnTo>
                  <a:lnTo>
                    <a:pt x="71663" y="203264"/>
                  </a:lnTo>
                  <a:lnTo>
                    <a:pt x="68291" y="208201"/>
                  </a:lnTo>
                  <a:lnTo>
                    <a:pt x="59860" y="191742"/>
                  </a:lnTo>
                  <a:lnTo>
                    <a:pt x="61546" y="180221"/>
                  </a:lnTo>
                  <a:lnTo>
                    <a:pt x="58174" y="170346"/>
                  </a:lnTo>
                  <a:lnTo>
                    <a:pt x="41311" y="163763"/>
                  </a:lnTo>
                  <a:lnTo>
                    <a:pt x="24449" y="145658"/>
                  </a:lnTo>
                  <a:lnTo>
                    <a:pt x="9273" y="144013"/>
                  </a:lnTo>
                  <a:lnTo>
                    <a:pt x="4214" y="137429"/>
                  </a:lnTo>
                  <a:lnTo>
                    <a:pt x="4214" y="125908"/>
                  </a:lnTo>
                  <a:lnTo>
                    <a:pt x="7587" y="119324"/>
                  </a:lnTo>
                  <a:lnTo>
                    <a:pt x="14332" y="114387"/>
                  </a:lnTo>
                  <a:lnTo>
                    <a:pt x="29508" y="114387"/>
                  </a:lnTo>
                  <a:lnTo>
                    <a:pt x="44684" y="107804"/>
                  </a:lnTo>
                  <a:lnTo>
                    <a:pt x="54801" y="96282"/>
                  </a:lnTo>
                  <a:lnTo>
                    <a:pt x="53115" y="76532"/>
                  </a:lnTo>
                  <a:lnTo>
                    <a:pt x="17704" y="43615"/>
                  </a:lnTo>
                  <a:lnTo>
                    <a:pt x="31194" y="38678"/>
                  </a:lnTo>
                  <a:lnTo>
                    <a:pt x="42997" y="37031"/>
                  </a:lnTo>
                  <a:lnTo>
                    <a:pt x="53115" y="48552"/>
                  </a:lnTo>
                  <a:lnTo>
                    <a:pt x="71663" y="46907"/>
                  </a:lnTo>
                  <a:lnTo>
                    <a:pt x="95270" y="53490"/>
                  </a:lnTo>
                  <a:lnTo>
                    <a:pt x="91898" y="41969"/>
                  </a:lnTo>
                  <a:lnTo>
                    <a:pt x="103701" y="48552"/>
                  </a:lnTo>
                  <a:lnTo>
                    <a:pt x="112133" y="45261"/>
                  </a:lnTo>
                  <a:lnTo>
                    <a:pt x="127309" y="50198"/>
                  </a:lnTo>
                  <a:lnTo>
                    <a:pt x="137426" y="48552"/>
                  </a:lnTo>
                  <a:lnTo>
                    <a:pt x="139112" y="51844"/>
                  </a:lnTo>
                  <a:lnTo>
                    <a:pt x="145857" y="51844"/>
                  </a:lnTo>
                  <a:lnTo>
                    <a:pt x="155974" y="51844"/>
                  </a:lnTo>
                  <a:lnTo>
                    <a:pt x="161033" y="46907"/>
                  </a:lnTo>
                  <a:lnTo>
                    <a:pt x="167778" y="51844"/>
                  </a:lnTo>
                  <a:lnTo>
                    <a:pt x="177895" y="53490"/>
                  </a:lnTo>
                  <a:lnTo>
                    <a:pt x="177895" y="50198"/>
                  </a:lnTo>
                  <a:lnTo>
                    <a:pt x="184640" y="50198"/>
                  </a:lnTo>
                  <a:lnTo>
                    <a:pt x="209934" y="41969"/>
                  </a:lnTo>
                  <a:lnTo>
                    <a:pt x="209934" y="45261"/>
                  </a:lnTo>
                  <a:lnTo>
                    <a:pt x="216679" y="46907"/>
                  </a:lnTo>
                  <a:lnTo>
                    <a:pt x="218365" y="55136"/>
                  </a:lnTo>
                  <a:lnTo>
                    <a:pt x="252089" y="53490"/>
                  </a:lnTo>
                  <a:lnTo>
                    <a:pt x="260520" y="50198"/>
                  </a:lnTo>
                  <a:lnTo>
                    <a:pt x="280755" y="50198"/>
                  </a:lnTo>
                  <a:lnTo>
                    <a:pt x="279069" y="28802"/>
                  </a:lnTo>
                  <a:lnTo>
                    <a:pt x="284128" y="28802"/>
                  </a:lnTo>
                  <a:lnTo>
                    <a:pt x="284128" y="23865"/>
                  </a:lnTo>
                  <a:lnTo>
                    <a:pt x="295931" y="22219"/>
                  </a:lnTo>
                  <a:lnTo>
                    <a:pt x="297617" y="13989"/>
                  </a:lnTo>
                  <a:lnTo>
                    <a:pt x="322911" y="13989"/>
                  </a:lnTo>
                  <a:lnTo>
                    <a:pt x="344832" y="4114"/>
                  </a:lnTo>
                  <a:lnTo>
                    <a:pt x="346518" y="9052"/>
                  </a:lnTo>
                  <a:lnTo>
                    <a:pt x="356635" y="1234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0" name="Asten">
              <a:extLst>
                <a:ext uri="{FF2B5EF4-FFF2-40B4-BE49-F238E27FC236}">
                  <a16:creationId xmlns:a16="http://schemas.microsoft.com/office/drawing/2014/main" id="{EB265332-8AF2-4D67-86FF-993D82B890A8}"/>
                </a:ext>
              </a:extLst>
            </p:cNvPr>
            <p:cNvSpPr/>
            <p:nvPr/>
          </p:nvSpPr>
          <p:spPr>
            <a:xfrm>
              <a:off x="6556645" y="4573338"/>
              <a:ext cx="196608" cy="174968"/>
            </a:xfrm>
            <a:custGeom>
              <a:avLst/>
              <a:gdLst/>
              <a:ahLst/>
              <a:cxnLst/>
              <a:rect l="l" t="t" r="r" b="b"/>
              <a:pathLst>
                <a:path w="280996" h="262890" extrusionOk="0">
                  <a:moveTo>
                    <a:pt x="44684" y="9052"/>
                  </a:moveTo>
                  <a:lnTo>
                    <a:pt x="66605" y="7406"/>
                  </a:lnTo>
                  <a:lnTo>
                    <a:pt x="98643" y="18927"/>
                  </a:lnTo>
                  <a:lnTo>
                    <a:pt x="108760" y="27156"/>
                  </a:lnTo>
                  <a:lnTo>
                    <a:pt x="115505" y="40323"/>
                  </a:lnTo>
                  <a:lnTo>
                    <a:pt x="122250" y="43615"/>
                  </a:lnTo>
                  <a:lnTo>
                    <a:pt x="130681" y="55136"/>
                  </a:lnTo>
                  <a:lnTo>
                    <a:pt x="142485" y="61719"/>
                  </a:lnTo>
                  <a:lnTo>
                    <a:pt x="149230" y="69949"/>
                  </a:lnTo>
                  <a:lnTo>
                    <a:pt x="216678" y="101220"/>
                  </a:lnTo>
                  <a:lnTo>
                    <a:pt x="218365" y="106158"/>
                  </a:lnTo>
                  <a:lnTo>
                    <a:pt x="226796" y="112741"/>
                  </a:lnTo>
                  <a:lnTo>
                    <a:pt x="252089" y="157179"/>
                  </a:lnTo>
                  <a:lnTo>
                    <a:pt x="250403" y="165409"/>
                  </a:lnTo>
                  <a:lnTo>
                    <a:pt x="255462" y="211493"/>
                  </a:lnTo>
                  <a:lnTo>
                    <a:pt x="270638" y="209847"/>
                  </a:lnTo>
                  <a:lnTo>
                    <a:pt x="277383" y="214785"/>
                  </a:lnTo>
                  <a:lnTo>
                    <a:pt x="123936" y="260869"/>
                  </a:lnTo>
                  <a:lnTo>
                    <a:pt x="83467" y="170346"/>
                  </a:lnTo>
                  <a:lnTo>
                    <a:pt x="75036" y="173638"/>
                  </a:lnTo>
                  <a:lnTo>
                    <a:pt x="68291" y="125908"/>
                  </a:lnTo>
                  <a:lnTo>
                    <a:pt x="22763" y="79824"/>
                  </a:lnTo>
                  <a:lnTo>
                    <a:pt x="17704" y="71595"/>
                  </a:lnTo>
                  <a:lnTo>
                    <a:pt x="4214" y="7406"/>
                  </a:lnTo>
                  <a:lnTo>
                    <a:pt x="10959" y="9052"/>
                  </a:lnTo>
                  <a:lnTo>
                    <a:pt x="27821" y="4114"/>
                  </a:lnTo>
                  <a:lnTo>
                    <a:pt x="44684"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1" name="Pijnacker-Nootdorp">
              <a:extLst>
                <a:ext uri="{FF2B5EF4-FFF2-40B4-BE49-F238E27FC236}">
                  <a16:creationId xmlns:a16="http://schemas.microsoft.com/office/drawing/2014/main" id="{9BE251F3-223D-42B9-B744-C37C94767E92}"/>
                </a:ext>
              </a:extLst>
            </p:cNvPr>
            <p:cNvSpPr/>
            <p:nvPr/>
          </p:nvSpPr>
          <p:spPr>
            <a:xfrm>
              <a:off x="5162813" y="3580548"/>
              <a:ext cx="111927" cy="137164"/>
            </a:xfrm>
            <a:custGeom>
              <a:avLst/>
              <a:gdLst/>
              <a:ahLst/>
              <a:cxnLst/>
              <a:rect l="l" t="t" r="r" b="b"/>
              <a:pathLst>
                <a:path w="163914" h="205740" extrusionOk="0">
                  <a:moveTo>
                    <a:pt x="37939" y="5760"/>
                  </a:moveTo>
                  <a:lnTo>
                    <a:pt x="42997" y="10698"/>
                  </a:lnTo>
                  <a:lnTo>
                    <a:pt x="48056" y="5760"/>
                  </a:lnTo>
                  <a:lnTo>
                    <a:pt x="122250" y="17281"/>
                  </a:lnTo>
                  <a:lnTo>
                    <a:pt x="132367" y="43615"/>
                  </a:lnTo>
                  <a:lnTo>
                    <a:pt x="152602" y="38677"/>
                  </a:lnTo>
                  <a:lnTo>
                    <a:pt x="162719" y="60074"/>
                  </a:lnTo>
                  <a:lnTo>
                    <a:pt x="147543" y="74886"/>
                  </a:lnTo>
                  <a:lnTo>
                    <a:pt x="132367" y="83116"/>
                  </a:lnTo>
                  <a:lnTo>
                    <a:pt x="135740" y="94637"/>
                  </a:lnTo>
                  <a:lnTo>
                    <a:pt x="134054" y="97928"/>
                  </a:lnTo>
                  <a:lnTo>
                    <a:pt x="137426" y="106158"/>
                  </a:lnTo>
                  <a:lnTo>
                    <a:pt x="128995" y="119324"/>
                  </a:lnTo>
                  <a:lnTo>
                    <a:pt x="134054" y="125908"/>
                  </a:lnTo>
                  <a:lnTo>
                    <a:pt x="134054" y="130845"/>
                  </a:lnTo>
                  <a:lnTo>
                    <a:pt x="120564" y="134137"/>
                  </a:lnTo>
                  <a:lnTo>
                    <a:pt x="123936" y="142367"/>
                  </a:lnTo>
                  <a:lnTo>
                    <a:pt x="115505" y="153888"/>
                  </a:lnTo>
                  <a:lnTo>
                    <a:pt x="80094" y="185159"/>
                  </a:lnTo>
                  <a:lnTo>
                    <a:pt x="85153" y="193388"/>
                  </a:lnTo>
                  <a:lnTo>
                    <a:pt x="54801" y="211493"/>
                  </a:lnTo>
                  <a:lnTo>
                    <a:pt x="48056" y="199972"/>
                  </a:lnTo>
                  <a:lnTo>
                    <a:pt x="44684" y="186805"/>
                  </a:lnTo>
                  <a:lnTo>
                    <a:pt x="37939" y="185159"/>
                  </a:lnTo>
                  <a:lnTo>
                    <a:pt x="22763" y="122616"/>
                  </a:lnTo>
                  <a:lnTo>
                    <a:pt x="26135" y="120970"/>
                  </a:lnTo>
                  <a:lnTo>
                    <a:pt x="26135" y="112741"/>
                  </a:lnTo>
                  <a:lnTo>
                    <a:pt x="36252" y="107803"/>
                  </a:lnTo>
                  <a:lnTo>
                    <a:pt x="24449" y="78178"/>
                  </a:lnTo>
                  <a:lnTo>
                    <a:pt x="14332" y="69949"/>
                  </a:lnTo>
                  <a:lnTo>
                    <a:pt x="36252" y="55136"/>
                  </a:lnTo>
                  <a:lnTo>
                    <a:pt x="26135" y="41969"/>
                  </a:lnTo>
                  <a:lnTo>
                    <a:pt x="14332" y="48552"/>
                  </a:lnTo>
                  <a:lnTo>
                    <a:pt x="4214" y="35385"/>
                  </a:lnTo>
                  <a:lnTo>
                    <a:pt x="27821" y="10698"/>
                  </a:lnTo>
                  <a:lnTo>
                    <a:pt x="29508" y="13989"/>
                  </a:lnTo>
                  <a:lnTo>
                    <a:pt x="34566" y="7406"/>
                  </a:lnTo>
                  <a:lnTo>
                    <a:pt x="37939" y="4114"/>
                  </a:lnTo>
                  <a:lnTo>
                    <a:pt x="37939"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2" name="Uden">
              <a:extLst>
                <a:ext uri="{FF2B5EF4-FFF2-40B4-BE49-F238E27FC236}">
                  <a16:creationId xmlns:a16="http://schemas.microsoft.com/office/drawing/2014/main" id="{1D3BEE33-8A7E-405C-BC2D-86B729182E41}"/>
                </a:ext>
              </a:extLst>
            </p:cNvPr>
            <p:cNvSpPr/>
            <p:nvPr/>
          </p:nvSpPr>
          <p:spPr>
            <a:xfrm>
              <a:off x="6410457" y="4149885"/>
              <a:ext cx="201775" cy="135318"/>
            </a:xfrm>
            <a:custGeom>
              <a:avLst/>
              <a:gdLst/>
              <a:ahLst/>
              <a:cxnLst/>
              <a:rect l="l" t="t" r="r" b="b"/>
              <a:pathLst>
                <a:path w="292704" h="194310" extrusionOk="0">
                  <a:moveTo>
                    <a:pt x="96957" y="15635"/>
                  </a:moveTo>
                  <a:lnTo>
                    <a:pt x="174523" y="94637"/>
                  </a:lnTo>
                  <a:lnTo>
                    <a:pt x="182954" y="97928"/>
                  </a:lnTo>
                  <a:lnTo>
                    <a:pt x="263893" y="74886"/>
                  </a:lnTo>
                  <a:lnTo>
                    <a:pt x="272324" y="106158"/>
                  </a:lnTo>
                  <a:lnTo>
                    <a:pt x="262207" y="111095"/>
                  </a:lnTo>
                  <a:lnTo>
                    <a:pt x="262207" y="114387"/>
                  </a:lnTo>
                  <a:lnTo>
                    <a:pt x="267265" y="114387"/>
                  </a:lnTo>
                  <a:lnTo>
                    <a:pt x="268951" y="127554"/>
                  </a:lnTo>
                  <a:lnTo>
                    <a:pt x="282441" y="132492"/>
                  </a:lnTo>
                  <a:lnTo>
                    <a:pt x="294245" y="198326"/>
                  </a:lnTo>
                  <a:lnTo>
                    <a:pt x="279069" y="199972"/>
                  </a:lnTo>
                  <a:lnTo>
                    <a:pt x="196444" y="186805"/>
                  </a:lnTo>
                  <a:lnTo>
                    <a:pt x="188013" y="186805"/>
                  </a:lnTo>
                  <a:lnTo>
                    <a:pt x="188013" y="183513"/>
                  </a:lnTo>
                  <a:lnTo>
                    <a:pt x="174523" y="188451"/>
                  </a:lnTo>
                  <a:lnTo>
                    <a:pt x="174523" y="185159"/>
                  </a:lnTo>
                  <a:lnTo>
                    <a:pt x="162719" y="183513"/>
                  </a:lnTo>
                  <a:lnTo>
                    <a:pt x="142485" y="190097"/>
                  </a:lnTo>
                  <a:lnTo>
                    <a:pt x="140798" y="191742"/>
                  </a:lnTo>
                  <a:lnTo>
                    <a:pt x="117191" y="193389"/>
                  </a:lnTo>
                  <a:lnTo>
                    <a:pt x="105388" y="198326"/>
                  </a:lnTo>
                  <a:lnTo>
                    <a:pt x="98643" y="190097"/>
                  </a:lnTo>
                  <a:lnTo>
                    <a:pt x="73349" y="173638"/>
                  </a:lnTo>
                  <a:lnTo>
                    <a:pt x="66605" y="183513"/>
                  </a:lnTo>
                  <a:lnTo>
                    <a:pt x="54801" y="171992"/>
                  </a:lnTo>
                  <a:lnTo>
                    <a:pt x="53115" y="175284"/>
                  </a:lnTo>
                  <a:lnTo>
                    <a:pt x="41311" y="158825"/>
                  </a:lnTo>
                  <a:lnTo>
                    <a:pt x="44684" y="152242"/>
                  </a:lnTo>
                  <a:lnTo>
                    <a:pt x="31194" y="144013"/>
                  </a:lnTo>
                  <a:lnTo>
                    <a:pt x="12645" y="125908"/>
                  </a:lnTo>
                  <a:lnTo>
                    <a:pt x="17704" y="120971"/>
                  </a:lnTo>
                  <a:lnTo>
                    <a:pt x="14332" y="111095"/>
                  </a:lnTo>
                  <a:lnTo>
                    <a:pt x="12645" y="111095"/>
                  </a:lnTo>
                  <a:lnTo>
                    <a:pt x="10959" y="106158"/>
                  </a:lnTo>
                  <a:lnTo>
                    <a:pt x="7587" y="107803"/>
                  </a:lnTo>
                  <a:lnTo>
                    <a:pt x="7587" y="104512"/>
                  </a:lnTo>
                  <a:lnTo>
                    <a:pt x="4214" y="107803"/>
                  </a:lnTo>
                  <a:lnTo>
                    <a:pt x="4214" y="102866"/>
                  </a:lnTo>
                  <a:lnTo>
                    <a:pt x="21076" y="68303"/>
                  </a:lnTo>
                  <a:lnTo>
                    <a:pt x="21076" y="66657"/>
                  </a:lnTo>
                  <a:lnTo>
                    <a:pt x="26135" y="65011"/>
                  </a:lnTo>
                  <a:lnTo>
                    <a:pt x="26135" y="60074"/>
                  </a:lnTo>
                  <a:lnTo>
                    <a:pt x="41311" y="53490"/>
                  </a:lnTo>
                  <a:lnTo>
                    <a:pt x="56487" y="35385"/>
                  </a:lnTo>
                  <a:lnTo>
                    <a:pt x="63232" y="20573"/>
                  </a:lnTo>
                  <a:lnTo>
                    <a:pt x="58173" y="9052"/>
                  </a:lnTo>
                  <a:lnTo>
                    <a:pt x="98643" y="4114"/>
                  </a:lnTo>
                  <a:lnTo>
                    <a:pt x="96957"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3" name="Nieuwkoop">
              <a:extLst>
                <a:ext uri="{FF2B5EF4-FFF2-40B4-BE49-F238E27FC236}">
                  <a16:creationId xmlns:a16="http://schemas.microsoft.com/office/drawing/2014/main" id="{C7C0C0DC-90D3-43EB-B913-8EB07559A7F8}"/>
                </a:ext>
              </a:extLst>
            </p:cNvPr>
            <p:cNvSpPr/>
            <p:nvPr/>
          </p:nvSpPr>
          <p:spPr>
            <a:xfrm>
              <a:off x="5487285" y="3304053"/>
              <a:ext cx="221950" cy="198718"/>
            </a:xfrm>
            <a:custGeom>
              <a:avLst/>
              <a:gdLst/>
              <a:ahLst/>
              <a:cxnLst/>
              <a:rect l="l" t="t" r="r" b="b"/>
              <a:pathLst>
                <a:path w="327828" h="297180" extrusionOk="0">
                  <a:moveTo>
                    <a:pt x="164405" y="5760"/>
                  </a:moveTo>
                  <a:lnTo>
                    <a:pt x="176209" y="9052"/>
                  </a:lnTo>
                  <a:lnTo>
                    <a:pt x="176209" y="17281"/>
                  </a:lnTo>
                  <a:lnTo>
                    <a:pt x="179581" y="17281"/>
                  </a:lnTo>
                  <a:lnTo>
                    <a:pt x="181268" y="23864"/>
                  </a:lnTo>
                  <a:lnTo>
                    <a:pt x="188013" y="30448"/>
                  </a:lnTo>
                  <a:lnTo>
                    <a:pt x="188013" y="63365"/>
                  </a:lnTo>
                  <a:lnTo>
                    <a:pt x="189699" y="71594"/>
                  </a:lnTo>
                  <a:lnTo>
                    <a:pt x="204875" y="69949"/>
                  </a:lnTo>
                  <a:lnTo>
                    <a:pt x="206561" y="74886"/>
                  </a:lnTo>
                  <a:lnTo>
                    <a:pt x="218365" y="83116"/>
                  </a:lnTo>
                  <a:lnTo>
                    <a:pt x="220051" y="89699"/>
                  </a:lnTo>
                  <a:lnTo>
                    <a:pt x="250403" y="122616"/>
                  </a:lnTo>
                  <a:lnTo>
                    <a:pt x="268951" y="124262"/>
                  </a:lnTo>
                  <a:lnTo>
                    <a:pt x="324597" y="167055"/>
                  </a:lnTo>
                  <a:lnTo>
                    <a:pt x="295931" y="180221"/>
                  </a:lnTo>
                  <a:lnTo>
                    <a:pt x="297617" y="221368"/>
                  </a:lnTo>
                  <a:lnTo>
                    <a:pt x="267265" y="226306"/>
                  </a:lnTo>
                  <a:lnTo>
                    <a:pt x="262206" y="219722"/>
                  </a:lnTo>
                  <a:lnTo>
                    <a:pt x="248717" y="219722"/>
                  </a:lnTo>
                  <a:lnTo>
                    <a:pt x="245344" y="214785"/>
                  </a:lnTo>
                  <a:lnTo>
                    <a:pt x="240286" y="216430"/>
                  </a:lnTo>
                  <a:lnTo>
                    <a:pt x="238599" y="211493"/>
                  </a:lnTo>
                  <a:lnTo>
                    <a:pt x="235227" y="211493"/>
                  </a:lnTo>
                  <a:lnTo>
                    <a:pt x="233541" y="206555"/>
                  </a:lnTo>
                  <a:lnTo>
                    <a:pt x="223423" y="213139"/>
                  </a:lnTo>
                  <a:lnTo>
                    <a:pt x="214992" y="213139"/>
                  </a:lnTo>
                  <a:lnTo>
                    <a:pt x="209934" y="219722"/>
                  </a:lnTo>
                  <a:lnTo>
                    <a:pt x="203189" y="218076"/>
                  </a:lnTo>
                  <a:lnTo>
                    <a:pt x="198130" y="224660"/>
                  </a:lnTo>
                  <a:lnTo>
                    <a:pt x="194757" y="231243"/>
                  </a:lnTo>
                  <a:lnTo>
                    <a:pt x="194757" y="244410"/>
                  </a:lnTo>
                  <a:lnTo>
                    <a:pt x="188013" y="254285"/>
                  </a:lnTo>
                  <a:lnTo>
                    <a:pt x="181268" y="254285"/>
                  </a:lnTo>
                  <a:lnTo>
                    <a:pt x="172837" y="257577"/>
                  </a:lnTo>
                  <a:lnTo>
                    <a:pt x="169464" y="265806"/>
                  </a:lnTo>
                  <a:lnTo>
                    <a:pt x="159347" y="264160"/>
                  </a:lnTo>
                  <a:lnTo>
                    <a:pt x="159347" y="272390"/>
                  </a:lnTo>
                  <a:lnTo>
                    <a:pt x="152602" y="272390"/>
                  </a:lnTo>
                  <a:lnTo>
                    <a:pt x="150916" y="275682"/>
                  </a:lnTo>
                  <a:lnTo>
                    <a:pt x="144171" y="278973"/>
                  </a:lnTo>
                  <a:lnTo>
                    <a:pt x="139112" y="277327"/>
                  </a:lnTo>
                  <a:lnTo>
                    <a:pt x="135740" y="282265"/>
                  </a:lnTo>
                  <a:lnTo>
                    <a:pt x="125622" y="280619"/>
                  </a:lnTo>
                  <a:lnTo>
                    <a:pt x="120564" y="288848"/>
                  </a:lnTo>
                  <a:lnTo>
                    <a:pt x="113819" y="293786"/>
                  </a:lnTo>
                  <a:lnTo>
                    <a:pt x="90212" y="298724"/>
                  </a:lnTo>
                  <a:lnTo>
                    <a:pt x="117191" y="259223"/>
                  </a:lnTo>
                  <a:lnTo>
                    <a:pt x="122250" y="239472"/>
                  </a:lnTo>
                  <a:lnTo>
                    <a:pt x="120564" y="229597"/>
                  </a:lnTo>
                  <a:lnTo>
                    <a:pt x="95270" y="162117"/>
                  </a:lnTo>
                  <a:lnTo>
                    <a:pt x="73349" y="171992"/>
                  </a:lnTo>
                  <a:lnTo>
                    <a:pt x="71663" y="178575"/>
                  </a:lnTo>
                  <a:lnTo>
                    <a:pt x="37939" y="206555"/>
                  </a:lnTo>
                  <a:lnTo>
                    <a:pt x="39625" y="188451"/>
                  </a:lnTo>
                  <a:lnTo>
                    <a:pt x="29507" y="171992"/>
                  </a:lnTo>
                  <a:lnTo>
                    <a:pt x="4214" y="150596"/>
                  </a:lnTo>
                  <a:lnTo>
                    <a:pt x="16018" y="91345"/>
                  </a:lnTo>
                  <a:lnTo>
                    <a:pt x="26135" y="97928"/>
                  </a:lnTo>
                  <a:lnTo>
                    <a:pt x="44684" y="60074"/>
                  </a:lnTo>
                  <a:lnTo>
                    <a:pt x="64918" y="69949"/>
                  </a:lnTo>
                  <a:lnTo>
                    <a:pt x="68291" y="45261"/>
                  </a:lnTo>
                  <a:lnTo>
                    <a:pt x="85153" y="56782"/>
                  </a:lnTo>
                  <a:lnTo>
                    <a:pt x="98643" y="37031"/>
                  </a:lnTo>
                  <a:lnTo>
                    <a:pt x="105388" y="37031"/>
                  </a:lnTo>
                  <a:lnTo>
                    <a:pt x="113819" y="30448"/>
                  </a:lnTo>
                  <a:lnTo>
                    <a:pt x="127309" y="28802"/>
                  </a:lnTo>
                  <a:lnTo>
                    <a:pt x="145857" y="13989"/>
                  </a:lnTo>
                  <a:lnTo>
                    <a:pt x="149229" y="7406"/>
                  </a:lnTo>
                  <a:lnTo>
                    <a:pt x="155974" y="4114"/>
                  </a:lnTo>
                  <a:lnTo>
                    <a:pt x="164405"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4" name="Deventer">
              <a:extLst>
                <a:ext uri="{FF2B5EF4-FFF2-40B4-BE49-F238E27FC236}">
                  <a16:creationId xmlns:a16="http://schemas.microsoft.com/office/drawing/2014/main" id="{8CF7D006-5395-480E-97A1-50A994CB719D}"/>
                </a:ext>
              </a:extLst>
            </p:cNvPr>
            <p:cNvSpPr/>
            <p:nvPr/>
          </p:nvSpPr>
          <p:spPr>
            <a:xfrm>
              <a:off x="6977041" y="3155715"/>
              <a:ext cx="293902" cy="173121"/>
            </a:xfrm>
            <a:custGeom>
              <a:avLst/>
              <a:gdLst/>
              <a:ahLst/>
              <a:cxnLst/>
              <a:rect l="l" t="t" r="r" b="b"/>
              <a:pathLst>
                <a:path w="433202" h="251460" extrusionOk="0">
                  <a:moveTo>
                    <a:pt x="206561" y="7405"/>
                  </a:moveTo>
                  <a:lnTo>
                    <a:pt x="206561" y="20573"/>
                  </a:lnTo>
                  <a:lnTo>
                    <a:pt x="255462" y="53490"/>
                  </a:lnTo>
                  <a:lnTo>
                    <a:pt x="312793" y="53490"/>
                  </a:lnTo>
                  <a:lnTo>
                    <a:pt x="344832" y="50198"/>
                  </a:lnTo>
                  <a:lnTo>
                    <a:pt x="349890" y="99574"/>
                  </a:lnTo>
                  <a:lnTo>
                    <a:pt x="381928" y="120970"/>
                  </a:lnTo>
                  <a:lnTo>
                    <a:pt x="380242" y="125908"/>
                  </a:lnTo>
                  <a:lnTo>
                    <a:pt x="383614" y="127554"/>
                  </a:lnTo>
                  <a:lnTo>
                    <a:pt x="385301" y="124262"/>
                  </a:lnTo>
                  <a:lnTo>
                    <a:pt x="388673" y="127554"/>
                  </a:lnTo>
                  <a:lnTo>
                    <a:pt x="385301" y="129199"/>
                  </a:lnTo>
                  <a:lnTo>
                    <a:pt x="390360" y="132491"/>
                  </a:lnTo>
                  <a:lnTo>
                    <a:pt x="392046" y="130845"/>
                  </a:lnTo>
                  <a:lnTo>
                    <a:pt x="413967" y="148950"/>
                  </a:lnTo>
                  <a:lnTo>
                    <a:pt x="417339" y="147304"/>
                  </a:lnTo>
                  <a:lnTo>
                    <a:pt x="424084" y="152242"/>
                  </a:lnTo>
                  <a:lnTo>
                    <a:pt x="424084" y="157179"/>
                  </a:lnTo>
                  <a:lnTo>
                    <a:pt x="419026" y="158825"/>
                  </a:lnTo>
                  <a:lnTo>
                    <a:pt x="419026" y="160471"/>
                  </a:lnTo>
                  <a:lnTo>
                    <a:pt x="424084" y="163763"/>
                  </a:lnTo>
                  <a:lnTo>
                    <a:pt x="422398" y="173638"/>
                  </a:lnTo>
                  <a:lnTo>
                    <a:pt x="430829" y="181867"/>
                  </a:lnTo>
                  <a:lnTo>
                    <a:pt x="408908" y="193388"/>
                  </a:lnTo>
                  <a:lnTo>
                    <a:pt x="383614" y="193388"/>
                  </a:lnTo>
                  <a:lnTo>
                    <a:pt x="381928" y="201617"/>
                  </a:lnTo>
                  <a:lnTo>
                    <a:pt x="370125" y="203264"/>
                  </a:lnTo>
                  <a:lnTo>
                    <a:pt x="370125" y="208201"/>
                  </a:lnTo>
                  <a:lnTo>
                    <a:pt x="365066" y="208201"/>
                  </a:lnTo>
                  <a:lnTo>
                    <a:pt x="366753" y="229597"/>
                  </a:lnTo>
                  <a:lnTo>
                    <a:pt x="346518" y="229597"/>
                  </a:lnTo>
                  <a:lnTo>
                    <a:pt x="339773" y="232889"/>
                  </a:lnTo>
                  <a:lnTo>
                    <a:pt x="304362" y="234535"/>
                  </a:lnTo>
                  <a:lnTo>
                    <a:pt x="302676" y="226306"/>
                  </a:lnTo>
                  <a:lnTo>
                    <a:pt x="295931" y="224660"/>
                  </a:lnTo>
                  <a:lnTo>
                    <a:pt x="295931" y="221368"/>
                  </a:lnTo>
                  <a:lnTo>
                    <a:pt x="270638" y="229597"/>
                  </a:lnTo>
                  <a:lnTo>
                    <a:pt x="263893" y="229597"/>
                  </a:lnTo>
                  <a:lnTo>
                    <a:pt x="263893" y="232889"/>
                  </a:lnTo>
                  <a:lnTo>
                    <a:pt x="253775" y="231243"/>
                  </a:lnTo>
                  <a:lnTo>
                    <a:pt x="247030" y="226306"/>
                  </a:lnTo>
                  <a:lnTo>
                    <a:pt x="241972" y="231243"/>
                  </a:lnTo>
                  <a:lnTo>
                    <a:pt x="231855" y="231243"/>
                  </a:lnTo>
                  <a:lnTo>
                    <a:pt x="225110" y="231243"/>
                  </a:lnTo>
                  <a:lnTo>
                    <a:pt x="223423" y="227951"/>
                  </a:lnTo>
                  <a:lnTo>
                    <a:pt x="213306" y="229597"/>
                  </a:lnTo>
                  <a:lnTo>
                    <a:pt x="198130" y="224660"/>
                  </a:lnTo>
                  <a:lnTo>
                    <a:pt x="189699" y="227951"/>
                  </a:lnTo>
                  <a:lnTo>
                    <a:pt x="177895" y="221368"/>
                  </a:lnTo>
                  <a:lnTo>
                    <a:pt x="181268" y="232889"/>
                  </a:lnTo>
                  <a:lnTo>
                    <a:pt x="157661" y="226306"/>
                  </a:lnTo>
                  <a:lnTo>
                    <a:pt x="139112" y="227951"/>
                  </a:lnTo>
                  <a:lnTo>
                    <a:pt x="128995" y="216430"/>
                  </a:lnTo>
                  <a:lnTo>
                    <a:pt x="122250" y="216430"/>
                  </a:lnTo>
                  <a:lnTo>
                    <a:pt x="103701" y="223014"/>
                  </a:lnTo>
                  <a:lnTo>
                    <a:pt x="98643" y="229597"/>
                  </a:lnTo>
                  <a:lnTo>
                    <a:pt x="107074" y="231243"/>
                  </a:lnTo>
                  <a:lnTo>
                    <a:pt x="107074" y="234535"/>
                  </a:lnTo>
                  <a:lnTo>
                    <a:pt x="98643" y="231243"/>
                  </a:lnTo>
                  <a:lnTo>
                    <a:pt x="103701" y="242764"/>
                  </a:lnTo>
                  <a:lnTo>
                    <a:pt x="107074" y="247702"/>
                  </a:lnTo>
                  <a:lnTo>
                    <a:pt x="107074" y="252639"/>
                  </a:lnTo>
                  <a:lnTo>
                    <a:pt x="100329" y="255931"/>
                  </a:lnTo>
                  <a:lnTo>
                    <a:pt x="98643" y="254285"/>
                  </a:lnTo>
                  <a:lnTo>
                    <a:pt x="100329" y="244410"/>
                  </a:lnTo>
                  <a:lnTo>
                    <a:pt x="96957" y="237827"/>
                  </a:lnTo>
                  <a:lnTo>
                    <a:pt x="75036" y="231243"/>
                  </a:lnTo>
                  <a:lnTo>
                    <a:pt x="66604" y="218076"/>
                  </a:lnTo>
                  <a:lnTo>
                    <a:pt x="66604" y="204909"/>
                  </a:lnTo>
                  <a:lnTo>
                    <a:pt x="85153" y="191742"/>
                  </a:lnTo>
                  <a:lnTo>
                    <a:pt x="85153" y="185159"/>
                  </a:lnTo>
                  <a:lnTo>
                    <a:pt x="78408" y="181867"/>
                  </a:lnTo>
                  <a:lnTo>
                    <a:pt x="68291" y="186805"/>
                  </a:lnTo>
                  <a:lnTo>
                    <a:pt x="56487" y="178575"/>
                  </a:lnTo>
                  <a:lnTo>
                    <a:pt x="39625" y="173638"/>
                  </a:lnTo>
                  <a:lnTo>
                    <a:pt x="41311" y="162117"/>
                  </a:lnTo>
                  <a:lnTo>
                    <a:pt x="48056" y="152242"/>
                  </a:lnTo>
                  <a:lnTo>
                    <a:pt x="39625" y="145658"/>
                  </a:lnTo>
                  <a:lnTo>
                    <a:pt x="34566" y="125908"/>
                  </a:lnTo>
                  <a:lnTo>
                    <a:pt x="21076" y="111095"/>
                  </a:lnTo>
                  <a:lnTo>
                    <a:pt x="19390" y="86407"/>
                  </a:lnTo>
                  <a:lnTo>
                    <a:pt x="10959" y="76532"/>
                  </a:lnTo>
                  <a:lnTo>
                    <a:pt x="9273" y="65011"/>
                  </a:lnTo>
                  <a:lnTo>
                    <a:pt x="4214" y="55136"/>
                  </a:lnTo>
                  <a:lnTo>
                    <a:pt x="17704" y="63365"/>
                  </a:lnTo>
                  <a:lnTo>
                    <a:pt x="107074" y="35385"/>
                  </a:lnTo>
                  <a:lnTo>
                    <a:pt x="125622" y="35385"/>
                  </a:lnTo>
                  <a:lnTo>
                    <a:pt x="125622" y="20573"/>
                  </a:lnTo>
                  <a:lnTo>
                    <a:pt x="152602" y="17281"/>
                  </a:lnTo>
                  <a:lnTo>
                    <a:pt x="157661" y="13989"/>
                  </a:lnTo>
                  <a:lnTo>
                    <a:pt x="157661" y="7405"/>
                  </a:lnTo>
                  <a:lnTo>
                    <a:pt x="162719" y="4114"/>
                  </a:lnTo>
                  <a:lnTo>
                    <a:pt x="206561"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5" name="Schagen">
              <a:extLst>
                <a:ext uri="{FF2B5EF4-FFF2-40B4-BE49-F238E27FC236}">
                  <a16:creationId xmlns:a16="http://schemas.microsoft.com/office/drawing/2014/main" id="{935DDF1C-5A61-4F45-A5CE-7AC45FAA6F3C}"/>
                </a:ext>
              </a:extLst>
            </p:cNvPr>
            <p:cNvSpPr/>
            <p:nvPr/>
          </p:nvSpPr>
          <p:spPr>
            <a:xfrm>
              <a:off x="5465765" y="2260072"/>
              <a:ext cx="202151" cy="305347"/>
            </a:xfrm>
            <a:custGeom>
              <a:avLst/>
              <a:gdLst/>
              <a:ahLst/>
              <a:cxnLst/>
              <a:rect l="l" t="t" r="r" b="b"/>
              <a:pathLst>
                <a:path w="304412" h="468630" extrusionOk="0">
                  <a:moveTo>
                    <a:pt x="108760" y="4114"/>
                  </a:moveTo>
                  <a:lnTo>
                    <a:pt x="191385" y="15635"/>
                  </a:lnTo>
                  <a:lnTo>
                    <a:pt x="172837" y="88053"/>
                  </a:lnTo>
                  <a:lnTo>
                    <a:pt x="208247" y="81470"/>
                  </a:lnTo>
                  <a:lnTo>
                    <a:pt x="226796" y="91345"/>
                  </a:lnTo>
                  <a:lnTo>
                    <a:pt x="248717" y="117679"/>
                  </a:lnTo>
                  <a:lnTo>
                    <a:pt x="285814" y="188451"/>
                  </a:lnTo>
                  <a:lnTo>
                    <a:pt x="282441" y="206555"/>
                  </a:lnTo>
                  <a:lnTo>
                    <a:pt x="280755" y="246056"/>
                  </a:lnTo>
                  <a:lnTo>
                    <a:pt x="274010" y="246056"/>
                  </a:lnTo>
                  <a:lnTo>
                    <a:pt x="277383" y="265806"/>
                  </a:lnTo>
                  <a:lnTo>
                    <a:pt x="263893" y="269098"/>
                  </a:lnTo>
                  <a:lnTo>
                    <a:pt x="263893" y="280619"/>
                  </a:lnTo>
                  <a:lnTo>
                    <a:pt x="257148" y="278973"/>
                  </a:lnTo>
                  <a:lnTo>
                    <a:pt x="253775" y="275681"/>
                  </a:lnTo>
                  <a:lnTo>
                    <a:pt x="243658" y="278973"/>
                  </a:lnTo>
                  <a:lnTo>
                    <a:pt x="247031" y="290494"/>
                  </a:lnTo>
                  <a:lnTo>
                    <a:pt x="279069" y="336578"/>
                  </a:lnTo>
                  <a:lnTo>
                    <a:pt x="292559" y="364558"/>
                  </a:lnTo>
                  <a:lnTo>
                    <a:pt x="299303" y="369496"/>
                  </a:lnTo>
                  <a:lnTo>
                    <a:pt x="307735" y="387600"/>
                  </a:lnTo>
                  <a:lnTo>
                    <a:pt x="304362" y="399121"/>
                  </a:lnTo>
                  <a:lnTo>
                    <a:pt x="240286" y="413934"/>
                  </a:lnTo>
                  <a:lnTo>
                    <a:pt x="238599" y="410642"/>
                  </a:lnTo>
                  <a:lnTo>
                    <a:pt x="235227" y="408996"/>
                  </a:lnTo>
                  <a:lnTo>
                    <a:pt x="228482" y="400767"/>
                  </a:lnTo>
                  <a:lnTo>
                    <a:pt x="228482" y="397475"/>
                  </a:lnTo>
                  <a:lnTo>
                    <a:pt x="223423" y="399121"/>
                  </a:lnTo>
                  <a:lnTo>
                    <a:pt x="211620" y="397475"/>
                  </a:lnTo>
                  <a:lnTo>
                    <a:pt x="209934" y="394184"/>
                  </a:lnTo>
                  <a:lnTo>
                    <a:pt x="211620" y="381017"/>
                  </a:lnTo>
                  <a:lnTo>
                    <a:pt x="199816" y="371141"/>
                  </a:lnTo>
                  <a:lnTo>
                    <a:pt x="191385" y="400767"/>
                  </a:lnTo>
                  <a:lnTo>
                    <a:pt x="186326" y="450143"/>
                  </a:lnTo>
                  <a:lnTo>
                    <a:pt x="161033" y="453435"/>
                  </a:lnTo>
                  <a:lnTo>
                    <a:pt x="123936" y="468247"/>
                  </a:lnTo>
                  <a:lnTo>
                    <a:pt x="110446" y="451789"/>
                  </a:lnTo>
                  <a:lnTo>
                    <a:pt x="105388" y="420517"/>
                  </a:lnTo>
                  <a:lnTo>
                    <a:pt x="71663" y="371141"/>
                  </a:lnTo>
                  <a:lnTo>
                    <a:pt x="66604" y="366204"/>
                  </a:lnTo>
                  <a:lnTo>
                    <a:pt x="58173" y="366204"/>
                  </a:lnTo>
                  <a:lnTo>
                    <a:pt x="51428" y="351391"/>
                  </a:lnTo>
                  <a:lnTo>
                    <a:pt x="36252" y="346454"/>
                  </a:lnTo>
                  <a:lnTo>
                    <a:pt x="27821" y="333287"/>
                  </a:lnTo>
                  <a:lnTo>
                    <a:pt x="21076" y="331641"/>
                  </a:lnTo>
                  <a:lnTo>
                    <a:pt x="21076" y="326703"/>
                  </a:lnTo>
                  <a:lnTo>
                    <a:pt x="9273" y="310245"/>
                  </a:lnTo>
                  <a:lnTo>
                    <a:pt x="4214" y="310245"/>
                  </a:lnTo>
                  <a:lnTo>
                    <a:pt x="10959" y="287203"/>
                  </a:lnTo>
                  <a:lnTo>
                    <a:pt x="14332" y="283911"/>
                  </a:lnTo>
                  <a:lnTo>
                    <a:pt x="12645" y="282265"/>
                  </a:lnTo>
                  <a:lnTo>
                    <a:pt x="14332" y="283911"/>
                  </a:lnTo>
                  <a:lnTo>
                    <a:pt x="14332" y="280619"/>
                  </a:lnTo>
                  <a:lnTo>
                    <a:pt x="16018" y="278973"/>
                  </a:lnTo>
                  <a:lnTo>
                    <a:pt x="14332" y="278973"/>
                  </a:lnTo>
                  <a:lnTo>
                    <a:pt x="16018" y="278973"/>
                  </a:lnTo>
                  <a:lnTo>
                    <a:pt x="16018" y="275681"/>
                  </a:lnTo>
                  <a:lnTo>
                    <a:pt x="17704" y="277327"/>
                  </a:lnTo>
                  <a:lnTo>
                    <a:pt x="17704" y="274036"/>
                  </a:lnTo>
                  <a:lnTo>
                    <a:pt x="21076" y="272390"/>
                  </a:lnTo>
                  <a:lnTo>
                    <a:pt x="19390" y="270744"/>
                  </a:lnTo>
                  <a:lnTo>
                    <a:pt x="21076" y="272390"/>
                  </a:lnTo>
                  <a:lnTo>
                    <a:pt x="19390" y="269098"/>
                  </a:lnTo>
                  <a:lnTo>
                    <a:pt x="24449" y="265806"/>
                  </a:lnTo>
                  <a:lnTo>
                    <a:pt x="22763" y="264160"/>
                  </a:lnTo>
                  <a:lnTo>
                    <a:pt x="26135" y="262515"/>
                  </a:lnTo>
                  <a:lnTo>
                    <a:pt x="24449" y="259223"/>
                  </a:lnTo>
                  <a:lnTo>
                    <a:pt x="26135" y="259223"/>
                  </a:lnTo>
                  <a:lnTo>
                    <a:pt x="29508" y="254285"/>
                  </a:lnTo>
                  <a:lnTo>
                    <a:pt x="26135" y="254285"/>
                  </a:lnTo>
                  <a:lnTo>
                    <a:pt x="29508" y="254285"/>
                  </a:lnTo>
                  <a:lnTo>
                    <a:pt x="31194" y="249348"/>
                  </a:lnTo>
                  <a:lnTo>
                    <a:pt x="27821" y="247702"/>
                  </a:lnTo>
                  <a:lnTo>
                    <a:pt x="31194" y="247702"/>
                  </a:lnTo>
                  <a:lnTo>
                    <a:pt x="32880" y="246056"/>
                  </a:lnTo>
                  <a:lnTo>
                    <a:pt x="32880" y="242764"/>
                  </a:lnTo>
                  <a:lnTo>
                    <a:pt x="29508" y="241118"/>
                  </a:lnTo>
                  <a:lnTo>
                    <a:pt x="32880" y="241118"/>
                  </a:lnTo>
                  <a:lnTo>
                    <a:pt x="37939" y="229597"/>
                  </a:lnTo>
                  <a:lnTo>
                    <a:pt x="34566" y="227951"/>
                  </a:lnTo>
                  <a:lnTo>
                    <a:pt x="37939" y="227951"/>
                  </a:lnTo>
                  <a:lnTo>
                    <a:pt x="42997" y="214784"/>
                  </a:lnTo>
                  <a:lnTo>
                    <a:pt x="48056" y="198326"/>
                  </a:lnTo>
                  <a:lnTo>
                    <a:pt x="46370" y="196680"/>
                  </a:lnTo>
                  <a:lnTo>
                    <a:pt x="48056" y="196680"/>
                  </a:lnTo>
                  <a:lnTo>
                    <a:pt x="49742" y="193388"/>
                  </a:lnTo>
                  <a:lnTo>
                    <a:pt x="46370" y="191742"/>
                  </a:lnTo>
                  <a:lnTo>
                    <a:pt x="49742" y="193388"/>
                  </a:lnTo>
                  <a:lnTo>
                    <a:pt x="51428" y="190097"/>
                  </a:lnTo>
                  <a:lnTo>
                    <a:pt x="48056" y="186805"/>
                  </a:lnTo>
                  <a:lnTo>
                    <a:pt x="51428" y="188451"/>
                  </a:lnTo>
                  <a:lnTo>
                    <a:pt x="53115" y="185159"/>
                  </a:lnTo>
                  <a:lnTo>
                    <a:pt x="49742" y="183513"/>
                  </a:lnTo>
                  <a:lnTo>
                    <a:pt x="53115" y="183513"/>
                  </a:lnTo>
                  <a:lnTo>
                    <a:pt x="53115" y="180221"/>
                  </a:lnTo>
                  <a:lnTo>
                    <a:pt x="51428" y="178576"/>
                  </a:lnTo>
                  <a:lnTo>
                    <a:pt x="54801" y="178576"/>
                  </a:lnTo>
                  <a:lnTo>
                    <a:pt x="53115" y="175284"/>
                  </a:lnTo>
                  <a:lnTo>
                    <a:pt x="54801" y="175284"/>
                  </a:lnTo>
                  <a:lnTo>
                    <a:pt x="56487" y="170346"/>
                  </a:lnTo>
                  <a:lnTo>
                    <a:pt x="53115" y="170346"/>
                  </a:lnTo>
                  <a:lnTo>
                    <a:pt x="56487" y="170346"/>
                  </a:lnTo>
                  <a:lnTo>
                    <a:pt x="54801" y="165409"/>
                  </a:lnTo>
                  <a:lnTo>
                    <a:pt x="56487" y="167054"/>
                  </a:lnTo>
                  <a:lnTo>
                    <a:pt x="58173" y="163763"/>
                  </a:lnTo>
                  <a:lnTo>
                    <a:pt x="54801" y="162117"/>
                  </a:lnTo>
                  <a:lnTo>
                    <a:pt x="58173" y="160471"/>
                  </a:lnTo>
                  <a:lnTo>
                    <a:pt x="58173" y="157179"/>
                  </a:lnTo>
                  <a:lnTo>
                    <a:pt x="56487" y="157179"/>
                  </a:lnTo>
                  <a:lnTo>
                    <a:pt x="58173" y="157179"/>
                  </a:lnTo>
                  <a:lnTo>
                    <a:pt x="61546" y="148950"/>
                  </a:lnTo>
                  <a:lnTo>
                    <a:pt x="58173" y="148950"/>
                  </a:lnTo>
                  <a:lnTo>
                    <a:pt x="61546" y="147304"/>
                  </a:lnTo>
                  <a:lnTo>
                    <a:pt x="59860" y="144012"/>
                  </a:lnTo>
                  <a:lnTo>
                    <a:pt x="63232" y="142367"/>
                  </a:lnTo>
                  <a:lnTo>
                    <a:pt x="61546" y="140721"/>
                  </a:lnTo>
                  <a:lnTo>
                    <a:pt x="63232" y="140721"/>
                  </a:lnTo>
                  <a:lnTo>
                    <a:pt x="64918" y="135783"/>
                  </a:lnTo>
                  <a:lnTo>
                    <a:pt x="61546" y="135783"/>
                  </a:lnTo>
                  <a:lnTo>
                    <a:pt x="64918" y="135783"/>
                  </a:lnTo>
                  <a:lnTo>
                    <a:pt x="64918" y="132491"/>
                  </a:lnTo>
                  <a:lnTo>
                    <a:pt x="63232" y="130845"/>
                  </a:lnTo>
                  <a:lnTo>
                    <a:pt x="66604" y="127554"/>
                  </a:lnTo>
                  <a:lnTo>
                    <a:pt x="64918" y="127554"/>
                  </a:lnTo>
                  <a:lnTo>
                    <a:pt x="66604" y="127554"/>
                  </a:lnTo>
                  <a:lnTo>
                    <a:pt x="68291" y="124262"/>
                  </a:lnTo>
                  <a:lnTo>
                    <a:pt x="64918" y="122616"/>
                  </a:lnTo>
                  <a:lnTo>
                    <a:pt x="68291" y="120970"/>
                  </a:lnTo>
                  <a:lnTo>
                    <a:pt x="66604" y="119324"/>
                  </a:lnTo>
                  <a:lnTo>
                    <a:pt x="69977" y="117679"/>
                  </a:lnTo>
                  <a:lnTo>
                    <a:pt x="68291" y="114387"/>
                  </a:lnTo>
                  <a:lnTo>
                    <a:pt x="71663" y="112741"/>
                  </a:lnTo>
                  <a:lnTo>
                    <a:pt x="71663" y="109449"/>
                  </a:lnTo>
                  <a:lnTo>
                    <a:pt x="69977" y="107803"/>
                  </a:lnTo>
                  <a:lnTo>
                    <a:pt x="71663" y="107803"/>
                  </a:lnTo>
                  <a:lnTo>
                    <a:pt x="73349" y="102866"/>
                  </a:lnTo>
                  <a:lnTo>
                    <a:pt x="71663" y="101220"/>
                  </a:lnTo>
                  <a:lnTo>
                    <a:pt x="73349" y="102866"/>
                  </a:lnTo>
                  <a:lnTo>
                    <a:pt x="75036" y="99574"/>
                  </a:lnTo>
                  <a:lnTo>
                    <a:pt x="73349" y="96282"/>
                  </a:lnTo>
                  <a:lnTo>
                    <a:pt x="75036" y="96282"/>
                  </a:lnTo>
                  <a:lnTo>
                    <a:pt x="76722" y="91345"/>
                  </a:lnTo>
                  <a:lnTo>
                    <a:pt x="75036" y="89699"/>
                  </a:lnTo>
                  <a:lnTo>
                    <a:pt x="76722" y="89699"/>
                  </a:lnTo>
                  <a:lnTo>
                    <a:pt x="78408" y="83115"/>
                  </a:lnTo>
                  <a:lnTo>
                    <a:pt x="76722" y="83115"/>
                  </a:lnTo>
                  <a:lnTo>
                    <a:pt x="78408" y="83115"/>
                  </a:lnTo>
                  <a:lnTo>
                    <a:pt x="80094" y="78178"/>
                  </a:lnTo>
                  <a:lnTo>
                    <a:pt x="78408" y="76532"/>
                  </a:lnTo>
                  <a:lnTo>
                    <a:pt x="80094" y="76532"/>
                  </a:lnTo>
                  <a:lnTo>
                    <a:pt x="81781" y="74886"/>
                  </a:lnTo>
                  <a:lnTo>
                    <a:pt x="83467" y="71594"/>
                  </a:lnTo>
                  <a:lnTo>
                    <a:pt x="80094" y="69949"/>
                  </a:lnTo>
                  <a:lnTo>
                    <a:pt x="83467" y="71594"/>
                  </a:lnTo>
                  <a:lnTo>
                    <a:pt x="83467" y="65011"/>
                  </a:lnTo>
                  <a:lnTo>
                    <a:pt x="81781" y="63365"/>
                  </a:lnTo>
                  <a:lnTo>
                    <a:pt x="83467" y="65011"/>
                  </a:lnTo>
                  <a:lnTo>
                    <a:pt x="85153" y="58427"/>
                  </a:lnTo>
                  <a:lnTo>
                    <a:pt x="83467" y="56782"/>
                  </a:lnTo>
                  <a:lnTo>
                    <a:pt x="85153" y="58427"/>
                  </a:lnTo>
                  <a:lnTo>
                    <a:pt x="88525" y="51844"/>
                  </a:lnTo>
                  <a:lnTo>
                    <a:pt x="85153" y="51844"/>
                  </a:lnTo>
                  <a:lnTo>
                    <a:pt x="88525" y="51844"/>
                  </a:lnTo>
                  <a:lnTo>
                    <a:pt x="90212" y="45261"/>
                  </a:lnTo>
                  <a:lnTo>
                    <a:pt x="86839" y="45261"/>
                  </a:lnTo>
                  <a:lnTo>
                    <a:pt x="90212" y="45261"/>
                  </a:lnTo>
                  <a:lnTo>
                    <a:pt x="93584" y="35385"/>
                  </a:lnTo>
                  <a:lnTo>
                    <a:pt x="93584" y="32094"/>
                  </a:lnTo>
                  <a:lnTo>
                    <a:pt x="90212" y="32094"/>
                  </a:lnTo>
                  <a:lnTo>
                    <a:pt x="93584" y="32094"/>
                  </a:lnTo>
                  <a:lnTo>
                    <a:pt x="95270" y="23864"/>
                  </a:lnTo>
                  <a:lnTo>
                    <a:pt x="91898" y="23864"/>
                  </a:lnTo>
                  <a:lnTo>
                    <a:pt x="95270" y="23864"/>
                  </a:lnTo>
                  <a:lnTo>
                    <a:pt x="95270" y="20573"/>
                  </a:lnTo>
                  <a:lnTo>
                    <a:pt x="93584" y="18927"/>
                  </a:lnTo>
                  <a:lnTo>
                    <a:pt x="95270" y="20573"/>
                  </a:lnTo>
                  <a:lnTo>
                    <a:pt x="96957" y="17281"/>
                  </a:lnTo>
                  <a:lnTo>
                    <a:pt x="93584" y="15635"/>
                  </a:lnTo>
                  <a:lnTo>
                    <a:pt x="96957" y="15635"/>
                  </a:lnTo>
                  <a:lnTo>
                    <a:pt x="98643" y="12343"/>
                  </a:lnTo>
                  <a:lnTo>
                    <a:pt x="100329" y="4114"/>
                  </a:lnTo>
                  <a:lnTo>
                    <a:pt x="10876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6" name="Venlo">
              <a:extLst>
                <a:ext uri="{FF2B5EF4-FFF2-40B4-BE49-F238E27FC236}">
                  <a16:creationId xmlns:a16="http://schemas.microsoft.com/office/drawing/2014/main" id="{1E1F5F1D-733B-4976-864E-B4DE7C7BFDC2}"/>
                </a:ext>
              </a:extLst>
            </p:cNvPr>
            <p:cNvSpPr/>
            <p:nvPr/>
          </p:nvSpPr>
          <p:spPr>
            <a:xfrm>
              <a:off x="6957110" y="4467751"/>
              <a:ext cx="171701" cy="366902"/>
            </a:xfrm>
            <a:custGeom>
              <a:avLst/>
              <a:gdLst/>
              <a:ahLst/>
              <a:cxnLst/>
              <a:rect l="l" t="t" r="r" b="b"/>
              <a:pathLst>
                <a:path w="245871" h="560070" extrusionOk="0">
                  <a:moveTo>
                    <a:pt x="220051" y="12343"/>
                  </a:moveTo>
                  <a:lnTo>
                    <a:pt x="218365" y="45260"/>
                  </a:lnTo>
                  <a:lnTo>
                    <a:pt x="228482" y="60073"/>
                  </a:lnTo>
                  <a:lnTo>
                    <a:pt x="235227" y="83115"/>
                  </a:lnTo>
                  <a:lnTo>
                    <a:pt x="236913" y="99574"/>
                  </a:lnTo>
                  <a:lnTo>
                    <a:pt x="231855" y="130845"/>
                  </a:lnTo>
                  <a:lnTo>
                    <a:pt x="231855" y="152242"/>
                  </a:lnTo>
                  <a:lnTo>
                    <a:pt x="221737" y="153888"/>
                  </a:lnTo>
                  <a:lnTo>
                    <a:pt x="223423" y="183513"/>
                  </a:lnTo>
                  <a:lnTo>
                    <a:pt x="209934" y="265806"/>
                  </a:lnTo>
                  <a:lnTo>
                    <a:pt x="220051" y="262514"/>
                  </a:lnTo>
                  <a:lnTo>
                    <a:pt x="243658" y="264160"/>
                  </a:lnTo>
                  <a:lnTo>
                    <a:pt x="225109" y="290494"/>
                  </a:lnTo>
                  <a:lnTo>
                    <a:pt x="226796" y="292140"/>
                  </a:lnTo>
                  <a:lnTo>
                    <a:pt x="225109" y="295432"/>
                  </a:lnTo>
                  <a:lnTo>
                    <a:pt x="243658" y="361266"/>
                  </a:lnTo>
                  <a:lnTo>
                    <a:pt x="188013" y="412288"/>
                  </a:lnTo>
                  <a:lnTo>
                    <a:pt x="194757" y="422163"/>
                  </a:lnTo>
                  <a:lnTo>
                    <a:pt x="154288" y="427101"/>
                  </a:lnTo>
                  <a:lnTo>
                    <a:pt x="155974" y="436976"/>
                  </a:lnTo>
                  <a:lnTo>
                    <a:pt x="147543" y="445205"/>
                  </a:lnTo>
                  <a:lnTo>
                    <a:pt x="140798" y="460018"/>
                  </a:lnTo>
                  <a:lnTo>
                    <a:pt x="140798" y="469893"/>
                  </a:lnTo>
                  <a:lnTo>
                    <a:pt x="134053" y="481414"/>
                  </a:lnTo>
                  <a:lnTo>
                    <a:pt x="132367" y="489643"/>
                  </a:lnTo>
                  <a:lnTo>
                    <a:pt x="118877" y="512686"/>
                  </a:lnTo>
                  <a:lnTo>
                    <a:pt x="95270" y="542311"/>
                  </a:lnTo>
                  <a:lnTo>
                    <a:pt x="88525" y="563708"/>
                  </a:lnTo>
                  <a:lnTo>
                    <a:pt x="88525" y="557124"/>
                  </a:lnTo>
                  <a:lnTo>
                    <a:pt x="71663" y="534082"/>
                  </a:lnTo>
                  <a:lnTo>
                    <a:pt x="59859" y="529144"/>
                  </a:lnTo>
                  <a:lnTo>
                    <a:pt x="54801" y="535728"/>
                  </a:lnTo>
                  <a:lnTo>
                    <a:pt x="39625" y="519269"/>
                  </a:lnTo>
                  <a:lnTo>
                    <a:pt x="34566" y="520915"/>
                  </a:lnTo>
                  <a:lnTo>
                    <a:pt x="29507" y="520915"/>
                  </a:lnTo>
                  <a:lnTo>
                    <a:pt x="26135" y="514332"/>
                  </a:lnTo>
                  <a:lnTo>
                    <a:pt x="53115" y="487998"/>
                  </a:lnTo>
                  <a:lnTo>
                    <a:pt x="73349" y="455080"/>
                  </a:lnTo>
                  <a:lnTo>
                    <a:pt x="76722" y="436976"/>
                  </a:lnTo>
                  <a:lnTo>
                    <a:pt x="75036" y="413934"/>
                  </a:lnTo>
                  <a:lnTo>
                    <a:pt x="85153" y="404059"/>
                  </a:lnTo>
                  <a:lnTo>
                    <a:pt x="59859" y="372787"/>
                  </a:lnTo>
                  <a:lnTo>
                    <a:pt x="48056" y="371141"/>
                  </a:lnTo>
                  <a:lnTo>
                    <a:pt x="34566" y="334932"/>
                  </a:lnTo>
                  <a:lnTo>
                    <a:pt x="27821" y="338224"/>
                  </a:lnTo>
                  <a:lnTo>
                    <a:pt x="26135" y="333286"/>
                  </a:lnTo>
                  <a:lnTo>
                    <a:pt x="12645" y="320120"/>
                  </a:lnTo>
                  <a:lnTo>
                    <a:pt x="32880" y="300369"/>
                  </a:lnTo>
                  <a:lnTo>
                    <a:pt x="32880" y="293786"/>
                  </a:lnTo>
                  <a:lnTo>
                    <a:pt x="26135" y="290494"/>
                  </a:lnTo>
                  <a:lnTo>
                    <a:pt x="22763" y="285557"/>
                  </a:lnTo>
                  <a:lnTo>
                    <a:pt x="19390" y="285557"/>
                  </a:lnTo>
                  <a:lnTo>
                    <a:pt x="12645" y="280619"/>
                  </a:lnTo>
                  <a:lnTo>
                    <a:pt x="7586" y="282265"/>
                  </a:lnTo>
                  <a:lnTo>
                    <a:pt x="4214" y="272390"/>
                  </a:lnTo>
                  <a:lnTo>
                    <a:pt x="5900" y="252639"/>
                  </a:lnTo>
                  <a:lnTo>
                    <a:pt x="10959" y="244410"/>
                  </a:lnTo>
                  <a:lnTo>
                    <a:pt x="12645" y="218076"/>
                  </a:lnTo>
                  <a:lnTo>
                    <a:pt x="49742" y="219722"/>
                  </a:lnTo>
                  <a:lnTo>
                    <a:pt x="58173" y="218076"/>
                  </a:lnTo>
                  <a:lnTo>
                    <a:pt x="59859" y="219722"/>
                  </a:lnTo>
                  <a:lnTo>
                    <a:pt x="61546" y="218076"/>
                  </a:lnTo>
                  <a:lnTo>
                    <a:pt x="71663" y="214785"/>
                  </a:lnTo>
                  <a:lnTo>
                    <a:pt x="85153" y="231243"/>
                  </a:lnTo>
                  <a:lnTo>
                    <a:pt x="90211" y="231243"/>
                  </a:lnTo>
                  <a:lnTo>
                    <a:pt x="90211" y="232889"/>
                  </a:lnTo>
                  <a:lnTo>
                    <a:pt x="95270" y="231243"/>
                  </a:lnTo>
                  <a:lnTo>
                    <a:pt x="96957" y="232889"/>
                  </a:lnTo>
                  <a:lnTo>
                    <a:pt x="102015" y="227951"/>
                  </a:lnTo>
                  <a:lnTo>
                    <a:pt x="110446" y="278973"/>
                  </a:lnTo>
                  <a:lnTo>
                    <a:pt x="128995" y="275682"/>
                  </a:lnTo>
                  <a:lnTo>
                    <a:pt x="122250" y="244410"/>
                  </a:lnTo>
                  <a:lnTo>
                    <a:pt x="125622" y="231243"/>
                  </a:lnTo>
                  <a:lnTo>
                    <a:pt x="134053" y="219722"/>
                  </a:lnTo>
                  <a:lnTo>
                    <a:pt x="137426" y="211493"/>
                  </a:lnTo>
                  <a:lnTo>
                    <a:pt x="128995" y="178575"/>
                  </a:lnTo>
                  <a:lnTo>
                    <a:pt x="130681" y="167054"/>
                  </a:lnTo>
                  <a:lnTo>
                    <a:pt x="134053" y="155533"/>
                  </a:lnTo>
                  <a:lnTo>
                    <a:pt x="162719" y="119324"/>
                  </a:lnTo>
                  <a:lnTo>
                    <a:pt x="166092" y="106157"/>
                  </a:lnTo>
                  <a:lnTo>
                    <a:pt x="164405" y="88053"/>
                  </a:lnTo>
                  <a:lnTo>
                    <a:pt x="147543" y="56782"/>
                  </a:lnTo>
                  <a:lnTo>
                    <a:pt x="150916" y="17281"/>
                  </a:lnTo>
                  <a:lnTo>
                    <a:pt x="181268" y="12343"/>
                  </a:lnTo>
                  <a:lnTo>
                    <a:pt x="204875" y="13989"/>
                  </a:lnTo>
                  <a:lnTo>
                    <a:pt x="220051" y="4114"/>
                  </a:lnTo>
                  <a:lnTo>
                    <a:pt x="220051"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7" name="Ridderkerk">
              <a:extLst>
                <a:ext uri="{FF2B5EF4-FFF2-40B4-BE49-F238E27FC236}">
                  <a16:creationId xmlns:a16="http://schemas.microsoft.com/office/drawing/2014/main" id="{8B206105-451D-4726-BCB3-AFBDEE872E5D}"/>
                </a:ext>
              </a:extLst>
            </p:cNvPr>
            <p:cNvSpPr/>
            <p:nvPr/>
          </p:nvSpPr>
          <p:spPr>
            <a:xfrm>
              <a:off x="5341682" y="3833109"/>
              <a:ext cx="106760" cy="106919"/>
            </a:xfrm>
            <a:custGeom>
              <a:avLst/>
              <a:gdLst/>
              <a:ahLst/>
              <a:cxnLst/>
              <a:rect l="l" t="t" r="r" b="b"/>
              <a:pathLst>
                <a:path w="152206" h="160020" extrusionOk="0">
                  <a:moveTo>
                    <a:pt x="123936" y="63365"/>
                  </a:moveTo>
                  <a:lnTo>
                    <a:pt x="142485" y="102866"/>
                  </a:lnTo>
                  <a:lnTo>
                    <a:pt x="152602" y="116033"/>
                  </a:lnTo>
                  <a:lnTo>
                    <a:pt x="135740" y="134137"/>
                  </a:lnTo>
                  <a:lnTo>
                    <a:pt x="132367" y="132492"/>
                  </a:lnTo>
                  <a:lnTo>
                    <a:pt x="122250" y="120971"/>
                  </a:lnTo>
                  <a:lnTo>
                    <a:pt x="108760" y="129200"/>
                  </a:lnTo>
                  <a:lnTo>
                    <a:pt x="88525" y="135783"/>
                  </a:lnTo>
                  <a:lnTo>
                    <a:pt x="80094" y="158825"/>
                  </a:lnTo>
                  <a:lnTo>
                    <a:pt x="36252" y="139075"/>
                  </a:lnTo>
                  <a:lnTo>
                    <a:pt x="34566" y="125908"/>
                  </a:lnTo>
                  <a:lnTo>
                    <a:pt x="27821" y="125908"/>
                  </a:lnTo>
                  <a:lnTo>
                    <a:pt x="26135" y="122616"/>
                  </a:lnTo>
                  <a:lnTo>
                    <a:pt x="4214" y="73240"/>
                  </a:lnTo>
                  <a:lnTo>
                    <a:pt x="22763" y="63365"/>
                  </a:lnTo>
                  <a:lnTo>
                    <a:pt x="34566" y="63365"/>
                  </a:lnTo>
                  <a:lnTo>
                    <a:pt x="46370" y="4114"/>
                  </a:lnTo>
                  <a:lnTo>
                    <a:pt x="56487" y="9052"/>
                  </a:lnTo>
                  <a:lnTo>
                    <a:pt x="71663" y="23864"/>
                  </a:lnTo>
                  <a:lnTo>
                    <a:pt x="112133" y="37031"/>
                  </a:lnTo>
                  <a:lnTo>
                    <a:pt x="123936" y="6336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8" name="Sint-Michielsgestel">
              <a:extLst>
                <a:ext uri="{FF2B5EF4-FFF2-40B4-BE49-F238E27FC236}">
                  <a16:creationId xmlns:a16="http://schemas.microsoft.com/office/drawing/2014/main" id="{4BF73CC9-7B88-45FF-946A-0E176A296581}"/>
                </a:ext>
              </a:extLst>
            </p:cNvPr>
            <p:cNvSpPr/>
            <p:nvPr/>
          </p:nvSpPr>
          <p:spPr>
            <a:xfrm>
              <a:off x="6136816" y="4154241"/>
              <a:ext cx="161801" cy="175026"/>
            </a:xfrm>
            <a:custGeom>
              <a:avLst/>
              <a:gdLst/>
              <a:ahLst/>
              <a:cxnLst/>
              <a:rect l="l" t="t" r="r" b="b"/>
              <a:pathLst>
                <a:path w="234163" h="251460" extrusionOk="0">
                  <a:moveTo>
                    <a:pt x="213306" y="10698"/>
                  </a:moveTo>
                  <a:lnTo>
                    <a:pt x="220051" y="12343"/>
                  </a:lnTo>
                  <a:lnTo>
                    <a:pt x="216678" y="20573"/>
                  </a:lnTo>
                  <a:lnTo>
                    <a:pt x="225110" y="18927"/>
                  </a:lnTo>
                  <a:lnTo>
                    <a:pt x="221737" y="35385"/>
                  </a:lnTo>
                  <a:lnTo>
                    <a:pt x="231855" y="38677"/>
                  </a:lnTo>
                  <a:lnTo>
                    <a:pt x="233541" y="35385"/>
                  </a:lnTo>
                  <a:lnTo>
                    <a:pt x="240286" y="37031"/>
                  </a:lnTo>
                  <a:lnTo>
                    <a:pt x="221737" y="92991"/>
                  </a:lnTo>
                  <a:lnTo>
                    <a:pt x="203189" y="92991"/>
                  </a:lnTo>
                  <a:lnTo>
                    <a:pt x="194758" y="114387"/>
                  </a:lnTo>
                  <a:lnTo>
                    <a:pt x="186326" y="119324"/>
                  </a:lnTo>
                  <a:lnTo>
                    <a:pt x="174523" y="114387"/>
                  </a:lnTo>
                  <a:lnTo>
                    <a:pt x="176209" y="117679"/>
                  </a:lnTo>
                  <a:lnTo>
                    <a:pt x="169464" y="117679"/>
                  </a:lnTo>
                  <a:lnTo>
                    <a:pt x="172837" y="119324"/>
                  </a:lnTo>
                  <a:lnTo>
                    <a:pt x="169464" y="120970"/>
                  </a:lnTo>
                  <a:lnTo>
                    <a:pt x="171151" y="127554"/>
                  </a:lnTo>
                  <a:lnTo>
                    <a:pt x="161033" y="127554"/>
                  </a:lnTo>
                  <a:lnTo>
                    <a:pt x="161033" y="132491"/>
                  </a:lnTo>
                  <a:lnTo>
                    <a:pt x="155974" y="132491"/>
                  </a:lnTo>
                  <a:lnTo>
                    <a:pt x="147543" y="139075"/>
                  </a:lnTo>
                  <a:lnTo>
                    <a:pt x="145857" y="137429"/>
                  </a:lnTo>
                  <a:lnTo>
                    <a:pt x="123936" y="137429"/>
                  </a:lnTo>
                  <a:lnTo>
                    <a:pt x="120564" y="134137"/>
                  </a:lnTo>
                  <a:lnTo>
                    <a:pt x="118878" y="135783"/>
                  </a:lnTo>
                  <a:lnTo>
                    <a:pt x="122250" y="137429"/>
                  </a:lnTo>
                  <a:lnTo>
                    <a:pt x="120564" y="142367"/>
                  </a:lnTo>
                  <a:lnTo>
                    <a:pt x="117191" y="144012"/>
                  </a:lnTo>
                  <a:lnTo>
                    <a:pt x="115505" y="140721"/>
                  </a:lnTo>
                  <a:lnTo>
                    <a:pt x="115505" y="144012"/>
                  </a:lnTo>
                  <a:lnTo>
                    <a:pt x="108760" y="147304"/>
                  </a:lnTo>
                  <a:lnTo>
                    <a:pt x="113819" y="152242"/>
                  </a:lnTo>
                  <a:lnTo>
                    <a:pt x="127309" y="155534"/>
                  </a:lnTo>
                  <a:lnTo>
                    <a:pt x="108760" y="158825"/>
                  </a:lnTo>
                  <a:lnTo>
                    <a:pt x="108760" y="168700"/>
                  </a:lnTo>
                  <a:lnTo>
                    <a:pt x="113819" y="167054"/>
                  </a:lnTo>
                  <a:lnTo>
                    <a:pt x="127309" y="171992"/>
                  </a:lnTo>
                  <a:lnTo>
                    <a:pt x="127309" y="181867"/>
                  </a:lnTo>
                  <a:lnTo>
                    <a:pt x="134053" y="186805"/>
                  </a:lnTo>
                  <a:lnTo>
                    <a:pt x="128995" y="186805"/>
                  </a:lnTo>
                  <a:lnTo>
                    <a:pt x="127309" y="190096"/>
                  </a:lnTo>
                  <a:lnTo>
                    <a:pt x="130681" y="191742"/>
                  </a:lnTo>
                  <a:lnTo>
                    <a:pt x="128995" y="191742"/>
                  </a:lnTo>
                  <a:lnTo>
                    <a:pt x="130681" y="198326"/>
                  </a:lnTo>
                  <a:lnTo>
                    <a:pt x="135740" y="196680"/>
                  </a:lnTo>
                  <a:lnTo>
                    <a:pt x="134053" y="204909"/>
                  </a:lnTo>
                  <a:lnTo>
                    <a:pt x="139112" y="208201"/>
                  </a:lnTo>
                  <a:lnTo>
                    <a:pt x="137426" y="213138"/>
                  </a:lnTo>
                  <a:lnTo>
                    <a:pt x="140799" y="218076"/>
                  </a:lnTo>
                  <a:lnTo>
                    <a:pt x="139112" y="219722"/>
                  </a:lnTo>
                  <a:lnTo>
                    <a:pt x="144171" y="234535"/>
                  </a:lnTo>
                  <a:lnTo>
                    <a:pt x="113819" y="244410"/>
                  </a:lnTo>
                  <a:lnTo>
                    <a:pt x="91898" y="244410"/>
                  </a:lnTo>
                  <a:lnTo>
                    <a:pt x="80094" y="246056"/>
                  </a:lnTo>
                  <a:lnTo>
                    <a:pt x="76722" y="239472"/>
                  </a:lnTo>
                  <a:lnTo>
                    <a:pt x="69977" y="241118"/>
                  </a:lnTo>
                  <a:lnTo>
                    <a:pt x="64918" y="247702"/>
                  </a:lnTo>
                  <a:lnTo>
                    <a:pt x="61546" y="237827"/>
                  </a:lnTo>
                  <a:lnTo>
                    <a:pt x="54801" y="241118"/>
                  </a:lnTo>
                  <a:lnTo>
                    <a:pt x="48056" y="229597"/>
                  </a:lnTo>
                  <a:lnTo>
                    <a:pt x="48056" y="227951"/>
                  </a:lnTo>
                  <a:lnTo>
                    <a:pt x="53115" y="227951"/>
                  </a:lnTo>
                  <a:lnTo>
                    <a:pt x="48056" y="223014"/>
                  </a:lnTo>
                  <a:lnTo>
                    <a:pt x="51428" y="216430"/>
                  </a:lnTo>
                  <a:lnTo>
                    <a:pt x="58173" y="214785"/>
                  </a:lnTo>
                  <a:lnTo>
                    <a:pt x="64918" y="208201"/>
                  </a:lnTo>
                  <a:lnTo>
                    <a:pt x="63232" y="199972"/>
                  </a:lnTo>
                  <a:lnTo>
                    <a:pt x="66605" y="193388"/>
                  </a:lnTo>
                  <a:lnTo>
                    <a:pt x="58173" y="195034"/>
                  </a:lnTo>
                  <a:lnTo>
                    <a:pt x="26135" y="165409"/>
                  </a:lnTo>
                  <a:lnTo>
                    <a:pt x="31194" y="158825"/>
                  </a:lnTo>
                  <a:lnTo>
                    <a:pt x="27821" y="147304"/>
                  </a:lnTo>
                  <a:lnTo>
                    <a:pt x="27821" y="127554"/>
                  </a:lnTo>
                  <a:lnTo>
                    <a:pt x="17704" y="117679"/>
                  </a:lnTo>
                  <a:lnTo>
                    <a:pt x="17704" y="107803"/>
                  </a:lnTo>
                  <a:lnTo>
                    <a:pt x="5900" y="97928"/>
                  </a:lnTo>
                  <a:lnTo>
                    <a:pt x="4214" y="89699"/>
                  </a:lnTo>
                  <a:lnTo>
                    <a:pt x="41311" y="71595"/>
                  </a:lnTo>
                  <a:lnTo>
                    <a:pt x="58173" y="94637"/>
                  </a:lnTo>
                  <a:lnTo>
                    <a:pt x="66605" y="86407"/>
                  </a:lnTo>
                  <a:lnTo>
                    <a:pt x="81781" y="76532"/>
                  </a:lnTo>
                  <a:lnTo>
                    <a:pt x="81781" y="71595"/>
                  </a:lnTo>
                  <a:lnTo>
                    <a:pt x="85153" y="69949"/>
                  </a:lnTo>
                  <a:lnTo>
                    <a:pt x="76722" y="61719"/>
                  </a:lnTo>
                  <a:lnTo>
                    <a:pt x="80094" y="51844"/>
                  </a:lnTo>
                  <a:lnTo>
                    <a:pt x="86839" y="53490"/>
                  </a:lnTo>
                  <a:lnTo>
                    <a:pt x="86839" y="50198"/>
                  </a:lnTo>
                  <a:lnTo>
                    <a:pt x="117191" y="58427"/>
                  </a:lnTo>
                  <a:lnTo>
                    <a:pt x="100329" y="35385"/>
                  </a:lnTo>
                  <a:lnTo>
                    <a:pt x="90212" y="10698"/>
                  </a:lnTo>
                  <a:lnTo>
                    <a:pt x="102015" y="13989"/>
                  </a:lnTo>
                  <a:lnTo>
                    <a:pt x="108760" y="12343"/>
                  </a:lnTo>
                  <a:lnTo>
                    <a:pt x="112133" y="7406"/>
                  </a:lnTo>
                  <a:lnTo>
                    <a:pt x="123936" y="5760"/>
                  </a:lnTo>
                  <a:lnTo>
                    <a:pt x="130681" y="4114"/>
                  </a:lnTo>
                  <a:lnTo>
                    <a:pt x="149230" y="10698"/>
                  </a:lnTo>
                  <a:lnTo>
                    <a:pt x="196444" y="4114"/>
                  </a:lnTo>
                  <a:lnTo>
                    <a:pt x="213306" y="5760"/>
                  </a:lnTo>
                  <a:lnTo>
                    <a:pt x="213306"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29" name="Tynaarlo">
              <a:extLst>
                <a:ext uri="{FF2B5EF4-FFF2-40B4-BE49-F238E27FC236}">
                  <a16:creationId xmlns:a16="http://schemas.microsoft.com/office/drawing/2014/main" id="{9833B677-165B-4830-8CBC-6071D72E94B2}"/>
                </a:ext>
              </a:extLst>
            </p:cNvPr>
            <p:cNvSpPr/>
            <p:nvPr/>
          </p:nvSpPr>
          <p:spPr>
            <a:xfrm>
              <a:off x="7343989" y="1744624"/>
              <a:ext cx="310441" cy="277068"/>
            </a:xfrm>
            <a:custGeom>
              <a:avLst/>
              <a:gdLst/>
              <a:ahLst/>
              <a:cxnLst/>
              <a:rect l="l" t="t" r="r" b="b"/>
              <a:pathLst>
                <a:path w="444910" h="411480" extrusionOk="0">
                  <a:moveTo>
                    <a:pt x="71663" y="9052"/>
                  </a:moveTo>
                  <a:lnTo>
                    <a:pt x="76722" y="10697"/>
                  </a:lnTo>
                  <a:lnTo>
                    <a:pt x="83467" y="38677"/>
                  </a:lnTo>
                  <a:lnTo>
                    <a:pt x="90212" y="43615"/>
                  </a:lnTo>
                  <a:lnTo>
                    <a:pt x="93584" y="50198"/>
                  </a:lnTo>
                  <a:lnTo>
                    <a:pt x="103701" y="45261"/>
                  </a:lnTo>
                  <a:lnTo>
                    <a:pt x="112133" y="58428"/>
                  </a:lnTo>
                  <a:lnTo>
                    <a:pt x="120564" y="73240"/>
                  </a:lnTo>
                  <a:lnTo>
                    <a:pt x="127309" y="101220"/>
                  </a:lnTo>
                  <a:lnTo>
                    <a:pt x="154288" y="86407"/>
                  </a:lnTo>
                  <a:lnTo>
                    <a:pt x="152602" y="89699"/>
                  </a:lnTo>
                  <a:lnTo>
                    <a:pt x="157661" y="99574"/>
                  </a:lnTo>
                  <a:lnTo>
                    <a:pt x="162720" y="104512"/>
                  </a:lnTo>
                  <a:lnTo>
                    <a:pt x="157661" y="111095"/>
                  </a:lnTo>
                  <a:lnTo>
                    <a:pt x="164406" y="129200"/>
                  </a:lnTo>
                  <a:lnTo>
                    <a:pt x="174523" y="129200"/>
                  </a:lnTo>
                  <a:lnTo>
                    <a:pt x="177895" y="132491"/>
                  </a:lnTo>
                  <a:lnTo>
                    <a:pt x="181268" y="130845"/>
                  </a:lnTo>
                  <a:lnTo>
                    <a:pt x="191385" y="144012"/>
                  </a:lnTo>
                  <a:lnTo>
                    <a:pt x="203189" y="152242"/>
                  </a:lnTo>
                  <a:lnTo>
                    <a:pt x="203189" y="160471"/>
                  </a:lnTo>
                  <a:lnTo>
                    <a:pt x="206561" y="158825"/>
                  </a:lnTo>
                  <a:lnTo>
                    <a:pt x="209934" y="162117"/>
                  </a:lnTo>
                  <a:lnTo>
                    <a:pt x="214992" y="175284"/>
                  </a:lnTo>
                  <a:lnTo>
                    <a:pt x="223424" y="183513"/>
                  </a:lnTo>
                  <a:lnTo>
                    <a:pt x="225110" y="191742"/>
                  </a:lnTo>
                  <a:lnTo>
                    <a:pt x="228482" y="191742"/>
                  </a:lnTo>
                  <a:lnTo>
                    <a:pt x="223424" y="196680"/>
                  </a:lnTo>
                  <a:lnTo>
                    <a:pt x="225110" y="199972"/>
                  </a:lnTo>
                  <a:lnTo>
                    <a:pt x="236913" y="206555"/>
                  </a:lnTo>
                  <a:lnTo>
                    <a:pt x="235227" y="211493"/>
                  </a:lnTo>
                  <a:lnTo>
                    <a:pt x="238599" y="218076"/>
                  </a:lnTo>
                  <a:lnTo>
                    <a:pt x="235227" y="223014"/>
                  </a:lnTo>
                  <a:lnTo>
                    <a:pt x="287500" y="198326"/>
                  </a:lnTo>
                  <a:lnTo>
                    <a:pt x="324597" y="185159"/>
                  </a:lnTo>
                  <a:lnTo>
                    <a:pt x="386987" y="188451"/>
                  </a:lnTo>
                  <a:lnTo>
                    <a:pt x="446005" y="247702"/>
                  </a:lnTo>
                  <a:lnTo>
                    <a:pt x="402163" y="269098"/>
                  </a:lnTo>
                  <a:lnTo>
                    <a:pt x="400477" y="272390"/>
                  </a:lnTo>
                  <a:lnTo>
                    <a:pt x="407222" y="274036"/>
                  </a:lnTo>
                  <a:lnTo>
                    <a:pt x="407222" y="278973"/>
                  </a:lnTo>
                  <a:lnTo>
                    <a:pt x="354949" y="311890"/>
                  </a:lnTo>
                  <a:lnTo>
                    <a:pt x="351576" y="308599"/>
                  </a:lnTo>
                  <a:lnTo>
                    <a:pt x="333028" y="320120"/>
                  </a:lnTo>
                  <a:lnTo>
                    <a:pt x="322911" y="308599"/>
                  </a:lnTo>
                  <a:lnTo>
                    <a:pt x="294245" y="287203"/>
                  </a:lnTo>
                  <a:lnTo>
                    <a:pt x="279069" y="282265"/>
                  </a:lnTo>
                  <a:lnTo>
                    <a:pt x="270638" y="275682"/>
                  </a:lnTo>
                  <a:lnTo>
                    <a:pt x="257148" y="280619"/>
                  </a:lnTo>
                  <a:lnTo>
                    <a:pt x="258834" y="287203"/>
                  </a:lnTo>
                  <a:lnTo>
                    <a:pt x="265579" y="285557"/>
                  </a:lnTo>
                  <a:lnTo>
                    <a:pt x="265579" y="293786"/>
                  </a:lnTo>
                  <a:lnTo>
                    <a:pt x="267265" y="290494"/>
                  </a:lnTo>
                  <a:lnTo>
                    <a:pt x="274010" y="295432"/>
                  </a:lnTo>
                  <a:lnTo>
                    <a:pt x="274010" y="300370"/>
                  </a:lnTo>
                  <a:lnTo>
                    <a:pt x="277383" y="298724"/>
                  </a:lnTo>
                  <a:lnTo>
                    <a:pt x="277383" y="305307"/>
                  </a:lnTo>
                  <a:lnTo>
                    <a:pt x="279069" y="306953"/>
                  </a:lnTo>
                  <a:lnTo>
                    <a:pt x="284128" y="305307"/>
                  </a:lnTo>
                  <a:lnTo>
                    <a:pt x="280755" y="311890"/>
                  </a:lnTo>
                  <a:lnTo>
                    <a:pt x="289186" y="316828"/>
                  </a:lnTo>
                  <a:lnTo>
                    <a:pt x="289186" y="321766"/>
                  </a:lnTo>
                  <a:lnTo>
                    <a:pt x="292559" y="321766"/>
                  </a:lnTo>
                  <a:lnTo>
                    <a:pt x="280755" y="329995"/>
                  </a:lnTo>
                  <a:lnTo>
                    <a:pt x="284128" y="339870"/>
                  </a:lnTo>
                  <a:lnTo>
                    <a:pt x="277383" y="343162"/>
                  </a:lnTo>
                  <a:lnTo>
                    <a:pt x="265579" y="344808"/>
                  </a:lnTo>
                  <a:lnTo>
                    <a:pt x="248717" y="369496"/>
                  </a:lnTo>
                  <a:lnTo>
                    <a:pt x="248717" y="376079"/>
                  </a:lnTo>
                  <a:lnTo>
                    <a:pt x="247031" y="379371"/>
                  </a:lnTo>
                  <a:lnTo>
                    <a:pt x="252089" y="384308"/>
                  </a:lnTo>
                  <a:lnTo>
                    <a:pt x="258834" y="415580"/>
                  </a:lnTo>
                  <a:lnTo>
                    <a:pt x="230168" y="417226"/>
                  </a:lnTo>
                  <a:lnTo>
                    <a:pt x="191385" y="400767"/>
                  </a:lnTo>
                  <a:lnTo>
                    <a:pt x="196444" y="389246"/>
                  </a:lnTo>
                  <a:lnTo>
                    <a:pt x="198130" y="362912"/>
                  </a:lnTo>
                  <a:lnTo>
                    <a:pt x="193072" y="344808"/>
                  </a:lnTo>
                  <a:lnTo>
                    <a:pt x="186326" y="331641"/>
                  </a:lnTo>
                  <a:lnTo>
                    <a:pt x="186326" y="333287"/>
                  </a:lnTo>
                  <a:lnTo>
                    <a:pt x="167778" y="341516"/>
                  </a:lnTo>
                  <a:lnTo>
                    <a:pt x="164406" y="336579"/>
                  </a:lnTo>
                  <a:lnTo>
                    <a:pt x="149230" y="338224"/>
                  </a:lnTo>
                  <a:lnTo>
                    <a:pt x="147543" y="349745"/>
                  </a:lnTo>
                  <a:lnTo>
                    <a:pt x="140799" y="348099"/>
                  </a:lnTo>
                  <a:lnTo>
                    <a:pt x="140799" y="336579"/>
                  </a:lnTo>
                  <a:lnTo>
                    <a:pt x="118878" y="339870"/>
                  </a:lnTo>
                  <a:lnTo>
                    <a:pt x="120564" y="346454"/>
                  </a:lnTo>
                  <a:lnTo>
                    <a:pt x="115505" y="348099"/>
                  </a:lnTo>
                  <a:lnTo>
                    <a:pt x="117191" y="354683"/>
                  </a:lnTo>
                  <a:lnTo>
                    <a:pt x="112133" y="367850"/>
                  </a:lnTo>
                  <a:lnTo>
                    <a:pt x="115505" y="377725"/>
                  </a:lnTo>
                  <a:lnTo>
                    <a:pt x="112133" y="389246"/>
                  </a:lnTo>
                  <a:lnTo>
                    <a:pt x="110447" y="387600"/>
                  </a:lnTo>
                  <a:lnTo>
                    <a:pt x="107074" y="397475"/>
                  </a:lnTo>
                  <a:lnTo>
                    <a:pt x="98643" y="395829"/>
                  </a:lnTo>
                  <a:lnTo>
                    <a:pt x="98643" y="392538"/>
                  </a:lnTo>
                  <a:lnTo>
                    <a:pt x="86839" y="390892"/>
                  </a:lnTo>
                  <a:lnTo>
                    <a:pt x="81781" y="385954"/>
                  </a:lnTo>
                  <a:lnTo>
                    <a:pt x="81781" y="379371"/>
                  </a:lnTo>
                  <a:lnTo>
                    <a:pt x="75036" y="371141"/>
                  </a:lnTo>
                  <a:lnTo>
                    <a:pt x="53115" y="376079"/>
                  </a:lnTo>
                  <a:lnTo>
                    <a:pt x="44684" y="371141"/>
                  </a:lnTo>
                  <a:lnTo>
                    <a:pt x="54801" y="346454"/>
                  </a:lnTo>
                  <a:lnTo>
                    <a:pt x="58174" y="325057"/>
                  </a:lnTo>
                  <a:lnTo>
                    <a:pt x="56487" y="308599"/>
                  </a:lnTo>
                  <a:lnTo>
                    <a:pt x="19390" y="247702"/>
                  </a:lnTo>
                  <a:lnTo>
                    <a:pt x="12645" y="226306"/>
                  </a:lnTo>
                  <a:lnTo>
                    <a:pt x="10959" y="213139"/>
                  </a:lnTo>
                  <a:lnTo>
                    <a:pt x="4214" y="191742"/>
                  </a:lnTo>
                  <a:lnTo>
                    <a:pt x="31194" y="185159"/>
                  </a:lnTo>
                  <a:lnTo>
                    <a:pt x="34566" y="191742"/>
                  </a:lnTo>
                  <a:lnTo>
                    <a:pt x="53115" y="180221"/>
                  </a:lnTo>
                  <a:lnTo>
                    <a:pt x="49742" y="167054"/>
                  </a:lnTo>
                  <a:lnTo>
                    <a:pt x="91898" y="162117"/>
                  </a:lnTo>
                  <a:lnTo>
                    <a:pt x="91898" y="160471"/>
                  </a:lnTo>
                  <a:lnTo>
                    <a:pt x="93584" y="145658"/>
                  </a:lnTo>
                  <a:lnTo>
                    <a:pt x="88526" y="137429"/>
                  </a:lnTo>
                  <a:lnTo>
                    <a:pt x="88526" y="125908"/>
                  </a:lnTo>
                  <a:lnTo>
                    <a:pt x="83467" y="116033"/>
                  </a:lnTo>
                  <a:lnTo>
                    <a:pt x="88526" y="106158"/>
                  </a:lnTo>
                  <a:lnTo>
                    <a:pt x="88526" y="99574"/>
                  </a:lnTo>
                  <a:lnTo>
                    <a:pt x="83467" y="92991"/>
                  </a:lnTo>
                  <a:lnTo>
                    <a:pt x="88526" y="84761"/>
                  </a:lnTo>
                  <a:lnTo>
                    <a:pt x="86839" y="76532"/>
                  </a:lnTo>
                  <a:lnTo>
                    <a:pt x="81781" y="73240"/>
                  </a:lnTo>
                  <a:lnTo>
                    <a:pt x="85153" y="68303"/>
                  </a:lnTo>
                  <a:lnTo>
                    <a:pt x="76722" y="66657"/>
                  </a:lnTo>
                  <a:lnTo>
                    <a:pt x="78408" y="63365"/>
                  </a:lnTo>
                  <a:lnTo>
                    <a:pt x="69977" y="51844"/>
                  </a:lnTo>
                  <a:lnTo>
                    <a:pt x="63232" y="33740"/>
                  </a:lnTo>
                  <a:lnTo>
                    <a:pt x="56487" y="28802"/>
                  </a:lnTo>
                  <a:lnTo>
                    <a:pt x="56487" y="23864"/>
                  </a:lnTo>
                  <a:lnTo>
                    <a:pt x="49742" y="9052"/>
                  </a:lnTo>
                  <a:lnTo>
                    <a:pt x="54801" y="4114"/>
                  </a:lnTo>
                  <a:lnTo>
                    <a:pt x="71663"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0" name="Zoeterwoude">
              <a:extLst>
                <a:ext uri="{FF2B5EF4-FFF2-40B4-BE49-F238E27FC236}">
                  <a16:creationId xmlns:a16="http://schemas.microsoft.com/office/drawing/2014/main" id="{8878BA8A-6B7F-4257-AE99-BE2F0F9A3ED8}"/>
                </a:ext>
              </a:extLst>
            </p:cNvPr>
            <p:cNvSpPr/>
            <p:nvPr/>
          </p:nvSpPr>
          <p:spPr>
            <a:xfrm>
              <a:off x="5264536" y="3440122"/>
              <a:ext cx="82228" cy="106920"/>
            </a:xfrm>
            <a:custGeom>
              <a:avLst/>
              <a:gdLst/>
              <a:ahLst/>
              <a:cxnLst/>
              <a:rect l="l" t="t" r="r" b="b"/>
              <a:pathLst>
                <a:path w="128789" h="160020" extrusionOk="0">
                  <a:moveTo>
                    <a:pt x="102015" y="18927"/>
                  </a:moveTo>
                  <a:lnTo>
                    <a:pt x="115505" y="20573"/>
                  </a:lnTo>
                  <a:lnTo>
                    <a:pt x="125622" y="25510"/>
                  </a:lnTo>
                  <a:lnTo>
                    <a:pt x="118877" y="37031"/>
                  </a:lnTo>
                  <a:lnTo>
                    <a:pt x="120564" y="40323"/>
                  </a:lnTo>
                  <a:lnTo>
                    <a:pt x="112133" y="61719"/>
                  </a:lnTo>
                  <a:lnTo>
                    <a:pt x="110446" y="66657"/>
                  </a:lnTo>
                  <a:lnTo>
                    <a:pt x="113819" y="66657"/>
                  </a:lnTo>
                  <a:lnTo>
                    <a:pt x="112133" y="73240"/>
                  </a:lnTo>
                  <a:lnTo>
                    <a:pt x="102015" y="69949"/>
                  </a:lnTo>
                  <a:lnTo>
                    <a:pt x="103701" y="157179"/>
                  </a:lnTo>
                  <a:lnTo>
                    <a:pt x="93584" y="165409"/>
                  </a:lnTo>
                  <a:lnTo>
                    <a:pt x="54801" y="134137"/>
                  </a:lnTo>
                  <a:lnTo>
                    <a:pt x="48056" y="137429"/>
                  </a:lnTo>
                  <a:lnTo>
                    <a:pt x="46370" y="145658"/>
                  </a:lnTo>
                  <a:lnTo>
                    <a:pt x="44683" y="147304"/>
                  </a:lnTo>
                  <a:lnTo>
                    <a:pt x="34566" y="142367"/>
                  </a:lnTo>
                  <a:lnTo>
                    <a:pt x="32880" y="122616"/>
                  </a:lnTo>
                  <a:lnTo>
                    <a:pt x="4214" y="74886"/>
                  </a:lnTo>
                  <a:lnTo>
                    <a:pt x="29507" y="51844"/>
                  </a:lnTo>
                  <a:lnTo>
                    <a:pt x="68291" y="22219"/>
                  </a:lnTo>
                  <a:lnTo>
                    <a:pt x="64918" y="18927"/>
                  </a:lnTo>
                  <a:lnTo>
                    <a:pt x="78408" y="7406"/>
                  </a:lnTo>
                  <a:lnTo>
                    <a:pt x="85153" y="4114"/>
                  </a:lnTo>
                  <a:lnTo>
                    <a:pt x="91898" y="15635"/>
                  </a:lnTo>
                  <a:lnTo>
                    <a:pt x="102015"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1" name="Oude Ijsselstreek">
              <a:extLst>
                <a:ext uri="{FF2B5EF4-FFF2-40B4-BE49-F238E27FC236}">
                  <a16:creationId xmlns:a16="http://schemas.microsoft.com/office/drawing/2014/main" id="{E52FCE24-6559-4A0D-A709-46CC5FC586EC}"/>
                </a:ext>
              </a:extLst>
            </p:cNvPr>
            <p:cNvSpPr/>
            <p:nvPr/>
          </p:nvSpPr>
          <p:spPr>
            <a:xfrm>
              <a:off x="7181596" y="3705185"/>
              <a:ext cx="258662" cy="241109"/>
            </a:xfrm>
            <a:custGeom>
              <a:avLst/>
              <a:gdLst/>
              <a:ahLst/>
              <a:cxnLst/>
              <a:rect l="l" t="t" r="r" b="b"/>
              <a:pathLst>
                <a:path w="374661" h="365760" extrusionOk="0">
                  <a:moveTo>
                    <a:pt x="290872" y="12343"/>
                  </a:moveTo>
                  <a:lnTo>
                    <a:pt x="299304" y="13989"/>
                  </a:lnTo>
                  <a:lnTo>
                    <a:pt x="316166" y="22219"/>
                  </a:lnTo>
                  <a:lnTo>
                    <a:pt x="361694" y="28802"/>
                  </a:lnTo>
                  <a:lnTo>
                    <a:pt x="375184" y="41969"/>
                  </a:lnTo>
                  <a:lnTo>
                    <a:pt x="354949" y="58427"/>
                  </a:lnTo>
                  <a:lnTo>
                    <a:pt x="351576" y="76532"/>
                  </a:lnTo>
                  <a:lnTo>
                    <a:pt x="331342" y="81470"/>
                  </a:lnTo>
                  <a:lnTo>
                    <a:pt x="326283" y="97928"/>
                  </a:lnTo>
                  <a:lnTo>
                    <a:pt x="329656" y="97928"/>
                  </a:lnTo>
                  <a:lnTo>
                    <a:pt x="317852" y="119324"/>
                  </a:lnTo>
                  <a:lnTo>
                    <a:pt x="321224" y="120971"/>
                  </a:lnTo>
                  <a:lnTo>
                    <a:pt x="314480" y="129200"/>
                  </a:lnTo>
                  <a:lnTo>
                    <a:pt x="316166" y="148950"/>
                  </a:lnTo>
                  <a:lnTo>
                    <a:pt x="311107" y="152242"/>
                  </a:lnTo>
                  <a:lnTo>
                    <a:pt x="312793" y="155534"/>
                  </a:lnTo>
                  <a:lnTo>
                    <a:pt x="306049" y="158825"/>
                  </a:lnTo>
                  <a:lnTo>
                    <a:pt x="309421" y="162117"/>
                  </a:lnTo>
                  <a:lnTo>
                    <a:pt x="284128" y="175284"/>
                  </a:lnTo>
                  <a:lnTo>
                    <a:pt x="297618" y="208201"/>
                  </a:lnTo>
                  <a:lnTo>
                    <a:pt x="294245" y="221368"/>
                  </a:lnTo>
                  <a:lnTo>
                    <a:pt x="302676" y="244410"/>
                  </a:lnTo>
                  <a:lnTo>
                    <a:pt x="299304" y="255931"/>
                  </a:lnTo>
                  <a:lnTo>
                    <a:pt x="284128" y="269098"/>
                  </a:lnTo>
                  <a:lnTo>
                    <a:pt x="284128" y="278973"/>
                  </a:lnTo>
                  <a:lnTo>
                    <a:pt x="279069" y="280619"/>
                  </a:lnTo>
                  <a:lnTo>
                    <a:pt x="279069" y="290494"/>
                  </a:lnTo>
                  <a:lnTo>
                    <a:pt x="274010" y="302015"/>
                  </a:lnTo>
                  <a:lnTo>
                    <a:pt x="263893" y="293786"/>
                  </a:lnTo>
                  <a:lnTo>
                    <a:pt x="253776" y="277327"/>
                  </a:lnTo>
                  <a:lnTo>
                    <a:pt x="247031" y="278973"/>
                  </a:lnTo>
                  <a:lnTo>
                    <a:pt x="241972" y="283911"/>
                  </a:lnTo>
                  <a:lnTo>
                    <a:pt x="233541" y="285557"/>
                  </a:lnTo>
                  <a:lnTo>
                    <a:pt x="225110" y="292140"/>
                  </a:lnTo>
                  <a:lnTo>
                    <a:pt x="220051" y="288849"/>
                  </a:lnTo>
                  <a:lnTo>
                    <a:pt x="216679" y="277327"/>
                  </a:lnTo>
                  <a:lnTo>
                    <a:pt x="203189" y="274036"/>
                  </a:lnTo>
                  <a:lnTo>
                    <a:pt x="193072" y="264160"/>
                  </a:lnTo>
                  <a:lnTo>
                    <a:pt x="188013" y="269098"/>
                  </a:lnTo>
                  <a:lnTo>
                    <a:pt x="184640" y="265807"/>
                  </a:lnTo>
                  <a:lnTo>
                    <a:pt x="177895" y="269098"/>
                  </a:lnTo>
                  <a:lnTo>
                    <a:pt x="172837" y="265807"/>
                  </a:lnTo>
                  <a:lnTo>
                    <a:pt x="169464" y="267452"/>
                  </a:lnTo>
                  <a:lnTo>
                    <a:pt x="164406" y="257577"/>
                  </a:lnTo>
                  <a:lnTo>
                    <a:pt x="159347" y="257577"/>
                  </a:lnTo>
                  <a:lnTo>
                    <a:pt x="154288" y="280619"/>
                  </a:lnTo>
                  <a:lnTo>
                    <a:pt x="155974" y="287203"/>
                  </a:lnTo>
                  <a:lnTo>
                    <a:pt x="161033" y="288849"/>
                  </a:lnTo>
                  <a:lnTo>
                    <a:pt x="176209" y="302015"/>
                  </a:lnTo>
                  <a:lnTo>
                    <a:pt x="189699" y="306953"/>
                  </a:lnTo>
                  <a:lnTo>
                    <a:pt x="179582" y="328349"/>
                  </a:lnTo>
                  <a:lnTo>
                    <a:pt x="188013" y="349746"/>
                  </a:lnTo>
                  <a:lnTo>
                    <a:pt x="179582" y="348100"/>
                  </a:lnTo>
                  <a:lnTo>
                    <a:pt x="188013" y="367850"/>
                  </a:lnTo>
                  <a:lnTo>
                    <a:pt x="179582" y="371142"/>
                  </a:lnTo>
                  <a:lnTo>
                    <a:pt x="157661" y="354683"/>
                  </a:lnTo>
                  <a:lnTo>
                    <a:pt x="140799" y="353037"/>
                  </a:lnTo>
                  <a:lnTo>
                    <a:pt x="127309" y="356329"/>
                  </a:lnTo>
                  <a:lnTo>
                    <a:pt x="118878" y="353037"/>
                  </a:lnTo>
                  <a:lnTo>
                    <a:pt x="120564" y="344808"/>
                  </a:lnTo>
                  <a:lnTo>
                    <a:pt x="113819" y="326704"/>
                  </a:lnTo>
                  <a:lnTo>
                    <a:pt x="93584" y="315182"/>
                  </a:lnTo>
                  <a:lnTo>
                    <a:pt x="53115" y="313536"/>
                  </a:lnTo>
                  <a:lnTo>
                    <a:pt x="31194" y="320120"/>
                  </a:lnTo>
                  <a:lnTo>
                    <a:pt x="22763" y="282265"/>
                  </a:lnTo>
                  <a:lnTo>
                    <a:pt x="19390" y="278973"/>
                  </a:lnTo>
                  <a:lnTo>
                    <a:pt x="19390" y="274036"/>
                  </a:lnTo>
                  <a:lnTo>
                    <a:pt x="39625" y="270744"/>
                  </a:lnTo>
                  <a:lnTo>
                    <a:pt x="39625" y="272390"/>
                  </a:lnTo>
                  <a:lnTo>
                    <a:pt x="56487" y="272390"/>
                  </a:lnTo>
                  <a:lnTo>
                    <a:pt x="66605" y="265807"/>
                  </a:lnTo>
                  <a:lnTo>
                    <a:pt x="63232" y="260869"/>
                  </a:lnTo>
                  <a:lnTo>
                    <a:pt x="69977" y="257577"/>
                  </a:lnTo>
                  <a:lnTo>
                    <a:pt x="61546" y="247702"/>
                  </a:lnTo>
                  <a:lnTo>
                    <a:pt x="66605" y="244410"/>
                  </a:lnTo>
                  <a:lnTo>
                    <a:pt x="64918" y="241118"/>
                  </a:lnTo>
                  <a:lnTo>
                    <a:pt x="66605" y="241118"/>
                  </a:lnTo>
                  <a:lnTo>
                    <a:pt x="58174" y="223014"/>
                  </a:lnTo>
                  <a:lnTo>
                    <a:pt x="69977" y="213139"/>
                  </a:lnTo>
                  <a:lnTo>
                    <a:pt x="41311" y="199972"/>
                  </a:lnTo>
                  <a:lnTo>
                    <a:pt x="31194" y="186805"/>
                  </a:lnTo>
                  <a:lnTo>
                    <a:pt x="29508" y="178576"/>
                  </a:lnTo>
                  <a:lnTo>
                    <a:pt x="32880" y="170346"/>
                  </a:lnTo>
                  <a:lnTo>
                    <a:pt x="32880" y="168700"/>
                  </a:lnTo>
                  <a:lnTo>
                    <a:pt x="36253" y="171992"/>
                  </a:lnTo>
                  <a:lnTo>
                    <a:pt x="44684" y="165409"/>
                  </a:lnTo>
                  <a:lnTo>
                    <a:pt x="44684" y="152242"/>
                  </a:lnTo>
                  <a:lnTo>
                    <a:pt x="37939" y="147304"/>
                  </a:lnTo>
                  <a:lnTo>
                    <a:pt x="21076" y="148950"/>
                  </a:lnTo>
                  <a:lnTo>
                    <a:pt x="5901" y="142367"/>
                  </a:lnTo>
                  <a:lnTo>
                    <a:pt x="4214" y="132492"/>
                  </a:lnTo>
                  <a:lnTo>
                    <a:pt x="9273" y="120971"/>
                  </a:lnTo>
                  <a:lnTo>
                    <a:pt x="14332" y="117679"/>
                  </a:lnTo>
                  <a:lnTo>
                    <a:pt x="12645" y="111095"/>
                  </a:lnTo>
                  <a:lnTo>
                    <a:pt x="17704" y="106158"/>
                  </a:lnTo>
                  <a:lnTo>
                    <a:pt x="17704" y="102866"/>
                  </a:lnTo>
                  <a:lnTo>
                    <a:pt x="27821" y="107803"/>
                  </a:lnTo>
                  <a:lnTo>
                    <a:pt x="27821" y="102866"/>
                  </a:lnTo>
                  <a:lnTo>
                    <a:pt x="32880" y="101220"/>
                  </a:lnTo>
                  <a:lnTo>
                    <a:pt x="41311" y="107803"/>
                  </a:lnTo>
                  <a:lnTo>
                    <a:pt x="51429" y="109449"/>
                  </a:lnTo>
                  <a:lnTo>
                    <a:pt x="61546" y="125908"/>
                  </a:lnTo>
                  <a:lnTo>
                    <a:pt x="69977" y="135783"/>
                  </a:lnTo>
                  <a:lnTo>
                    <a:pt x="76722" y="132492"/>
                  </a:lnTo>
                  <a:lnTo>
                    <a:pt x="78408" y="137429"/>
                  </a:lnTo>
                  <a:lnTo>
                    <a:pt x="81781" y="134137"/>
                  </a:lnTo>
                  <a:lnTo>
                    <a:pt x="91898" y="135783"/>
                  </a:lnTo>
                  <a:lnTo>
                    <a:pt x="95270" y="139075"/>
                  </a:lnTo>
                  <a:lnTo>
                    <a:pt x="112133" y="140721"/>
                  </a:lnTo>
                  <a:lnTo>
                    <a:pt x="132367" y="127554"/>
                  </a:lnTo>
                  <a:lnTo>
                    <a:pt x="144171" y="114387"/>
                  </a:lnTo>
                  <a:lnTo>
                    <a:pt x="142485" y="107803"/>
                  </a:lnTo>
                  <a:lnTo>
                    <a:pt x="167778" y="65011"/>
                  </a:lnTo>
                  <a:lnTo>
                    <a:pt x="176209" y="56782"/>
                  </a:lnTo>
                  <a:lnTo>
                    <a:pt x="196444" y="18927"/>
                  </a:lnTo>
                  <a:lnTo>
                    <a:pt x="223424" y="20573"/>
                  </a:lnTo>
                  <a:lnTo>
                    <a:pt x="223424" y="22219"/>
                  </a:lnTo>
                  <a:lnTo>
                    <a:pt x="228482" y="23864"/>
                  </a:lnTo>
                  <a:lnTo>
                    <a:pt x="231855" y="20573"/>
                  </a:lnTo>
                  <a:lnTo>
                    <a:pt x="243658" y="25510"/>
                  </a:lnTo>
                  <a:lnTo>
                    <a:pt x="250403" y="20573"/>
                  </a:lnTo>
                  <a:lnTo>
                    <a:pt x="262207" y="17281"/>
                  </a:lnTo>
                  <a:lnTo>
                    <a:pt x="265579" y="12343"/>
                  </a:lnTo>
                  <a:lnTo>
                    <a:pt x="267265" y="12343"/>
                  </a:lnTo>
                  <a:lnTo>
                    <a:pt x="267265" y="9052"/>
                  </a:lnTo>
                  <a:lnTo>
                    <a:pt x="274010" y="4114"/>
                  </a:lnTo>
                  <a:lnTo>
                    <a:pt x="290872"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2" name="Lansingerland">
              <a:extLst>
                <a:ext uri="{FF2B5EF4-FFF2-40B4-BE49-F238E27FC236}">
                  <a16:creationId xmlns:a16="http://schemas.microsoft.com/office/drawing/2014/main" id="{DD3E69BE-18FA-4980-B542-84A1D91195FA}"/>
                </a:ext>
              </a:extLst>
            </p:cNvPr>
            <p:cNvSpPr/>
            <p:nvPr/>
          </p:nvSpPr>
          <p:spPr>
            <a:xfrm>
              <a:off x="5208912" y="3578369"/>
              <a:ext cx="151901" cy="163596"/>
            </a:xfrm>
            <a:custGeom>
              <a:avLst/>
              <a:gdLst/>
              <a:ahLst/>
              <a:cxnLst/>
              <a:rect l="l" t="t" r="r" b="b"/>
              <a:pathLst>
                <a:path w="222455" h="251460" extrusionOk="0">
                  <a:moveTo>
                    <a:pt x="218365" y="33740"/>
                  </a:moveTo>
                  <a:lnTo>
                    <a:pt x="214992" y="51844"/>
                  </a:lnTo>
                  <a:lnTo>
                    <a:pt x="218365" y="66657"/>
                  </a:lnTo>
                  <a:lnTo>
                    <a:pt x="213306" y="73240"/>
                  </a:lnTo>
                  <a:lnTo>
                    <a:pt x="209934" y="83116"/>
                  </a:lnTo>
                  <a:lnTo>
                    <a:pt x="204875" y="139075"/>
                  </a:lnTo>
                  <a:lnTo>
                    <a:pt x="196444" y="163763"/>
                  </a:lnTo>
                  <a:lnTo>
                    <a:pt x="193071" y="167055"/>
                  </a:lnTo>
                  <a:lnTo>
                    <a:pt x="194758" y="170346"/>
                  </a:lnTo>
                  <a:lnTo>
                    <a:pt x="191385" y="173638"/>
                  </a:lnTo>
                  <a:lnTo>
                    <a:pt x="193071" y="193389"/>
                  </a:lnTo>
                  <a:lnTo>
                    <a:pt x="198130" y="196680"/>
                  </a:lnTo>
                  <a:lnTo>
                    <a:pt x="201502" y="206555"/>
                  </a:lnTo>
                  <a:lnTo>
                    <a:pt x="199816" y="213139"/>
                  </a:lnTo>
                  <a:lnTo>
                    <a:pt x="181268" y="224660"/>
                  </a:lnTo>
                  <a:lnTo>
                    <a:pt x="174523" y="224660"/>
                  </a:lnTo>
                  <a:lnTo>
                    <a:pt x="172837" y="229597"/>
                  </a:lnTo>
                  <a:lnTo>
                    <a:pt x="164405" y="231243"/>
                  </a:lnTo>
                  <a:lnTo>
                    <a:pt x="161033" y="236181"/>
                  </a:lnTo>
                  <a:lnTo>
                    <a:pt x="150916" y="241118"/>
                  </a:lnTo>
                  <a:lnTo>
                    <a:pt x="147543" y="247702"/>
                  </a:lnTo>
                  <a:lnTo>
                    <a:pt x="134053" y="239473"/>
                  </a:lnTo>
                  <a:lnTo>
                    <a:pt x="113819" y="219722"/>
                  </a:lnTo>
                  <a:lnTo>
                    <a:pt x="112133" y="231243"/>
                  </a:lnTo>
                  <a:lnTo>
                    <a:pt x="73349" y="198326"/>
                  </a:lnTo>
                  <a:lnTo>
                    <a:pt x="63232" y="204909"/>
                  </a:lnTo>
                  <a:lnTo>
                    <a:pt x="58173" y="226306"/>
                  </a:lnTo>
                  <a:lnTo>
                    <a:pt x="44684" y="232889"/>
                  </a:lnTo>
                  <a:lnTo>
                    <a:pt x="37939" y="241118"/>
                  </a:lnTo>
                  <a:lnTo>
                    <a:pt x="4214" y="199972"/>
                  </a:lnTo>
                  <a:lnTo>
                    <a:pt x="39625" y="168700"/>
                  </a:lnTo>
                  <a:lnTo>
                    <a:pt x="48056" y="157179"/>
                  </a:lnTo>
                  <a:lnTo>
                    <a:pt x="44684" y="148950"/>
                  </a:lnTo>
                  <a:lnTo>
                    <a:pt x="58173" y="145658"/>
                  </a:lnTo>
                  <a:lnTo>
                    <a:pt x="58173" y="140721"/>
                  </a:lnTo>
                  <a:lnTo>
                    <a:pt x="53115" y="134137"/>
                  </a:lnTo>
                  <a:lnTo>
                    <a:pt x="61546" y="120971"/>
                  </a:lnTo>
                  <a:lnTo>
                    <a:pt x="58173" y="112741"/>
                  </a:lnTo>
                  <a:lnTo>
                    <a:pt x="59860" y="109449"/>
                  </a:lnTo>
                  <a:lnTo>
                    <a:pt x="56487" y="97928"/>
                  </a:lnTo>
                  <a:lnTo>
                    <a:pt x="71663" y="89699"/>
                  </a:lnTo>
                  <a:lnTo>
                    <a:pt x="86839" y="74886"/>
                  </a:lnTo>
                  <a:lnTo>
                    <a:pt x="130681" y="74886"/>
                  </a:lnTo>
                  <a:lnTo>
                    <a:pt x="145857" y="56782"/>
                  </a:lnTo>
                  <a:lnTo>
                    <a:pt x="174523" y="32094"/>
                  </a:lnTo>
                  <a:lnTo>
                    <a:pt x="191385" y="33740"/>
                  </a:lnTo>
                  <a:lnTo>
                    <a:pt x="199816" y="17281"/>
                  </a:lnTo>
                  <a:lnTo>
                    <a:pt x="209934" y="4114"/>
                  </a:lnTo>
                  <a:lnTo>
                    <a:pt x="221737" y="12343"/>
                  </a:lnTo>
                  <a:lnTo>
                    <a:pt x="218365" y="3374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3" name="Montfoort">
              <a:extLst>
                <a:ext uri="{FF2B5EF4-FFF2-40B4-BE49-F238E27FC236}">
                  <a16:creationId xmlns:a16="http://schemas.microsoft.com/office/drawing/2014/main" id="{FF3B5AB8-C679-4D0A-ABC8-82C2C4858150}"/>
                </a:ext>
              </a:extLst>
            </p:cNvPr>
            <p:cNvSpPr/>
            <p:nvPr/>
          </p:nvSpPr>
          <p:spPr>
            <a:xfrm>
              <a:off x="5679573" y="3544620"/>
              <a:ext cx="161801" cy="113412"/>
            </a:xfrm>
            <a:custGeom>
              <a:avLst/>
              <a:gdLst/>
              <a:ahLst/>
              <a:cxnLst/>
              <a:rect l="l" t="t" r="r" b="b"/>
              <a:pathLst>
                <a:path w="234163" h="171450" extrusionOk="0">
                  <a:moveTo>
                    <a:pt x="112133" y="9052"/>
                  </a:moveTo>
                  <a:lnTo>
                    <a:pt x="139112" y="27156"/>
                  </a:lnTo>
                  <a:lnTo>
                    <a:pt x="139112" y="38677"/>
                  </a:lnTo>
                  <a:lnTo>
                    <a:pt x="161033" y="35385"/>
                  </a:lnTo>
                  <a:lnTo>
                    <a:pt x="179582" y="40323"/>
                  </a:lnTo>
                  <a:lnTo>
                    <a:pt x="199816" y="35385"/>
                  </a:lnTo>
                  <a:lnTo>
                    <a:pt x="233541" y="48552"/>
                  </a:lnTo>
                  <a:lnTo>
                    <a:pt x="220051" y="68303"/>
                  </a:lnTo>
                  <a:lnTo>
                    <a:pt x="213306" y="63365"/>
                  </a:lnTo>
                  <a:lnTo>
                    <a:pt x="199816" y="69949"/>
                  </a:lnTo>
                  <a:lnTo>
                    <a:pt x="191385" y="69949"/>
                  </a:lnTo>
                  <a:lnTo>
                    <a:pt x="179582" y="101220"/>
                  </a:lnTo>
                  <a:lnTo>
                    <a:pt x="172837" y="101220"/>
                  </a:lnTo>
                  <a:lnTo>
                    <a:pt x="179582" y="130845"/>
                  </a:lnTo>
                  <a:lnTo>
                    <a:pt x="196444" y="125908"/>
                  </a:lnTo>
                  <a:lnTo>
                    <a:pt x="198130" y="145658"/>
                  </a:lnTo>
                  <a:lnTo>
                    <a:pt x="174523" y="147304"/>
                  </a:lnTo>
                  <a:lnTo>
                    <a:pt x="135740" y="155533"/>
                  </a:lnTo>
                  <a:lnTo>
                    <a:pt x="81781" y="173638"/>
                  </a:lnTo>
                  <a:lnTo>
                    <a:pt x="59860" y="132491"/>
                  </a:lnTo>
                  <a:lnTo>
                    <a:pt x="71663" y="135783"/>
                  </a:lnTo>
                  <a:lnTo>
                    <a:pt x="83467" y="135783"/>
                  </a:lnTo>
                  <a:lnTo>
                    <a:pt x="91898" y="129199"/>
                  </a:lnTo>
                  <a:lnTo>
                    <a:pt x="93584" y="124262"/>
                  </a:lnTo>
                  <a:lnTo>
                    <a:pt x="69977" y="99574"/>
                  </a:lnTo>
                  <a:lnTo>
                    <a:pt x="78408" y="91345"/>
                  </a:lnTo>
                  <a:lnTo>
                    <a:pt x="63232" y="68303"/>
                  </a:lnTo>
                  <a:lnTo>
                    <a:pt x="46370" y="74886"/>
                  </a:lnTo>
                  <a:lnTo>
                    <a:pt x="46370" y="79824"/>
                  </a:lnTo>
                  <a:lnTo>
                    <a:pt x="16018" y="48552"/>
                  </a:lnTo>
                  <a:lnTo>
                    <a:pt x="9273" y="53490"/>
                  </a:lnTo>
                  <a:lnTo>
                    <a:pt x="4214" y="43615"/>
                  </a:lnTo>
                  <a:lnTo>
                    <a:pt x="12645" y="30448"/>
                  </a:lnTo>
                  <a:lnTo>
                    <a:pt x="61546" y="28802"/>
                  </a:lnTo>
                  <a:lnTo>
                    <a:pt x="100329" y="5760"/>
                  </a:lnTo>
                  <a:lnTo>
                    <a:pt x="108760" y="4114"/>
                  </a:lnTo>
                  <a:lnTo>
                    <a:pt x="112133"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4" name="Katwijk">
              <a:extLst>
                <a:ext uri="{FF2B5EF4-FFF2-40B4-BE49-F238E27FC236}">
                  <a16:creationId xmlns:a16="http://schemas.microsoft.com/office/drawing/2014/main" id="{793E4B39-49F3-430A-A197-F39B8C22EE55}"/>
                </a:ext>
              </a:extLst>
            </p:cNvPr>
            <p:cNvSpPr/>
            <p:nvPr/>
          </p:nvSpPr>
          <p:spPr>
            <a:xfrm>
              <a:off x="5159799" y="3323628"/>
              <a:ext cx="101653" cy="102041"/>
            </a:xfrm>
            <a:custGeom>
              <a:avLst/>
              <a:gdLst/>
              <a:ahLst/>
              <a:cxnLst/>
              <a:rect l="l" t="t" r="r" b="b"/>
              <a:pathLst>
                <a:path w="140498" h="160020" extrusionOk="0">
                  <a:moveTo>
                    <a:pt x="73349" y="15635"/>
                  </a:moveTo>
                  <a:lnTo>
                    <a:pt x="78408" y="15635"/>
                  </a:lnTo>
                  <a:lnTo>
                    <a:pt x="83467" y="12343"/>
                  </a:lnTo>
                  <a:lnTo>
                    <a:pt x="88525" y="22219"/>
                  </a:lnTo>
                  <a:lnTo>
                    <a:pt x="95270" y="18927"/>
                  </a:lnTo>
                  <a:lnTo>
                    <a:pt x="98643" y="25510"/>
                  </a:lnTo>
                  <a:lnTo>
                    <a:pt x="100329" y="23864"/>
                  </a:lnTo>
                  <a:lnTo>
                    <a:pt x="105388" y="33740"/>
                  </a:lnTo>
                  <a:lnTo>
                    <a:pt x="117191" y="20573"/>
                  </a:lnTo>
                  <a:lnTo>
                    <a:pt x="122250" y="23864"/>
                  </a:lnTo>
                  <a:lnTo>
                    <a:pt x="128995" y="17281"/>
                  </a:lnTo>
                  <a:lnTo>
                    <a:pt x="142485" y="13989"/>
                  </a:lnTo>
                  <a:lnTo>
                    <a:pt x="144171" y="17281"/>
                  </a:lnTo>
                  <a:lnTo>
                    <a:pt x="145857" y="20573"/>
                  </a:lnTo>
                  <a:lnTo>
                    <a:pt x="140798" y="22219"/>
                  </a:lnTo>
                  <a:lnTo>
                    <a:pt x="128995" y="35385"/>
                  </a:lnTo>
                  <a:lnTo>
                    <a:pt x="139112" y="43615"/>
                  </a:lnTo>
                  <a:lnTo>
                    <a:pt x="135740" y="46906"/>
                  </a:lnTo>
                  <a:lnTo>
                    <a:pt x="140798" y="51844"/>
                  </a:lnTo>
                  <a:lnTo>
                    <a:pt x="137426" y="58427"/>
                  </a:lnTo>
                  <a:lnTo>
                    <a:pt x="144171" y="60074"/>
                  </a:lnTo>
                  <a:lnTo>
                    <a:pt x="139112" y="68303"/>
                  </a:lnTo>
                  <a:lnTo>
                    <a:pt x="132367" y="91345"/>
                  </a:lnTo>
                  <a:lnTo>
                    <a:pt x="96956" y="97928"/>
                  </a:lnTo>
                  <a:lnTo>
                    <a:pt x="112132" y="102866"/>
                  </a:lnTo>
                  <a:lnTo>
                    <a:pt x="117191" y="111095"/>
                  </a:lnTo>
                  <a:lnTo>
                    <a:pt x="112132" y="129200"/>
                  </a:lnTo>
                  <a:lnTo>
                    <a:pt x="115505" y="142367"/>
                  </a:lnTo>
                  <a:lnTo>
                    <a:pt x="103701" y="158825"/>
                  </a:lnTo>
                  <a:lnTo>
                    <a:pt x="81780" y="148950"/>
                  </a:lnTo>
                  <a:lnTo>
                    <a:pt x="73349" y="142367"/>
                  </a:lnTo>
                  <a:lnTo>
                    <a:pt x="69977" y="144013"/>
                  </a:lnTo>
                  <a:lnTo>
                    <a:pt x="63232" y="137429"/>
                  </a:lnTo>
                  <a:lnTo>
                    <a:pt x="59859" y="139075"/>
                  </a:lnTo>
                  <a:lnTo>
                    <a:pt x="56487" y="124262"/>
                  </a:lnTo>
                  <a:lnTo>
                    <a:pt x="49742" y="129200"/>
                  </a:lnTo>
                  <a:lnTo>
                    <a:pt x="39625" y="116033"/>
                  </a:lnTo>
                  <a:lnTo>
                    <a:pt x="31194" y="111095"/>
                  </a:lnTo>
                  <a:lnTo>
                    <a:pt x="4214" y="81470"/>
                  </a:lnTo>
                  <a:lnTo>
                    <a:pt x="41311" y="22219"/>
                  </a:lnTo>
                  <a:lnTo>
                    <a:pt x="44683" y="23864"/>
                  </a:lnTo>
                  <a:lnTo>
                    <a:pt x="41311" y="20573"/>
                  </a:lnTo>
                  <a:lnTo>
                    <a:pt x="53115" y="4114"/>
                  </a:lnTo>
                  <a:lnTo>
                    <a:pt x="73349"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5" name="Stein">
              <a:extLst>
                <a:ext uri="{FF2B5EF4-FFF2-40B4-BE49-F238E27FC236}">
                  <a16:creationId xmlns:a16="http://schemas.microsoft.com/office/drawing/2014/main" id="{1F7E0A6A-6F51-45D2-B167-B86787D18DF0}"/>
                </a:ext>
              </a:extLst>
            </p:cNvPr>
            <p:cNvSpPr/>
            <p:nvPr/>
          </p:nvSpPr>
          <p:spPr>
            <a:xfrm>
              <a:off x="6584677" y="5255902"/>
              <a:ext cx="70049" cy="144663"/>
            </a:xfrm>
            <a:custGeom>
              <a:avLst/>
              <a:gdLst/>
              <a:ahLst/>
              <a:cxnLst/>
              <a:rect l="l" t="t" r="r" b="b"/>
              <a:pathLst>
                <a:path w="105373" h="228600" extrusionOk="0">
                  <a:moveTo>
                    <a:pt x="108760" y="4114"/>
                  </a:moveTo>
                  <a:lnTo>
                    <a:pt x="90211" y="41969"/>
                  </a:lnTo>
                  <a:lnTo>
                    <a:pt x="112132" y="48552"/>
                  </a:lnTo>
                  <a:lnTo>
                    <a:pt x="102015" y="86407"/>
                  </a:lnTo>
                  <a:lnTo>
                    <a:pt x="108760" y="114387"/>
                  </a:lnTo>
                  <a:lnTo>
                    <a:pt x="108760" y="122616"/>
                  </a:lnTo>
                  <a:lnTo>
                    <a:pt x="105388" y="125908"/>
                  </a:lnTo>
                  <a:lnTo>
                    <a:pt x="112132" y="175284"/>
                  </a:lnTo>
                  <a:lnTo>
                    <a:pt x="98643" y="183513"/>
                  </a:lnTo>
                  <a:lnTo>
                    <a:pt x="98643" y="186805"/>
                  </a:lnTo>
                  <a:lnTo>
                    <a:pt x="105388" y="188451"/>
                  </a:lnTo>
                  <a:lnTo>
                    <a:pt x="98643" y="198326"/>
                  </a:lnTo>
                  <a:lnTo>
                    <a:pt x="96957" y="213138"/>
                  </a:lnTo>
                  <a:lnTo>
                    <a:pt x="85153" y="224660"/>
                  </a:lnTo>
                  <a:lnTo>
                    <a:pt x="64918" y="214784"/>
                  </a:lnTo>
                  <a:lnTo>
                    <a:pt x="63232" y="216431"/>
                  </a:lnTo>
                  <a:lnTo>
                    <a:pt x="61546" y="216431"/>
                  </a:lnTo>
                  <a:lnTo>
                    <a:pt x="58173" y="211493"/>
                  </a:lnTo>
                  <a:lnTo>
                    <a:pt x="49742" y="206555"/>
                  </a:lnTo>
                  <a:lnTo>
                    <a:pt x="53115" y="198326"/>
                  </a:lnTo>
                  <a:lnTo>
                    <a:pt x="49742" y="198326"/>
                  </a:lnTo>
                  <a:lnTo>
                    <a:pt x="51428" y="193389"/>
                  </a:lnTo>
                  <a:lnTo>
                    <a:pt x="46370" y="188451"/>
                  </a:lnTo>
                  <a:lnTo>
                    <a:pt x="46370" y="180221"/>
                  </a:lnTo>
                  <a:lnTo>
                    <a:pt x="64918" y="170346"/>
                  </a:lnTo>
                  <a:lnTo>
                    <a:pt x="66604" y="163763"/>
                  </a:lnTo>
                  <a:lnTo>
                    <a:pt x="61546" y="153887"/>
                  </a:lnTo>
                  <a:lnTo>
                    <a:pt x="53115" y="145658"/>
                  </a:lnTo>
                  <a:lnTo>
                    <a:pt x="42997" y="144012"/>
                  </a:lnTo>
                  <a:lnTo>
                    <a:pt x="27821" y="158825"/>
                  </a:lnTo>
                  <a:lnTo>
                    <a:pt x="17704" y="160471"/>
                  </a:lnTo>
                  <a:lnTo>
                    <a:pt x="9273" y="155534"/>
                  </a:lnTo>
                  <a:lnTo>
                    <a:pt x="4214" y="144012"/>
                  </a:lnTo>
                  <a:lnTo>
                    <a:pt x="19390" y="124262"/>
                  </a:lnTo>
                  <a:lnTo>
                    <a:pt x="27821" y="117679"/>
                  </a:lnTo>
                  <a:lnTo>
                    <a:pt x="32880" y="102866"/>
                  </a:lnTo>
                  <a:lnTo>
                    <a:pt x="46370" y="97928"/>
                  </a:lnTo>
                  <a:lnTo>
                    <a:pt x="51428" y="92990"/>
                  </a:lnTo>
                  <a:lnTo>
                    <a:pt x="61546" y="71595"/>
                  </a:lnTo>
                  <a:lnTo>
                    <a:pt x="76722" y="55136"/>
                  </a:lnTo>
                  <a:lnTo>
                    <a:pt x="78408" y="45260"/>
                  </a:lnTo>
                  <a:lnTo>
                    <a:pt x="76722" y="28802"/>
                  </a:lnTo>
                  <a:lnTo>
                    <a:pt x="85153" y="7405"/>
                  </a:lnTo>
                  <a:lnTo>
                    <a:pt x="88525" y="5760"/>
                  </a:lnTo>
                  <a:lnTo>
                    <a:pt x="10876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6" name="Grave">
              <a:extLst>
                <a:ext uri="{FF2B5EF4-FFF2-40B4-BE49-F238E27FC236}">
                  <a16:creationId xmlns:a16="http://schemas.microsoft.com/office/drawing/2014/main" id="{1E7A3209-ECDF-4E84-9A31-1749033F075C}"/>
                </a:ext>
              </a:extLst>
            </p:cNvPr>
            <p:cNvSpPr/>
            <p:nvPr/>
          </p:nvSpPr>
          <p:spPr>
            <a:xfrm>
              <a:off x="6548984" y="4035570"/>
              <a:ext cx="111927" cy="94540"/>
            </a:xfrm>
            <a:custGeom>
              <a:avLst/>
              <a:gdLst/>
              <a:ahLst/>
              <a:cxnLst/>
              <a:rect l="l" t="t" r="r" b="b"/>
              <a:pathLst>
                <a:path w="163914" h="137160" extrusionOk="0">
                  <a:moveTo>
                    <a:pt x="34566" y="4114"/>
                  </a:moveTo>
                  <a:lnTo>
                    <a:pt x="51428" y="4114"/>
                  </a:lnTo>
                  <a:lnTo>
                    <a:pt x="66604" y="12343"/>
                  </a:lnTo>
                  <a:lnTo>
                    <a:pt x="86839" y="41969"/>
                  </a:lnTo>
                  <a:lnTo>
                    <a:pt x="107074" y="53490"/>
                  </a:lnTo>
                  <a:lnTo>
                    <a:pt x="134053" y="58427"/>
                  </a:lnTo>
                  <a:lnTo>
                    <a:pt x="157661" y="55136"/>
                  </a:lnTo>
                  <a:lnTo>
                    <a:pt x="157661" y="65011"/>
                  </a:lnTo>
                  <a:lnTo>
                    <a:pt x="150916" y="78178"/>
                  </a:lnTo>
                  <a:lnTo>
                    <a:pt x="166092" y="88053"/>
                  </a:lnTo>
                  <a:lnTo>
                    <a:pt x="162719" y="96282"/>
                  </a:lnTo>
                  <a:lnTo>
                    <a:pt x="171150" y="101220"/>
                  </a:lnTo>
                  <a:lnTo>
                    <a:pt x="167778" y="111095"/>
                  </a:lnTo>
                  <a:lnTo>
                    <a:pt x="164405" y="112741"/>
                  </a:lnTo>
                  <a:lnTo>
                    <a:pt x="169464" y="132492"/>
                  </a:lnTo>
                  <a:lnTo>
                    <a:pt x="152602" y="135783"/>
                  </a:lnTo>
                  <a:lnTo>
                    <a:pt x="149230" y="140721"/>
                  </a:lnTo>
                  <a:lnTo>
                    <a:pt x="123936" y="129200"/>
                  </a:lnTo>
                  <a:lnTo>
                    <a:pt x="118877" y="130845"/>
                  </a:lnTo>
                  <a:lnTo>
                    <a:pt x="113819" y="129200"/>
                  </a:lnTo>
                  <a:lnTo>
                    <a:pt x="105388" y="132492"/>
                  </a:lnTo>
                  <a:lnTo>
                    <a:pt x="98643" y="130845"/>
                  </a:lnTo>
                  <a:lnTo>
                    <a:pt x="91897" y="142367"/>
                  </a:lnTo>
                  <a:lnTo>
                    <a:pt x="85153" y="134137"/>
                  </a:lnTo>
                  <a:lnTo>
                    <a:pt x="68291" y="129200"/>
                  </a:lnTo>
                  <a:lnTo>
                    <a:pt x="63232" y="137429"/>
                  </a:lnTo>
                  <a:lnTo>
                    <a:pt x="32880" y="116033"/>
                  </a:lnTo>
                  <a:lnTo>
                    <a:pt x="46370" y="111095"/>
                  </a:lnTo>
                  <a:lnTo>
                    <a:pt x="46370" y="106158"/>
                  </a:lnTo>
                  <a:lnTo>
                    <a:pt x="27821" y="107803"/>
                  </a:lnTo>
                  <a:lnTo>
                    <a:pt x="29507" y="96282"/>
                  </a:lnTo>
                  <a:lnTo>
                    <a:pt x="16018" y="92991"/>
                  </a:lnTo>
                  <a:lnTo>
                    <a:pt x="19390" y="83116"/>
                  </a:lnTo>
                  <a:lnTo>
                    <a:pt x="22763" y="63365"/>
                  </a:lnTo>
                  <a:lnTo>
                    <a:pt x="17704" y="63365"/>
                  </a:lnTo>
                  <a:lnTo>
                    <a:pt x="21076" y="51844"/>
                  </a:lnTo>
                  <a:lnTo>
                    <a:pt x="9273" y="51844"/>
                  </a:lnTo>
                  <a:lnTo>
                    <a:pt x="4214" y="41969"/>
                  </a:lnTo>
                  <a:lnTo>
                    <a:pt x="10959" y="37031"/>
                  </a:lnTo>
                  <a:lnTo>
                    <a:pt x="19390" y="18927"/>
                  </a:lnTo>
                  <a:lnTo>
                    <a:pt x="3456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7" name="Ameland">
              <a:extLst>
                <a:ext uri="{FF2B5EF4-FFF2-40B4-BE49-F238E27FC236}">
                  <a16:creationId xmlns:a16="http://schemas.microsoft.com/office/drawing/2014/main" id="{09692AA4-85CD-4E18-B4A2-3F9B9BD02446}"/>
                </a:ext>
              </a:extLst>
            </p:cNvPr>
            <p:cNvSpPr/>
            <p:nvPr/>
          </p:nvSpPr>
          <p:spPr>
            <a:xfrm>
              <a:off x="6453060" y="1313825"/>
              <a:ext cx="380113" cy="88047"/>
            </a:xfrm>
            <a:custGeom>
              <a:avLst/>
              <a:gdLst/>
              <a:ahLst/>
              <a:cxnLst/>
              <a:rect l="l" t="t" r="r" b="b"/>
              <a:pathLst>
                <a:path w="538575" h="125730" extrusionOk="0">
                  <a:moveTo>
                    <a:pt x="88525" y="122616"/>
                  </a:moveTo>
                  <a:lnTo>
                    <a:pt x="81780" y="120970"/>
                  </a:lnTo>
                  <a:lnTo>
                    <a:pt x="93584" y="116033"/>
                  </a:lnTo>
                  <a:lnTo>
                    <a:pt x="96956" y="117679"/>
                  </a:lnTo>
                  <a:lnTo>
                    <a:pt x="88525" y="120970"/>
                  </a:lnTo>
                  <a:lnTo>
                    <a:pt x="88525" y="122616"/>
                  </a:lnTo>
                  <a:close/>
                  <a:moveTo>
                    <a:pt x="96956" y="9052"/>
                  </a:moveTo>
                  <a:lnTo>
                    <a:pt x="115505" y="10697"/>
                  </a:lnTo>
                  <a:lnTo>
                    <a:pt x="115505" y="13989"/>
                  </a:lnTo>
                  <a:lnTo>
                    <a:pt x="103701" y="13989"/>
                  </a:lnTo>
                  <a:lnTo>
                    <a:pt x="83467" y="9052"/>
                  </a:lnTo>
                  <a:lnTo>
                    <a:pt x="80094" y="13989"/>
                  </a:lnTo>
                  <a:lnTo>
                    <a:pt x="113819" y="27156"/>
                  </a:lnTo>
                  <a:lnTo>
                    <a:pt x="169464" y="28802"/>
                  </a:lnTo>
                  <a:lnTo>
                    <a:pt x="236913" y="27156"/>
                  </a:lnTo>
                  <a:lnTo>
                    <a:pt x="405535" y="9052"/>
                  </a:lnTo>
                  <a:lnTo>
                    <a:pt x="472984" y="5760"/>
                  </a:lnTo>
                  <a:lnTo>
                    <a:pt x="521885" y="7406"/>
                  </a:lnTo>
                  <a:lnTo>
                    <a:pt x="533689" y="10697"/>
                  </a:lnTo>
                  <a:lnTo>
                    <a:pt x="537061" y="17281"/>
                  </a:lnTo>
                  <a:lnTo>
                    <a:pt x="532003" y="28802"/>
                  </a:lnTo>
                  <a:lnTo>
                    <a:pt x="516826" y="33740"/>
                  </a:lnTo>
                  <a:lnTo>
                    <a:pt x="489847" y="35386"/>
                  </a:lnTo>
                  <a:lnTo>
                    <a:pt x="474671" y="32094"/>
                  </a:lnTo>
                  <a:lnTo>
                    <a:pt x="446005" y="30448"/>
                  </a:lnTo>
                  <a:lnTo>
                    <a:pt x="437574" y="32094"/>
                  </a:lnTo>
                  <a:lnTo>
                    <a:pt x="417339" y="46906"/>
                  </a:lnTo>
                  <a:lnTo>
                    <a:pt x="410594" y="48552"/>
                  </a:lnTo>
                  <a:lnTo>
                    <a:pt x="407222" y="40323"/>
                  </a:lnTo>
                  <a:lnTo>
                    <a:pt x="400477" y="40323"/>
                  </a:lnTo>
                  <a:lnTo>
                    <a:pt x="393732" y="33740"/>
                  </a:lnTo>
                  <a:lnTo>
                    <a:pt x="400477" y="41969"/>
                  </a:lnTo>
                  <a:lnTo>
                    <a:pt x="407222" y="40323"/>
                  </a:lnTo>
                  <a:lnTo>
                    <a:pt x="410594" y="48552"/>
                  </a:lnTo>
                  <a:lnTo>
                    <a:pt x="378556" y="55136"/>
                  </a:lnTo>
                  <a:lnTo>
                    <a:pt x="375184" y="50198"/>
                  </a:lnTo>
                  <a:lnTo>
                    <a:pt x="380242" y="56782"/>
                  </a:lnTo>
                  <a:lnTo>
                    <a:pt x="334714" y="66657"/>
                  </a:lnTo>
                  <a:lnTo>
                    <a:pt x="289186" y="79824"/>
                  </a:lnTo>
                  <a:lnTo>
                    <a:pt x="247030" y="78178"/>
                  </a:lnTo>
                  <a:lnTo>
                    <a:pt x="247030" y="83115"/>
                  </a:lnTo>
                  <a:lnTo>
                    <a:pt x="245344" y="79824"/>
                  </a:lnTo>
                  <a:lnTo>
                    <a:pt x="245344" y="92991"/>
                  </a:lnTo>
                  <a:lnTo>
                    <a:pt x="241972" y="91345"/>
                  </a:lnTo>
                  <a:lnTo>
                    <a:pt x="245344" y="79824"/>
                  </a:lnTo>
                  <a:lnTo>
                    <a:pt x="241972" y="76532"/>
                  </a:lnTo>
                  <a:lnTo>
                    <a:pt x="213306" y="74886"/>
                  </a:lnTo>
                  <a:lnTo>
                    <a:pt x="194757" y="69949"/>
                  </a:lnTo>
                  <a:lnTo>
                    <a:pt x="174523" y="68303"/>
                  </a:lnTo>
                  <a:lnTo>
                    <a:pt x="166092" y="71594"/>
                  </a:lnTo>
                  <a:lnTo>
                    <a:pt x="159347" y="84761"/>
                  </a:lnTo>
                  <a:lnTo>
                    <a:pt x="181268" y="97928"/>
                  </a:lnTo>
                  <a:lnTo>
                    <a:pt x="157661" y="86407"/>
                  </a:lnTo>
                  <a:lnTo>
                    <a:pt x="139112" y="99574"/>
                  </a:lnTo>
                  <a:lnTo>
                    <a:pt x="118877" y="106158"/>
                  </a:lnTo>
                  <a:lnTo>
                    <a:pt x="107074" y="112741"/>
                  </a:lnTo>
                  <a:lnTo>
                    <a:pt x="96956" y="112741"/>
                  </a:lnTo>
                  <a:lnTo>
                    <a:pt x="80094" y="120970"/>
                  </a:lnTo>
                  <a:lnTo>
                    <a:pt x="68291" y="114387"/>
                  </a:lnTo>
                  <a:lnTo>
                    <a:pt x="61546" y="114387"/>
                  </a:lnTo>
                  <a:lnTo>
                    <a:pt x="63232" y="111095"/>
                  </a:lnTo>
                  <a:lnTo>
                    <a:pt x="61546" y="114387"/>
                  </a:lnTo>
                  <a:lnTo>
                    <a:pt x="32880" y="99574"/>
                  </a:lnTo>
                  <a:lnTo>
                    <a:pt x="31194" y="101220"/>
                  </a:lnTo>
                  <a:lnTo>
                    <a:pt x="27821" y="94637"/>
                  </a:lnTo>
                  <a:lnTo>
                    <a:pt x="24449" y="96282"/>
                  </a:lnTo>
                  <a:lnTo>
                    <a:pt x="16018" y="86407"/>
                  </a:lnTo>
                  <a:lnTo>
                    <a:pt x="7586" y="66657"/>
                  </a:lnTo>
                  <a:lnTo>
                    <a:pt x="5900" y="56782"/>
                  </a:lnTo>
                  <a:lnTo>
                    <a:pt x="10959" y="41969"/>
                  </a:lnTo>
                  <a:lnTo>
                    <a:pt x="4214" y="48552"/>
                  </a:lnTo>
                  <a:lnTo>
                    <a:pt x="7586" y="43615"/>
                  </a:lnTo>
                  <a:lnTo>
                    <a:pt x="12645" y="41969"/>
                  </a:lnTo>
                  <a:lnTo>
                    <a:pt x="29507" y="18927"/>
                  </a:lnTo>
                  <a:lnTo>
                    <a:pt x="42997" y="9052"/>
                  </a:lnTo>
                  <a:lnTo>
                    <a:pt x="76722" y="4114"/>
                  </a:lnTo>
                  <a:lnTo>
                    <a:pt x="96956"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8" name="Smallingerland">
              <a:extLst>
                <a:ext uri="{FF2B5EF4-FFF2-40B4-BE49-F238E27FC236}">
                  <a16:creationId xmlns:a16="http://schemas.microsoft.com/office/drawing/2014/main" id="{38226426-6C25-4EEA-AE53-AB2EF7F9E12B}"/>
                </a:ext>
              </a:extLst>
            </p:cNvPr>
            <p:cNvSpPr/>
            <p:nvPr/>
          </p:nvSpPr>
          <p:spPr>
            <a:xfrm>
              <a:off x="6722619" y="1809132"/>
              <a:ext cx="323603" cy="144724"/>
            </a:xfrm>
            <a:custGeom>
              <a:avLst/>
              <a:gdLst/>
              <a:ahLst/>
              <a:cxnLst/>
              <a:rect l="l" t="t" r="r" b="b"/>
              <a:pathLst>
                <a:path w="468326" h="217170" extrusionOk="0">
                  <a:moveTo>
                    <a:pt x="459495" y="4114"/>
                  </a:moveTo>
                  <a:lnTo>
                    <a:pt x="457808" y="61719"/>
                  </a:lnTo>
                  <a:lnTo>
                    <a:pt x="472985" y="76532"/>
                  </a:lnTo>
                  <a:lnTo>
                    <a:pt x="454436" y="88053"/>
                  </a:lnTo>
                  <a:lnTo>
                    <a:pt x="454436" y="91345"/>
                  </a:lnTo>
                  <a:lnTo>
                    <a:pt x="440946" y="97928"/>
                  </a:lnTo>
                  <a:lnTo>
                    <a:pt x="412280" y="127554"/>
                  </a:lnTo>
                  <a:lnTo>
                    <a:pt x="383614" y="145658"/>
                  </a:lnTo>
                  <a:lnTo>
                    <a:pt x="366753" y="183513"/>
                  </a:lnTo>
                  <a:lnTo>
                    <a:pt x="354949" y="201618"/>
                  </a:lnTo>
                  <a:lnTo>
                    <a:pt x="329655" y="219722"/>
                  </a:lnTo>
                  <a:lnTo>
                    <a:pt x="245344" y="213139"/>
                  </a:lnTo>
                  <a:lnTo>
                    <a:pt x="233541" y="213139"/>
                  </a:lnTo>
                  <a:lnTo>
                    <a:pt x="226796" y="204909"/>
                  </a:lnTo>
                  <a:lnTo>
                    <a:pt x="223423" y="206555"/>
                  </a:lnTo>
                  <a:lnTo>
                    <a:pt x="201502" y="196680"/>
                  </a:lnTo>
                  <a:lnTo>
                    <a:pt x="194757" y="195034"/>
                  </a:lnTo>
                  <a:lnTo>
                    <a:pt x="179582" y="196680"/>
                  </a:lnTo>
                  <a:lnTo>
                    <a:pt x="172837" y="204909"/>
                  </a:lnTo>
                  <a:lnTo>
                    <a:pt x="96957" y="196680"/>
                  </a:lnTo>
                  <a:lnTo>
                    <a:pt x="93584" y="196680"/>
                  </a:lnTo>
                  <a:lnTo>
                    <a:pt x="90212" y="203263"/>
                  </a:lnTo>
                  <a:lnTo>
                    <a:pt x="44684" y="201618"/>
                  </a:lnTo>
                  <a:lnTo>
                    <a:pt x="41311" y="201618"/>
                  </a:lnTo>
                  <a:lnTo>
                    <a:pt x="41311" y="208201"/>
                  </a:lnTo>
                  <a:lnTo>
                    <a:pt x="5900" y="213139"/>
                  </a:lnTo>
                  <a:lnTo>
                    <a:pt x="4214" y="196680"/>
                  </a:lnTo>
                  <a:lnTo>
                    <a:pt x="7586" y="195034"/>
                  </a:lnTo>
                  <a:lnTo>
                    <a:pt x="7586" y="190097"/>
                  </a:lnTo>
                  <a:lnTo>
                    <a:pt x="9273" y="186805"/>
                  </a:lnTo>
                  <a:lnTo>
                    <a:pt x="14331" y="186805"/>
                  </a:lnTo>
                  <a:lnTo>
                    <a:pt x="22763" y="178575"/>
                  </a:lnTo>
                  <a:lnTo>
                    <a:pt x="24449" y="173638"/>
                  </a:lnTo>
                  <a:lnTo>
                    <a:pt x="19390" y="175284"/>
                  </a:lnTo>
                  <a:lnTo>
                    <a:pt x="16018" y="173638"/>
                  </a:lnTo>
                  <a:lnTo>
                    <a:pt x="27821" y="165409"/>
                  </a:lnTo>
                  <a:lnTo>
                    <a:pt x="21076" y="134137"/>
                  </a:lnTo>
                  <a:lnTo>
                    <a:pt x="64918" y="129200"/>
                  </a:lnTo>
                  <a:lnTo>
                    <a:pt x="90212" y="129200"/>
                  </a:lnTo>
                  <a:lnTo>
                    <a:pt x="95270" y="124262"/>
                  </a:lnTo>
                  <a:lnTo>
                    <a:pt x="118877" y="140721"/>
                  </a:lnTo>
                  <a:lnTo>
                    <a:pt x="122250" y="139075"/>
                  </a:lnTo>
                  <a:lnTo>
                    <a:pt x="112132" y="91345"/>
                  </a:lnTo>
                  <a:lnTo>
                    <a:pt x="159347" y="66657"/>
                  </a:lnTo>
                  <a:lnTo>
                    <a:pt x="191385" y="33740"/>
                  </a:lnTo>
                  <a:lnTo>
                    <a:pt x="213306" y="18927"/>
                  </a:lnTo>
                  <a:lnTo>
                    <a:pt x="258834" y="12343"/>
                  </a:lnTo>
                  <a:lnTo>
                    <a:pt x="312793" y="12343"/>
                  </a:lnTo>
                  <a:lnTo>
                    <a:pt x="322911" y="5760"/>
                  </a:lnTo>
                  <a:lnTo>
                    <a:pt x="327969" y="18927"/>
                  </a:lnTo>
                  <a:lnTo>
                    <a:pt x="336401" y="12343"/>
                  </a:lnTo>
                  <a:lnTo>
                    <a:pt x="351576" y="27156"/>
                  </a:lnTo>
                  <a:lnTo>
                    <a:pt x="353262" y="23864"/>
                  </a:lnTo>
                  <a:lnTo>
                    <a:pt x="356635" y="22218"/>
                  </a:lnTo>
                  <a:lnTo>
                    <a:pt x="363380" y="27156"/>
                  </a:lnTo>
                  <a:lnTo>
                    <a:pt x="373497" y="28802"/>
                  </a:lnTo>
                  <a:lnTo>
                    <a:pt x="373497" y="37031"/>
                  </a:lnTo>
                  <a:lnTo>
                    <a:pt x="376870" y="40323"/>
                  </a:lnTo>
                  <a:lnTo>
                    <a:pt x="415653" y="7406"/>
                  </a:lnTo>
                  <a:lnTo>
                    <a:pt x="422398" y="25510"/>
                  </a:lnTo>
                  <a:lnTo>
                    <a:pt x="45949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39" name="Breda">
              <a:extLst>
                <a:ext uri="{FF2B5EF4-FFF2-40B4-BE49-F238E27FC236}">
                  <a16:creationId xmlns:a16="http://schemas.microsoft.com/office/drawing/2014/main" id="{A7639C95-2D93-4174-BEEE-DD2114603C2B}"/>
                </a:ext>
              </a:extLst>
            </p:cNvPr>
            <p:cNvSpPr/>
            <p:nvPr/>
          </p:nvSpPr>
          <p:spPr>
            <a:xfrm>
              <a:off x="5455799" y="4252204"/>
              <a:ext cx="221950" cy="258136"/>
            </a:xfrm>
            <a:custGeom>
              <a:avLst/>
              <a:gdLst/>
              <a:ahLst/>
              <a:cxnLst/>
              <a:rect l="l" t="t" r="r" b="b"/>
              <a:pathLst>
                <a:path w="327828" h="388620" extrusionOk="0">
                  <a:moveTo>
                    <a:pt x="145857" y="15635"/>
                  </a:moveTo>
                  <a:lnTo>
                    <a:pt x="161033" y="22219"/>
                  </a:lnTo>
                  <a:lnTo>
                    <a:pt x="167778" y="28802"/>
                  </a:lnTo>
                  <a:lnTo>
                    <a:pt x="169464" y="38677"/>
                  </a:lnTo>
                  <a:lnTo>
                    <a:pt x="172837" y="40323"/>
                  </a:lnTo>
                  <a:lnTo>
                    <a:pt x="203189" y="20573"/>
                  </a:lnTo>
                  <a:lnTo>
                    <a:pt x="206561" y="23864"/>
                  </a:lnTo>
                  <a:lnTo>
                    <a:pt x="204875" y="27156"/>
                  </a:lnTo>
                  <a:lnTo>
                    <a:pt x="240286" y="30448"/>
                  </a:lnTo>
                  <a:lnTo>
                    <a:pt x="250403" y="33740"/>
                  </a:lnTo>
                  <a:lnTo>
                    <a:pt x="255462" y="43615"/>
                  </a:lnTo>
                  <a:lnTo>
                    <a:pt x="262207" y="45261"/>
                  </a:lnTo>
                  <a:lnTo>
                    <a:pt x="265579" y="50198"/>
                  </a:lnTo>
                  <a:lnTo>
                    <a:pt x="287500" y="69949"/>
                  </a:lnTo>
                  <a:lnTo>
                    <a:pt x="282441" y="88053"/>
                  </a:lnTo>
                  <a:lnTo>
                    <a:pt x="289186" y="101220"/>
                  </a:lnTo>
                  <a:lnTo>
                    <a:pt x="282441" y="104512"/>
                  </a:lnTo>
                  <a:lnTo>
                    <a:pt x="274010" y="116033"/>
                  </a:lnTo>
                  <a:lnTo>
                    <a:pt x="285814" y="119324"/>
                  </a:lnTo>
                  <a:lnTo>
                    <a:pt x="287500" y="144013"/>
                  </a:lnTo>
                  <a:lnTo>
                    <a:pt x="304362" y="160471"/>
                  </a:lnTo>
                  <a:lnTo>
                    <a:pt x="319538" y="160471"/>
                  </a:lnTo>
                  <a:lnTo>
                    <a:pt x="321224" y="171992"/>
                  </a:lnTo>
                  <a:lnTo>
                    <a:pt x="324597" y="171992"/>
                  </a:lnTo>
                  <a:lnTo>
                    <a:pt x="321224" y="178576"/>
                  </a:lnTo>
                  <a:lnTo>
                    <a:pt x="329656" y="181867"/>
                  </a:lnTo>
                  <a:lnTo>
                    <a:pt x="331342" y="190097"/>
                  </a:lnTo>
                  <a:lnTo>
                    <a:pt x="326283" y="190097"/>
                  </a:lnTo>
                  <a:lnTo>
                    <a:pt x="327969" y="195034"/>
                  </a:lnTo>
                  <a:lnTo>
                    <a:pt x="324597" y="195034"/>
                  </a:lnTo>
                  <a:lnTo>
                    <a:pt x="327969" y="203264"/>
                  </a:lnTo>
                  <a:lnTo>
                    <a:pt x="324597" y="209847"/>
                  </a:lnTo>
                  <a:lnTo>
                    <a:pt x="319538" y="208201"/>
                  </a:lnTo>
                  <a:lnTo>
                    <a:pt x="317852" y="213139"/>
                  </a:lnTo>
                  <a:lnTo>
                    <a:pt x="311107" y="214785"/>
                  </a:lnTo>
                  <a:lnTo>
                    <a:pt x="307735" y="219722"/>
                  </a:lnTo>
                  <a:lnTo>
                    <a:pt x="304362" y="216430"/>
                  </a:lnTo>
                  <a:lnTo>
                    <a:pt x="282441" y="223014"/>
                  </a:lnTo>
                  <a:lnTo>
                    <a:pt x="279069" y="232889"/>
                  </a:lnTo>
                  <a:lnTo>
                    <a:pt x="267265" y="229597"/>
                  </a:lnTo>
                  <a:lnTo>
                    <a:pt x="255462" y="237827"/>
                  </a:lnTo>
                  <a:lnTo>
                    <a:pt x="255462" y="241118"/>
                  </a:lnTo>
                  <a:lnTo>
                    <a:pt x="253775" y="239472"/>
                  </a:lnTo>
                  <a:lnTo>
                    <a:pt x="243658" y="246056"/>
                  </a:lnTo>
                  <a:lnTo>
                    <a:pt x="245344" y="249348"/>
                  </a:lnTo>
                  <a:lnTo>
                    <a:pt x="241972" y="246056"/>
                  </a:lnTo>
                  <a:lnTo>
                    <a:pt x="220051" y="262515"/>
                  </a:lnTo>
                  <a:lnTo>
                    <a:pt x="221737" y="264160"/>
                  </a:lnTo>
                  <a:lnTo>
                    <a:pt x="220051" y="265807"/>
                  </a:lnTo>
                  <a:lnTo>
                    <a:pt x="211620" y="267452"/>
                  </a:lnTo>
                  <a:lnTo>
                    <a:pt x="174523" y="285557"/>
                  </a:lnTo>
                  <a:lnTo>
                    <a:pt x="174523" y="293786"/>
                  </a:lnTo>
                  <a:lnTo>
                    <a:pt x="171150" y="290494"/>
                  </a:lnTo>
                  <a:lnTo>
                    <a:pt x="166092" y="292140"/>
                  </a:lnTo>
                  <a:lnTo>
                    <a:pt x="159347" y="303661"/>
                  </a:lnTo>
                  <a:lnTo>
                    <a:pt x="140798" y="305307"/>
                  </a:lnTo>
                  <a:lnTo>
                    <a:pt x="137426" y="313536"/>
                  </a:lnTo>
                  <a:lnTo>
                    <a:pt x="144171" y="328349"/>
                  </a:lnTo>
                  <a:lnTo>
                    <a:pt x="147543" y="336579"/>
                  </a:lnTo>
                  <a:lnTo>
                    <a:pt x="157661" y="344808"/>
                  </a:lnTo>
                  <a:lnTo>
                    <a:pt x="155974" y="349745"/>
                  </a:lnTo>
                  <a:lnTo>
                    <a:pt x="145857" y="351391"/>
                  </a:lnTo>
                  <a:lnTo>
                    <a:pt x="140798" y="357975"/>
                  </a:lnTo>
                  <a:lnTo>
                    <a:pt x="142485" y="364558"/>
                  </a:lnTo>
                  <a:lnTo>
                    <a:pt x="137426" y="376079"/>
                  </a:lnTo>
                  <a:lnTo>
                    <a:pt x="117191" y="385954"/>
                  </a:lnTo>
                  <a:lnTo>
                    <a:pt x="128995" y="338224"/>
                  </a:lnTo>
                  <a:lnTo>
                    <a:pt x="123936" y="336579"/>
                  </a:lnTo>
                  <a:lnTo>
                    <a:pt x="130681" y="336579"/>
                  </a:lnTo>
                  <a:lnTo>
                    <a:pt x="132367" y="323411"/>
                  </a:lnTo>
                  <a:lnTo>
                    <a:pt x="134053" y="305307"/>
                  </a:lnTo>
                  <a:lnTo>
                    <a:pt x="127309" y="306953"/>
                  </a:lnTo>
                  <a:lnTo>
                    <a:pt x="134053" y="303661"/>
                  </a:lnTo>
                  <a:lnTo>
                    <a:pt x="132367" y="288849"/>
                  </a:lnTo>
                  <a:lnTo>
                    <a:pt x="127309" y="283911"/>
                  </a:lnTo>
                  <a:lnTo>
                    <a:pt x="130681" y="270744"/>
                  </a:lnTo>
                  <a:lnTo>
                    <a:pt x="125622" y="275682"/>
                  </a:lnTo>
                  <a:lnTo>
                    <a:pt x="125622" y="272390"/>
                  </a:lnTo>
                  <a:lnTo>
                    <a:pt x="113819" y="262515"/>
                  </a:lnTo>
                  <a:lnTo>
                    <a:pt x="110446" y="269098"/>
                  </a:lnTo>
                  <a:lnTo>
                    <a:pt x="105388" y="270744"/>
                  </a:lnTo>
                  <a:lnTo>
                    <a:pt x="100329" y="265807"/>
                  </a:lnTo>
                  <a:lnTo>
                    <a:pt x="110446" y="260869"/>
                  </a:lnTo>
                  <a:lnTo>
                    <a:pt x="73349" y="229597"/>
                  </a:lnTo>
                  <a:lnTo>
                    <a:pt x="58173" y="241118"/>
                  </a:lnTo>
                  <a:lnTo>
                    <a:pt x="56487" y="185159"/>
                  </a:lnTo>
                  <a:lnTo>
                    <a:pt x="39625" y="111095"/>
                  </a:lnTo>
                  <a:lnTo>
                    <a:pt x="29508" y="107803"/>
                  </a:lnTo>
                  <a:lnTo>
                    <a:pt x="29508" y="99574"/>
                  </a:lnTo>
                  <a:lnTo>
                    <a:pt x="12645" y="97928"/>
                  </a:lnTo>
                  <a:lnTo>
                    <a:pt x="12645" y="86407"/>
                  </a:lnTo>
                  <a:lnTo>
                    <a:pt x="7587" y="84761"/>
                  </a:lnTo>
                  <a:lnTo>
                    <a:pt x="7587" y="78178"/>
                  </a:lnTo>
                  <a:lnTo>
                    <a:pt x="5900" y="76532"/>
                  </a:lnTo>
                  <a:lnTo>
                    <a:pt x="4214" y="58427"/>
                  </a:lnTo>
                  <a:lnTo>
                    <a:pt x="12645" y="46906"/>
                  </a:lnTo>
                  <a:lnTo>
                    <a:pt x="14331" y="38677"/>
                  </a:lnTo>
                  <a:lnTo>
                    <a:pt x="10959" y="33740"/>
                  </a:lnTo>
                  <a:lnTo>
                    <a:pt x="14331" y="33740"/>
                  </a:lnTo>
                  <a:lnTo>
                    <a:pt x="14331" y="25510"/>
                  </a:lnTo>
                  <a:lnTo>
                    <a:pt x="26135" y="28802"/>
                  </a:lnTo>
                  <a:lnTo>
                    <a:pt x="34566" y="30448"/>
                  </a:lnTo>
                  <a:lnTo>
                    <a:pt x="56487" y="17281"/>
                  </a:lnTo>
                  <a:lnTo>
                    <a:pt x="73349" y="17281"/>
                  </a:lnTo>
                  <a:lnTo>
                    <a:pt x="120564" y="4114"/>
                  </a:lnTo>
                  <a:lnTo>
                    <a:pt x="130681" y="7406"/>
                  </a:lnTo>
                  <a:lnTo>
                    <a:pt x="145857"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0" name="Bronckhorst">
              <a:extLst>
                <a:ext uri="{FF2B5EF4-FFF2-40B4-BE49-F238E27FC236}">
                  <a16:creationId xmlns:a16="http://schemas.microsoft.com/office/drawing/2014/main" id="{8FDADE1D-7C23-4596-A4E9-D3D8D85D077D}"/>
                </a:ext>
              </a:extLst>
            </p:cNvPr>
            <p:cNvSpPr/>
            <p:nvPr/>
          </p:nvSpPr>
          <p:spPr>
            <a:xfrm>
              <a:off x="6985142" y="3448559"/>
              <a:ext cx="398009" cy="272421"/>
            </a:xfrm>
            <a:custGeom>
              <a:avLst/>
              <a:gdLst/>
              <a:ahLst/>
              <a:cxnLst/>
              <a:rect l="l" t="t" r="r" b="b"/>
              <a:pathLst>
                <a:path w="561992" h="411480" extrusionOk="0">
                  <a:moveTo>
                    <a:pt x="378556" y="22219"/>
                  </a:moveTo>
                  <a:lnTo>
                    <a:pt x="385301" y="28802"/>
                  </a:lnTo>
                  <a:lnTo>
                    <a:pt x="383615" y="30448"/>
                  </a:lnTo>
                  <a:lnTo>
                    <a:pt x="395418" y="37031"/>
                  </a:lnTo>
                  <a:lnTo>
                    <a:pt x="407222" y="28802"/>
                  </a:lnTo>
                  <a:lnTo>
                    <a:pt x="412281" y="32094"/>
                  </a:lnTo>
                  <a:lnTo>
                    <a:pt x="417339" y="28802"/>
                  </a:lnTo>
                  <a:lnTo>
                    <a:pt x="417339" y="25510"/>
                  </a:lnTo>
                  <a:lnTo>
                    <a:pt x="430829" y="17281"/>
                  </a:lnTo>
                  <a:lnTo>
                    <a:pt x="435888" y="18927"/>
                  </a:lnTo>
                  <a:lnTo>
                    <a:pt x="429143" y="37031"/>
                  </a:lnTo>
                  <a:lnTo>
                    <a:pt x="440947" y="51844"/>
                  </a:lnTo>
                  <a:lnTo>
                    <a:pt x="437574" y="51844"/>
                  </a:lnTo>
                  <a:lnTo>
                    <a:pt x="429143" y="63365"/>
                  </a:lnTo>
                  <a:lnTo>
                    <a:pt x="479730" y="101220"/>
                  </a:lnTo>
                  <a:lnTo>
                    <a:pt x="464554" y="122616"/>
                  </a:lnTo>
                  <a:lnTo>
                    <a:pt x="461181" y="119324"/>
                  </a:lnTo>
                  <a:lnTo>
                    <a:pt x="447691" y="122616"/>
                  </a:lnTo>
                  <a:lnTo>
                    <a:pt x="444319" y="132491"/>
                  </a:lnTo>
                  <a:lnTo>
                    <a:pt x="447691" y="144012"/>
                  </a:lnTo>
                  <a:lnTo>
                    <a:pt x="454436" y="148950"/>
                  </a:lnTo>
                  <a:lnTo>
                    <a:pt x="464554" y="183513"/>
                  </a:lnTo>
                  <a:lnTo>
                    <a:pt x="467926" y="209847"/>
                  </a:lnTo>
                  <a:lnTo>
                    <a:pt x="476357" y="223014"/>
                  </a:lnTo>
                  <a:lnTo>
                    <a:pt x="479730" y="219722"/>
                  </a:lnTo>
                  <a:lnTo>
                    <a:pt x="484788" y="226306"/>
                  </a:lnTo>
                  <a:lnTo>
                    <a:pt x="481416" y="227951"/>
                  </a:lnTo>
                  <a:lnTo>
                    <a:pt x="483102" y="232889"/>
                  </a:lnTo>
                  <a:lnTo>
                    <a:pt x="486474" y="231243"/>
                  </a:lnTo>
                  <a:lnTo>
                    <a:pt x="488161" y="236181"/>
                  </a:lnTo>
                  <a:lnTo>
                    <a:pt x="494906" y="236181"/>
                  </a:lnTo>
                  <a:lnTo>
                    <a:pt x="491533" y="241118"/>
                  </a:lnTo>
                  <a:lnTo>
                    <a:pt x="496592" y="242764"/>
                  </a:lnTo>
                  <a:lnTo>
                    <a:pt x="498278" y="250993"/>
                  </a:lnTo>
                  <a:lnTo>
                    <a:pt x="494906" y="249348"/>
                  </a:lnTo>
                  <a:lnTo>
                    <a:pt x="499964" y="260869"/>
                  </a:lnTo>
                  <a:lnTo>
                    <a:pt x="506709" y="269098"/>
                  </a:lnTo>
                  <a:lnTo>
                    <a:pt x="501651" y="272390"/>
                  </a:lnTo>
                  <a:lnTo>
                    <a:pt x="540434" y="282265"/>
                  </a:lnTo>
                  <a:lnTo>
                    <a:pt x="537061" y="288848"/>
                  </a:lnTo>
                  <a:lnTo>
                    <a:pt x="540434" y="293786"/>
                  </a:lnTo>
                  <a:lnTo>
                    <a:pt x="538747" y="298723"/>
                  </a:lnTo>
                  <a:lnTo>
                    <a:pt x="542120" y="302015"/>
                  </a:lnTo>
                  <a:lnTo>
                    <a:pt x="540434" y="305307"/>
                  </a:lnTo>
                  <a:lnTo>
                    <a:pt x="547179" y="315182"/>
                  </a:lnTo>
                  <a:lnTo>
                    <a:pt x="538747" y="318474"/>
                  </a:lnTo>
                  <a:lnTo>
                    <a:pt x="548865" y="331641"/>
                  </a:lnTo>
                  <a:lnTo>
                    <a:pt x="537061" y="339870"/>
                  </a:lnTo>
                  <a:lnTo>
                    <a:pt x="538747" y="346453"/>
                  </a:lnTo>
                  <a:lnTo>
                    <a:pt x="562355" y="362912"/>
                  </a:lnTo>
                  <a:lnTo>
                    <a:pt x="552237" y="379371"/>
                  </a:lnTo>
                  <a:lnTo>
                    <a:pt x="548865" y="389246"/>
                  </a:lnTo>
                  <a:lnTo>
                    <a:pt x="543806" y="390892"/>
                  </a:lnTo>
                  <a:lnTo>
                    <a:pt x="543806" y="394183"/>
                  </a:lnTo>
                  <a:lnTo>
                    <a:pt x="542120" y="394183"/>
                  </a:lnTo>
                  <a:lnTo>
                    <a:pt x="538747" y="399121"/>
                  </a:lnTo>
                  <a:lnTo>
                    <a:pt x="526944" y="402413"/>
                  </a:lnTo>
                  <a:lnTo>
                    <a:pt x="520199" y="407350"/>
                  </a:lnTo>
                  <a:lnTo>
                    <a:pt x="508395" y="402413"/>
                  </a:lnTo>
                  <a:lnTo>
                    <a:pt x="505023" y="405704"/>
                  </a:lnTo>
                  <a:lnTo>
                    <a:pt x="499964" y="404059"/>
                  </a:lnTo>
                  <a:lnTo>
                    <a:pt x="499964" y="402413"/>
                  </a:lnTo>
                  <a:lnTo>
                    <a:pt x="472985" y="400767"/>
                  </a:lnTo>
                  <a:lnTo>
                    <a:pt x="451064" y="377725"/>
                  </a:lnTo>
                  <a:lnTo>
                    <a:pt x="444319" y="384308"/>
                  </a:lnTo>
                  <a:lnTo>
                    <a:pt x="437574" y="382662"/>
                  </a:lnTo>
                  <a:lnTo>
                    <a:pt x="435888" y="385954"/>
                  </a:lnTo>
                  <a:lnTo>
                    <a:pt x="432515" y="382662"/>
                  </a:lnTo>
                  <a:lnTo>
                    <a:pt x="419026" y="389246"/>
                  </a:lnTo>
                  <a:lnTo>
                    <a:pt x="429143" y="392538"/>
                  </a:lnTo>
                  <a:lnTo>
                    <a:pt x="432515" y="412288"/>
                  </a:lnTo>
                  <a:lnTo>
                    <a:pt x="419026" y="413934"/>
                  </a:lnTo>
                  <a:lnTo>
                    <a:pt x="407222" y="408996"/>
                  </a:lnTo>
                  <a:lnTo>
                    <a:pt x="398791" y="412288"/>
                  </a:lnTo>
                  <a:lnTo>
                    <a:pt x="395418" y="408996"/>
                  </a:lnTo>
                  <a:lnTo>
                    <a:pt x="395418" y="404059"/>
                  </a:lnTo>
                  <a:lnTo>
                    <a:pt x="402163" y="399121"/>
                  </a:lnTo>
                  <a:lnTo>
                    <a:pt x="402163" y="394183"/>
                  </a:lnTo>
                  <a:lnTo>
                    <a:pt x="376870" y="397475"/>
                  </a:lnTo>
                  <a:lnTo>
                    <a:pt x="336401" y="395829"/>
                  </a:lnTo>
                  <a:lnTo>
                    <a:pt x="348204" y="371141"/>
                  </a:lnTo>
                  <a:lnTo>
                    <a:pt x="336401" y="361266"/>
                  </a:lnTo>
                  <a:lnTo>
                    <a:pt x="334714" y="356329"/>
                  </a:lnTo>
                  <a:lnTo>
                    <a:pt x="322911" y="351391"/>
                  </a:lnTo>
                  <a:lnTo>
                    <a:pt x="304362" y="354683"/>
                  </a:lnTo>
                  <a:lnTo>
                    <a:pt x="287500" y="364558"/>
                  </a:lnTo>
                  <a:lnTo>
                    <a:pt x="282441" y="353037"/>
                  </a:lnTo>
                  <a:lnTo>
                    <a:pt x="262207" y="374433"/>
                  </a:lnTo>
                  <a:lnTo>
                    <a:pt x="255462" y="372787"/>
                  </a:lnTo>
                  <a:lnTo>
                    <a:pt x="248717" y="377725"/>
                  </a:lnTo>
                  <a:lnTo>
                    <a:pt x="238599" y="374433"/>
                  </a:lnTo>
                  <a:lnTo>
                    <a:pt x="231855" y="367850"/>
                  </a:lnTo>
                  <a:lnTo>
                    <a:pt x="225110" y="367850"/>
                  </a:lnTo>
                  <a:lnTo>
                    <a:pt x="221737" y="369496"/>
                  </a:lnTo>
                  <a:lnTo>
                    <a:pt x="218365" y="369496"/>
                  </a:lnTo>
                  <a:lnTo>
                    <a:pt x="214992" y="376079"/>
                  </a:lnTo>
                  <a:lnTo>
                    <a:pt x="228482" y="381017"/>
                  </a:lnTo>
                  <a:lnTo>
                    <a:pt x="228482" y="384308"/>
                  </a:lnTo>
                  <a:lnTo>
                    <a:pt x="223424" y="385954"/>
                  </a:lnTo>
                  <a:lnTo>
                    <a:pt x="218365" y="395829"/>
                  </a:lnTo>
                  <a:lnTo>
                    <a:pt x="213306" y="392538"/>
                  </a:lnTo>
                  <a:lnTo>
                    <a:pt x="208247" y="392538"/>
                  </a:lnTo>
                  <a:lnTo>
                    <a:pt x="209934" y="387600"/>
                  </a:lnTo>
                  <a:lnTo>
                    <a:pt x="208247" y="384308"/>
                  </a:lnTo>
                  <a:lnTo>
                    <a:pt x="198130" y="384308"/>
                  </a:lnTo>
                  <a:lnTo>
                    <a:pt x="194758" y="381017"/>
                  </a:lnTo>
                  <a:lnTo>
                    <a:pt x="194758" y="379371"/>
                  </a:lnTo>
                  <a:lnTo>
                    <a:pt x="196444" y="374433"/>
                  </a:lnTo>
                  <a:lnTo>
                    <a:pt x="191385" y="366204"/>
                  </a:lnTo>
                  <a:lnTo>
                    <a:pt x="191385" y="371141"/>
                  </a:lnTo>
                  <a:lnTo>
                    <a:pt x="184640" y="367850"/>
                  </a:lnTo>
                  <a:lnTo>
                    <a:pt x="176209" y="377725"/>
                  </a:lnTo>
                  <a:lnTo>
                    <a:pt x="189699" y="384308"/>
                  </a:lnTo>
                  <a:lnTo>
                    <a:pt x="188013" y="395829"/>
                  </a:lnTo>
                  <a:lnTo>
                    <a:pt x="179582" y="390892"/>
                  </a:lnTo>
                  <a:lnTo>
                    <a:pt x="164406" y="389246"/>
                  </a:lnTo>
                  <a:lnTo>
                    <a:pt x="159347" y="390892"/>
                  </a:lnTo>
                  <a:lnTo>
                    <a:pt x="149230" y="385954"/>
                  </a:lnTo>
                  <a:lnTo>
                    <a:pt x="115505" y="389246"/>
                  </a:lnTo>
                  <a:lnTo>
                    <a:pt x="98643" y="385954"/>
                  </a:lnTo>
                  <a:lnTo>
                    <a:pt x="81781" y="389246"/>
                  </a:lnTo>
                  <a:lnTo>
                    <a:pt x="83467" y="357975"/>
                  </a:lnTo>
                  <a:lnTo>
                    <a:pt x="80094" y="349745"/>
                  </a:lnTo>
                  <a:lnTo>
                    <a:pt x="80094" y="344807"/>
                  </a:lnTo>
                  <a:lnTo>
                    <a:pt x="86839" y="341516"/>
                  </a:lnTo>
                  <a:lnTo>
                    <a:pt x="78408" y="339870"/>
                  </a:lnTo>
                  <a:lnTo>
                    <a:pt x="78408" y="329995"/>
                  </a:lnTo>
                  <a:lnTo>
                    <a:pt x="71663" y="331641"/>
                  </a:lnTo>
                  <a:lnTo>
                    <a:pt x="75036" y="325057"/>
                  </a:lnTo>
                  <a:lnTo>
                    <a:pt x="80094" y="323411"/>
                  </a:lnTo>
                  <a:lnTo>
                    <a:pt x="81781" y="306953"/>
                  </a:lnTo>
                  <a:lnTo>
                    <a:pt x="86839" y="305307"/>
                  </a:lnTo>
                  <a:lnTo>
                    <a:pt x="86839" y="298723"/>
                  </a:lnTo>
                  <a:lnTo>
                    <a:pt x="96957" y="298723"/>
                  </a:lnTo>
                  <a:lnTo>
                    <a:pt x="105388" y="290494"/>
                  </a:lnTo>
                  <a:lnTo>
                    <a:pt x="105388" y="287203"/>
                  </a:lnTo>
                  <a:lnTo>
                    <a:pt x="102015" y="285557"/>
                  </a:lnTo>
                  <a:lnTo>
                    <a:pt x="105388" y="278973"/>
                  </a:lnTo>
                  <a:lnTo>
                    <a:pt x="102015" y="277327"/>
                  </a:lnTo>
                  <a:lnTo>
                    <a:pt x="103701" y="274035"/>
                  </a:lnTo>
                  <a:lnTo>
                    <a:pt x="100329" y="272390"/>
                  </a:lnTo>
                  <a:lnTo>
                    <a:pt x="105388" y="264160"/>
                  </a:lnTo>
                  <a:lnTo>
                    <a:pt x="102015" y="262514"/>
                  </a:lnTo>
                  <a:lnTo>
                    <a:pt x="103701" y="244410"/>
                  </a:lnTo>
                  <a:lnTo>
                    <a:pt x="90212" y="250993"/>
                  </a:lnTo>
                  <a:lnTo>
                    <a:pt x="78408" y="249348"/>
                  </a:lnTo>
                  <a:lnTo>
                    <a:pt x="71663" y="241118"/>
                  </a:lnTo>
                  <a:lnTo>
                    <a:pt x="63232" y="237827"/>
                  </a:lnTo>
                  <a:lnTo>
                    <a:pt x="58173" y="241118"/>
                  </a:lnTo>
                  <a:lnTo>
                    <a:pt x="49742" y="252639"/>
                  </a:lnTo>
                  <a:lnTo>
                    <a:pt x="34566" y="257577"/>
                  </a:lnTo>
                  <a:lnTo>
                    <a:pt x="22763" y="257577"/>
                  </a:lnTo>
                  <a:lnTo>
                    <a:pt x="10959" y="252639"/>
                  </a:lnTo>
                  <a:lnTo>
                    <a:pt x="5900" y="244410"/>
                  </a:lnTo>
                  <a:lnTo>
                    <a:pt x="4214" y="234535"/>
                  </a:lnTo>
                  <a:lnTo>
                    <a:pt x="9273" y="224660"/>
                  </a:lnTo>
                  <a:lnTo>
                    <a:pt x="19390" y="214785"/>
                  </a:lnTo>
                  <a:lnTo>
                    <a:pt x="39625" y="203264"/>
                  </a:lnTo>
                  <a:lnTo>
                    <a:pt x="48056" y="191742"/>
                  </a:lnTo>
                  <a:lnTo>
                    <a:pt x="59860" y="183513"/>
                  </a:lnTo>
                  <a:lnTo>
                    <a:pt x="78408" y="163763"/>
                  </a:lnTo>
                  <a:lnTo>
                    <a:pt x="90212" y="155533"/>
                  </a:lnTo>
                  <a:lnTo>
                    <a:pt x="95270" y="145658"/>
                  </a:lnTo>
                  <a:lnTo>
                    <a:pt x="98643" y="125908"/>
                  </a:lnTo>
                  <a:lnTo>
                    <a:pt x="103701" y="120970"/>
                  </a:lnTo>
                  <a:lnTo>
                    <a:pt x="123936" y="119324"/>
                  </a:lnTo>
                  <a:lnTo>
                    <a:pt x="139112" y="112741"/>
                  </a:lnTo>
                  <a:lnTo>
                    <a:pt x="154288" y="116033"/>
                  </a:lnTo>
                  <a:lnTo>
                    <a:pt x="162719" y="109449"/>
                  </a:lnTo>
                  <a:lnTo>
                    <a:pt x="166092" y="102866"/>
                  </a:lnTo>
                  <a:lnTo>
                    <a:pt x="167778" y="106157"/>
                  </a:lnTo>
                  <a:lnTo>
                    <a:pt x="164406" y="114387"/>
                  </a:lnTo>
                  <a:lnTo>
                    <a:pt x="167778" y="116033"/>
                  </a:lnTo>
                  <a:lnTo>
                    <a:pt x="166092" y="122616"/>
                  </a:lnTo>
                  <a:lnTo>
                    <a:pt x="171151" y="124262"/>
                  </a:lnTo>
                  <a:lnTo>
                    <a:pt x="167778" y="116033"/>
                  </a:lnTo>
                  <a:lnTo>
                    <a:pt x="169464" y="96282"/>
                  </a:lnTo>
                  <a:lnTo>
                    <a:pt x="176209" y="97928"/>
                  </a:lnTo>
                  <a:lnTo>
                    <a:pt x="176209" y="94636"/>
                  </a:lnTo>
                  <a:lnTo>
                    <a:pt x="172837" y="81470"/>
                  </a:lnTo>
                  <a:lnTo>
                    <a:pt x="177895" y="81470"/>
                  </a:lnTo>
                  <a:lnTo>
                    <a:pt x="179582" y="74886"/>
                  </a:lnTo>
                  <a:lnTo>
                    <a:pt x="188013" y="71594"/>
                  </a:lnTo>
                  <a:lnTo>
                    <a:pt x="189699" y="65011"/>
                  </a:lnTo>
                  <a:lnTo>
                    <a:pt x="193071" y="63365"/>
                  </a:lnTo>
                  <a:lnTo>
                    <a:pt x="226796" y="71594"/>
                  </a:lnTo>
                  <a:lnTo>
                    <a:pt x="245344" y="68303"/>
                  </a:lnTo>
                  <a:lnTo>
                    <a:pt x="255462" y="43615"/>
                  </a:lnTo>
                  <a:lnTo>
                    <a:pt x="272324" y="33739"/>
                  </a:lnTo>
                  <a:lnTo>
                    <a:pt x="277383" y="35385"/>
                  </a:lnTo>
                  <a:lnTo>
                    <a:pt x="275697" y="32094"/>
                  </a:lnTo>
                  <a:lnTo>
                    <a:pt x="280755" y="28802"/>
                  </a:lnTo>
                  <a:lnTo>
                    <a:pt x="300990" y="22219"/>
                  </a:lnTo>
                  <a:lnTo>
                    <a:pt x="333028" y="4114"/>
                  </a:lnTo>
                  <a:lnTo>
                    <a:pt x="376870" y="9052"/>
                  </a:lnTo>
                  <a:lnTo>
                    <a:pt x="378556" y="222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1" name="Zwartewaterland">
              <a:extLst>
                <a:ext uri="{FF2B5EF4-FFF2-40B4-BE49-F238E27FC236}">
                  <a16:creationId xmlns:a16="http://schemas.microsoft.com/office/drawing/2014/main" id="{FC18D8A1-2E2B-4B6C-B7F9-06AA7B0F0643}"/>
                </a:ext>
              </a:extLst>
            </p:cNvPr>
            <p:cNvSpPr/>
            <p:nvPr/>
          </p:nvSpPr>
          <p:spPr>
            <a:xfrm>
              <a:off x="6832003" y="2603250"/>
              <a:ext cx="201775" cy="191993"/>
            </a:xfrm>
            <a:custGeom>
              <a:avLst/>
              <a:gdLst/>
              <a:ahLst/>
              <a:cxnLst/>
              <a:rect l="l" t="t" r="r" b="b"/>
              <a:pathLst>
                <a:path w="292704" h="285750" extrusionOk="0">
                  <a:moveTo>
                    <a:pt x="75036" y="65011"/>
                  </a:moveTo>
                  <a:lnTo>
                    <a:pt x="78408" y="71594"/>
                  </a:lnTo>
                  <a:lnTo>
                    <a:pt x="73349" y="68303"/>
                  </a:lnTo>
                  <a:lnTo>
                    <a:pt x="75036" y="66657"/>
                  </a:lnTo>
                  <a:lnTo>
                    <a:pt x="73349" y="66657"/>
                  </a:lnTo>
                  <a:lnTo>
                    <a:pt x="75036" y="65011"/>
                  </a:lnTo>
                  <a:close/>
                  <a:moveTo>
                    <a:pt x="226796" y="12343"/>
                  </a:moveTo>
                  <a:lnTo>
                    <a:pt x="206561" y="32094"/>
                  </a:lnTo>
                  <a:lnTo>
                    <a:pt x="203189" y="32094"/>
                  </a:lnTo>
                  <a:lnTo>
                    <a:pt x="203189" y="55136"/>
                  </a:lnTo>
                  <a:lnTo>
                    <a:pt x="199816" y="71594"/>
                  </a:lnTo>
                  <a:lnTo>
                    <a:pt x="193071" y="83115"/>
                  </a:lnTo>
                  <a:lnTo>
                    <a:pt x="191385" y="94636"/>
                  </a:lnTo>
                  <a:lnTo>
                    <a:pt x="194758" y="107803"/>
                  </a:lnTo>
                  <a:lnTo>
                    <a:pt x="203189" y="107803"/>
                  </a:lnTo>
                  <a:lnTo>
                    <a:pt x="204875" y="117678"/>
                  </a:lnTo>
                  <a:lnTo>
                    <a:pt x="208247" y="117678"/>
                  </a:lnTo>
                  <a:lnTo>
                    <a:pt x="206561" y="122616"/>
                  </a:lnTo>
                  <a:lnTo>
                    <a:pt x="209934" y="124262"/>
                  </a:lnTo>
                  <a:lnTo>
                    <a:pt x="208247" y="134137"/>
                  </a:lnTo>
                  <a:lnTo>
                    <a:pt x="203189" y="139075"/>
                  </a:lnTo>
                  <a:lnTo>
                    <a:pt x="208247" y="152242"/>
                  </a:lnTo>
                  <a:lnTo>
                    <a:pt x="203189" y="155533"/>
                  </a:lnTo>
                  <a:lnTo>
                    <a:pt x="206561" y="160471"/>
                  </a:lnTo>
                  <a:lnTo>
                    <a:pt x="228482" y="175284"/>
                  </a:lnTo>
                  <a:lnTo>
                    <a:pt x="235227" y="183513"/>
                  </a:lnTo>
                  <a:lnTo>
                    <a:pt x="236913" y="186805"/>
                  </a:lnTo>
                  <a:lnTo>
                    <a:pt x="235227" y="191742"/>
                  </a:lnTo>
                  <a:lnTo>
                    <a:pt x="245344" y="214784"/>
                  </a:lnTo>
                  <a:lnTo>
                    <a:pt x="270638" y="206555"/>
                  </a:lnTo>
                  <a:lnTo>
                    <a:pt x="282441" y="211493"/>
                  </a:lnTo>
                  <a:lnTo>
                    <a:pt x="285814" y="214784"/>
                  </a:lnTo>
                  <a:lnTo>
                    <a:pt x="287500" y="227951"/>
                  </a:lnTo>
                  <a:lnTo>
                    <a:pt x="299303" y="252639"/>
                  </a:lnTo>
                  <a:lnTo>
                    <a:pt x="260520" y="283911"/>
                  </a:lnTo>
                  <a:lnTo>
                    <a:pt x="241972" y="274035"/>
                  </a:lnTo>
                  <a:lnTo>
                    <a:pt x="226796" y="272390"/>
                  </a:lnTo>
                  <a:lnTo>
                    <a:pt x="221737" y="264160"/>
                  </a:lnTo>
                  <a:lnTo>
                    <a:pt x="213306" y="262514"/>
                  </a:lnTo>
                  <a:lnTo>
                    <a:pt x="214992" y="247702"/>
                  </a:lnTo>
                  <a:lnTo>
                    <a:pt x="204875" y="247702"/>
                  </a:lnTo>
                  <a:lnTo>
                    <a:pt x="196444" y="269098"/>
                  </a:lnTo>
                  <a:lnTo>
                    <a:pt x="182954" y="285557"/>
                  </a:lnTo>
                  <a:lnTo>
                    <a:pt x="161033" y="275681"/>
                  </a:lnTo>
                  <a:lnTo>
                    <a:pt x="162719" y="274035"/>
                  </a:lnTo>
                  <a:lnTo>
                    <a:pt x="159347" y="267452"/>
                  </a:lnTo>
                  <a:lnTo>
                    <a:pt x="154288" y="270744"/>
                  </a:lnTo>
                  <a:lnTo>
                    <a:pt x="144171" y="249347"/>
                  </a:lnTo>
                  <a:lnTo>
                    <a:pt x="98643" y="269098"/>
                  </a:lnTo>
                  <a:lnTo>
                    <a:pt x="66605" y="203263"/>
                  </a:lnTo>
                  <a:lnTo>
                    <a:pt x="22763" y="224660"/>
                  </a:lnTo>
                  <a:lnTo>
                    <a:pt x="4214" y="185159"/>
                  </a:lnTo>
                  <a:lnTo>
                    <a:pt x="17704" y="158825"/>
                  </a:lnTo>
                  <a:lnTo>
                    <a:pt x="34566" y="137429"/>
                  </a:lnTo>
                  <a:lnTo>
                    <a:pt x="34566" y="117678"/>
                  </a:lnTo>
                  <a:lnTo>
                    <a:pt x="26135" y="111095"/>
                  </a:lnTo>
                  <a:lnTo>
                    <a:pt x="29507" y="109449"/>
                  </a:lnTo>
                  <a:lnTo>
                    <a:pt x="27821" y="104511"/>
                  </a:lnTo>
                  <a:lnTo>
                    <a:pt x="31194" y="109449"/>
                  </a:lnTo>
                  <a:lnTo>
                    <a:pt x="63232" y="81469"/>
                  </a:lnTo>
                  <a:lnTo>
                    <a:pt x="64918" y="88053"/>
                  </a:lnTo>
                  <a:lnTo>
                    <a:pt x="64918" y="79824"/>
                  </a:lnTo>
                  <a:lnTo>
                    <a:pt x="76722" y="84761"/>
                  </a:lnTo>
                  <a:lnTo>
                    <a:pt x="78408" y="79824"/>
                  </a:lnTo>
                  <a:lnTo>
                    <a:pt x="66605" y="74886"/>
                  </a:lnTo>
                  <a:lnTo>
                    <a:pt x="78408" y="79824"/>
                  </a:lnTo>
                  <a:lnTo>
                    <a:pt x="80094" y="74886"/>
                  </a:lnTo>
                  <a:lnTo>
                    <a:pt x="78408" y="69949"/>
                  </a:lnTo>
                  <a:lnTo>
                    <a:pt x="83467" y="68303"/>
                  </a:lnTo>
                  <a:lnTo>
                    <a:pt x="103701" y="50198"/>
                  </a:lnTo>
                  <a:lnTo>
                    <a:pt x="128995" y="48552"/>
                  </a:lnTo>
                  <a:lnTo>
                    <a:pt x="174523" y="17281"/>
                  </a:lnTo>
                  <a:lnTo>
                    <a:pt x="193071" y="13989"/>
                  </a:lnTo>
                  <a:lnTo>
                    <a:pt x="196444" y="22218"/>
                  </a:lnTo>
                  <a:lnTo>
                    <a:pt x="199816" y="15635"/>
                  </a:lnTo>
                  <a:lnTo>
                    <a:pt x="213306" y="9052"/>
                  </a:lnTo>
                  <a:lnTo>
                    <a:pt x="226796" y="4114"/>
                  </a:lnTo>
                  <a:lnTo>
                    <a:pt x="226796"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2" name="Den Haag">
              <a:extLst>
                <a:ext uri="{FF2B5EF4-FFF2-40B4-BE49-F238E27FC236}">
                  <a16:creationId xmlns:a16="http://schemas.microsoft.com/office/drawing/2014/main" id="{E0F68104-A82F-4EE6-BA12-045FA9026E4D}"/>
                </a:ext>
              </a:extLst>
            </p:cNvPr>
            <p:cNvSpPr/>
            <p:nvPr/>
          </p:nvSpPr>
          <p:spPr>
            <a:xfrm>
              <a:off x="4970967" y="3466523"/>
              <a:ext cx="243654" cy="182528"/>
            </a:xfrm>
            <a:custGeom>
              <a:avLst/>
              <a:gdLst/>
              <a:ahLst/>
              <a:cxnLst/>
              <a:rect l="l" t="t" r="r" b="b"/>
              <a:pathLst>
                <a:path w="351245" h="274320" extrusionOk="0">
                  <a:moveTo>
                    <a:pt x="171150" y="4114"/>
                  </a:moveTo>
                  <a:lnTo>
                    <a:pt x="214992" y="58427"/>
                  </a:lnTo>
                  <a:lnTo>
                    <a:pt x="211620" y="61719"/>
                  </a:lnTo>
                  <a:lnTo>
                    <a:pt x="213306" y="65011"/>
                  </a:lnTo>
                  <a:lnTo>
                    <a:pt x="199816" y="73240"/>
                  </a:lnTo>
                  <a:lnTo>
                    <a:pt x="206561" y="83116"/>
                  </a:lnTo>
                  <a:lnTo>
                    <a:pt x="221737" y="74886"/>
                  </a:lnTo>
                  <a:lnTo>
                    <a:pt x="223423" y="78178"/>
                  </a:lnTo>
                  <a:lnTo>
                    <a:pt x="226796" y="76532"/>
                  </a:lnTo>
                  <a:lnTo>
                    <a:pt x="228482" y="78178"/>
                  </a:lnTo>
                  <a:lnTo>
                    <a:pt x="253775" y="58427"/>
                  </a:lnTo>
                  <a:lnTo>
                    <a:pt x="275696" y="84761"/>
                  </a:lnTo>
                  <a:lnTo>
                    <a:pt x="274010" y="88053"/>
                  </a:lnTo>
                  <a:lnTo>
                    <a:pt x="275696" y="91345"/>
                  </a:lnTo>
                  <a:lnTo>
                    <a:pt x="216678" y="132492"/>
                  </a:lnTo>
                  <a:lnTo>
                    <a:pt x="248717" y="148950"/>
                  </a:lnTo>
                  <a:lnTo>
                    <a:pt x="226796" y="165409"/>
                  </a:lnTo>
                  <a:lnTo>
                    <a:pt x="236913" y="176930"/>
                  </a:lnTo>
                  <a:lnTo>
                    <a:pt x="243658" y="170346"/>
                  </a:lnTo>
                  <a:lnTo>
                    <a:pt x="250403" y="178576"/>
                  </a:lnTo>
                  <a:lnTo>
                    <a:pt x="253775" y="175284"/>
                  </a:lnTo>
                  <a:lnTo>
                    <a:pt x="255462" y="171992"/>
                  </a:lnTo>
                  <a:lnTo>
                    <a:pt x="248717" y="165409"/>
                  </a:lnTo>
                  <a:lnTo>
                    <a:pt x="285814" y="134137"/>
                  </a:lnTo>
                  <a:lnTo>
                    <a:pt x="292559" y="130845"/>
                  </a:lnTo>
                  <a:lnTo>
                    <a:pt x="299304" y="137429"/>
                  </a:lnTo>
                  <a:lnTo>
                    <a:pt x="307735" y="130845"/>
                  </a:lnTo>
                  <a:lnTo>
                    <a:pt x="311107" y="134137"/>
                  </a:lnTo>
                  <a:lnTo>
                    <a:pt x="322911" y="125908"/>
                  </a:lnTo>
                  <a:lnTo>
                    <a:pt x="346518" y="162117"/>
                  </a:lnTo>
                  <a:lnTo>
                    <a:pt x="349890" y="176930"/>
                  </a:lnTo>
                  <a:lnTo>
                    <a:pt x="338087" y="176930"/>
                  </a:lnTo>
                  <a:lnTo>
                    <a:pt x="348204" y="190097"/>
                  </a:lnTo>
                  <a:lnTo>
                    <a:pt x="317852" y="185159"/>
                  </a:lnTo>
                  <a:lnTo>
                    <a:pt x="312793" y="190097"/>
                  </a:lnTo>
                  <a:lnTo>
                    <a:pt x="307735" y="183513"/>
                  </a:lnTo>
                  <a:lnTo>
                    <a:pt x="299304" y="193389"/>
                  </a:lnTo>
                  <a:lnTo>
                    <a:pt x="297617" y="190097"/>
                  </a:lnTo>
                  <a:lnTo>
                    <a:pt x="274010" y="214785"/>
                  </a:lnTo>
                  <a:lnTo>
                    <a:pt x="284128" y="227952"/>
                  </a:lnTo>
                  <a:lnTo>
                    <a:pt x="295931" y="221368"/>
                  </a:lnTo>
                  <a:lnTo>
                    <a:pt x="306048" y="234535"/>
                  </a:lnTo>
                  <a:lnTo>
                    <a:pt x="284128" y="249348"/>
                  </a:lnTo>
                  <a:lnTo>
                    <a:pt x="274010" y="234535"/>
                  </a:lnTo>
                  <a:lnTo>
                    <a:pt x="253775" y="249348"/>
                  </a:lnTo>
                  <a:lnTo>
                    <a:pt x="250403" y="249348"/>
                  </a:lnTo>
                  <a:lnTo>
                    <a:pt x="243658" y="239473"/>
                  </a:lnTo>
                  <a:lnTo>
                    <a:pt x="238599" y="218076"/>
                  </a:lnTo>
                  <a:lnTo>
                    <a:pt x="233541" y="209847"/>
                  </a:lnTo>
                  <a:lnTo>
                    <a:pt x="233541" y="204910"/>
                  </a:lnTo>
                  <a:lnTo>
                    <a:pt x="243658" y="195034"/>
                  </a:lnTo>
                  <a:lnTo>
                    <a:pt x="230168" y="183513"/>
                  </a:lnTo>
                  <a:lnTo>
                    <a:pt x="235227" y="176930"/>
                  </a:lnTo>
                  <a:lnTo>
                    <a:pt x="225110" y="163763"/>
                  </a:lnTo>
                  <a:lnTo>
                    <a:pt x="206561" y="176930"/>
                  </a:lnTo>
                  <a:lnTo>
                    <a:pt x="194758" y="181867"/>
                  </a:lnTo>
                  <a:lnTo>
                    <a:pt x="196444" y="185159"/>
                  </a:lnTo>
                  <a:lnTo>
                    <a:pt x="193071" y="186805"/>
                  </a:lnTo>
                  <a:lnTo>
                    <a:pt x="159347" y="201618"/>
                  </a:lnTo>
                  <a:lnTo>
                    <a:pt x="159347" y="206555"/>
                  </a:lnTo>
                  <a:lnTo>
                    <a:pt x="149229" y="211493"/>
                  </a:lnTo>
                  <a:lnTo>
                    <a:pt x="159347" y="241118"/>
                  </a:lnTo>
                  <a:lnTo>
                    <a:pt x="172837" y="269098"/>
                  </a:lnTo>
                  <a:lnTo>
                    <a:pt x="166092" y="272390"/>
                  </a:lnTo>
                  <a:lnTo>
                    <a:pt x="162719" y="269098"/>
                  </a:lnTo>
                  <a:lnTo>
                    <a:pt x="154288" y="275682"/>
                  </a:lnTo>
                  <a:lnTo>
                    <a:pt x="145857" y="269098"/>
                  </a:lnTo>
                  <a:lnTo>
                    <a:pt x="152602" y="265807"/>
                  </a:lnTo>
                  <a:lnTo>
                    <a:pt x="140798" y="255931"/>
                  </a:lnTo>
                  <a:lnTo>
                    <a:pt x="144171" y="254285"/>
                  </a:lnTo>
                  <a:lnTo>
                    <a:pt x="139112" y="250994"/>
                  </a:lnTo>
                  <a:lnTo>
                    <a:pt x="139112" y="246056"/>
                  </a:lnTo>
                  <a:lnTo>
                    <a:pt x="137426" y="247702"/>
                  </a:lnTo>
                  <a:lnTo>
                    <a:pt x="134053" y="246056"/>
                  </a:lnTo>
                  <a:lnTo>
                    <a:pt x="128995" y="232889"/>
                  </a:lnTo>
                  <a:lnTo>
                    <a:pt x="125622" y="236181"/>
                  </a:lnTo>
                  <a:lnTo>
                    <a:pt x="120564" y="224660"/>
                  </a:lnTo>
                  <a:lnTo>
                    <a:pt x="83467" y="250994"/>
                  </a:lnTo>
                  <a:lnTo>
                    <a:pt x="63232" y="216431"/>
                  </a:lnTo>
                  <a:lnTo>
                    <a:pt x="53115" y="227952"/>
                  </a:lnTo>
                  <a:lnTo>
                    <a:pt x="39625" y="229597"/>
                  </a:lnTo>
                  <a:lnTo>
                    <a:pt x="27821" y="236181"/>
                  </a:lnTo>
                  <a:lnTo>
                    <a:pt x="24449" y="229597"/>
                  </a:lnTo>
                  <a:lnTo>
                    <a:pt x="27821" y="227952"/>
                  </a:lnTo>
                  <a:lnTo>
                    <a:pt x="9273" y="190097"/>
                  </a:lnTo>
                  <a:lnTo>
                    <a:pt x="7587" y="178576"/>
                  </a:lnTo>
                  <a:lnTo>
                    <a:pt x="4214" y="175284"/>
                  </a:lnTo>
                  <a:lnTo>
                    <a:pt x="7587" y="176930"/>
                  </a:lnTo>
                  <a:lnTo>
                    <a:pt x="12645" y="171992"/>
                  </a:lnTo>
                  <a:lnTo>
                    <a:pt x="10959" y="168700"/>
                  </a:lnTo>
                  <a:lnTo>
                    <a:pt x="12645" y="171992"/>
                  </a:lnTo>
                  <a:lnTo>
                    <a:pt x="16018" y="170346"/>
                  </a:lnTo>
                  <a:lnTo>
                    <a:pt x="17704" y="167055"/>
                  </a:lnTo>
                  <a:lnTo>
                    <a:pt x="16018" y="165409"/>
                  </a:lnTo>
                  <a:lnTo>
                    <a:pt x="17704" y="167055"/>
                  </a:lnTo>
                  <a:lnTo>
                    <a:pt x="26135" y="157179"/>
                  </a:lnTo>
                  <a:lnTo>
                    <a:pt x="24449" y="155534"/>
                  </a:lnTo>
                  <a:lnTo>
                    <a:pt x="26135" y="157179"/>
                  </a:lnTo>
                  <a:lnTo>
                    <a:pt x="31194" y="152242"/>
                  </a:lnTo>
                  <a:lnTo>
                    <a:pt x="29508" y="150596"/>
                  </a:lnTo>
                  <a:lnTo>
                    <a:pt x="31194" y="152242"/>
                  </a:lnTo>
                  <a:lnTo>
                    <a:pt x="34566" y="147304"/>
                  </a:lnTo>
                  <a:lnTo>
                    <a:pt x="32880" y="145658"/>
                  </a:lnTo>
                  <a:lnTo>
                    <a:pt x="36252" y="147304"/>
                  </a:lnTo>
                  <a:lnTo>
                    <a:pt x="39625" y="142367"/>
                  </a:lnTo>
                  <a:lnTo>
                    <a:pt x="37939" y="140721"/>
                  </a:lnTo>
                  <a:lnTo>
                    <a:pt x="39625" y="142367"/>
                  </a:lnTo>
                  <a:lnTo>
                    <a:pt x="44684" y="137429"/>
                  </a:lnTo>
                  <a:lnTo>
                    <a:pt x="42997" y="135783"/>
                  </a:lnTo>
                  <a:lnTo>
                    <a:pt x="44684" y="137429"/>
                  </a:lnTo>
                  <a:lnTo>
                    <a:pt x="48056" y="134137"/>
                  </a:lnTo>
                  <a:lnTo>
                    <a:pt x="44684" y="132492"/>
                  </a:lnTo>
                  <a:lnTo>
                    <a:pt x="48056" y="134137"/>
                  </a:lnTo>
                  <a:lnTo>
                    <a:pt x="51428" y="130845"/>
                  </a:lnTo>
                  <a:lnTo>
                    <a:pt x="48056" y="129200"/>
                  </a:lnTo>
                  <a:lnTo>
                    <a:pt x="51428" y="130845"/>
                  </a:lnTo>
                  <a:lnTo>
                    <a:pt x="53115" y="127554"/>
                  </a:lnTo>
                  <a:lnTo>
                    <a:pt x="51428" y="125908"/>
                  </a:lnTo>
                  <a:lnTo>
                    <a:pt x="53115" y="127554"/>
                  </a:lnTo>
                  <a:lnTo>
                    <a:pt x="59860" y="120971"/>
                  </a:lnTo>
                  <a:lnTo>
                    <a:pt x="56487" y="119324"/>
                  </a:lnTo>
                  <a:lnTo>
                    <a:pt x="59860" y="120971"/>
                  </a:lnTo>
                  <a:lnTo>
                    <a:pt x="80094" y="97928"/>
                  </a:lnTo>
                  <a:lnTo>
                    <a:pt x="98643" y="71595"/>
                  </a:lnTo>
                  <a:lnTo>
                    <a:pt x="91898" y="60074"/>
                  </a:lnTo>
                  <a:lnTo>
                    <a:pt x="95270" y="68303"/>
                  </a:lnTo>
                  <a:lnTo>
                    <a:pt x="100329" y="73240"/>
                  </a:lnTo>
                  <a:lnTo>
                    <a:pt x="103701" y="73240"/>
                  </a:lnTo>
                  <a:lnTo>
                    <a:pt x="102015" y="76532"/>
                  </a:lnTo>
                  <a:lnTo>
                    <a:pt x="110446" y="78178"/>
                  </a:lnTo>
                  <a:lnTo>
                    <a:pt x="110446" y="73240"/>
                  </a:lnTo>
                  <a:lnTo>
                    <a:pt x="113819" y="76532"/>
                  </a:lnTo>
                  <a:lnTo>
                    <a:pt x="108760" y="83116"/>
                  </a:lnTo>
                  <a:lnTo>
                    <a:pt x="110446" y="84761"/>
                  </a:lnTo>
                  <a:lnTo>
                    <a:pt x="122250" y="71595"/>
                  </a:lnTo>
                  <a:lnTo>
                    <a:pt x="120564" y="69949"/>
                  </a:lnTo>
                  <a:lnTo>
                    <a:pt x="113819" y="76532"/>
                  </a:lnTo>
                  <a:lnTo>
                    <a:pt x="112133" y="73240"/>
                  </a:lnTo>
                  <a:lnTo>
                    <a:pt x="117191" y="68303"/>
                  </a:lnTo>
                  <a:lnTo>
                    <a:pt x="115505" y="65011"/>
                  </a:lnTo>
                  <a:lnTo>
                    <a:pt x="108760" y="73240"/>
                  </a:lnTo>
                  <a:lnTo>
                    <a:pt x="105388" y="71595"/>
                  </a:lnTo>
                  <a:lnTo>
                    <a:pt x="105388" y="68303"/>
                  </a:lnTo>
                  <a:lnTo>
                    <a:pt x="100329" y="66657"/>
                  </a:lnTo>
                  <a:lnTo>
                    <a:pt x="100329" y="61719"/>
                  </a:lnTo>
                  <a:lnTo>
                    <a:pt x="96956" y="60074"/>
                  </a:lnTo>
                  <a:lnTo>
                    <a:pt x="100329" y="61719"/>
                  </a:lnTo>
                  <a:lnTo>
                    <a:pt x="102015" y="66657"/>
                  </a:lnTo>
                  <a:lnTo>
                    <a:pt x="108760" y="63365"/>
                  </a:lnTo>
                  <a:lnTo>
                    <a:pt x="127309" y="45261"/>
                  </a:lnTo>
                  <a:lnTo>
                    <a:pt x="128995" y="41969"/>
                  </a:lnTo>
                  <a:lnTo>
                    <a:pt x="125622" y="40323"/>
                  </a:lnTo>
                  <a:lnTo>
                    <a:pt x="128995" y="41969"/>
                  </a:lnTo>
                  <a:lnTo>
                    <a:pt x="139112" y="32094"/>
                  </a:lnTo>
                  <a:lnTo>
                    <a:pt x="132367" y="28802"/>
                  </a:lnTo>
                  <a:lnTo>
                    <a:pt x="135740" y="27156"/>
                  </a:lnTo>
                  <a:lnTo>
                    <a:pt x="139112" y="32094"/>
                  </a:lnTo>
                  <a:lnTo>
                    <a:pt x="144171" y="27156"/>
                  </a:lnTo>
                  <a:lnTo>
                    <a:pt x="142485" y="23865"/>
                  </a:lnTo>
                  <a:lnTo>
                    <a:pt x="144171" y="27156"/>
                  </a:lnTo>
                  <a:lnTo>
                    <a:pt x="147543" y="25510"/>
                  </a:lnTo>
                  <a:lnTo>
                    <a:pt x="17115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3" name="Staphorst">
              <a:extLst>
                <a:ext uri="{FF2B5EF4-FFF2-40B4-BE49-F238E27FC236}">
                  <a16:creationId xmlns:a16="http://schemas.microsoft.com/office/drawing/2014/main" id="{2FD8C66F-2A29-4506-B258-386B99C6FFB7}"/>
                </a:ext>
              </a:extLst>
            </p:cNvPr>
            <p:cNvSpPr/>
            <p:nvPr/>
          </p:nvSpPr>
          <p:spPr>
            <a:xfrm>
              <a:off x="6961716" y="2560266"/>
              <a:ext cx="243654" cy="182528"/>
            </a:xfrm>
            <a:custGeom>
              <a:avLst/>
              <a:gdLst/>
              <a:ahLst/>
              <a:cxnLst/>
              <a:rect l="l" t="t" r="r" b="b"/>
              <a:pathLst>
                <a:path w="351245" h="274320" extrusionOk="0">
                  <a:moveTo>
                    <a:pt x="103701" y="5760"/>
                  </a:moveTo>
                  <a:lnTo>
                    <a:pt x="113819" y="17281"/>
                  </a:lnTo>
                  <a:lnTo>
                    <a:pt x="103701" y="32094"/>
                  </a:lnTo>
                  <a:lnTo>
                    <a:pt x="134053" y="43615"/>
                  </a:lnTo>
                  <a:lnTo>
                    <a:pt x="132367" y="40323"/>
                  </a:lnTo>
                  <a:lnTo>
                    <a:pt x="135740" y="38677"/>
                  </a:lnTo>
                  <a:lnTo>
                    <a:pt x="130681" y="28802"/>
                  </a:lnTo>
                  <a:lnTo>
                    <a:pt x="137426" y="25510"/>
                  </a:lnTo>
                  <a:lnTo>
                    <a:pt x="140798" y="33740"/>
                  </a:lnTo>
                  <a:lnTo>
                    <a:pt x="145857" y="33740"/>
                  </a:lnTo>
                  <a:lnTo>
                    <a:pt x="147543" y="40323"/>
                  </a:lnTo>
                  <a:lnTo>
                    <a:pt x="150916" y="40323"/>
                  </a:lnTo>
                  <a:lnTo>
                    <a:pt x="152602" y="33740"/>
                  </a:lnTo>
                  <a:lnTo>
                    <a:pt x="162719" y="20573"/>
                  </a:lnTo>
                  <a:lnTo>
                    <a:pt x="177895" y="20573"/>
                  </a:lnTo>
                  <a:lnTo>
                    <a:pt x="181268" y="15635"/>
                  </a:lnTo>
                  <a:lnTo>
                    <a:pt x="189699" y="17281"/>
                  </a:lnTo>
                  <a:lnTo>
                    <a:pt x="188013" y="20573"/>
                  </a:lnTo>
                  <a:lnTo>
                    <a:pt x="191385" y="25510"/>
                  </a:lnTo>
                  <a:lnTo>
                    <a:pt x="199816" y="28802"/>
                  </a:lnTo>
                  <a:lnTo>
                    <a:pt x="208247" y="28802"/>
                  </a:lnTo>
                  <a:lnTo>
                    <a:pt x="209934" y="30448"/>
                  </a:lnTo>
                  <a:lnTo>
                    <a:pt x="208247" y="33740"/>
                  </a:lnTo>
                  <a:lnTo>
                    <a:pt x="214992" y="37031"/>
                  </a:lnTo>
                  <a:lnTo>
                    <a:pt x="225110" y="33740"/>
                  </a:lnTo>
                  <a:lnTo>
                    <a:pt x="231855" y="41969"/>
                  </a:lnTo>
                  <a:lnTo>
                    <a:pt x="233541" y="46906"/>
                  </a:lnTo>
                  <a:lnTo>
                    <a:pt x="230168" y="48552"/>
                  </a:lnTo>
                  <a:lnTo>
                    <a:pt x="233541" y="51844"/>
                  </a:lnTo>
                  <a:lnTo>
                    <a:pt x="236913" y="51844"/>
                  </a:lnTo>
                  <a:lnTo>
                    <a:pt x="238599" y="55136"/>
                  </a:lnTo>
                  <a:lnTo>
                    <a:pt x="250403" y="53490"/>
                  </a:lnTo>
                  <a:lnTo>
                    <a:pt x="258834" y="56782"/>
                  </a:lnTo>
                  <a:lnTo>
                    <a:pt x="258834" y="63365"/>
                  </a:lnTo>
                  <a:lnTo>
                    <a:pt x="265579" y="68303"/>
                  </a:lnTo>
                  <a:lnTo>
                    <a:pt x="270638" y="68303"/>
                  </a:lnTo>
                  <a:lnTo>
                    <a:pt x="275696" y="58428"/>
                  </a:lnTo>
                  <a:lnTo>
                    <a:pt x="279069" y="56782"/>
                  </a:lnTo>
                  <a:lnTo>
                    <a:pt x="289186" y="61719"/>
                  </a:lnTo>
                  <a:lnTo>
                    <a:pt x="287500" y="66657"/>
                  </a:lnTo>
                  <a:lnTo>
                    <a:pt x="290872" y="69949"/>
                  </a:lnTo>
                  <a:lnTo>
                    <a:pt x="302676" y="73240"/>
                  </a:lnTo>
                  <a:lnTo>
                    <a:pt x="306048" y="63365"/>
                  </a:lnTo>
                  <a:lnTo>
                    <a:pt x="309421" y="65011"/>
                  </a:lnTo>
                  <a:lnTo>
                    <a:pt x="314480" y="60073"/>
                  </a:lnTo>
                  <a:lnTo>
                    <a:pt x="319538" y="63365"/>
                  </a:lnTo>
                  <a:lnTo>
                    <a:pt x="324597" y="61719"/>
                  </a:lnTo>
                  <a:lnTo>
                    <a:pt x="339773" y="53490"/>
                  </a:lnTo>
                  <a:lnTo>
                    <a:pt x="351576" y="56782"/>
                  </a:lnTo>
                  <a:lnTo>
                    <a:pt x="354949" y="65011"/>
                  </a:lnTo>
                  <a:lnTo>
                    <a:pt x="349890" y="71595"/>
                  </a:lnTo>
                  <a:lnTo>
                    <a:pt x="351576" y="76532"/>
                  </a:lnTo>
                  <a:lnTo>
                    <a:pt x="349890" y="78178"/>
                  </a:lnTo>
                  <a:lnTo>
                    <a:pt x="351576" y="81470"/>
                  </a:lnTo>
                  <a:lnTo>
                    <a:pt x="317852" y="229597"/>
                  </a:lnTo>
                  <a:lnTo>
                    <a:pt x="292559" y="236181"/>
                  </a:lnTo>
                  <a:lnTo>
                    <a:pt x="292559" y="232889"/>
                  </a:lnTo>
                  <a:lnTo>
                    <a:pt x="287500" y="234535"/>
                  </a:lnTo>
                  <a:lnTo>
                    <a:pt x="287500" y="236181"/>
                  </a:lnTo>
                  <a:lnTo>
                    <a:pt x="274010" y="239473"/>
                  </a:lnTo>
                  <a:lnTo>
                    <a:pt x="274010" y="236181"/>
                  </a:lnTo>
                  <a:lnTo>
                    <a:pt x="268951" y="236181"/>
                  </a:lnTo>
                  <a:lnTo>
                    <a:pt x="250403" y="239473"/>
                  </a:lnTo>
                  <a:lnTo>
                    <a:pt x="250403" y="244410"/>
                  </a:lnTo>
                  <a:lnTo>
                    <a:pt x="233541" y="247702"/>
                  </a:lnTo>
                  <a:lnTo>
                    <a:pt x="154288" y="264160"/>
                  </a:lnTo>
                  <a:lnTo>
                    <a:pt x="130681" y="254285"/>
                  </a:lnTo>
                  <a:lnTo>
                    <a:pt x="83467" y="262515"/>
                  </a:lnTo>
                  <a:lnTo>
                    <a:pt x="81780" y="264160"/>
                  </a:lnTo>
                  <a:lnTo>
                    <a:pt x="58173" y="272390"/>
                  </a:lnTo>
                  <a:lnTo>
                    <a:pt x="48056" y="249348"/>
                  </a:lnTo>
                  <a:lnTo>
                    <a:pt x="49742" y="244410"/>
                  </a:lnTo>
                  <a:lnTo>
                    <a:pt x="48056" y="241118"/>
                  </a:lnTo>
                  <a:lnTo>
                    <a:pt x="41311" y="232889"/>
                  </a:lnTo>
                  <a:lnTo>
                    <a:pt x="19390" y="218076"/>
                  </a:lnTo>
                  <a:lnTo>
                    <a:pt x="16018" y="213139"/>
                  </a:lnTo>
                  <a:lnTo>
                    <a:pt x="21076" y="209847"/>
                  </a:lnTo>
                  <a:lnTo>
                    <a:pt x="16018" y="196680"/>
                  </a:lnTo>
                  <a:lnTo>
                    <a:pt x="21076" y="191742"/>
                  </a:lnTo>
                  <a:lnTo>
                    <a:pt x="22763" y="181867"/>
                  </a:lnTo>
                  <a:lnTo>
                    <a:pt x="19390" y="180221"/>
                  </a:lnTo>
                  <a:lnTo>
                    <a:pt x="21076" y="175284"/>
                  </a:lnTo>
                  <a:lnTo>
                    <a:pt x="17704" y="175284"/>
                  </a:lnTo>
                  <a:lnTo>
                    <a:pt x="16018" y="165409"/>
                  </a:lnTo>
                  <a:lnTo>
                    <a:pt x="7587" y="165409"/>
                  </a:lnTo>
                  <a:lnTo>
                    <a:pt x="4214" y="152242"/>
                  </a:lnTo>
                  <a:lnTo>
                    <a:pt x="5900" y="140721"/>
                  </a:lnTo>
                  <a:lnTo>
                    <a:pt x="12645" y="129200"/>
                  </a:lnTo>
                  <a:lnTo>
                    <a:pt x="16018" y="114387"/>
                  </a:lnTo>
                  <a:lnTo>
                    <a:pt x="16018" y="89699"/>
                  </a:lnTo>
                  <a:lnTo>
                    <a:pt x="19390" y="89699"/>
                  </a:lnTo>
                  <a:lnTo>
                    <a:pt x="39625" y="69949"/>
                  </a:lnTo>
                  <a:lnTo>
                    <a:pt x="39625" y="61719"/>
                  </a:lnTo>
                  <a:lnTo>
                    <a:pt x="42997" y="61719"/>
                  </a:lnTo>
                  <a:lnTo>
                    <a:pt x="51428" y="51844"/>
                  </a:lnTo>
                  <a:lnTo>
                    <a:pt x="56487" y="53490"/>
                  </a:lnTo>
                  <a:lnTo>
                    <a:pt x="63232" y="46906"/>
                  </a:lnTo>
                  <a:lnTo>
                    <a:pt x="63232" y="40323"/>
                  </a:lnTo>
                  <a:lnTo>
                    <a:pt x="78408" y="32094"/>
                  </a:lnTo>
                  <a:lnTo>
                    <a:pt x="86839" y="22218"/>
                  </a:lnTo>
                  <a:lnTo>
                    <a:pt x="91898" y="7406"/>
                  </a:lnTo>
                  <a:lnTo>
                    <a:pt x="98643" y="4114"/>
                  </a:lnTo>
                  <a:lnTo>
                    <a:pt x="103701"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4" name="Brunssum">
              <a:extLst>
                <a:ext uri="{FF2B5EF4-FFF2-40B4-BE49-F238E27FC236}">
                  <a16:creationId xmlns:a16="http://schemas.microsoft.com/office/drawing/2014/main" id="{11EA1E72-E274-408D-BA0E-3FD212194FC4}"/>
                </a:ext>
              </a:extLst>
            </p:cNvPr>
            <p:cNvSpPr/>
            <p:nvPr/>
          </p:nvSpPr>
          <p:spPr>
            <a:xfrm>
              <a:off x="6810881" y="5342435"/>
              <a:ext cx="101653" cy="56676"/>
            </a:xfrm>
            <a:custGeom>
              <a:avLst/>
              <a:gdLst/>
              <a:ahLst/>
              <a:cxnLst/>
              <a:rect l="l" t="t" r="r" b="b"/>
              <a:pathLst>
                <a:path w="140498" h="91440" extrusionOk="0">
                  <a:moveTo>
                    <a:pt x="66605" y="9052"/>
                  </a:moveTo>
                  <a:lnTo>
                    <a:pt x="75036" y="12344"/>
                  </a:lnTo>
                  <a:lnTo>
                    <a:pt x="75036" y="15635"/>
                  </a:lnTo>
                  <a:lnTo>
                    <a:pt x="85153" y="9052"/>
                  </a:lnTo>
                  <a:lnTo>
                    <a:pt x="125622" y="15635"/>
                  </a:lnTo>
                  <a:lnTo>
                    <a:pt x="123936" y="18927"/>
                  </a:lnTo>
                  <a:lnTo>
                    <a:pt x="142485" y="28803"/>
                  </a:lnTo>
                  <a:lnTo>
                    <a:pt x="139112" y="40323"/>
                  </a:lnTo>
                  <a:lnTo>
                    <a:pt x="144171" y="71595"/>
                  </a:lnTo>
                  <a:lnTo>
                    <a:pt x="134053" y="91345"/>
                  </a:lnTo>
                  <a:lnTo>
                    <a:pt x="76722" y="86407"/>
                  </a:lnTo>
                  <a:lnTo>
                    <a:pt x="59860" y="74887"/>
                  </a:lnTo>
                  <a:lnTo>
                    <a:pt x="54801" y="73240"/>
                  </a:lnTo>
                  <a:lnTo>
                    <a:pt x="44684" y="74887"/>
                  </a:lnTo>
                  <a:lnTo>
                    <a:pt x="26135" y="91345"/>
                  </a:lnTo>
                  <a:lnTo>
                    <a:pt x="7587" y="74887"/>
                  </a:lnTo>
                  <a:lnTo>
                    <a:pt x="4214" y="68303"/>
                  </a:lnTo>
                  <a:lnTo>
                    <a:pt x="14332" y="63365"/>
                  </a:lnTo>
                  <a:lnTo>
                    <a:pt x="9273" y="55136"/>
                  </a:lnTo>
                  <a:lnTo>
                    <a:pt x="16018" y="43615"/>
                  </a:lnTo>
                  <a:lnTo>
                    <a:pt x="41311" y="28803"/>
                  </a:lnTo>
                  <a:lnTo>
                    <a:pt x="58174" y="13990"/>
                  </a:lnTo>
                  <a:lnTo>
                    <a:pt x="61546" y="5760"/>
                  </a:lnTo>
                  <a:lnTo>
                    <a:pt x="68291" y="4114"/>
                  </a:lnTo>
                  <a:lnTo>
                    <a:pt x="66605"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5" name="Kaag en Braassem">
              <a:extLst>
                <a:ext uri="{FF2B5EF4-FFF2-40B4-BE49-F238E27FC236}">
                  <a16:creationId xmlns:a16="http://schemas.microsoft.com/office/drawing/2014/main" id="{4525EA1A-391B-45E2-9AE1-55150CD20B9F}"/>
                </a:ext>
              </a:extLst>
            </p:cNvPr>
            <p:cNvSpPr/>
            <p:nvPr/>
          </p:nvSpPr>
          <p:spPr>
            <a:xfrm>
              <a:off x="5334019" y="3302964"/>
              <a:ext cx="208413" cy="127698"/>
            </a:xfrm>
            <a:custGeom>
              <a:avLst/>
              <a:gdLst/>
              <a:ahLst/>
              <a:cxnLst/>
              <a:rect l="l" t="t" r="r" b="b"/>
              <a:pathLst>
                <a:path w="292704" h="194310" extrusionOk="0">
                  <a:moveTo>
                    <a:pt x="282441" y="7405"/>
                  </a:moveTo>
                  <a:lnTo>
                    <a:pt x="287500" y="9052"/>
                  </a:lnTo>
                  <a:lnTo>
                    <a:pt x="285814" y="37031"/>
                  </a:lnTo>
                  <a:lnTo>
                    <a:pt x="287500" y="53490"/>
                  </a:lnTo>
                  <a:lnTo>
                    <a:pt x="295931" y="61719"/>
                  </a:lnTo>
                  <a:lnTo>
                    <a:pt x="285814" y="58427"/>
                  </a:lnTo>
                  <a:lnTo>
                    <a:pt x="282441" y="83115"/>
                  </a:lnTo>
                  <a:lnTo>
                    <a:pt x="262207" y="73240"/>
                  </a:lnTo>
                  <a:lnTo>
                    <a:pt x="243658" y="111095"/>
                  </a:lnTo>
                  <a:lnTo>
                    <a:pt x="233541" y="104512"/>
                  </a:lnTo>
                  <a:lnTo>
                    <a:pt x="218365" y="175284"/>
                  </a:lnTo>
                  <a:lnTo>
                    <a:pt x="161033" y="176929"/>
                  </a:lnTo>
                  <a:lnTo>
                    <a:pt x="54801" y="198326"/>
                  </a:lnTo>
                  <a:lnTo>
                    <a:pt x="39625" y="178575"/>
                  </a:lnTo>
                  <a:lnTo>
                    <a:pt x="39625" y="176929"/>
                  </a:lnTo>
                  <a:lnTo>
                    <a:pt x="37939" y="170346"/>
                  </a:lnTo>
                  <a:lnTo>
                    <a:pt x="39625" y="165409"/>
                  </a:lnTo>
                  <a:lnTo>
                    <a:pt x="37939" y="163763"/>
                  </a:lnTo>
                  <a:lnTo>
                    <a:pt x="26135" y="171992"/>
                  </a:lnTo>
                  <a:lnTo>
                    <a:pt x="21076" y="168700"/>
                  </a:lnTo>
                  <a:lnTo>
                    <a:pt x="9273" y="148950"/>
                  </a:lnTo>
                  <a:lnTo>
                    <a:pt x="4214" y="129199"/>
                  </a:lnTo>
                  <a:lnTo>
                    <a:pt x="12645" y="112741"/>
                  </a:lnTo>
                  <a:lnTo>
                    <a:pt x="17704" y="84761"/>
                  </a:lnTo>
                  <a:lnTo>
                    <a:pt x="32880" y="88053"/>
                  </a:lnTo>
                  <a:lnTo>
                    <a:pt x="29507" y="84761"/>
                  </a:lnTo>
                  <a:lnTo>
                    <a:pt x="36252" y="81470"/>
                  </a:lnTo>
                  <a:lnTo>
                    <a:pt x="39625" y="74886"/>
                  </a:lnTo>
                  <a:lnTo>
                    <a:pt x="34566" y="69949"/>
                  </a:lnTo>
                  <a:lnTo>
                    <a:pt x="36252" y="58427"/>
                  </a:lnTo>
                  <a:lnTo>
                    <a:pt x="29507" y="53490"/>
                  </a:lnTo>
                  <a:lnTo>
                    <a:pt x="34566" y="46906"/>
                  </a:lnTo>
                  <a:lnTo>
                    <a:pt x="36252" y="37031"/>
                  </a:lnTo>
                  <a:lnTo>
                    <a:pt x="54801" y="41969"/>
                  </a:lnTo>
                  <a:lnTo>
                    <a:pt x="73349" y="38677"/>
                  </a:lnTo>
                  <a:lnTo>
                    <a:pt x="102015" y="48552"/>
                  </a:lnTo>
                  <a:lnTo>
                    <a:pt x="128995" y="48552"/>
                  </a:lnTo>
                  <a:lnTo>
                    <a:pt x="149229" y="45260"/>
                  </a:lnTo>
                  <a:lnTo>
                    <a:pt x="186326" y="22218"/>
                  </a:lnTo>
                  <a:lnTo>
                    <a:pt x="198130" y="18926"/>
                  </a:lnTo>
                  <a:lnTo>
                    <a:pt x="206561" y="10697"/>
                  </a:lnTo>
                  <a:lnTo>
                    <a:pt x="214992" y="22218"/>
                  </a:lnTo>
                  <a:lnTo>
                    <a:pt x="230168" y="20573"/>
                  </a:lnTo>
                  <a:lnTo>
                    <a:pt x="245344" y="7405"/>
                  </a:lnTo>
                  <a:lnTo>
                    <a:pt x="257148" y="4114"/>
                  </a:lnTo>
                  <a:lnTo>
                    <a:pt x="282441"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6" name="Oss">
              <a:extLst>
                <a:ext uri="{FF2B5EF4-FFF2-40B4-BE49-F238E27FC236}">
                  <a16:creationId xmlns:a16="http://schemas.microsoft.com/office/drawing/2014/main" id="{8DDFF599-8DB3-45C7-8D17-3DF39D341866}"/>
                </a:ext>
              </a:extLst>
            </p:cNvPr>
            <p:cNvSpPr/>
            <p:nvPr/>
          </p:nvSpPr>
          <p:spPr>
            <a:xfrm>
              <a:off x="6193592" y="3948221"/>
              <a:ext cx="373851" cy="165501"/>
            </a:xfrm>
            <a:custGeom>
              <a:avLst/>
              <a:gdLst/>
              <a:ahLst/>
              <a:cxnLst/>
              <a:rect l="l" t="t" r="r" b="b"/>
              <a:pathLst>
                <a:path w="550283" h="251460" extrusionOk="0">
                  <a:moveTo>
                    <a:pt x="285813" y="38677"/>
                  </a:moveTo>
                  <a:lnTo>
                    <a:pt x="299303" y="33739"/>
                  </a:lnTo>
                  <a:lnTo>
                    <a:pt x="307734" y="17281"/>
                  </a:lnTo>
                  <a:lnTo>
                    <a:pt x="314479" y="12343"/>
                  </a:lnTo>
                  <a:lnTo>
                    <a:pt x="341459" y="10697"/>
                  </a:lnTo>
                  <a:lnTo>
                    <a:pt x="361694" y="5760"/>
                  </a:lnTo>
                  <a:lnTo>
                    <a:pt x="385301" y="12343"/>
                  </a:lnTo>
                  <a:lnTo>
                    <a:pt x="410594" y="30448"/>
                  </a:lnTo>
                  <a:lnTo>
                    <a:pt x="434201" y="30448"/>
                  </a:lnTo>
                  <a:lnTo>
                    <a:pt x="442632" y="32094"/>
                  </a:lnTo>
                  <a:lnTo>
                    <a:pt x="451064" y="40323"/>
                  </a:lnTo>
                  <a:lnTo>
                    <a:pt x="461181" y="69949"/>
                  </a:lnTo>
                  <a:lnTo>
                    <a:pt x="474671" y="86407"/>
                  </a:lnTo>
                  <a:lnTo>
                    <a:pt x="484788" y="94636"/>
                  </a:lnTo>
                  <a:lnTo>
                    <a:pt x="506709" y="96282"/>
                  </a:lnTo>
                  <a:lnTo>
                    <a:pt x="520199" y="102866"/>
                  </a:lnTo>
                  <a:lnTo>
                    <a:pt x="528630" y="111095"/>
                  </a:lnTo>
                  <a:lnTo>
                    <a:pt x="538747" y="130845"/>
                  </a:lnTo>
                  <a:lnTo>
                    <a:pt x="552237" y="137429"/>
                  </a:lnTo>
                  <a:lnTo>
                    <a:pt x="537061" y="152242"/>
                  </a:lnTo>
                  <a:lnTo>
                    <a:pt x="528630" y="170346"/>
                  </a:lnTo>
                  <a:lnTo>
                    <a:pt x="523571" y="175284"/>
                  </a:lnTo>
                  <a:lnTo>
                    <a:pt x="513454" y="175284"/>
                  </a:lnTo>
                  <a:lnTo>
                    <a:pt x="505023" y="170346"/>
                  </a:lnTo>
                  <a:lnTo>
                    <a:pt x="496591" y="153887"/>
                  </a:lnTo>
                  <a:lnTo>
                    <a:pt x="489847" y="167054"/>
                  </a:lnTo>
                  <a:lnTo>
                    <a:pt x="484788" y="193388"/>
                  </a:lnTo>
                  <a:lnTo>
                    <a:pt x="474671" y="185159"/>
                  </a:lnTo>
                  <a:lnTo>
                    <a:pt x="456122" y="163763"/>
                  </a:lnTo>
                  <a:lnTo>
                    <a:pt x="451064" y="167054"/>
                  </a:lnTo>
                  <a:lnTo>
                    <a:pt x="434201" y="171992"/>
                  </a:lnTo>
                  <a:lnTo>
                    <a:pt x="437574" y="178575"/>
                  </a:lnTo>
                  <a:lnTo>
                    <a:pt x="435887" y="178575"/>
                  </a:lnTo>
                  <a:lnTo>
                    <a:pt x="407222" y="186805"/>
                  </a:lnTo>
                  <a:lnTo>
                    <a:pt x="405535" y="183513"/>
                  </a:lnTo>
                  <a:lnTo>
                    <a:pt x="378556" y="196680"/>
                  </a:lnTo>
                  <a:lnTo>
                    <a:pt x="376870" y="204909"/>
                  </a:lnTo>
                  <a:lnTo>
                    <a:pt x="346518" y="211493"/>
                  </a:lnTo>
                  <a:lnTo>
                    <a:pt x="348204" y="232889"/>
                  </a:lnTo>
                  <a:lnTo>
                    <a:pt x="351576" y="239472"/>
                  </a:lnTo>
                  <a:lnTo>
                    <a:pt x="354949" y="239472"/>
                  </a:lnTo>
                  <a:lnTo>
                    <a:pt x="353262" y="242764"/>
                  </a:lnTo>
                  <a:lnTo>
                    <a:pt x="338086" y="244410"/>
                  </a:lnTo>
                  <a:lnTo>
                    <a:pt x="321224" y="241118"/>
                  </a:lnTo>
                  <a:lnTo>
                    <a:pt x="290872" y="224660"/>
                  </a:lnTo>
                  <a:lnTo>
                    <a:pt x="280755" y="221368"/>
                  </a:lnTo>
                  <a:lnTo>
                    <a:pt x="272324" y="221368"/>
                  </a:lnTo>
                  <a:lnTo>
                    <a:pt x="241972" y="229597"/>
                  </a:lnTo>
                  <a:lnTo>
                    <a:pt x="240286" y="227951"/>
                  </a:lnTo>
                  <a:lnTo>
                    <a:pt x="172836" y="257577"/>
                  </a:lnTo>
                  <a:lnTo>
                    <a:pt x="167778" y="246056"/>
                  </a:lnTo>
                  <a:lnTo>
                    <a:pt x="164405" y="247702"/>
                  </a:lnTo>
                  <a:lnTo>
                    <a:pt x="154288" y="237826"/>
                  </a:lnTo>
                  <a:lnTo>
                    <a:pt x="157661" y="234535"/>
                  </a:lnTo>
                  <a:lnTo>
                    <a:pt x="142484" y="196680"/>
                  </a:lnTo>
                  <a:lnTo>
                    <a:pt x="142484" y="191742"/>
                  </a:lnTo>
                  <a:lnTo>
                    <a:pt x="134053" y="162117"/>
                  </a:lnTo>
                  <a:lnTo>
                    <a:pt x="61546" y="175284"/>
                  </a:lnTo>
                  <a:lnTo>
                    <a:pt x="34566" y="191742"/>
                  </a:lnTo>
                  <a:lnTo>
                    <a:pt x="17704" y="195034"/>
                  </a:lnTo>
                  <a:lnTo>
                    <a:pt x="7586" y="195034"/>
                  </a:lnTo>
                  <a:lnTo>
                    <a:pt x="4214" y="185159"/>
                  </a:lnTo>
                  <a:lnTo>
                    <a:pt x="14331" y="171992"/>
                  </a:lnTo>
                  <a:lnTo>
                    <a:pt x="16018" y="139075"/>
                  </a:lnTo>
                  <a:lnTo>
                    <a:pt x="22763" y="112741"/>
                  </a:lnTo>
                  <a:lnTo>
                    <a:pt x="49742" y="66657"/>
                  </a:lnTo>
                  <a:lnTo>
                    <a:pt x="66604" y="46906"/>
                  </a:lnTo>
                  <a:lnTo>
                    <a:pt x="80094" y="25510"/>
                  </a:lnTo>
                  <a:lnTo>
                    <a:pt x="86839" y="23864"/>
                  </a:lnTo>
                  <a:lnTo>
                    <a:pt x="95270" y="25510"/>
                  </a:lnTo>
                  <a:lnTo>
                    <a:pt x="110446" y="45260"/>
                  </a:lnTo>
                  <a:lnTo>
                    <a:pt x="123936" y="51844"/>
                  </a:lnTo>
                  <a:lnTo>
                    <a:pt x="144170" y="55136"/>
                  </a:lnTo>
                  <a:lnTo>
                    <a:pt x="164405" y="53490"/>
                  </a:lnTo>
                  <a:lnTo>
                    <a:pt x="177895" y="50198"/>
                  </a:lnTo>
                  <a:lnTo>
                    <a:pt x="186326" y="45260"/>
                  </a:lnTo>
                  <a:lnTo>
                    <a:pt x="193071" y="37031"/>
                  </a:lnTo>
                  <a:lnTo>
                    <a:pt x="196443" y="18926"/>
                  </a:lnTo>
                  <a:lnTo>
                    <a:pt x="201502" y="10697"/>
                  </a:lnTo>
                  <a:lnTo>
                    <a:pt x="211620" y="5760"/>
                  </a:lnTo>
                  <a:lnTo>
                    <a:pt x="220051" y="4114"/>
                  </a:lnTo>
                  <a:lnTo>
                    <a:pt x="235227" y="10697"/>
                  </a:lnTo>
                  <a:lnTo>
                    <a:pt x="253775" y="30448"/>
                  </a:lnTo>
                  <a:lnTo>
                    <a:pt x="285813" y="3867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7" name="Rhenen">
              <a:extLst>
                <a:ext uri="{FF2B5EF4-FFF2-40B4-BE49-F238E27FC236}">
                  <a16:creationId xmlns:a16="http://schemas.microsoft.com/office/drawing/2014/main" id="{6AAA6B1D-CA16-4258-8517-F905FE1E8EC5}"/>
                </a:ext>
              </a:extLst>
            </p:cNvPr>
            <p:cNvSpPr/>
            <p:nvPr/>
          </p:nvSpPr>
          <p:spPr>
            <a:xfrm>
              <a:off x="6326361" y="3649408"/>
              <a:ext cx="152276" cy="118231"/>
            </a:xfrm>
            <a:custGeom>
              <a:avLst/>
              <a:gdLst/>
              <a:ahLst/>
              <a:cxnLst/>
              <a:rect l="l" t="t" r="r" b="b"/>
              <a:pathLst>
                <a:path w="234163" h="182880" extrusionOk="0">
                  <a:moveTo>
                    <a:pt x="117191" y="50198"/>
                  </a:moveTo>
                  <a:lnTo>
                    <a:pt x="120564" y="51844"/>
                  </a:lnTo>
                  <a:lnTo>
                    <a:pt x="127309" y="40323"/>
                  </a:lnTo>
                  <a:lnTo>
                    <a:pt x="145857" y="56782"/>
                  </a:lnTo>
                  <a:lnTo>
                    <a:pt x="174523" y="27156"/>
                  </a:lnTo>
                  <a:lnTo>
                    <a:pt x="179582" y="45261"/>
                  </a:lnTo>
                  <a:lnTo>
                    <a:pt x="196443" y="61719"/>
                  </a:lnTo>
                  <a:lnTo>
                    <a:pt x="206561" y="65011"/>
                  </a:lnTo>
                  <a:lnTo>
                    <a:pt x="213306" y="73240"/>
                  </a:lnTo>
                  <a:lnTo>
                    <a:pt x="214992" y="91345"/>
                  </a:lnTo>
                  <a:lnTo>
                    <a:pt x="221737" y="104512"/>
                  </a:lnTo>
                  <a:lnTo>
                    <a:pt x="231854" y="111095"/>
                  </a:lnTo>
                  <a:lnTo>
                    <a:pt x="230168" y="120970"/>
                  </a:lnTo>
                  <a:lnTo>
                    <a:pt x="220051" y="130845"/>
                  </a:lnTo>
                  <a:lnTo>
                    <a:pt x="223423" y="130845"/>
                  </a:lnTo>
                  <a:lnTo>
                    <a:pt x="233541" y="158825"/>
                  </a:lnTo>
                  <a:lnTo>
                    <a:pt x="233541" y="163763"/>
                  </a:lnTo>
                  <a:lnTo>
                    <a:pt x="223423" y="167055"/>
                  </a:lnTo>
                  <a:lnTo>
                    <a:pt x="223423" y="173638"/>
                  </a:lnTo>
                  <a:lnTo>
                    <a:pt x="216678" y="171992"/>
                  </a:lnTo>
                  <a:lnTo>
                    <a:pt x="201502" y="186805"/>
                  </a:lnTo>
                  <a:lnTo>
                    <a:pt x="177895" y="170346"/>
                  </a:lnTo>
                  <a:lnTo>
                    <a:pt x="123936" y="155533"/>
                  </a:lnTo>
                  <a:lnTo>
                    <a:pt x="115505" y="147304"/>
                  </a:lnTo>
                  <a:lnTo>
                    <a:pt x="103701" y="132491"/>
                  </a:lnTo>
                  <a:lnTo>
                    <a:pt x="96956" y="125908"/>
                  </a:lnTo>
                  <a:lnTo>
                    <a:pt x="58173" y="114387"/>
                  </a:lnTo>
                  <a:lnTo>
                    <a:pt x="17704" y="88053"/>
                  </a:lnTo>
                  <a:lnTo>
                    <a:pt x="4214" y="89699"/>
                  </a:lnTo>
                  <a:lnTo>
                    <a:pt x="4214" y="79824"/>
                  </a:lnTo>
                  <a:lnTo>
                    <a:pt x="9273" y="76532"/>
                  </a:lnTo>
                  <a:lnTo>
                    <a:pt x="7586" y="69949"/>
                  </a:lnTo>
                  <a:lnTo>
                    <a:pt x="16018" y="79824"/>
                  </a:lnTo>
                  <a:lnTo>
                    <a:pt x="16018" y="71594"/>
                  </a:lnTo>
                  <a:lnTo>
                    <a:pt x="24449" y="58427"/>
                  </a:lnTo>
                  <a:lnTo>
                    <a:pt x="29507" y="61719"/>
                  </a:lnTo>
                  <a:lnTo>
                    <a:pt x="58173" y="4114"/>
                  </a:lnTo>
                  <a:lnTo>
                    <a:pt x="90211" y="18927"/>
                  </a:lnTo>
                  <a:lnTo>
                    <a:pt x="88525" y="23864"/>
                  </a:lnTo>
                  <a:lnTo>
                    <a:pt x="93584" y="25510"/>
                  </a:lnTo>
                  <a:lnTo>
                    <a:pt x="91898" y="28802"/>
                  </a:lnTo>
                  <a:lnTo>
                    <a:pt x="100329" y="32094"/>
                  </a:lnTo>
                  <a:lnTo>
                    <a:pt x="117191" y="501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8" name="Heerenveen">
              <a:extLst>
                <a:ext uri="{FF2B5EF4-FFF2-40B4-BE49-F238E27FC236}">
                  <a16:creationId xmlns:a16="http://schemas.microsoft.com/office/drawing/2014/main" id="{F1DEC614-31AD-464C-A9F7-81EB1E72E550}"/>
                </a:ext>
              </a:extLst>
            </p:cNvPr>
            <p:cNvSpPr/>
            <p:nvPr/>
          </p:nvSpPr>
          <p:spPr>
            <a:xfrm>
              <a:off x="6641893" y="1934859"/>
              <a:ext cx="420462" cy="278913"/>
            </a:xfrm>
            <a:custGeom>
              <a:avLst/>
              <a:gdLst/>
              <a:ahLst/>
              <a:cxnLst/>
              <a:rect l="l" t="t" r="r" b="b"/>
              <a:pathLst>
                <a:path w="608824" h="422910" extrusionOk="0">
                  <a:moveTo>
                    <a:pt x="120564" y="4114"/>
                  </a:moveTo>
                  <a:lnTo>
                    <a:pt x="115505" y="13989"/>
                  </a:lnTo>
                  <a:lnTo>
                    <a:pt x="117191" y="30448"/>
                  </a:lnTo>
                  <a:lnTo>
                    <a:pt x="152602" y="25510"/>
                  </a:lnTo>
                  <a:lnTo>
                    <a:pt x="152602" y="18927"/>
                  </a:lnTo>
                  <a:lnTo>
                    <a:pt x="155974" y="18927"/>
                  </a:lnTo>
                  <a:lnTo>
                    <a:pt x="209934" y="20573"/>
                  </a:lnTo>
                  <a:lnTo>
                    <a:pt x="209934" y="25510"/>
                  </a:lnTo>
                  <a:lnTo>
                    <a:pt x="213306" y="30448"/>
                  </a:lnTo>
                  <a:lnTo>
                    <a:pt x="208247" y="32094"/>
                  </a:lnTo>
                  <a:lnTo>
                    <a:pt x="206561" y="38677"/>
                  </a:lnTo>
                  <a:lnTo>
                    <a:pt x="216678" y="51844"/>
                  </a:lnTo>
                  <a:lnTo>
                    <a:pt x="221737" y="55136"/>
                  </a:lnTo>
                  <a:lnTo>
                    <a:pt x="226796" y="51844"/>
                  </a:lnTo>
                  <a:lnTo>
                    <a:pt x="230168" y="58427"/>
                  </a:lnTo>
                  <a:lnTo>
                    <a:pt x="223423" y="79824"/>
                  </a:lnTo>
                  <a:lnTo>
                    <a:pt x="247030" y="79824"/>
                  </a:lnTo>
                  <a:lnTo>
                    <a:pt x="243658" y="83115"/>
                  </a:lnTo>
                  <a:lnTo>
                    <a:pt x="240286" y="83115"/>
                  </a:lnTo>
                  <a:lnTo>
                    <a:pt x="238599" y="88053"/>
                  </a:lnTo>
                  <a:lnTo>
                    <a:pt x="226796" y="91345"/>
                  </a:lnTo>
                  <a:lnTo>
                    <a:pt x="226796" y="102866"/>
                  </a:lnTo>
                  <a:lnTo>
                    <a:pt x="216678" y="102866"/>
                  </a:lnTo>
                  <a:lnTo>
                    <a:pt x="220051" y="107803"/>
                  </a:lnTo>
                  <a:lnTo>
                    <a:pt x="240286" y="116033"/>
                  </a:lnTo>
                  <a:lnTo>
                    <a:pt x="238599" y="119324"/>
                  </a:lnTo>
                  <a:lnTo>
                    <a:pt x="275696" y="135783"/>
                  </a:lnTo>
                  <a:lnTo>
                    <a:pt x="279069" y="139075"/>
                  </a:lnTo>
                  <a:lnTo>
                    <a:pt x="279069" y="140721"/>
                  </a:lnTo>
                  <a:lnTo>
                    <a:pt x="285814" y="145658"/>
                  </a:lnTo>
                  <a:lnTo>
                    <a:pt x="275696" y="185159"/>
                  </a:lnTo>
                  <a:lnTo>
                    <a:pt x="268951" y="185159"/>
                  </a:lnTo>
                  <a:lnTo>
                    <a:pt x="272324" y="199972"/>
                  </a:lnTo>
                  <a:lnTo>
                    <a:pt x="280755" y="214784"/>
                  </a:lnTo>
                  <a:lnTo>
                    <a:pt x="272324" y="223014"/>
                  </a:lnTo>
                  <a:lnTo>
                    <a:pt x="275696" y="226305"/>
                  </a:lnTo>
                  <a:lnTo>
                    <a:pt x="255462" y="254285"/>
                  </a:lnTo>
                  <a:lnTo>
                    <a:pt x="258834" y="259223"/>
                  </a:lnTo>
                  <a:lnTo>
                    <a:pt x="248716" y="274035"/>
                  </a:lnTo>
                  <a:lnTo>
                    <a:pt x="343145" y="290494"/>
                  </a:lnTo>
                  <a:lnTo>
                    <a:pt x="351576" y="293786"/>
                  </a:lnTo>
                  <a:lnTo>
                    <a:pt x="378556" y="288848"/>
                  </a:lnTo>
                  <a:lnTo>
                    <a:pt x="412280" y="272390"/>
                  </a:lnTo>
                  <a:lnTo>
                    <a:pt x="437574" y="247702"/>
                  </a:lnTo>
                  <a:lnTo>
                    <a:pt x="451064" y="244410"/>
                  </a:lnTo>
                  <a:lnTo>
                    <a:pt x="456122" y="239472"/>
                  </a:lnTo>
                  <a:lnTo>
                    <a:pt x="454436" y="236181"/>
                  </a:lnTo>
                  <a:lnTo>
                    <a:pt x="457808" y="232889"/>
                  </a:lnTo>
                  <a:lnTo>
                    <a:pt x="459495" y="232889"/>
                  </a:lnTo>
                  <a:lnTo>
                    <a:pt x="454436" y="224660"/>
                  </a:lnTo>
                  <a:lnTo>
                    <a:pt x="471298" y="208201"/>
                  </a:lnTo>
                  <a:lnTo>
                    <a:pt x="505023" y="185159"/>
                  </a:lnTo>
                  <a:lnTo>
                    <a:pt x="503337" y="181867"/>
                  </a:lnTo>
                  <a:lnTo>
                    <a:pt x="506709" y="178576"/>
                  </a:lnTo>
                  <a:lnTo>
                    <a:pt x="574158" y="155533"/>
                  </a:lnTo>
                  <a:lnTo>
                    <a:pt x="594393" y="139075"/>
                  </a:lnTo>
                  <a:lnTo>
                    <a:pt x="607883" y="122616"/>
                  </a:lnTo>
                  <a:lnTo>
                    <a:pt x="609569" y="117679"/>
                  </a:lnTo>
                  <a:lnTo>
                    <a:pt x="616314" y="114387"/>
                  </a:lnTo>
                  <a:lnTo>
                    <a:pt x="612941" y="229597"/>
                  </a:lnTo>
                  <a:lnTo>
                    <a:pt x="611255" y="232889"/>
                  </a:lnTo>
                  <a:lnTo>
                    <a:pt x="545492" y="265806"/>
                  </a:lnTo>
                  <a:lnTo>
                    <a:pt x="526944" y="282265"/>
                  </a:lnTo>
                  <a:lnTo>
                    <a:pt x="501650" y="320120"/>
                  </a:lnTo>
                  <a:lnTo>
                    <a:pt x="484788" y="325057"/>
                  </a:lnTo>
                  <a:lnTo>
                    <a:pt x="451064" y="346453"/>
                  </a:lnTo>
                  <a:lnTo>
                    <a:pt x="429143" y="372787"/>
                  </a:lnTo>
                  <a:lnTo>
                    <a:pt x="376870" y="405705"/>
                  </a:lnTo>
                  <a:lnTo>
                    <a:pt x="368439" y="405705"/>
                  </a:lnTo>
                  <a:lnTo>
                    <a:pt x="314480" y="367850"/>
                  </a:lnTo>
                  <a:lnTo>
                    <a:pt x="282441" y="384308"/>
                  </a:lnTo>
                  <a:lnTo>
                    <a:pt x="263893" y="382663"/>
                  </a:lnTo>
                  <a:lnTo>
                    <a:pt x="248716" y="385954"/>
                  </a:lnTo>
                  <a:lnTo>
                    <a:pt x="241972" y="390892"/>
                  </a:lnTo>
                  <a:lnTo>
                    <a:pt x="220051" y="422163"/>
                  </a:lnTo>
                  <a:lnTo>
                    <a:pt x="213306" y="413934"/>
                  </a:lnTo>
                  <a:lnTo>
                    <a:pt x="181268" y="353037"/>
                  </a:lnTo>
                  <a:lnTo>
                    <a:pt x="182954" y="348099"/>
                  </a:lnTo>
                  <a:lnTo>
                    <a:pt x="169464" y="320120"/>
                  </a:lnTo>
                  <a:lnTo>
                    <a:pt x="171150" y="316828"/>
                  </a:lnTo>
                  <a:lnTo>
                    <a:pt x="166092" y="313536"/>
                  </a:lnTo>
                  <a:lnTo>
                    <a:pt x="157661" y="298723"/>
                  </a:lnTo>
                  <a:lnTo>
                    <a:pt x="149230" y="302015"/>
                  </a:lnTo>
                  <a:lnTo>
                    <a:pt x="144171" y="293786"/>
                  </a:lnTo>
                  <a:lnTo>
                    <a:pt x="140798" y="292140"/>
                  </a:lnTo>
                  <a:lnTo>
                    <a:pt x="144171" y="290494"/>
                  </a:lnTo>
                  <a:lnTo>
                    <a:pt x="142484" y="288848"/>
                  </a:lnTo>
                  <a:lnTo>
                    <a:pt x="118877" y="295432"/>
                  </a:lnTo>
                  <a:lnTo>
                    <a:pt x="112132" y="262515"/>
                  </a:lnTo>
                  <a:lnTo>
                    <a:pt x="142484" y="252639"/>
                  </a:lnTo>
                  <a:lnTo>
                    <a:pt x="139112" y="246056"/>
                  </a:lnTo>
                  <a:lnTo>
                    <a:pt x="110446" y="209847"/>
                  </a:lnTo>
                  <a:lnTo>
                    <a:pt x="98643" y="168700"/>
                  </a:lnTo>
                  <a:lnTo>
                    <a:pt x="85153" y="152242"/>
                  </a:lnTo>
                  <a:lnTo>
                    <a:pt x="48056" y="117679"/>
                  </a:lnTo>
                  <a:lnTo>
                    <a:pt x="12645" y="96282"/>
                  </a:lnTo>
                  <a:lnTo>
                    <a:pt x="5900" y="83115"/>
                  </a:lnTo>
                  <a:lnTo>
                    <a:pt x="4214" y="78178"/>
                  </a:lnTo>
                  <a:lnTo>
                    <a:pt x="9273" y="74886"/>
                  </a:lnTo>
                  <a:lnTo>
                    <a:pt x="5900" y="68303"/>
                  </a:lnTo>
                  <a:lnTo>
                    <a:pt x="41311" y="25510"/>
                  </a:lnTo>
                  <a:lnTo>
                    <a:pt x="56487" y="18927"/>
                  </a:lnTo>
                  <a:lnTo>
                    <a:pt x="58173" y="22218"/>
                  </a:lnTo>
                  <a:lnTo>
                    <a:pt x="75036" y="15635"/>
                  </a:lnTo>
                  <a:lnTo>
                    <a:pt x="78408" y="18927"/>
                  </a:lnTo>
                  <a:lnTo>
                    <a:pt x="91898" y="10697"/>
                  </a:lnTo>
                  <a:lnTo>
                    <a:pt x="100329" y="12343"/>
                  </a:lnTo>
                  <a:lnTo>
                    <a:pt x="12056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49" name="Sittard-Geleen">
              <a:extLst>
                <a:ext uri="{FF2B5EF4-FFF2-40B4-BE49-F238E27FC236}">
                  <a16:creationId xmlns:a16="http://schemas.microsoft.com/office/drawing/2014/main" id="{F5EC04A2-DCCA-492C-8F37-B3B464F15A58}"/>
                </a:ext>
              </a:extLst>
            </p:cNvPr>
            <p:cNvSpPr/>
            <p:nvPr/>
          </p:nvSpPr>
          <p:spPr>
            <a:xfrm>
              <a:off x="6626129" y="5169078"/>
              <a:ext cx="168438" cy="201399"/>
            </a:xfrm>
            <a:custGeom>
              <a:avLst/>
              <a:gdLst/>
              <a:ahLst/>
              <a:cxnLst/>
              <a:rect l="l" t="t" r="r" b="b"/>
              <a:pathLst>
                <a:path w="234163" h="308610" extrusionOk="0">
                  <a:moveTo>
                    <a:pt x="105388" y="15635"/>
                  </a:moveTo>
                  <a:lnTo>
                    <a:pt x="108760" y="32094"/>
                  </a:lnTo>
                  <a:lnTo>
                    <a:pt x="110446" y="65011"/>
                  </a:lnTo>
                  <a:lnTo>
                    <a:pt x="123936" y="61720"/>
                  </a:lnTo>
                  <a:lnTo>
                    <a:pt x="132367" y="68302"/>
                  </a:lnTo>
                  <a:lnTo>
                    <a:pt x="144171" y="66657"/>
                  </a:lnTo>
                  <a:lnTo>
                    <a:pt x="150916" y="86407"/>
                  </a:lnTo>
                  <a:lnTo>
                    <a:pt x="145857" y="91345"/>
                  </a:lnTo>
                  <a:lnTo>
                    <a:pt x="150916" y="107804"/>
                  </a:lnTo>
                  <a:lnTo>
                    <a:pt x="157661" y="111095"/>
                  </a:lnTo>
                  <a:lnTo>
                    <a:pt x="166092" y="107804"/>
                  </a:lnTo>
                  <a:lnTo>
                    <a:pt x="169464" y="109449"/>
                  </a:lnTo>
                  <a:lnTo>
                    <a:pt x="188013" y="101220"/>
                  </a:lnTo>
                  <a:lnTo>
                    <a:pt x="184640" y="107804"/>
                  </a:lnTo>
                  <a:lnTo>
                    <a:pt x="191385" y="135783"/>
                  </a:lnTo>
                  <a:lnTo>
                    <a:pt x="199816" y="145659"/>
                  </a:lnTo>
                  <a:lnTo>
                    <a:pt x="206561" y="145659"/>
                  </a:lnTo>
                  <a:lnTo>
                    <a:pt x="218365" y="152242"/>
                  </a:lnTo>
                  <a:lnTo>
                    <a:pt x="218365" y="167054"/>
                  </a:lnTo>
                  <a:lnTo>
                    <a:pt x="233541" y="173638"/>
                  </a:lnTo>
                  <a:lnTo>
                    <a:pt x="231855" y="209847"/>
                  </a:lnTo>
                  <a:lnTo>
                    <a:pt x="213306" y="226306"/>
                  </a:lnTo>
                  <a:lnTo>
                    <a:pt x="221737" y="239473"/>
                  </a:lnTo>
                  <a:lnTo>
                    <a:pt x="211620" y="241118"/>
                  </a:lnTo>
                  <a:lnTo>
                    <a:pt x="211620" y="246056"/>
                  </a:lnTo>
                  <a:lnTo>
                    <a:pt x="193071" y="265806"/>
                  </a:lnTo>
                  <a:lnTo>
                    <a:pt x="189699" y="264160"/>
                  </a:lnTo>
                  <a:lnTo>
                    <a:pt x="184640" y="269098"/>
                  </a:lnTo>
                  <a:lnTo>
                    <a:pt x="177895" y="259223"/>
                  </a:lnTo>
                  <a:lnTo>
                    <a:pt x="172837" y="265806"/>
                  </a:lnTo>
                  <a:lnTo>
                    <a:pt x="161033" y="259223"/>
                  </a:lnTo>
                  <a:lnTo>
                    <a:pt x="157661" y="264160"/>
                  </a:lnTo>
                  <a:lnTo>
                    <a:pt x="150916" y="255931"/>
                  </a:lnTo>
                  <a:lnTo>
                    <a:pt x="137426" y="267452"/>
                  </a:lnTo>
                  <a:lnTo>
                    <a:pt x="132367" y="282265"/>
                  </a:lnTo>
                  <a:lnTo>
                    <a:pt x="130681" y="308599"/>
                  </a:lnTo>
                  <a:lnTo>
                    <a:pt x="118878" y="305307"/>
                  </a:lnTo>
                  <a:lnTo>
                    <a:pt x="88525" y="287203"/>
                  </a:lnTo>
                  <a:lnTo>
                    <a:pt x="73349" y="306953"/>
                  </a:lnTo>
                  <a:lnTo>
                    <a:pt x="59859" y="295432"/>
                  </a:lnTo>
                  <a:lnTo>
                    <a:pt x="51428" y="305307"/>
                  </a:lnTo>
                  <a:lnTo>
                    <a:pt x="44684" y="254286"/>
                  </a:lnTo>
                  <a:lnTo>
                    <a:pt x="48056" y="250993"/>
                  </a:lnTo>
                  <a:lnTo>
                    <a:pt x="48056" y="242764"/>
                  </a:lnTo>
                  <a:lnTo>
                    <a:pt x="41311" y="214785"/>
                  </a:lnTo>
                  <a:lnTo>
                    <a:pt x="51428" y="176930"/>
                  </a:lnTo>
                  <a:lnTo>
                    <a:pt x="29507" y="170346"/>
                  </a:lnTo>
                  <a:lnTo>
                    <a:pt x="48056" y="132492"/>
                  </a:lnTo>
                  <a:lnTo>
                    <a:pt x="27821" y="134137"/>
                  </a:lnTo>
                  <a:lnTo>
                    <a:pt x="31194" y="125908"/>
                  </a:lnTo>
                  <a:lnTo>
                    <a:pt x="29507" y="117679"/>
                  </a:lnTo>
                  <a:lnTo>
                    <a:pt x="21076" y="109449"/>
                  </a:lnTo>
                  <a:lnTo>
                    <a:pt x="7587" y="107804"/>
                  </a:lnTo>
                  <a:lnTo>
                    <a:pt x="4214" y="102866"/>
                  </a:lnTo>
                  <a:lnTo>
                    <a:pt x="4214" y="94637"/>
                  </a:lnTo>
                  <a:lnTo>
                    <a:pt x="16018" y="76532"/>
                  </a:lnTo>
                  <a:lnTo>
                    <a:pt x="22763" y="61720"/>
                  </a:lnTo>
                  <a:lnTo>
                    <a:pt x="26135" y="43615"/>
                  </a:lnTo>
                  <a:lnTo>
                    <a:pt x="24449" y="35385"/>
                  </a:lnTo>
                  <a:lnTo>
                    <a:pt x="27821" y="27156"/>
                  </a:lnTo>
                  <a:lnTo>
                    <a:pt x="37939" y="28802"/>
                  </a:lnTo>
                  <a:lnTo>
                    <a:pt x="53115" y="37031"/>
                  </a:lnTo>
                  <a:lnTo>
                    <a:pt x="61546" y="37031"/>
                  </a:lnTo>
                  <a:lnTo>
                    <a:pt x="66605" y="33740"/>
                  </a:lnTo>
                  <a:lnTo>
                    <a:pt x="73349" y="40323"/>
                  </a:lnTo>
                  <a:lnTo>
                    <a:pt x="78408" y="40323"/>
                  </a:lnTo>
                  <a:lnTo>
                    <a:pt x="98643" y="4114"/>
                  </a:lnTo>
                  <a:lnTo>
                    <a:pt x="105388" y="4114"/>
                  </a:lnTo>
                  <a:lnTo>
                    <a:pt x="105388"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0" name="Venray">
              <a:extLst>
                <a:ext uri="{FF2B5EF4-FFF2-40B4-BE49-F238E27FC236}">
                  <a16:creationId xmlns:a16="http://schemas.microsoft.com/office/drawing/2014/main" id="{EDFD4E7E-0FF8-4C60-89D6-CC9C692DF0F5}"/>
                </a:ext>
              </a:extLst>
            </p:cNvPr>
            <p:cNvSpPr/>
            <p:nvPr/>
          </p:nvSpPr>
          <p:spPr>
            <a:xfrm>
              <a:off x="6712214" y="4369786"/>
              <a:ext cx="314078" cy="198718"/>
            </a:xfrm>
            <a:custGeom>
              <a:avLst/>
              <a:gdLst/>
              <a:ahLst/>
              <a:cxnLst/>
              <a:rect l="l" t="t" r="r" b="b"/>
              <a:pathLst>
                <a:path w="468326" h="297180" extrusionOk="0">
                  <a:moveTo>
                    <a:pt x="280755" y="20573"/>
                  </a:moveTo>
                  <a:lnTo>
                    <a:pt x="302676" y="46906"/>
                  </a:lnTo>
                  <a:lnTo>
                    <a:pt x="306048" y="38677"/>
                  </a:lnTo>
                  <a:lnTo>
                    <a:pt x="304362" y="35385"/>
                  </a:lnTo>
                  <a:lnTo>
                    <a:pt x="311107" y="32094"/>
                  </a:lnTo>
                  <a:lnTo>
                    <a:pt x="317852" y="35385"/>
                  </a:lnTo>
                  <a:lnTo>
                    <a:pt x="321224" y="33739"/>
                  </a:lnTo>
                  <a:lnTo>
                    <a:pt x="319538" y="30448"/>
                  </a:lnTo>
                  <a:lnTo>
                    <a:pt x="322911" y="30448"/>
                  </a:lnTo>
                  <a:lnTo>
                    <a:pt x="324597" y="33739"/>
                  </a:lnTo>
                  <a:lnTo>
                    <a:pt x="327969" y="32094"/>
                  </a:lnTo>
                  <a:lnTo>
                    <a:pt x="339773" y="33739"/>
                  </a:lnTo>
                  <a:lnTo>
                    <a:pt x="349890" y="37031"/>
                  </a:lnTo>
                  <a:lnTo>
                    <a:pt x="375184" y="58427"/>
                  </a:lnTo>
                  <a:lnTo>
                    <a:pt x="412280" y="55136"/>
                  </a:lnTo>
                  <a:lnTo>
                    <a:pt x="425770" y="60073"/>
                  </a:lnTo>
                  <a:lnTo>
                    <a:pt x="439260" y="94636"/>
                  </a:lnTo>
                  <a:lnTo>
                    <a:pt x="471298" y="124262"/>
                  </a:lnTo>
                  <a:lnTo>
                    <a:pt x="457808" y="144012"/>
                  </a:lnTo>
                  <a:lnTo>
                    <a:pt x="449378" y="137429"/>
                  </a:lnTo>
                  <a:lnTo>
                    <a:pt x="442633" y="147304"/>
                  </a:lnTo>
                  <a:lnTo>
                    <a:pt x="419026" y="127554"/>
                  </a:lnTo>
                  <a:lnTo>
                    <a:pt x="420712" y="120970"/>
                  </a:lnTo>
                  <a:lnTo>
                    <a:pt x="415653" y="117678"/>
                  </a:lnTo>
                  <a:lnTo>
                    <a:pt x="402163" y="119324"/>
                  </a:lnTo>
                  <a:lnTo>
                    <a:pt x="388673" y="116033"/>
                  </a:lnTo>
                  <a:lnTo>
                    <a:pt x="376870" y="116033"/>
                  </a:lnTo>
                  <a:lnTo>
                    <a:pt x="371811" y="112741"/>
                  </a:lnTo>
                  <a:lnTo>
                    <a:pt x="356635" y="114387"/>
                  </a:lnTo>
                  <a:lnTo>
                    <a:pt x="353262" y="134137"/>
                  </a:lnTo>
                  <a:lnTo>
                    <a:pt x="356635" y="153888"/>
                  </a:lnTo>
                  <a:lnTo>
                    <a:pt x="368439" y="183513"/>
                  </a:lnTo>
                  <a:lnTo>
                    <a:pt x="360008" y="201617"/>
                  </a:lnTo>
                  <a:lnTo>
                    <a:pt x="349890" y="203264"/>
                  </a:lnTo>
                  <a:lnTo>
                    <a:pt x="344832" y="199972"/>
                  </a:lnTo>
                  <a:lnTo>
                    <a:pt x="334714" y="198326"/>
                  </a:lnTo>
                  <a:lnTo>
                    <a:pt x="331341" y="195034"/>
                  </a:lnTo>
                  <a:lnTo>
                    <a:pt x="316166" y="201617"/>
                  </a:lnTo>
                  <a:lnTo>
                    <a:pt x="309421" y="214784"/>
                  </a:lnTo>
                  <a:lnTo>
                    <a:pt x="300989" y="221368"/>
                  </a:lnTo>
                  <a:lnTo>
                    <a:pt x="245344" y="232889"/>
                  </a:lnTo>
                  <a:lnTo>
                    <a:pt x="182954" y="262514"/>
                  </a:lnTo>
                  <a:lnTo>
                    <a:pt x="61546" y="303661"/>
                  </a:lnTo>
                  <a:lnTo>
                    <a:pt x="56487" y="295432"/>
                  </a:lnTo>
                  <a:lnTo>
                    <a:pt x="39625" y="195034"/>
                  </a:lnTo>
                  <a:lnTo>
                    <a:pt x="26135" y="165409"/>
                  </a:lnTo>
                  <a:lnTo>
                    <a:pt x="4214" y="13989"/>
                  </a:lnTo>
                  <a:lnTo>
                    <a:pt x="85153" y="28802"/>
                  </a:lnTo>
                  <a:lnTo>
                    <a:pt x="108760" y="48552"/>
                  </a:lnTo>
                  <a:lnTo>
                    <a:pt x="154288" y="45260"/>
                  </a:lnTo>
                  <a:lnTo>
                    <a:pt x="216678" y="25510"/>
                  </a:lnTo>
                  <a:lnTo>
                    <a:pt x="258834" y="4114"/>
                  </a:lnTo>
                  <a:lnTo>
                    <a:pt x="280755"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1" name="Purmerend">
              <a:extLst>
                <a:ext uri="{FF2B5EF4-FFF2-40B4-BE49-F238E27FC236}">
                  <a16:creationId xmlns:a16="http://schemas.microsoft.com/office/drawing/2014/main" id="{67B74046-C430-4A41-87AA-F82F39F2E03F}"/>
                </a:ext>
              </a:extLst>
            </p:cNvPr>
            <p:cNvSpPr/>
            <p:nvPr/>
          </p:nvSpPr>
          <p:spPr>
            <a:xfrm>
              <a:off x="5745162" y="2830499"/>
              <a:ext cx="111927" cy="94480"/>
            </a:xfrm>
            <a:custGeom>
              <a:avLst/>
              <a:gdLst/>
              <a:ahLst/>
              <a:cxnLst/>
              <a:rect l="l" t="t" r="r" b="b"/>
              <a:pathLst>
                <a:path w="163914" h="148590" extrusionOk="0">
                  <a:moveTo>
                    <a:pt x="98643" y="20573"/>
                  </a:moveTo>
                  <a:lnTo>
                    <a:pt x="112133" y="27156"/>
                  </a:lnTo>
                  <a:lnTo>
                    <a:pt x="120564" y="18927"/>
                  </a:lnTo>
                  <a:lnTo>
                    <a:pt x="125622" y="10697"/>
                  </a:lnTo>
                  <a:lnTo>
                    <a:pt x="137426" y="9052"/>
                  </a:lnTo>
                  <a:lnTo>
                    <a:pt x="161033" y="22219"/>
                  </a:lnTo>
                  <a:lnTo>
                    <a:pt x="83467" y="147304"/>
                  </a:lnTo>
                  <a:lnTo>
                    <a:pt x="59860" y="144013"/>
                  </a:lnTo>
                  <a:lnTo>
                    <a:pt x="53115" y="134137"/>
                  </a:lnTo>
                  <a:lnTo>
                    <a:pt x="53115" y="116033"/>
                  </a:lnTo>
                  <a:lnTo>
                    <a:pt x="44684" y="112741"/>
                  </a:lnTo>
                  <a:lnTo>
                    <a:pt x="46370" y="107803"/>
                  </a:lnTo>
                  <a:lnTo>
                    <a:pt x="37939" y="104512"/>
                  </a:lnTo>
                  <a:lnTo>
                    <a:pt x="34566" y="109449"/>
                  </a:lnTo>
                  <a:lnTo>
                    <a:pt x="17704" y="104512"/>
                  </a:lnTo>
                  <a:lnTo>
                    <a:pt x="17704" y="101220"/>
                  </a:lnTo>
                  <a:lnTo>
                    <a:pt x="4214" y="97928"/>
                  </a:lnTo>
                  <a:lnTo>
                    <a:pt x="7587" y="91345"/>
                  </a:lnTo>
                  <a:lnTo>
                    <a:pt x="12645" y="74886"/>
                  </a:lnTo>
                  <a:lnTo>
                    <a:pt x="10959" y="61719"/>
                  </a:lnTo>
                  <a:lnTo>
                    <a:pt x="24449" y="50198"/>
                  </a:lnTo>
                  <a:lnTo>
                    <a:pt x="24449" y="46906"/>
                  </a:lnTo>
                  <a:lnTo>
                    <a:pt x="42997" y="45261"/>
                  </a:lnTo>
                  <a:lnTo>
                    <a:pt x="54801" y="35386"/>
                  </a:lnTo>
                  <a:lnTo>
                    <a:pt x="58173" y="4114"/>
                  </a:lnTo>
                  <a:lnTo>
                    <a:pt x="98643"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2" name="Rozendaal">
              <a:extLst>
                <a:ext uri="{FF2B5EF4-FFF2-40B4-BE49-F238E27FC236}">
                  <a16:creationId xmlns:a16="http://schemas.microsoft.com/office/drawing/2014/main" id="{D8B514F5-560B-4F7F-A000-247E75600B94}"/>
                </a:ext>
              </a:extLst>
            </p:cNvPr>
            <p:cNvSpPr/>
            <p:nvPr/>
          </p:nvSpPr>
          <p:spPr>
            <a:xfrm>
              <a:off x="6806274" y="3544620"/>
              <a:ext cx="70049" cy="137223"/>
            </a:xfrm>
            <a:custGeom>
              <a:avLst/>
              <a:gdLst/>
              <a:ahLst/>
              <a:cxnLst/>
              <a:rect l="l" t="t" r="r" b="b"/>
              <a:pathLst>
                <a:path w="105373" h="194310" extrusionOk="0">
                  <a:moveTo>
                    <a:pt x="102015" y="61719"/>
                  </a:moveTo>
                  <a:lnTo>
                    <a:pt x="96957" y="65011"/>
                  </a:lnTo>
                  <a:lnTo>
                    <a:pt x="83467" y="63365"/>
                  </a:lnTo>
                  <a:lnTo>
                    <a:pt x="66605" y="65011"/>
                  </a:lnTo>
                  <a:lnTo>
                    <a:pt x="93584" y="132491"/>
                  </a:lnTo>
                  <a:lnTo>
                    <a:pt x="69977" y="152242"/>
                  </a:lnTo>
                  <a:lnTo>
                    <a:pt x="68291" y="173638"/>
                  </a:lnTo>
                  <a:lnTo>
                    <a:pt x="61546" y="188451"/>
                  </a:lnTo>
                  <a:lnTo>
                    <a:pt x="44684" y="195034"/>
                  </a:lnTo>
                  <a:lnTo>
                    <a:pt x="36252" y="193388"/>
                  </a:lnTo>
                  <a:lnTo>
                    <a:pt x="26135" y="196680"/>
                  </a:lnTo>
                  <a:lnTo>
                    <a:pt x="21076" y="180221"/>
                  </a:lnTo>
                  <a:lnTo>
                    <a:pt x="14332" y="171992"/>
                  </a:lnTo>
                  <a:lnTo>
                    <a:pt x="17704" y="170346"/>
                  </a:lnTo>
                  <a:lnTo>
                    <a:pt x="10959" y="168700"/>
                  </a:lnTo>
                  <a:lnTo>
                    <a:pt x="9273" y="150596"/>
                  </a:lnTo>
                  <a:lnTo>
                    <a:pt x="4214" y="79824"/>
                  </a:lnTo>
                  <a:lnTo>
                    <a:pt x="12645" y="45260"/>
                  </a:lnTo>
                  <a:lnTo>
                    <a:pt x="31194" y="18927"/>
                  </a:lnTo>
                  <a:lnTo>
                    <a:pt x="44684" y="12343"/>
                  </a:lnTo>
                  <a:lnTo>
                    <a:pt x="85153" y="4114"/>
                  </a:lnTo>
                  <a:lnTo>
                    <a:pt x="112133" y="17281"/>
                  </a:lnTo>
                  <a:lnTo>
                    <a:pt x="107074" y="53490"/>
                  </a:lnTo>
                  <a:lnTo>
                    <a:pt x="102015" y="617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3" name="Waterland">
              <a:extLst>
                <a:ext uri="{FF2B5EF4-FFF2-40B4-BE49-F238E27FC236}">
                  <a16:creationId xmlns:a16="http://schemas.microsoft.com/office/drawing/2014/main" id="{D17696FC-01EE-4F8C-8968-73DAF9DFC613}"/>
                </a:ext>
              </a:extLst>
            </p:cNvPr>
            <p:cNvSpPr/>
            <p:nvPr/>
          </p:nvSpPr>
          <p:spPr>
            <a:xfrm>
              <a:off x="5769741" y="2880309"/>
              <a:ext cx="201775" cy="127698"/>
            </a:xfrm>
            <a:custGeom>
              <a:avLst/>
              <a:gdLst/>
              <a:ahLst/>
              <a:cxnLst/>
              <a:rect l="l" t="t" r="r" b="b"/>
              <a:pathLst>
                <a:path w="292704" h="194310" extrusionOk="0">
                  <a:moveTo>
                    <a:pt x="122250" y="28802"/>
                  </a:moveTo>
                  <a:lnTo>
                    <a:pt x="130681" y="22218"/>
                  </a:lnTo>
                  <a:lnTo>
                    <a:pt x="132367" y="18927"/>
                  </a:lnTo>
                  <a:lnTo>
                    <a:pt x="142484" y="20573"/>
                  </a:lnTo>
                  <a:lnTo>
                    <a:pt x="174523" y="13989"/>
                  </a:lnTo>
                  <a:lnTo>
                    <a:pt x="176209" y="48552"/>
                  </a:lnTo>
                  <a:lnTo>
                    <a:pt x="186326" y="58427"/>
                  </a:lnTo>
                  <a:lnTo>
                    <a:pt x="188013" y="66657"/>
                  </a:lnTo>
                  <a:lnTo>
                    <a:pt x="177895" y="69949"/>
                  </a:lnTo>
                  <a:lnTo>
                    <a:pt x="161033" y="65011"/>
                  </a:lnTo>
                  <a:lnTo>
                    <a:pt x="142484" y="76532"/>
                  </a:lnTo>
                  <a:lnTo>
                    <a:pt x="142484" y="73240"/>
                  </a:lnTo>
                  <a:lnTo>
                    <a:pt x="134053" y="71595"/>
                  </a:lnTo>
                  <a:lnTo>
                    <a:pt x="135740" y="78178"/>
                  </a:lnTo>
                  <a:lnTo>
                    <a:pt x="142484" y="79824"/>
                  </a:lnTo>
                  <a:lnTo>
                    <a:pt x="139112" y="79824"/>
                  </a:lnTo>
                  <a:lnTo>
                    <a:pt x="142484" y="86407"/>
                  </a:lnTo>
                  <a:lnTo>
                    <a:pt x="135740" y="79824"/>
                  </a:lnTo>
                  <a:lnTo>
                    <a:pt x="144171" y="92991"/>
                  </a:lnTo>
                  <a:lnTo>
                    <a:pt x="144171" y="86407"/>
                  </a:lnTo>
                  <a:lnTo>
                    <a:pt x="147543" y="88053"/>
                  </a:lnTo>
                  <a:lnTo>
                    <a:pt x="145857" y="92991"/>
                  </a:lnTo>
                  <a:lnTo>
                    <a:pt x="149230" y="94637"/>
                  </a:lnTo>
                  <a:lnTo>
                    <a:pt x="154288" y="84761"/>
                  </a:lnTo>
                  <a:lnTo>
                    <a:pt x="159347" y="81470"/>
                  </a:lnTo>
                  <a:lnTo>
                    <a:pt x="167778" y="84761"/>
                  </a:lnTo>
                  <a:lnTo>
                    <a:pt x="161033" y="97928"/>
                  </a:lnTo>
                  <a:lnTo>
                    <a:pt x="157661" y="99574"/>
                  </a:lnTo>
                  <a:lnTo>
                    <a:pt x="155974" y="116033"/>
                  </a:lnTo>
                  <a:lnTo>
                    <a:pt x="159347" y="124262"/>
                  </a:lnTo>
                  <a:lnTo>
                    <a:pt x="155974" y="130845"/>
                  </a:lnTo>
                  <a:lnTo>
                    <a:pt x="159347" y="139075"/>
                  </a:lnTo>
                  <a:lnTo>
                    <a:pt x="171150" y="139075"/>
                  </a:lnTo>
                  <a:lnTo>
                    <a:pt x="172836" y="140721"/>
                  </a:lnTo>
                  <a:lnTo>
                    <a:pt x="181268" y="144013"/>
                  </a:lnTo>
                  <a:lnTo>
                    <a:pt x="186326" y="139075"/>
                  </a:lnTo>
                  <a:lnTo>
                    <a:pt x="201502" y="145658"/>
                  </a:lnTo>
                  <a:lnTo>
                    <a:pt x="214992" y="144013"/>
                  </a:lnTo>
                  <a:lnTo>
                    <a:pt x="216678" y="148950"/>
                  </a:lnTo>
                  <a:lnTo>
                    <a:pt x="221737" y="144013"/>
                  </a:lnTo>
                  <a:lnTo>
                    <a:pt x="226796" y="116033"/>
                  </a:lnTo>
                  <a:lnTo>
                    <a:pt x="223423" y="109449"/>
                  </a:lnTo>
                  <a:lnTo>
                    <a:pt x="233541" y="91345"/>
                  </a:lnTo>
                  <a:lnTo>
                    <a:pt x="235227" y="96282"/>
                  </a:lnTo>
                  <a:lnTo>
                    <a:pt x="235227" y="78178"/>
                  </a:lnTo>
                  <a:lnTo>
                    <a:pt x="238599" y="71595"/>
                  </a:lnTo>
                  <a:lnTo>
                    <a:pt x="226796" y="18927"/>
                  </a:lnTo>
                  <a:lnTo>
                    <a:pt x="241972" y="69949"/>
                  </a:lnTo>
                  <a:lnTo>
                    <a:pt x="245344" y="69949"/>
                  </a:lnTo>
                  <a:lnTo>
                    <a:pt x="255462" y="84761"/>
                  </a:lnTo>
                  <a:lnTo>
                    <a:pt x="287500" y="81470"/>
                  </a:lnTo>
                  <a:lnTo>
                    <a:pt x="294245" y="89699"/>
                  </a:lnTo>
                  <a:lnTo>
                    <a:pt x="290872" y="88053"/>
                  </a:lnTo>
                  <a:lnTo>
                    <a:pt x="282441" y="89699"/>
                  </a:lnTo>
                  <a:lnTo>
                    <a:pt x="267265" y="99574"/>
                  </a:lnTo>
                  <a:lnTo>
                    <a:pt x="252089" y="102866"/>
                  </a:lnTo>
                  <a:lnTo>
                    <a:pt x="243658" y="112741"/>
                  </a:lnTo>
                  <a:lnTo>
                    <a:pt x="233541" y="112741"/>
                  </a:lnTo>
                  <a:lnTo>
                    <a:pt x="226796" y="116033"/>
                  </a:lnTo>
                  <a:lnTo>
                    <a:pt x="223423" y="144013"/>
                  </a:lnTo>
                  <a:lnTo>
                    <a:pt x="214992" y="155533"/>
                  </a:lnTo>
                  <a:lnTo>
                    <a:pt x="216678" y="150596"/>
                  </a:lnTo>
                  <a:lnTo>
                    <a:pt x="213306" y="148950"/>
                  </a:lnTo>
                  <a:lnTo>
                    <a:pt x="206561" y="158825"/>
                  </a:lnTo>
                  <a:lnTo>
                    <a:pt x="199816" y="163763"/>
                  </a:lnTo>
                  <a:lnTo>
                    <a:pt x="199816" y="168700"/>
                  </a:lnTo>
                  <a:lnTo>
                    <a:pt x="196444" y="163763"/>
                  </a:lnTo>
                  <a:lnTo>
                    <a:pt x="194757" y="167055"/>
                  </a:lnTo>
                  <a:lnTo>
                    <a:pt x="198130" y="168700"/>
                  </a:lnTo>
                  <a:lnTo>
                    <a:pt x="196444" y="173638"/>
                  </a:lnTo>
                  <a:lnTo>
                    <a:pt x="198130" y="175284"/>
                  </a:lnTo>
                  <a:lnTo>
                    <a:pt x="194757" y="175284"/>
                  </a:lnTo>
                  <a:lnTo>
                    <a:pt x="194757" y="183513"/>
                  </a:lnTo>
                  <a:lnTo>
                    <a:pt x="186326" y="193388"/>
                  </a:lnTo>
                  <a:lnTo>
                    <a:pt x="182954" y="191742"/>
                  </a:lnTo>
                  <a:lnTo>
                    <a:pt x="157661" y="196680"/>
                  </a:lnTo>
                  <a:lnTo>
                    <a:pt x="137426" y="188451"/>
                  </a:lnTo>
                  <a:lnTo>
                    <a:pt x="128995" y="195034"/>
                  </a:lnTo>
                  <a:lnTo>
                    <a:pt x="125622" y="186805"/>
                  </a:lnTo>
                  <a:lnTo>
                    <a:pt x="115505" y="181867"/>
                  </a:lnTo>
                  <a:lnTo>
                    <a:pt x="110446" y="186805"/>
                  </a:lnTo>
                  <a:lnTo>
                    <a:pt x="83467" y="171992"/>
                  </a:lnTo>
                  <a:lnTo>
                    <a:pt x="69977" y="170346"/>
                  </a:lnTo>
                  <a:lnTo>
                    <a:pt x="66605" y="176930"/>
                  </a:lnTo>
                  <a:lnTo>
                    <a:pt x="64918" y="176930"/>
                  </a:lnTo>
                  <a:lnTo>
                    <a:pt x="58173" y="168700"/>
                  </a:lnTo>
                  <a:lnTo>
                    <a:pt x="42997" y="176930"/>
                  </a:lnTo>
                  <a:lnTo>
                    <a:pt x="17704" y="180221"/>
                  </a:lnTo>
                  <a:lnTo>
                    <a:pt x="12645" y="178575"/>
                  </a:lnTo>
                  <a:lnTo>
                    <a:pt x="12645" y="175284"/>
                  </a:lnTo>
                  <a:lnTo>
                    <a:pt x="10959" y="180221"/>
                  </a:lnTo>
                  <a:lnTo>
                    <a:pt x="4214" y="180221"/>
                  </a:lnTo>
                  <a:lnTo>
                    <a:pt x="9273" y="175284"/>
                  </a:lnTo>
                  <a:lnTo>
                    <a:pt x="9273" y="144013"/>
                  </a:lnTo>
                  <a:lnTo>
                    <a:pt x="5900" y="106157"/>
                  </a:lnTo>
                  <a:lnTo>
                    <a:pt x="9273" y="91345"/>
                  </a:lnTo>
                  <a:lnTo>
                    <a:pt x="4214" y="66657"/>
                  </a:lnTo>
                  <a:lnTo>
                    <a:pt x="5900" y="28802"/>
                  </a:lnTo>
                  <a:lnTo>
                    <a:pt x="14332" y="32094"/>
                  </a:lnTo>
                  <a:lnTo>
                    <a:pt x="14332" y="50198"/>
                  </a:lnTo>
                  <a:lnTo>
                    <a:pt x="21076" y="60074"/>
                  </a:lnTo>
                  <a:lnTo>
                    <a:pt x="29507" y="60074"/>
                  </a:lnTo>
                  <a:lnTo>
                    <a:pt x="42997" y="63365"/>
                  </a:lnTo>
                  <a:lnTo>
                    <a:pt x="44684" y="63365"/>
                  </a:lnTo>
                  <a:lnTo>
                    <a:pt x="81780" y="4114"/>
                  </a:lnTo>
                  <a:lnTo>
                    <a:pt x="122250" y="288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4" name="Hendrik-Ido-Ambacht">
              <a:extLst>
                <a:ext uri="{FF2B5EF4-FFF2-40B4-BE49-F238E27FC236}">
                  <a16:creationId xmlns:a16="http://schemas.microsoft.com/office/drawing/2014/main" id="{84E45575-2C61-47CB-8740-9B9EBEE0126A}"/>
                </a:ext>
              </a:extLst>
            </p:cNvPr>
            <p:cNvSpPr/>
            <p:nvPr/>
          </p:nvSpPr>
          <p:spPr>
            <a:xfrm>
              <a:off x="5402038" y="3885619"/>
              <a:ext cx="72329" cy="73703"/>
            </a:xfrm>
            <a:custGeom>
              <a:avLst/>
              <a:gdLst/>
              <a:ahLst/>
              <a:cxnLst/>
              <a:rect l="l" t="t" r="r" b="b"/>
              <a:pathLst>
                <a:path w="117081" h="114300" extrusionOk="0">
                  <a:moveTo>
                    <a:pt x="95270" y="50198"/>
                  </a:moveTo>
                  <a:lnTo>
                    <a:pt x="112133" y="71595"/>
                  </a:lnTo>
                  <a:lnTo>
                    <a:pt x="115505" y="79824"/>
                  </a:lnTo>
                  <a:lnTo>
                    <a:pt x="110446" y="101220"/>
                  </a:lnTo>
                  <a:lnTo>
                    <a:pt x="112133" y="116033"/>
                  </a:lnTo>
                  <a:lnTo>
                    <a:pt x="98643" y="96282"/>
                  </a:lnTo>
                  <a:lnTo>
                    <a:pt x="61546" y="111095"/>
                  </a:lnTo>
                  <a:lnTo>
                    <a:pt x="4214" y="78178"/>
                  </a:lnTo>
                  <a:lnTo>
                    <a:pt x="12645" y="55136"/>
                  </a:lnTo>
                  <a:lnTo>
                    <a:pt x="32880" y="48552"/>
                  </a:lnTo>
                  <a:lnTo>
                    <a:pt x="46370" y="40323"/>
                  </a:lnTo>
                  <a:lnTo>
                    <a:pt x="56487" y="51844"/>
                  </a:lnTo>
                  <a:lnTo>
                    <a:pt x="59860" y="53490"/>
                  </a:lnTo>
                  <a:lnTo>
                    <a:pt x="76722" y="37031"/>
                  </a:lnTo>
                  <a:lnTo>
                    <a:pt x="64918" y="18927"/>
                  </a:lnTo>
                  <a:lnTo>
                    <a:pt x="59860" y="4114"/>
                  </a:lnTo>
                  <a:lnTo>
                    <a:pt x="80094" y="23864"/>
                  </a:lnTo>
                  <a:lnTo>
                    <a:pt x="95270" y="501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5" name="Tilburg">
              <a:extLst>
                <a:ext uri="{FF2B5EF4-FFF2-40B4-BE49-F238E27FC236}">
                  <a16:creationId xmlns:a16="http://schemas.microsoft.com/office/drawing/2014/main" id="{50E8BB44-3E29-44E5-BF84-F2FAD7EB867E}"/>
                </a:ext>
              </a:extLst>
            </p:cNvPr>
            <p:cNvSpPr/>
            <p:nvPr/>
          </p:nvSpPr>
          <p:spPr>
            <a:xfrm>
              <a:off x="5759774" y="4252205"/>
              <a:ext cx="251648" cy="182528"/>
            </a:xfrm>
            <a:custGeom>
              <a:avLst/>
              <a:gdLst/>
              <a:ahLst/>
              <a:cxnLst/>
              <a:rect l="l" t="t" r="r" b="b"/>
              <a:pathLst>
                <a:path w="362953" h="274320" extrusionOk="0">
                  <a:moveTo>
                    <a:pt x="309421" y="4114"/>
                  </a:moveTo>
                  <a:lnTo>
                    <a:pt x="321224" y="18927"/>
                  </a:lnTo>
                  <a:lnTo>
                    <a:pt x="321224" y="20573"/>
                  </a:lnTo>
                  <a:lnTo>
                    <a:pt x="322911" y="18927"/>
                  </a:lnTo>
                  <a:lnTo>
                    <a:pt x="338087" y="43615"/>
                  </a:lnTo>
                  <a:lnTo>
                    <a:pt x="336400" y="48552"/>
                  </a:lnTo>
                  <a:lnTo>
                    <a:pt x="338087" y="50198"/>
                  </a:lnTo>
                  <a:lnTo>
                    <a:pt x="339773" y="48552"/>
                  </a:lnTo>
                  <a:lnTo>
                    <a:pt x="344832" y="56782"/>
                  </a:lnTo>
                  <a:lnTo>
                    <a:pt x="343145" y="63365"/>
                  </a:lnTo>
                  <a:lnTo>
                    <a:pt x="339773" y="66657"/>
                  </a:lnTo>
                  <a:lnTo>
                    <a:pt x="341459" y="68303"/>
                  </a:lnTo>
                  <a:lnTo>
                    <a:pt x="339773" y="71595"/>
                  </a:lnTo>
                  <a:lnTo>
                    <a:pt x="343145" y="74886"/>
                  </a:lnTo>
                  <a:lnTo>
                    <a:pt x="348204" y="73240"/>
                  </a:lnTo>
                  <a:lnTo>
                    <a:pt x="354949" y="78178"/>
                  </a:lnTo>
                  <a:lnTo>
                    <a:pt x="344832" y="92991"/>
                  </a:lnTo>
                  <a:lnTo>
                    <a:pt x="361694" y="107803"/>
                  </a:lnTo>
                  <a:lnTo>
                    <a:pt x="317852" y="148950"/>
                  </a:lnTo>
                  <a:lnTo>
                    <a:pt x="311107" y="158825"/>
                  </a:lnTo>
                  <a:lnTo>
                    <a:pt x="312793" y="160471"/>
                  </a:lnTo>
                  <a:lnTo>
                    <a:pt x="309421" y="160471"/>
                  </a:lnTo>
                  <a:lnTo>
                    <a:pt x="307734" y="163763"/>
                  </a:lnTo>
                  <a:lnTo>
                    <a:pt x="302676" y="178576"/>
                  </a:lnTo>
                  <a:lnTo>
                    <a:pt x="304362" y="178576"/>
                  </a:lnTo>
                  <a:lnTo>
                    <a:pt x="300989" y="180221"/>
                  </a:lnTo>
                  <a:lnTo>
                    <a:pt x="295931" y="191742"/>
                  </a:lnTo>
                  <a:lnTo>
                    <a:pt x="299303" y="195034"/>
                  </a:lnTo>
                  <a:lnTo>
                    <a:pt x="295931" y="214785"/>
                  </a:lnTo>
                  <a:lnTo>
                    <a:pt x="299303" y="221368"/>
                  </a:lnTo>
                  <a:lnTo>
                    <a:pt x="311107" y="229597"/>
                  </a:lnTo>
                  <a:lnTo>
                    <a:pt x="297617" y="231243"/>
                  </a:lnTo>
                  <a:lnTo>
                    <a:pt x="302676" y="241118"/>
                  </a:lnTo>
                  <a:lnTo>
                    <a:pt x="289186" y="257577"/>
                  </a:lnTo>
                  <a:lnTo>
                    <a:pt x="292559" y="262515"/>
                  </a:lnTo>
                  <a:lnTo>
                    <a:pt x="284128" y="269098"/>
                  </a:lnTo>
                  <a:lnTo>
                    <a:pt x="279069" y="264160"/>
                  </a:lnTo>
                  <a:lnTo>
                    <a:pt x="267265" y="231243"/>
                  </a:lnTo>
                  <a:lnTo>
                    <a:pt x="258834" y="241118"/>
                  </a:lnTo>
                  <a:lnTo>
                    <a:pt x="257148" y="246056"/>
                  </a:lnTo>
                  <a:lnTo>
                    <a:pt x="253775" y="247702"/>
                  </a:lnTo>
                  <a:lnTo>
                    <a:pt x="252089" y="254286"/>
                  </a:lnTo>
                  <a:lnTo>
                    <a:pt x="247030" y="262515"/>
                  </a:lnTo>
                  <a:lnTo>
                    <a:pt x="245344" y="260869"/>
                  </a:lnTo>
                  <a:lnTo>
                    <a:pt x="238599" y="267452"/>
                  </a:lnTo>
                  <a:lnTo>
                    <a:pt x="216678" y="264160"/>
                  </a:lnTo>
                  <a:lnTo>
                    <a:pt x="213306" y="267452"/>
                  </a:lnTo>
                  <a:lnTo>
                    <a:pt x="198130" y="269098"/>
                  </a:lnTo>
                  <a:lnTo>
                    <a:pt x="196444" y="262515"/>
                  </a:lnTo>
                  <a:lnTo>
                    <a:pt x="201503" y="255931"/>
                  </a:lnTo>
                  <a:lnTo>
                    <a:pt x="196444" y="254286"/>
                  </a:lnTo>
                  <a:lnTo>
                    <a:pt x="176209" y="250994"/>
                  </a:lnTo>
                  <a:lnTo>
                    <a:pt x="162719" y="257577"/>
                  </a:lnTo>
                  <a:lnTo>
                    <a:pt x="164405" y="270744"/>
                  </a:lnTo>
                  <a:lnTo>
                    <a:pt x="147543" y="267452"/>
                  </a:lnTo>
                  <a:lnTo>
                    <a:pt x="130681" y="270744"/>
                  </a:lnTo>
                  <a:lnTo>
                    <a:pt x="118877" y="249348"/>
                  </a:lnTo>
                  <a:lnTo>
                    <a:pt x="86839" y="250994"/>
                  </a:lnTo>
                  <a:lnTo>
                    <a:pt x="64918" y="244410"/>
                  </a:lnTo>
                  <a:lnTo>
                    <a:pt x="46370" y="244410"/>
                  </a:lnTo>
                  <a:lnTo>
                    <a:pt x="53115" y="234535"/>
                  </a:lnTo>
                  <a:lnTo>
                    <a:pt x="46370" y="229597"/>
                  </a:lnTo>
                  <a:lnTo>
                    <a:pt x="32880" y="221368"/>
                  </a:lnTo>
                  <a:lnTo>
                    <a:pt x="12645" y="219722"/>
                  </a:lnTo>
                  <a:lnTo>
                    <a:pt x="9273" y="195034"/>
                  </a:lnTo>
                  <a:lnTo>
                    <a:pt x="29507" y="183513"/>
                  </a:lnTo>
                  <a:lnTo>
                    <a:pt x="32880" y="178576"/>
                  </a:lnTo>
                  <a:lnTo>
                    <a:pt x="36252" y="168700"/>
                  </a:lnTo>
                  <a:lnTo>
                    <a:pt x="32880" y="163763"/>
                  </a:lnTo>
                  <a:lnTo>
                    <a:pt x="37939" y="155534"/>
                  </a:lnTo>
                  <a:lnTo>
                    <a:pt x="42997" y="119324"/>
                  </a:lnTo>
                  <a:lnTo>
                    <a:pt x="42997" y="106158"/>
                  </a:lnTo>
                  <a:lnTo>
                    <a:pt x="34566" y="106158"/>
                  </a:lnTo>
                  <a:lnTo>
                    <a:pt x="34566" y="92991"/>
                  </a:lnTo>
                  <a:lnTo>
                    <a:pt x="4214" y="73240"/>
                  </a:lnTo>
                  <a:lnTo>
                    <a:pt x="12645" y="65011"/>
                  </a:lnTo>
                  <a:lnTo>
                    <a:pt x="31194" y="68303"/>
                  </a:lnTo>
                  <a:lnTo>
                    <a:pt x="49742" y="78178"/>
                  </a:lnTo>
                  <a:lnTo>
                    <a:pt x="58173" y="79824"/>
                  </a:lnTo>
                  <a:lnTo>
                    <a:pt x="59859" y="83116"/>
                  </a:lnTo>
                  <a:lnTo>
                    <a:pt x="69977" y="81470"/>
                  </a:lnTo>
                  <a:lnTo>
                    <a:pt x="91898" y="83116"/>
                  </a:lnTo>
                  <a:lnTo>
                    <a:pt x="91898" y="81470"/>
                  </a:lnTo>
                  <a:lnTo>
                    <a:pt x="150916" y="86407"/>
                  </a:lnTo>
                  <a:lnTo>
                    <a:pt x="154288" y="73240"/>
                  </a:lnTo>
                  <a:lnTo>
                    <a:pt x="172837" y="74886"/>
                  </a:lnTo>
                  <a:lnTo>
                    <a:pt x="177895" y="74886"/>
                  </a:lnTo>
                  <a:lnTo>
                    <a:pt x="179582" y="78178"/>
                  </a:lnTo>
                  <a:lnTo>
                    <a:pt x="193071" y="76532"/>
                  </a:lnTo>
                  <a:lnTo>
                    <a:pt x="194757" y="81470"/>
                  </a:lnTo>
                  <a:lnTo>
                    <a:pt x="198130" y="78178"/>
                  </a:lnTo>
                  <a:lnTo>
                    <a:pt x="198130" y="88053"/>
                  </a:lnTo>
                  <a:lnTo>
                    <a:pt x="201503" y="86407"/>
                  </a:lnTo>
                  <a:lnTo>
                    <a:pt x="201503" y="79824"/>
                  </a:lnTo>
                  <a:lnTo>
                    <a:pt x="208247" y="78178"/>
                  </a:lnTo>
                  <a:lnTo>
                    <a:pt x="206561" y="74886"/>
                  </a:lnTo>
                  <a:lnTo>
                    <a:pt x="228482" y="73240"/>
                  </a:lnTo>
                  <a:lnTo>
                    <a:pt x="231855" y="71595"/>
                  </a:lnTo>
                  <a:lnTo>
                    <a:pt x="236913" y="58427"/>
                  </a:lnTo>
                  <a:lnTo>
                    <a:pt x="243658" y="60074"/>
                  </a:lnTo>
                  <a:lnTo>
                    <a:pt x="238599" y="33740"/>
                  </a:lnTo>
                  <a:lnTo>
                    <a:pt x="235227" y="33740"/>
                  </a:lnTo>
                  <a:lnTo>
                    <a:pt x="241972" y="18927"/>
                  </a:lnTo>
                  <a:lnTo>
                    <a:pt x="250403" y="13989"/>
                  </a:lnTo>
                  <a:lnTo>
                    <a:pt x="255462" y="13989"/>
                  </a:lnTo>
                  <a:lnTo>
                    <a:pt x="255462" y="15635"/>
                  </a:lnTo>
                  <a:lnTo>
                    <a:pt x="263893" y="10698"/>
                  </a:lnTo>
                  <a:lnTo>
                    <a:pt x="282441" y="10698"/>
                  </a:lnTo>
                  <a:lnTo>
                    <a:pt x="295931" y="4114"/>
                  </a:lnTo>
                  <a:lnTo>
                    <a:pt x="30942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6" name="Heeze-Leende">
              <a:extLst>
                <a:ext uri="{FF2B5EF4-FFF2-40B4-BE49-F238E27FC236}">
                  <a16:creationId xmlns:a16="http://schemas.microsoft.com/office/drawing/2014/main" id="{C3E25566-4B66-4A25-AFF3-1B75E88DFA31}"/>
                </a:ext>
              </a:extLst>
            </p:cNvPr>
            <p:cNvSpPr/>
            <p:nvPr/>
          </p:nvSpPr>
          <p:spPr>
            <a:xfrm>
              <a:off x="6324059" y="4610352"/>
              <a:ext cx="191876" cy="203306"/>
            </a:xfrm>
            <a:custGeom>
              <a:avLst/>
              <a:gdLst/>
              <a:ahLst/>
              <a:cxnLst/>
              <a:rect l="l" t="t" r="r" b="b"/>
              <a:pathLst>
                <a:path w="280996" h="308610" extrusionOk="0">
                  <a:moveTo>
                    <a:pt x="258834" y="5760"/>
                  </a:moveTo>
                  <a:lnTo>
                    <a:pt x="257148" y="35385"/>
                  </a:lnTo>
                  <a:lnTo>
                    <a:pt x="258834" y="83115"/>
                  </a:lnTo>
                  <a:lnTo>
                    <a:pt x="284128" y="168700"/>
                  </a:lnTo>
                  <a:lnTo>
                    <a:pt x="272324" y="173638"/>
                  </a:lnTo>
                  <a:lnTo>
                    <a:pt x="275696" y="178575"/>
                  </a:lnTo>
                  <a:lnTo>
                    <a:pt x="262207" y="186805"/>
                  </a:lnTo>
                  <a:lnTo>
                    <a:pt x="262207" y="203263"/>
                  </a:lnTo>
                  <a:lnTo>
                    <a:pt x="257148" y="199972"/>
                  </a:lnTo>
                  <a:lnTo>
                    <a:pt x="257148" y="208201"/>
                  </a:lnTo>
                  <a:lnTo>
                    <a:pt x="268951" y="211493"/>
                  </a:lnTo>
                  <a:lnTo>
                    <a:pt x="267265" y="218076"/>
                  </a:lnTo>
                  <a:lnTo>
                    <a:pt x="263893" y="216430"/>
                  </a:lnTo>
                  <a:lnTo>
                    <a:pt x="258834" y="221368"/>
                  </a:lnTo>
                  <a:lnTo>
                    <a:pt x="253776" y="218076"/>
                  </a:lnTo>
                  <a:lnTo>
                    <a:pt x="250403" y="223014"/>
                  </a:lnTo>
                  <a:lnTo>
                    <a:pt x="253776" y="226305"/>
                  </a:lnTo>
                  <a:lnTo>
                    <a:pt x="248717" y="232889"/>
                  </a:lnTo>
                  <a:lnTo>
                    <a:pt x="231855" y="223014"/>
                  </a:lnTo>
                  <a:lnTo>
                    <a:pt x="230168" y="229597"/>
                  </a:lnTo>
                  <a:lnTo>
                    <a:pt x="208247" y="223014"/>
                  </a:lnTo>
                  <a:lnTo>
                    <a:pt x="147543" y="249347"/>
                  </a:lnTo>
                  <a:lnTo>
                    <a:pt x="96957" y="285557"/>
                  </a:lnTo>
                  <a:lnTo>
                    <a:pt x="69977" y="310244"/>
                  </a:lnTo>
                  <a:lnTo>
                    <a:pt x="21076" y="298723"/>
                  </a:lnTo>
                  <a:lnTo>
                    <a:pt x="27821" y="283911"/>
                  </a:lnTo>
                  <a:lnTo>
                    <a:pt x="31194" y="264160"/>
                  </a:lnTo>
                  <a:lnTo>
                    <a:pt x="27821" y="255931"/>
                  </a:lnTo>
                  <a:lnTo>
                    <a:pt x="14332" y="241118"/>
                  </a:lnTo>
                  <a:lnTo>
                    <a:pt x="4214" y="218076"/>
                  </a:lnTo>
                  <a:lnTo>
                    <a:pt x="16018" y="201617"/>
                  </a:lnTo>
                  <a:lnTo>
                    <a:pt x="37939" y="186805"/>
                  </a:lnTo>
                  <a:lnTo>
                    <a:pt x="39625" y="171992"/>
                  </a:lnTo>
                  <a:lnTo>
                    <a:pt x="36252" y="170346"/>
                  </a:lnTo>
                  <a:lnTo>
                    <a:pt x="34566" y="165408"/>
                  </a:lnTo>
                  <a:lnTo>
                    <a:pt x="86839" y="137429"/>
                  </a:lnTo>
                  <a:lnTo>
                    <a:pt x="63232" y="96282"/>
                  </a:lnTo>
                  <a:lnTo>
                    <a:pt x="51428" y="58427"/>
                  </a:lnTo>
                  <a:lnTo>
                    <a:pt x="53115" y="48552"/>
                  </a:lnTo>
                  <a:lnTo>
                    <a:pt x="90212" y="46906"/>
                  </a:lnTo>
                  <a:lnTo>
                    <a:pt x="100329" y="46906"/>
                  </a:lnTo>
                  <a:lnTo>
                    <a:pt x="100329" y="50198"/>
                  </a:lnTo>
                  <a:lnTo>
                    <a:pt x="112132" y="48552"/>
                  </a:lnTo>
                  <a:lnTo>
                    <a:pt x="113819" y="50198"/>
                  </a:lnTo>
                  <a:lnTo>
                    <a:pt x="112132" y="46906"/>
                  </a:lnTo>
                  <a:lnTo>
                    <a:pt x="139112" y="43615"/>
                  </a:lnTo>
                  <a:lnTo>
                    <a:pt x="139112" y="46906"/>
                  </a:lnTo>
                  <a:lnTo>
                    <a:pt x="144171" y="46906"/>
                  </a:lnTo>
                  <a:lnTo>
                    <a:pt x="147543" y="43615"/>
                  </a:lnTo>
                  <a:lnTo>
                    <a:pt x="145857" y="40323"/>
                  </a:lnTo>
                  <a:lnTo>
                    <a:pt x="149230" y="38677"/>
                  </a:lnTo>
                  <a:lnTo>
                    <a:pt x="193071" y="13989"/>
                  </a:lnTo>
                  <a:lnTo>
                    <a:pt x="258834" y="4114"/>
                  </a:lnTo>
                  <a:lnTo>
                    <a:pt x="258834"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7" name="Maassluis">
              <a:extLst>
                <a:ext uri="{FF2B5EF4-FFF2-40B4-BE49-F238E27FC236}">
                  <a16:creationId xmlns:a16="http://schemas.microsoft.com/office/drawing/2014/main" id="{A8E6259D-C6CD-4EB8-B575-49EDA8AC9031}"/>
                </a:ext>
              </a:extLst>
            </p:cNvPr>
            <p:cNvSpPr/>
            <p:nvPr/>
          </p:nvSpPr>
          <p:spPr>
            <a:xfrm>
              <a:off x="4988593" y="3756898"/>
              <a:ext cx="91753" cy="66142"/>
            </a:xfrm>
            <a:custGeom>
              <a:avLst/>
              <a:gdLst/>
              <a:ahLst/>
              <a:cxnLst/>
              <a:rect l="l" t="t" r="r" b="b"/>
              <a:pathLst>
                <a:path w="128789" h="102870" extrusionOk="0">
                  <a:moveTo>
                    <a:pt x="32880" y="12343"/>
                  </a:moveTo>
                  <a:lnTo>
                    <a:pt x="34566" y="15635"/>
                  </a:lnTo>
                  <a:lnTo>
                    <a:pt x="46370" y="13989"/>
                  </a:lnTo>
                  <a:lnTo>
                    <a:pt x="73349" y="50198"/>
                  </a:lnTo>
                  <a:lnTo>
                    <a:pt x="83467" y="58427"/>
                  </a:lnTo>
                  <a:lnTo>
                    <a:pt x="93584" y="63365"/>
                  </a:lnTo>
                  <a:lnTo>
                    <a:pt x="127309" y="69949"/>
                  </a:lnTo>
                  <a:lnTo>
                    <a:pt x="86839" y="107803"/>
                  </a:lnTo>
                  <a:lnTo>
                    <a:pt x="44684" y="81470"/>
                  </a:lnTo>
                  <a:lnTo>
                    <a:pt x="22763" y="51844"/>
                  </a:lnTo>
                  <a:lnTo>
                    <a:pt x="4214" y="37031"/>
                  </a:lnTo>
                  <a:lnTo>
                    <a:pt x="16018" y="18927"/>
                  </a:lnTo>
                  <a:lnTo>
                    <a:pt x="29508" y="4114"/>
                  </a:lnTo>
                  <a:lnTo>
                    <a:pt x="32880"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8" name="Zaltbommel">
              <a:extLst>
                <a:ext uri="{FF2B5EF4-FFF2-40B4-BE49-F238E27FC236}">
                  <a16:creationId xmlns:a16="http://schemas.microsoft.com/office/drawing/2014/main" id="{676E1A74-0374-4542-9EA5-EA7CBADEFAF5}"/>
                </a:ext>
              </a:extLst>
            </p:cNvPr>
            <p:cNvSpPr/>
            <p:nvPr/>
          </p:nvSpPr>
          <p:spPr>
            <a:xfrm>
              <a:off x="5821157" y="3955569"/>
              <a:ext cx="308536" cy="146628"/>
            </a:xfrm>
            <a:custGeom>
              <a:avLst/>
              <a:gdLst/>
              <a:ahLst/>
              <a:cxnLst/>
              <a:rect l="l" t="t" r="r" b="b"/>
              <a:pathLst>
                <a:path w="444910" h="217170" extrusionOk="0">
                  <a:moveTo>
                    <a:pt x="177895" y="22218"/>
                  </a:moveTo>
                  <a:lnTo>
                    <a:pt x="193071" y="30448"/>
                  </a:lnTo>
                  <a:lnTo>
                    <a:pt x="206561" y="35385"/>
                  </a:lnTo>
                  <a:lnTo>
                    <a:pt x="218365" y="35385"/>
                  </a:lnTo>
                  <a:lnTo>
                    <a:pt x="263893" y="28802"/>
                  </a:lnTo>
                  <a:lnTo>
                    <a:pt x="282441" y="32094"/>
                  </a:lnTo>
                  <a:lnTo>
                    <a:pt x="306049" y="43615"/>
                  </a:lnTo>
                  <a:lnTo>
                    <a:pt x="321224" y="45260"/>
                  </a:lnTo>
                  <a:lnTo>
                    <a:pt x="341459" y="43615"/>
                  </a:lnTo>
                  <a:lnTo>
                    <a:pt x="388674" y="27156"/>
                  </a:lnTo>
                  <a:lnTo>
                    <a:pt x="434202" y="18927"/>
                  </a:lnTo>
                  <a:lnTo>
                    <a:pt x="439260" y="27156"/>
                  </a:lnTo>
                  <a:lnTo>
                    <a:pt x="437574" y="28802"/>
                  </a:lnTo>
                  <a:lnTo>
                    <a:pt x="437574" y="40323"/>
                  </a:lnTo>
                  <a:lnTo>
                    <a:pt x="434202" y="45260"/>
                  </a:lnTo>
                  <a:lnTo>
                    <a:pt x="439260" y="53490"/>
                  </a:lnTo>
                  <a:lnTo>
                    <a:pt x="437574" y="55136"/>
                  </a:lnTo>
                  <a:lnTo>
                    <a:pt x="437574" y="61719"/>
                  </a:lnTo>
                  <a:lnTo>
                    <a:pt x="434202" y="65011"/>
                  </a:lnTo>
                  <a:lnTo>
                    <a:pt x="446005" y="71594"/>
                  </a:lnTo>
                  <a:lnTo>
                    <a:pt x="425770" y="81470"/>
                  </a:lnTo>
                  <a:lnTo>
                    <a:pt x="412281" y="86407"/>
                  </a:lnTo>
                  <a:lnTo>
                    <a:pt x="417339" y="132491"/>
                  </a:lnTo>
                  <a:lnTo>
                    <a:pt x="405536" y="130845"/>
                  </a:lnTo>
                  <a:lnTo>
                    <a:pt x="403849" y="134137"/>
                  </a:lnTo>
                  <a:lnTo>
                    <a:pt x="383615" y="139075"/>
                  </a:lnTo>
                  <a:lnTo>
                    <a:pt x="371811" y="139075"/>
                  </a:lnTo>
                  <a:lnTo>
                    <a:pt x="366753" y="137429"/>
                  </a:lnTo>
                  <a:lnTo>
                    <a:pt x="339773" y="144012"/>
                  </a:lnTo>
                  <a:lnTo>
                    <a:pt x="321224" y="144012"/>
                  </a:lnTo>
                  <a:lnTo>
                    <a:pt x="297617" y="148950"/>
                  </a:lnTo>
                  <a:lnTo>
                    <a:pt x="297617" y="150596"/>
                  </a:lnTo>
                  <a:lnTo>
                    <a:pt x="292559" y="152242"/>
                  </a:lnTo>
                  <a:lnTo>
                    <a:pt x="279069" y="150596"/>
                  </a:lnTo>
                  <a:lnTo>
                    <a:pt x="268951" y="157179"/>
                  </a:lnTo>
                  <a:lnTo>
                    <a:pt x="270638" y="163763"/>
                  </a:lnTo>
                  <a:lnTo>
                    <a:pt x="279069" y="170346"/>
                  </a:lnTo>
                  <a:lnTo>
                    <a:pt x="285814" y="180221"/>
                  </a:lnTo>
                  <a:lnTo>
                    <a:pt x="287500" y="209847"/>
                  </a:lnTo>
                  <a:lnTo>
                    <a:pt x="257148" y="208201"/>
                  </a:lnTo>
                  <a:lnTo>
                    <a:pt x="198130" y="219722"/>
                  </a:lnTo>
                  <a:lnTo>
                    <a:pt x="194758" y="214785"/>
                  </a:lnTo>
                  <a:lnTo>
                    <a:pt x="196444" y="201617"/>
                  </a:lnTo>
                  <a:lnTo>
                    <a:pt x="214992" y="188450"/>
                  </a:lnTo>
                  <a:lnTo>
                    <a:pt x="221737" y="176930"/>
                  </a:lnTo>
                  <a:lnTo>
                    <a:pt x="213306" y="171992"/>
                  </a:lnTo>
                  <a:lnTo>
                    <a:pt x="211620" y="165408"/>
                  </a:lnTo>
                  <a:lnTo>
                    <a:pt x="216678" y="144012"/>
                  </a:lnTo>
                  <a:lnTo>
                    <a:pt x="213306" y="134137"/>
                  </a:lnTo>
                  <a:lnTo>
                    <a:pt x="182954" y="122616"/>
                  </a:lnTo>
                  <a:lnTo>
                    <a:pt x="164405" y="104512"/>
                  </a:lnTo>
                  <a:lnTo>
                    <a:pt x="152602" y="99574"/>
                  </a:lnTo>
                  <a:lnTo>
                    <a:pt x="139112" y="102866"/>
                  </a:lnTo>
                  <a:lnTo>
                    <a:pt x="125622" y="117678"/>
                  </a:lnTo>
                  <a:lnTo>
                    <a:pt x="117191" y="119324"/>
                  </a:lnTo>
                  <a:lnTo>
                    <a:pt x="107074" y="117678"/>
                  </a:lnTo>
                  <a:lnTo>
                    <a:pt x="96957" y="106157"/>
                  </a:lnTo>
                  <a:lnTo>
                    <a:pt x="80094" y="76532"/>
                  </a:lnTo>
                  <a:lnTo>
                    <a:pt x="71663" y="71594"/>
                  </a:lnTo>
                  <a:lnTo>
                    <a:pt x="44684" y="60073"/>
                  </a:lnTo>
                  <a:lnTo>
                    <a:pt x="27821" y="48552"/>
                  </a:lnTo>
                  <a:lnTo>
                    <a:pt x="19390" y="38677"/>
                  </a:lnTo>
                  <a:lnTo>
                    <a:pt x="17704" y="27156"/>
                  </a:lnTo>
                  <a:lnTo>
                    <a:pt x="4214" y="17281"/>
                  </a:lnTo>
                  <a:lnTo>
                    <a:pt x="22763" y="18927"/>
                  </a:lnTo>
                  <a:lnTo>
                    <a:pt x="68291" y="27156"/>
                  </a:lnTo>
                  <a:lnTo>
                    <a:pt x="83467" y="23864"/>
                  </a:lnTo>
                  <a:lnTo>
                    <a:pt x="117191" y="7405"/>
                  </a:lnTo>
                  <a:lnTo>
                    <a:pt x="137426" y="4114"/>
                  </a:lnTo>
                  <a:lnTo>
                    <a:pt x="154288" y="9052"/>
                  </a:lnTo>
                  <a:lnTo>
                    <a:pt x="177895" y="2221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59" name="Hilversum">
              <a:extLst>
                <a:ext uri="{FF2B5EF4-FFF2-40B4-BE49-F238E27FC236}">
                  <a16:creationId xmlns:a16="http://schemas.microsoft.com/office/drawing/2014/main" id="{41D81EBD-FDBA-4082-9EE4-F17977E4C754}"/>
                </a:ext>
              </a:extLst>
            </p:cNvPr>
            <p:cNvSpPr/>
            <p:nvPr/>
          </p:nvSpPr>
          <p:spPr>
            <a:xfrm>
              <a:off x="5930541" y="3222399"/>
              <a:ext cx="124657" cy="173062"/>
            </a:xfrm>
            <a:custGeom>
              <a:avLst/>
              <a:gdLst/>
              <a:ahLst/>
              <a:cxnLst/>
              <a:rect l="l" t="t" r="r" b="b"/>
              <a:pathLst>
                <a:path w="175622" h="262890" extrusionOk="0">
                  <a:moveTo>
                    <a:pt x="39625" y="20573"/>
                  </a:moveTo>
                  <a:lnTo>
                    <a:pt x="51428" y="20573"/>
                  </a:lnTo>
                  <a:lnTo>
                    <a:pt x="53115" y="23864"/>
                  </a:lnTo>
                  <a:lnTo>
                    <a:pt x="56487" y="22218"/>
                  </a:lnTo>
                  <a:lnTo>
                    <a:pt x="63232" y="12343"/>
                  </a:lnTo>
                  <a:lnTo>
                    <a:pt x="64918" y="5760"/>
                  </a:lnTo>
                  <a:lnTo>
                    <a:pt x="71663" y="10697"/>
                  </a:lnTo>
                  <a:lnTo>
                    <a:pt x="63232" y="23864"/>
                  </a:lnTo>
                  <a:lnTo>
                    <a:pt x="66605" y="25510"/>
                  </a:lnTo>
                  <a:lnTo>
                    <a:pt x="63232" y="30448"/>
                  </a:lnTo>
                  <a:lnTo>
                    <a:pt x="66605" y="32094"/>
                  </a:lnTo>
                  <a:lnTo>
                    <a:pt x="68291" y="38677"/>
                  </a:lnTo>
                  <a:lnTo>
                    <a:pt x="58174" y="58427"/>
                  </a:lnTo>
                  <a:lnTo>
                    <a:pt x="58174" y="66657"/>
                  </a:lnTo>
                  <a:lnTo>
                    <a:pt x="95270" y="76532"/>
                  </a:lnTo>
                  <a:lnTo>
                    <a:pt x="122250" y="56782"/>
                  </a:lnTo>
                  <a:lnTo>
                    <a:pt x="127309" y="55136"/>
                  </a:lnTo>
                  <a:lnTo>
                    <a:pt x="127309" y="56782"/>
                  </a:lnTo>
                  <a:lnTo>
                    <a:pt x="154288" y="46906"/>
                  </a:lnTo>
                  <a:lnTo>
                    <a:pt x="157661" y="50198"/>
                  </a:lnTo>
                  <a:lnTo>
                    <a:pt x="135740" y="96282"/>
                  </a:lnTo>
                  <a:lnTo>
                    <a:pt x="150916" y="112741"/>
                  </a:lnTo>
                  <a:lnTo>
                    <a:pt x="181268" y="181867"/>
                  </a:lnTo>
                  <a:lnTo>
                    <a:pt x="177895" y="196680"/>
                  </a:lnTo>
                  <a:lnTo>
                    <a:pt x="140799" y="265806"/>
                  </a:lnTo>
                  <a:lnTo>
                    <a:pt x="36253" y="257577"/>
                  </a:lnTo>
                  <a:lnTo>
                    <a:pt x="32880" y="246056"/>
                  </a:lnTo>
                  <a:lnTo>
                    <a:pt x="54801" y="234535"/>
                  </a:lnTo>
                  <a:lnTo>
                    <a:pt x="69977" y="216430"/>
                  </a:lnTo>
                  <a:lnTo>
                    <a:pt x="69977" y="209847"/>
                  </a:lnTo>
                  <a:lnTo>
                    <a:pt x="61546" y="193388"/>
                  </a:lnTo>
                  <a:lnTo>
                    <a:pt x="64918" y="190096"/>
                  </a:lnTo>
                  <a:lnTo>
                    <a:pt x="59860" y="191742"/>
                  </a:lnTo>
                  <a:lnTo>
                    <a:pt x="51428" y="176930"/>
                  </a:lnTo>
                  <a:lnTo>
                    <a:pt x="34566" y="165409"/>
                  </a:lnTo>
                  <a:lnTo>
                    <a:pt x="34566" y="160471"/>
                  </a:lnTo>
                  <a:lnTo>
                    <a:pt x="46370" y="158825"/>
                  </a:lnTo>
                  <a:lnTo>
                    <a:pt x="46370" y="157179"/>
                  </a:lnTo>
                  <a:lnTo>
                    <a:pt x="42997" y="157179"/>
                  </a:lnTo>
                  <a:lnTo>
                    <a:pt x="42997" y="152242"/>
                  </a:lnTo>
                  <a:lnTo>
                    <a:pt x="61546" y="152242"/>
                  </a:lnTo>
                  <a:lnTo>
                    <a:pt x="63232" y="150596"/>
                  </a:lnTo>
                  <a:lnTo>
                    <a:pt x="64918" y="106157"/>
                  </a:lnTo>
                  <a:lnTo>
                    <a:pt x="61546" y="101220"/>
                  </a:lnTo>
                  <a:lnTo>
                    <a:pt x="59860" y="81470"/>
                  </a:lnTo>
                  <a:lnTo>
                    <a:pt x="56487" y="81470"/>
                  </a:lnTo>
                  <a:lnTo>
                    <a:pt x="56487" y="66657"/>
                  </a:lnTo>
                  <a:lnTo>
                    <a:pt x="39625" y="66657"/>
                  </a:lnTo>
                  <a:lnTo>
                    <a:pt x="29508" y="33739"/>
                  </a:lnTo>
                  <a:lnTo>
                    <a:pt x="5901" y="23864"/>
                  </a:lnTo>
                  <a:lnTo>
                    <a:pt x="4214" y="13989"/>
                  </a:lnTo>
                  <a:lnTo>
                    <a:pt x="7587" y="5760"/>
                  </a:lnTo>
                  <a:lnTo>
                    <a:pt x="12645" y="4114"/>
                  </a:lnTo>
                  <a:lnTo>
                    <a:pt x="19390" y="10697"/>
                  </a:lnTo>
                  <a:lnTo>
                    <a:pt x="34566" y="13989"/>
                  </a:lnTo>
                  <a:lnTo>
                    <a:pt x="39625"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0" name="Haaren">
              <a:extLst>
                <a:ext uri="{FF2B5EF4-FFF2-40B4-BE49-F238E27FC236}">
                  <a16:creationId xmlns:a16="http://schemas.microsoft.com/office/drawing/2014/main" id="{600865D6-6E11-433F-AAC5-1D112864F80E}"/>
                </a:ext>
              </a:extLst>
            </p:cNvPr>
            <p:cNvSpPr/>
            <p:nvPr/>
          </p:nvSpPr>
          <p:spPr>
            <a:xfrm>
              <a:off x="5970840" y="4213010"/>
              <a:ext cx="186709" cy="130380"/>
            </a:xfrm>
            <a:custGeom>
              <a:avLst/>
              <a:gdLst/>
              <a:ahLst/>
              <a:cxnLst/>
              <a:rect l="l" t="t" r="r" b="b"/>
              <a:pathLst>
                <a:path w="269287" h="205740" extrusionOk="0">
                  <a:moveTo>
                    <a:pt x="100329" y="5760"/>
                  </a:moveTo>
                  <a:lnTo>
                    <a:pt x="113819" y="22218"/>
                  </a:lnTo>
                  <a:lnTo>
                    <a:pt x="122250" y="22218"/>
                  </a:lnTo>
                  <a:lnTo>
                    <a:pt x="123936" y="27156"/>
                  </a:lnTo>
                  <a:lnTo>
                    <a:pt x="134054" y="35385"/>
                  </a:lnTo>
                  <a:lnTo>
                    <a:pt x="137426" y="43615"/>
                  </a:lnTo>
                  <a:lnTo>
                    <a:pt x="135740" y="50198"/>
                  </a:lnTo>
                  <a:lnTo>
                    <a:pt x="145857" y="48552"/>
                  </a:lnTo>
                  <a:lnTo>
                    <a:pt x="147543" y="51844"/>
                  </a:lnTo>
                  <a:lnTo>
                    <a:pt x="147543" y="48552"/>
                  </a:lnTo>
                  <a:lnTo>
                    <a:pt x="149230" y="53490"/>
                  </a:lnTo>
                  <a:lnTo>
                    <a:pt x="152602" y="51844"/>
                  </a:lnTo>
                  <a:lnTo>
                    <a:pt x="157661" y="56781"/>
                  </a:lnTo>
                  <a:lnTo>
                    <a:pt x="162720" y="66657"/>
                  </a:lnTo>
                  <a:lnTo>
                    <a:pt x="157661" y="69949"/>
                  </a:lnTo>
                  <a:lnTo>
                    <a:pt x="159347" y="69949"/>
                  </a:lnTo>
                  <a:lnTo>
                    <a:pt x="167778" y="78178"/>
                  </a:lnTo>
                  <a:lnTo>
                    <a:pt x="161033" y="92991"/>
                  </a:lnTo>
                  <a:lnTo>
                    <a:pt x="182954" y="104512"/>
                  </a:lnTo>
                  <a:lnTo>
                    <a:pt x="208247" y="125908"/>
                  </a:lnTo>
                  <a:lnTo>
                    <a:pt x="213306" y="120970"/>
                  </a:lnTo>
                  <a:lnTo>
                    <a:pt x="213306" y="117678"/>
                  </a:lnTo>
                  <a:lnTo>
                    <a:pt x="235227" y="120970"/>
                  </a:lnTo>
                  <a:lnTo>
                    <a:pt x="238599" y="112741"/>
                  </a:lnTo>
                  <a:lnTo>
                    <a:pt x="241972" y="111095"/>
                  </a:lnTo>
                  <a:lnTo>
                    <a:pt x="250403" y="112741"/>
                  </a:lnTo>
                  <a:lnTo>
                    <a:pt x="255462" y="92991"/>
                  </a:lnTo>
                  <a:lnTo>
                    <a:pt x="260520" y="91345"/>
                  </a:lnTo>
                  <a:lnTo>
                    <a:pt x="268952" y="130845"/>
                  </a:lnTo>
                  <a:lnTo>
                    <a:pt x="255462" y="137429"/>
                  </a:lnTo>
                  <a:lnTo>
                    <a:pt x="243658" y="157179"/>
                  </a:lnTo>
                  <a:lnTo>
                    <a:pt x="233541" y="165409"/>
                  </a:lnTo>
                  <a:lnTo>
                    <a:pt x="230168" y="163763"/>
                  </a:lnTo>
                  <a:lnTo>
                    <a:pt x="225110" y="167054"/>
                  </a:lnTo>
                  <a:lnTo>
                    <a:pt x="214993" y="163763"/>
                  </a:lnTo>
                  <a:lnTo>
                    <a:pt x="214993" y="160471"/>
                  </a:lnTo>
                  <a:lnTo>
                    <a:pt x="208247" y="160471"/>
                  </a:lnTo>
                  <a:lnTo>
                    <a:pt x="194758" y="170346"/>
                  </a:lnTo>
                  <a:lnTo>
                    <a:pt x="186327" y="171992"/>
                  </a:lnTo>
                  <a:lnTo>
                    <a:pt x="174523" y="188451"/>
                  </a:lnTo>
                  <a:lnTo>
                    <a:pt x="164406" y="195034"/>
                  </a:lnTo>
                  <a:lnTo>
                    <a:pt x="161033" y="203264"/>
                  </a:lnTo>
                  <a:lnTo>
                    <a:pt x="110447" y="206555"/>
                  </a:lnTo>
                  <a:lnTo>
                    <a:pt x="103702" y="193388"/>
                  </a:lnTo>
                  <a:lnTo>
                    <a:pt x="95270" y="198326"/>
                  </a:lnTo>
                  <a:lnTo>
                    <a:pt x="81781" y="183513"/>
                  </a:lnTo>
                  <a:lnTo>
                    <a:pt x="78408" y="188451"/>
                  </a:lnTo>
                  <a:lnTo>
                    <a:pt x="75036" y="176930"/>
                  </a:lnTo>
                  <a:lnTo>
                    <a:pt x="68291" y="168700"/>
                  </a:lnTo>
                  <a:lnTo>
                    <a:pt x="58174" y="178575"/>
                  </a:lnTo>
                  <a:lnTo>
                    <a:pt x="41311" y="163763"/>
                  </a:lnTo>
                  <a:lnTo>
                    <a:pt x="51429" y="148950"/>
                  </a:lnTo>
                  <a:lnTo>
                    <a:pt x="44684" y="144012"/>
                  </a:lnTo>
                  <a:lnTo>
                    <a:pt x="39625" y="145658"/>
                  </a:lnTo>
                  <a:lnTo>
                    <a:pt x="36253" y="142367"/>
                  </a:lnTo>
                  <a:lnTo>
                    <a:pt x="37939" y="139075"/>
                  </a:lnTo>
                  <a:lnTo>
                    <a:pt x="36253" y="137429"/>
                  </a:lnTo>
                  <a:lnTo>
                    <a:pt x="39625" y="134137"/>
                  </a:lnTo>
                  <a:lnTo>
                    <a:pt x="41311" y="127554"/>
                  </a:lnTo>
                  <a:lnTo>
                    <a:pt x="36253" y="119324"/>
                  </a:lnTo>
                  <a:lnTo>
                    <a:pt x="34566" y="120970"/>
                  </a:lnTo>
                  <a:lnTo>
                    <a:pt x="32880" y="119324"/>
                  </a:lnTo>
                  <a:lnTo>
                    <a:pt x="34566" y="114387"/>
                  </a:lnTo>
                  <a:lnTo>
                    <a:pt x="19390" y="89699"/>
                  </a:lnTo>
                  <a:lnTo>
                    <a:pt x="16018" y="89699"/>
                  </a:lnTo>
                  <a:lnTo>
                    <a:pt x="17704" y="89699"/>
                  </a:lnTo>
                  <a:lnTo>
                    <a:pt x="10959" y="78178"/>
                  </a:lnTo>
                  <a:lnTo>
                    <a:pt x="7587" y="78178"/>
                  </a:lnTo>
                  <a:lnTo>
                    <a:pt x="4214" y="74886"/>
                  </a:lnTo>
                  <a:lnTo>
                    <a:pt x="27822" y="76532"/>
                  </a:lnTo>
                  <a:lnTo>
                    <a:pt x="19390" y="40323"/>
                  </a:lnTo>
                  <a:lnTo>
                    <a:pt x="22763" y="32094"/>
                  </a:lnTo>
                  <a:lnTo>
                    <a:pt x="24449" y="18927"/>
                  </a:lnTo>
                  <a:lnTo>
                    <a:pt x="31194" y="18927"/>
                  </a:lnTo>
                  <a:lnTo>
                    <a:pt x="37939" y="5760"/>
                  </a:lnTo>
                  <a:lnTo>
                    <a:pt x="96957" y="4114"/>
                  </a:lnTo>
                  <a:lnTo>
                    <a:pt x="100329"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1" name="Landgraaf">
              <a:extLst>
                <a:ext uri="{FF2B5EF4-FFF2-40B4-BE49-F238E27FC236}">
                  <a16:creationId xmlns:a16="http://schemas.microsoft.com/office/drawing/2014/main" id="{6DE98D72-FBEA-4F59-BF56-67DB9730DF68}"/>
                </a:ext>
              </a:extLst>
            </p:cNvPr>
            <p:cNvSpPr/>
            <p:nvPr/>
          </p:nvSpPr>
          <p:spPr>
            <a:xfrm>
              <a:off x="6875758" y="5388978"/>
              <a:ext cx="111927" cy="108824"/>
            </a:xfrm>
            <a:custGeom>
              <a:avLst/>
              <a:gdLst/>
              <a:ahLst/>
              <a:cxnLst/>
              <a:rect l="l" t="t" r="r" b="b"/>
              <a:pathLst>
                <a:path w="163914" h="160020" extrusionOk="0">
                  <a:moveTo>
                    <a:pt x="88525" y="17281"/>
                  </a:moveTo>
                  <a:lnTo>
                    <a:pt x="90212" y="18927"/>
                  </a:lnTo>
                  <a:lnTo>
                    <a:pt x="98643" y="15635"/>
                  </a:lnTo>
                  <a:lnTo>
                    <a:pt x="107074" y="22219"/>
                  </a:lnTo>
                  <a:lnTo>
                    <a:pt x="103701" y="33740"/>
                  </a:lnTo>
                  <a:lnTo>
                    <a:pt x="115505" y="35385"/>
                  </a:lnTo>
                  <a:lnTo>
                    <a:pt x="117191" y="33740"/>
                  </a:lnTo>
                  <a:lnTo>
                    <a:pt x="125622" y="37032"/>
                  </a:lnTo>
                  <a:lnTo>
                    <a:pt x="130681" y="30448"/>
                  </a:lnTo>
                  <a:lnTo>
                    <a:pt x="139112" y="32094"/>
                  </a:lnTo>
                  <a:lnTo>
                    <a:pt x="157661" y="41969"/>
                  </a:lnTo>
                  <a:lnTo>
                    <a:pt x="164405" y="35385"/>
                  </a:lnTo>
                  <a:lnTo>
                    <a:pt x="166092" y="37032"/>
                  </a:lnTo>
                  <a:lnTo>
                    <a:pt x="154288" y="51845"/>
                  </a:lnTo>
                  <a:lnTo>
                    <a:pt x="154288" y="56782"/>
                  </a:lnTo>
                  <a:lnTo>
                    <a:pt x="145857" y="63365"/>
                  </a:lnTo>
                  <a:lnTo>
                    <a:pt x="144171" y="73240"/>
                  </a:lnTo>
                  <a:lnTo>
                    <a:pt x="122250" y="76532"/>
                  </a:lnTo>
                  <a:lnTo>
                    <a:pt x="118878" y="78178"/>
                  </a:lnTo>
                  <a:lnTo>
                    <a:pt x="118878" y="81470"/>
                  </a:lnTo>
                  <a:lnTo>
                    <a:pt x="112133" y="84762"/>
                  </a:lnTo>
                  <a:lnTo>
                    <a:pt x="110446" y="81470"/>
                  </a:lnTo>
                  <a:lnTo>
                    <a:pt x="107074" y="83116"/>
                  </a:lnTo>
                  <a:lnTo>
                    <a:pt x="107074" y="88053"/>
                  </a:lnTo>
                  <a:lnTo>
                    <a:pt x="95270" y="88053"/>
                  </a:lnTo>
                  <a:lnTo>
                    <a:pt x="86839" y="86407"/>
                  </a:lnTo>
                  <a:lnTo>
                    <a:pt x="85153" y="104512"/>
                  </a:lnTo>
                  <a:lnTo>
                    <a:pt x="81780" y="106158"/>
                  </a:lnTo>
                  <a:lnTo>
                    <a:pt x="90212" y="111095"/>
                  </a:lnTo>
                  <a:lnTo>
                    <a:pt x="86839" y="117679"/>
                  </a:lnTo>
                  <a:lnTo>
                    <a:pt x="81780" y="116033"/>
                  </a:lnTo>
                  <a:lnTo>
                    <a:pt x="76722" y="120971"/>
                  </a:lnTo>
                  <a:lnTo>
                    <a:pt x="68291" y="155534"/>
                  </a:lnTo>
                  <a:lnTo>
                    <a:pt x="54801" y="155534"/>
                  </a:lnTo>
                  <a:lnTo>
                    <a:pt x="44684" y="158825"/>
                  </a:lnTo>
                  <a:lnTo>
                    <a:pt x="42997" y="152242"/>
                  </a:lnTo>
                  <a:lnTo>
                    <a:pt x="34566" y="142367"/>
                  </a:lnTo>
                  <a:lnTo>
                    <a:pt x="32880" y="122617"/>
                  </a:lnTo>
                  <a:lnTo>
                    <a:pt x="16018" y="107804"/>
                  </a:lnTo>
                  <a:lnTo>
                    <a:pt x="17704" y="104512"/>
                  </a:lnTo>
                  <a:lnTo>
                    <a:pt x="14332" y="106158"/>
                  </a:lnTo>
                  <a:lnTo>
                    <a:pt x="10959" y="97929"/>
                  </a:lnTo>
                  <a:lnTo>
                    <a:pt x="10959" y="79824"/>
                  </a:lnTo>
                  <a:lnTo>
                    <a:pt x="5900" y="76532"/>
                  </a:lnTo>
                  <a:lnTo>
                    <a:pt x="7587" y="73240"/>
                  </a:lnTo>
                  <a:lnTo>
                    <a:pt x="4214" y="73240"/>
                  </a:lnTo>
                  <a:lnTo>
                    <a:pt x="7587" y="63365"/>
                  </a:lnTo>
                  <a:lnTo>
                    <a:pt x="27821" y="41969"/>
                  </a:lnTo>
                  <a:lnTo>
                    <a:pt x="46370" y="4114"/>
                  </a:lnTo>
                  <a:lnTo>
                    <a:pt x="80094" y="12343"/>
                  </a:lnTo>
                  <a:lnTo>
                    <a:pt x="88525"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2" name="Borsele">
              <a:extLst>
                <a:ext uri="{FF2B5EF4-FFF2-40B4-BE49-F238E27FC236}">
                  <a16:creationId xmlns:a16="http://schemas.microsoft.com/office/drawing/2014/main" id="{9271AF9B-D6C8-41D1-BB35-AFA21521A9AF}"/>
                </a:ext>
              </a:extLst>
            </p:cNvPr>
            <p:cNvSpPr/>
            <p:nvPr/>
          </p:nvSpPr>
          <p:spPr>
            <a:xfrm>
              <a:off x="4420856" y="4460401"/>
              <a:ext cx="251648" cy="184373"/>
            </a:xfrm>
            <a:custGeom>
              <a:avLst/>
              <a:gdLst/>
              <a:ahLst/>
              <a:cxnLst/>
              <a:rect l="l" t="t" r="r" b="b"/>
              <a:pathLst>
                <a:path w="362953" h="285750" extrusionOk="0">
                  <a:moveTo>
                    <a:pt x="21076" y="79823"/>
                  </a:moveTo>
                  <a:lnTo>
                    <a:pt x="9273" y="83115"/>
                  </a:lnTo>
                  <a:lnTo>
                    <a:pt x="4214" y="79823"/>
                  </a:lnTo>
                  <a:lnTo>
                    <a:pt x="14332" y="69949"/>
                  </a:lnTo>
                  <a:lnTo>
                    <a:pt x="21076" y="79823"/>
                  </a:lnTo>
                  <a:close/>
                  <a:moveTo>
                    <a:pt x="41311" y="5760"/>
                  </a:moveTo>
                  <a:lnTo>
                    <a:pt x="127309" y="18927"/>
                  </a:lnTo>
                  <a:lnTo>
                    <a:pt x="140798" y="25510"/>
                  </a:lnTo>
                  <a:lnTo>
                    <a:pt x="166092" y="46906"/>
                  </a:lnTo>
                  <a:lnTo>
                    <a:pt x="181268" y="53490"/>
                  </a:lnTo>
                  <a:lnTo>
                    <a:pt x="193071" y="55136"/>
                  </a:lnTo>
                  <a:lnTo>
                    <a:pt x="230168" y="50198"/>
                  </a:lnTo>
                  <a:lnTo>
                    <a:pt x="274010" y="56781"/>
                  </a:lnTo>
                  <a:lnTo>
                    <a:pt x="280755" y="63365"/>
                  </a:lnTo>
                  <a:lnTo>
                    <a:pt x="290872" y="61719"/>
                  </a:lnTo>
                  <a:lnTo>
                    <a:pt x="339773" y="66657"/>
                  </a:lnTo>
                  <a:lnTo>
                    <a:pt x="339773" y="69949"/>
                  </a:lnTo>
                  <a:lnTo>
                    <a:pt x="331342" y="89699"/>
                  </a:lnTo>
                  <a:lnTo>
                    <a:pt x="344832" y="104512"/>
                  </a:lnTo>
                  <a:lnTo>
                    <a:pt x="363380" y="116033"/>
                  </a:lnTo>
                  <a:lnTo>
                    <a:pt x="358321" y="134137"/>
                  </a:lnTo>
                  <a:lnTo>
                    <a:pt x="353263" y="137429"/>
                  </a:lnTo>
                  <a:lnTo>
                    <a:pt x="356635" y="148950"/>
                  </a:lnTo>
                  <a:lnTo>
                    <a:pt x="349890" y="152242"/>
                  </a:lnTo>
                  <a:lnTo>
                    <a:pt x="354949" y="162117"/>
                  </a:lnTo>
                  <a:lnTo>
                    <a:pt x="361694" y="168700"/>
                  </a:lnTo>
                  <a:lnTo>
                    <a:pt x="356635" y="167054"/>
                  </a:lnTo>
                  <a:lnTo>
                    <a:pt x="358321" y="175284"/>
                  </a:lnTo>
                  <a:lnTo>
                    <a:pt x="346518" y="191742"/>
                  </a:lnTo>
                  <a:lnTo>
                    <a:pt x="346518" y="196680"/>
                  </a:lnTo>
                  <a:lnTo>
                    <a:pt x="343145" y="195034"/>
                  </a:lnTo>
                  <a:lnTo>
                    <a:pt x="346518" y="196680"/>
                  </a:lnTo>
                  <a:lnTo>
                    <a:pt x="343145" y="213138"/>
                  </a:lnTo>
                  <a:lnTo>
                    <a:pt x="343145" y="208201"/>
                  </a:lnTo>
                  <a:lnTo>
                    <a:pt x="339773" y="208201"/>
                  </a:lnTo>
                  <a:lnTo>
                    <a:pt x="339773" y="214785"/>
                  </a:lnTo>
                  <a:lnTo>
                    <a:pt x="334714" y="219722"/>
                  </a:lnTo>
                  <a:lnTo>
                    <a:pt x="327969" y="242764"/>
                  </a:lnTo>
                  <a:lnTo>
                    <a:pt x="322911" y="249348"/>
                  </a:lnTo>
                  <a:lnTo>
                    <a:pt x="322911" y="257577"/>
                  </a:lnTo>
                  <a:lnTo>
                    <a:pt x="316166" y="269098"/>
                  </a:lnTo>
                  <a:lnTo>
                    <a:pt x="306048" y="272390"/>
                  </a:lnTo>
                  <a:lnTo>
                    <a:pt x="289186" y="269098"/>
                  </a:lnTo>
                  <a:lnTo>
                    <a:pt x="285814" y="264160"/>
                  </a:lnTo>
                  <a:lnTo>
                    <a:pt x="277383" y="262514"/>
                  </a:lnTo>
                  <a:lnTo>
                    <a:pt x="277383" y="264160"/>
                  </a:lnTo>
                  <a:lnTo>
                    <a:pt x="272324" y="262514"/>
                  </a:lnTo>
                  <a:lnTo>
                    <a:pt x="260520" y="267452"/>
                  </a:lnTo>
                  <a:lnTo>
                    <a:pt x="250403" y="277327"/>
                  </a:lnTo>
                  <a:lnTo>
                    <a:pt x="243658" y="277327"/>
                  </a:lnTo>
                  <a:lnTo>
                    <a:pt x="193071" y="287203"/>
                  </a:lnTo>
                  <a:lnTo>
                    <a:pt x="188013" y="290494"/>
                  </a:lnTo>
                  <a:lnTo>
                    <a:pt x="186326" y="288848"/>
                  </a:lnTo>
                  <a:lnTo>
                    <a:pt x="186326" y="290494"/>
                  </a:lnTo>
                  <a:lnTo>
                    <a:pt x="186326" y="288848"/>
                  </a:lnTo>
                  <a:lnTo>
                    <a:pt x="179581" y="288848"/>
                  </a:lnTo>
                  <a:lnTo>
                    <a:pt x="157661" y="265806"/>
                  </a:lnTo>
                  <a:lnTo>
                    <a:pt x="147543" y="259223"/>
                  </a:lnTo>
                  <a:lnTo>
                    <a:pt x="144171" y="254285"/>
                  </a:lnTo>
                  <a:lnTo>
                    <a:pt x="123936" y="241118"/>
                  </a:lnTo>
                  <a:lnTo>
                    <a:pt x="127309" y="231243"/>
                  </a:lnTo>
                  <a:lnTo>
                    <a:pt x="125622" y="229597"/>
                  </a:lnTo>
                  <a:lnTo>
                    <a:pt x="105388" y="229597"/>
                  </a:lnTo>
                  <a:lnTo>
                    <a:pt x="107074" y="227951"/>
                  </a:lnTo>
                  <a:lnTo>
                    <a:pt x="91898" y="216430"/>
                  </a:lnTo>
                  <a:lnTo>
                    <a:pt x="73349" y="226306"/>
                  </a:lnTo>
                  <a:lnTo>
                    <a:pt x="61546" y="224660"/>
                  </a:lnTo>
                  <a:lnTo>
                    <a:pt x="48056" y="216430"/>
                  </a:lnTo>
                  <a:lnTo>
                    <a:pt x="42997" y="203264"/>
                  </a:lnTo>
                  <a:lnTo>
                    <a:pt x="41311" y="203264"/>
                  </a:lnTo>
                  <a:lnTo>
                    <a:pt x="42997" y="201617"/>
                  </a:lnTo>
                  <a:lnTo>
                    <a:pt x="39625" y="203264"/>
                  </a:lnTo>
                  <a:lnTo>
                    <a:pt x="42997" y="201617"/>
                  </a:lnTo>
                  <a:lnTo>
                    <a:pt x="39625" y="188451"/>
                  </a:lnTo>
                  <a:lnTo>
                    <a:pt x="31194" y="193388"/>
                  </a:lnTo>
                  <a:lnTo>
                    <a:pt x="37939" y="186805"/>
                  </a:lnTo>
                  <a:lnTo>
                    <a:pt x="36252" y="185159"/>
                  </a:lnTo>
                  <a:lnTo>
                    <a:pt x="29507" y="195034"/>
                  </a:lnTo>
                  <a:lnTo>
                    <a:pt x="34566" y="186805"/>
                  </a:lnTo>
                  <a:lnTo>
                    <a:pt x="26135" y="191742"/>
                  </a:lnTo>
                  <a:lnTo>
                    <a:pt x="36252" y="185159"/>
                  </a:lnTo>
                  <a:lnTo>
                    <a:pt x="4214" y="140720"/>
                  </a:lnTo>
                  <a:lnTo>
                    <a:pt x="16018" y="129199"/>
                  </a:lnTo>
                  <a:lnTo>
                    <a:pt x="19390" y="134137"/>
                  </a:lnTo>
                  <a:lnTo>
                    <a:pt x="10959" y="147304"/>
                  </a:lnTo>
                  <a:lnTo>
                    <a:pt x="14332" y="150596"/>
                  </a:lnTo>
                  <a:lnTo>
                    <a:pt x="26135" y="139075"/>
                  </a:lnTo>
                  <a:lnTo>
                    <a:pt x="37939" y="148950"/>
                  </a:lnTo>
                  <a:lnTo>
                    <a:pt x="41311" y="147304"/>
                  </a:lnTo>
                  <a:lnTo>
                    <a:pt x="37939" y="145658"/>
                  </a:lnTo>
                  <a:lnTo>
                    <a:pt x="41311" y="147304"/>
                  </a:lnTo>
                  <a:lnTo>
                    <a:pt x="41311" y="144012"/>
                  </a:lnTo>
                  <a:lnTo>
                    <a:pt x="42997" y="145658"/>
                  </a:lnTo>
                  <a:lnTo>
                    <a:pt x="42997" y="144012"/>
                  </a:lnTo>
                  <a:lnTo>
                    <a:pt x="29507" y="129199"/>
                  </a:lnTo>
                  <a:lnTo>
                    <a:pt x="51428" y="116033"/>
                  </a:lnTo>
                  <a:lnTo>
                    <a:pt x="49742" y="111095"/>
                  </a:lnTo>
                  <a:lnTo>
                    <a:pt x="24449" y="122616"/>
                  </a:lnTo>
                  <a:lnTo>
                    <a:pt x="32880" y="97928"/>
                  </a:lnTo>
                  <a:lnTo>
                    <a:pt x="36252" y="96282"/>
                  </a:lnTo>
                  <a:lnTo>
                    <a:pt x="34566" y="91345"/>
                  </a:lnTo>
                  <a:lnTo>
                    <a:pt x="36252" y="84761"/>
                  </a:lnTo>
                  <a:lnTo>
                    <a:pt x="42997" y="74886"/>
                  </a:lnTo>
                  <a:lnTo>
                    <a:pt x="39625" y="69949"/>
                  </a:lnTo>
                  <a:lnTo>
                    <a:pt x="32880" y="81470"/>
                  </a:lnTo>
                  <a:lnTo>
                    <a:pt x="26135" y="78178"/>
                  </a:lnTo>
                  <a:lnTo>
                    <a:pt x="19390" y="65011"/>
                  </a:lnTo>
                  <a:lnTo>
                    <a:pt x="21076" y="61719"/>
                  </a:lnTo>
                  <a:lnTo>
                    <a:pt x="17704" y="55136"/>
                  </a:lnTo>
                  <a:lnTo>
                    <a:pt x="10959" y="50198"/>
                  </a:lnTo>
                  <a:lnTo>
                    <a:pt x="10959" y="27156"/>
                  </a:lnTo>
                  <a:lnTo>
                    <a:pt x="21076" y="4114"/>
                  </a:lnTo>
                  <a:lnTo>
                    <a:pt x="41311"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3" name="Hollands Kroon">
              <a:extLst>
                <a:ext uri="{FF2B5EF4-FFF2-40B4-BE49-F238E27FC236}">
                  <a16:creationId xmlns:a16="http://schemas.microsoft.com/office/drawing/2014/main" id="{2CC22FBF-13F3-48CB-B926-619330498E77}"/>
                </a:ext>
              </a:extLst>
            </p:cNvPr>
            <p:cNvSpPr/>
            <p:nvPr/>
          </p:nvSpPr>
          <p:spPr>
            <a:xfrm>
              <a:off x="5580907" y="2073105"/>
              <a:ext cx="413826" cy="470907"/>
            </a:xfrm>
            <a:custGeom>
              <a:avLst/>
              <a:gdLst/>
              <a:ahLst/>
              <a:cxnLst/>
              <a:rect l="l" t="t" r="r" b="b"/>
              <a:pathLst>
                <a:path w="608824" h="708660" extrusionOk="0">
                  <a:moveTo>
                    <a:pt x="274010" y="227951"/>
                  </a:moveTo>
                  <a:lnTo>
                    <a:pt x="280755" y="219722"/>
                  </a:lnTo>
                  <a:lnTo>
                    <a:pt x="277383" y="226306"/>
                  </a:lnTo>
                  <a:lnTo>
                    <a:pt x="274010" y="227951"/>
                  </a:lnTo>
                  <a:close/>
                  <a:moveTo>
                    <a:pt x="435888" y="157179"/>
                  </a:moveTo>
                  <a:lnTo>
                    <a:pt x="434202" y="157179"/>
                  </a:lnTo>
                  <a:lnTo>
                    <a:pt x="435888" y="157179"/>
                  </a:lnTo>
                  <a:lnTo>
                    <a:pt x="435888" y="157179"/>
                  </a:lnTo>
                  <a:close/>
                  <a:moveTo>
                    <a:pt x="439260" y="155533"/>
                  </a:moveTo>
                  <a:lnTo>
                    <a:pt x="437574" y="155533"/>
                  </a:lnTo>
                  <a:lnTo>
                    <a:pt x="437574" y="153888"/>
                  </a:lnTo>
                  <a:lnTo>
                    <a:pt x="439260" y="155533"/>
                  </a:lnTo>
                  <a:close/>
                  <a:moveTo>
                    <a:pt x="430829" y="158825"/>
                  </a:moveTo>
                  <a:lnTo>
                    <a:pt x="446005" y="180221"/>
                  </a:lnTo>
                  <a:lnTo>
                    <a:pt x="442632" y="185159"/>
                  </a:lnTo>
                  <a:lnTo>
                    <a:pt x="446005" y="180221"/>
                  </a:lnTo>
                  <a:lnTo>
                    <a:pt x="429143" y="162117"/>
                  </a:lnTo>
                  <a:lnTo>
                    <a:pt x="425771" y="153888"/>
                  </a:lnTo>
                  <a:lnTo>
                    <a:pt x="430829" y="158825"/>
                  </a:lnTo>
                  <a:close/>
                  <a:moveTo>
                    <a:pt x="403850" y="142367"/>
                  </a:moveTo>
                  <a:lnTo>
                    <a:pt x="410594" y="145658"/>
                  </a:lnTo>
                  <a:lnTo>
                    <a:pt x="412281" y="142367"/>
                  </a:lnTo>
                  <a:lnTo>
                    <a:pt x="407222" y="139075"/>
                  </a:lnTo>
                  <a:lnTo>
                    <a:pt x="419025" y="145658"/>
                  </a:lnTo>
                  <a:lnTo>
                    <a:pt x="424084" y="142367"/>
                  </a:lnTo>
                  <a:lnTo>
                    <a:pt x="420712" y="147304"/>
                  </a:lnTo>
                  <a:lnTo>
                    <a:pt x="422398" y="148950"/>
                  </a:lnTo>
                  <a:lnTo>
                    <a:pt x="415653" y="144012"/>
                  </a:lnTo>
                  <a:lnTo>
                    <a:pt x="412281" y="144012"/>
                  </a:lnTo>
                  <a:lnTo>
                    <a:pt x="410594" y="147304"/>
                  </a:lnTo>
                  <a:lnTo>
                    <a:pt x="417339" y="152242"/>
                  </a:lnTo>
                  <a:lnTo>
                    <a:pt x="420712" y="150596"/>
                  </a:lnTo>
                  <a:lnTo>
                    <a:pt x="413967" y="155533"/>
                  </a:lnTo>
                  <a:lnTo>
                    <a:pt x="415653" y="157179"/>
                  </a:lnTo>
                  <a:lnTo>
                    <a:pt x="417339" y="153888"/>
                  </a:lnTo>
                  <a:lnTo>
                    <a:pt x="424084" y="165409"/>
                  </a:lnTo>
                  <a:lnTo>
                    <a:pt x="425771" y="163763"/>
                  </a:lnTo>
                  <a:lnTo>
                    <a:pt x="420712" y="153888"/>
                  </a:lnTo>
                  <a:lnTo>
                    <a:pt x="434202" y="170346"/>
                  </a:lnTo>
                  <a:lnTo>
                    <a:pt x="437574" y="170346"/>
                  </a:lnTo>
                  <a:lnTo>
                    <a:pt x="440946" y="180221"/>
                  </a:lnTo>
                  <a:lnTo>
                    <a:pt x="429143" y="167054"/>
                  </a:lnTo>
                  <a:lnTo>
                    <a:pt x="427457" y="168700"/>
                  </a:lnTo>
                  <a:lnTo>
                    <a:pt x="424084" y="170346"/>
                  </a:lnTo>
                  <a:lnTo>
                    <a:pt x="425771" y="175284"/>
                  </a:lnTo>
                  <a:lnTo>
                    <a:pt x="424084" y="176930"/>
                  </a:lnTo>
                  <a:lnTo>
                    <a:pt x="424084" y="190097"/>
                  </a:lnTo>
                  <a:lnTo>
                    <a:pt x="417339" y="191742"/>
                  </a:lnTo>
                  <a:lnTo>
                    <a:pt x="422398" y="191742"/>
                  </a:lnTo>
                  <a:lnTo>
                    <a:pt x="425771" y="193388"/>
                  </a:lnTo>
                  <a:lnTo>
                    <a:pt x="435888" y="188451"/>
                  </a:lnTo>
                  <a:lnTo>
                    <a:pt x="435888" y="186805"/>
                  </a:lnTo>
                  <a:lnTo>
                    <a:pt x="429143" y="190097"/>
                  </a:lnTo>
                  <a:lnTo>
                    <a:pt x="434202" y="185159"/>
                  </a:lnTo>
                  <a:lnTo>
                    <a:pt x="437574" y="185159"/>
                  </a:lnTo>
                  <a:lnTo>
                    <a:pt x="435888" y="188451"/>
                  </a:lnTo>
                  <a:lnTo>
                    <a:pt x="440946" y="186805"/>
                  </a:lnTo>
                  <a:lnTo>
                    <a:pt x="439260" y="188451"/>
                  </a:lnTo>
                  <a:lnTo>
                    <a:pt x="476357" y="260869"/>
                  </a:lnTo>
                  <a:lnTo>
                    <a:pt x="481416" y="262515"/>
                  </a:lnTo>
                  <a:lnTo>
                    <a:pt x="484788" y="269098"/>
                  </a:lnTo>
                  <a:lnTo>
                    <a:pt x="484788" y="275681"/>
                  </a:lnTo>
                  <a:lnTo>
                    <a:pt x="518513" y="341516"/>
                  </a:lnTo>
                  <a:lnTo>
                    <a:pt x="530316" y="348099"/>
                  </a:lnTo>
                  <a:lnTo>
                    <a:pt x="521885" y="343162"/>
                  </a:lnTo>
                  <a:lnTo>
                    <a:pt x="520199" y="344808"/>
                  </a:lnTo>
                  <a:lnTo>
                    <a:pt x="523571" y="349745"/>
                  </a:lnTo>
                  <a:lnTo>
                    <a:pt x="526944" y="349745"/>
                  </a:lnTo>
                  <a:lnTo>
                    <a:pt x="530316" y="354683"/>
                  </a:lnTo>
                  <a:lnTo>
                    <a:pt x="530316" y="349745"/>
                  </a:lnTo>
                  <a:lnTo>
                    <a:pt x="533689" y="354683"/>
                  </a:lnTo>
                  <a:lnTo>
                    <a:pt x="526944" y="357975"/>
                  </a:lnTo>
                  <a:lnTo>
                    <a:pt x="530316" y="364558"/>
                  </a:lnTo>
                  <a:lnTo>
                    <a:pt x="535375" y="362912"/>
                  </a:lnTo>
                  <a:lnTo>
                    <a:pt x="532003" y="356329"/>
                  </a:lnTo>
                  <a:lnTo>
                    <a:pt x="535375" y="362912"/>
                  </a:lnTo>
                  <a:lnTo>
                    <a:pt x="530316" y="366204"/>
                  </a:lnTo>
                  <a:lnTo>
                    <a:pt x="537061" y="377725"/>
                  </a:lnTo>
                  <a:lnTo>
                    <a:pt x="521885" y="548895"/>
                  </a:lnTo>
                  <a:lnTo>
                    <a:pt x="515140" y="550541"/>
                  </a:lnTo>
                  <a:lnTo>
                    <a:pt x="503337" y="562062"/>
                  </a:lnTo>
                  <a:lnTo>
                    <a:pt x="484788" y="560416"/>
                  </a:lnTo>
                  <a:lnTo>
                    <a:pt x="469612" y="563708"/>
                  </a:lnTo>
                  <a:lnTo>
                    <a:pt x="451064" y="588396"/>
                  </a:lnTo>
                  <a:lnTo>
                    <a:pt x="427457" y="601562"/>
                  </a:lnTo>
                  <a:lnTo>
                    <a:pt x="397105" y="603208"/>
                  </a:lnTo>
                  <a:lnTo>
                    <a:pt x="297617" y="598271"/>
                  </a:lnTo>
                  <a:lnTo>
                    <a:pt x="295931" y="593333"/>
                  </a:lnTo>
                  <a:lnTo>
                    <a:pt x="280755" y="598271"/>
                  </a:lnTo>
                  <a:lnTo>
                    <a:pt x="275696" y="606500"/>
                  </a:lnTo>
                  <a:lnTo>
                    <a:pt x="263893" y="609792"/>
                  </a:lnTo>
                  <a:lnTo>
                    <a:pt x="260520" y="627896"/>
                  </a:lnTo>
                  <a:lnTo>
                    <a:pt x="221737" y="695377"/>
                  </a:lnTo>
                  <a:lnTo>
                    <a:pt x="211620" y="710189"/>
                  </a:lnTo>
                  <a:lnTo>
                    <a:pt x="209934" y="710189"/>
                  </a:lnTo>
                  <a:lnTo>
                    <a:pt x="179582" y="697022"/>
                  </a:lnTo>
                  <a:lnTo>
                    <a:pt x="171150" y="687147"/>
                  </a:lnTo>
                  <a:lnTo>
                    <a:pt x="155975" y="677272"/>
                  </a:lnTo>
                  <a:lnTo>
                    <a:pt x="150916" y="670689"/>
                  </a:lnTo>
                  <a:lnTo>
                    <a:pt x="142485" y="672334"/>
                  </a:lnTo>
                  <a:lnTo>
                    <a:pt x="135740" y="677272"/>
                  </a:lnTo>
                  <a:lnTo>
                    <a:pt x="139112" y="665751"/>
                  </a:lnTo>
                  <a:lnTo>
                    <a:pt x="130681" y="647647"/>
                  </a:lnTo>
                  <a:lnTo>
                    <a:pt x="123936" y="642709"/>
                  </a:lnTo>
                  <a:lnTo>
                    <a:pt x="110446" y="614729"/>
                  </a:lnTo>
                  <a:lnTo>
                    <a:pt x="76722" y="565353"/>
                  </a:lnTo>
                  <a:lnTo>
                    <a:pt x="75036" y="557124"/>
                  </a:lnTo>
                  <a:lnTo>
                    <a:pt x="85153" y="553832"/>
                  </a:lnTo>
                  <a:lnTo>
                    <a:pt x="88525" y="557124"/>
                  </a:lnTo>
                  <a:lnTo>
                    <a:pt x="95270" y="558770"/>
                  </a:lnTo>
                  <a:lnTo>
                    <a:pt x="95270" y="547249"/>
                  </a:lnTo>
                  <a:lnTo>
                    <a:pt x="108760" y="543957"/>
                  </a:lnTo>
                  <a:lnTo>
                    <a:pt x="105388" y="524207"/>
                  </a:lnTo>
                  <a:lnTo>
                    <a:pt x="112133" y="524207"/>
                  </a:lnTo>
                  <a:lnTo>
                    <a:pt x="113819" y="484706"/>
                  </a:lnTo>
                  <a:lnTo>
                    <a:pt x="117191" y="466602"/>
                  </a:lnTo>
                  <a:lnTo>
                    <a:pt x="80094" y="395829"/>
                  </a:lnTo>
                  <a:lnTo>
                    <a:pt x="58173" y="369496"/>
                  </a:lnTo>
                  <a:lnTo>
                    <a:pt x="39625" y="359620"/>
                  </a:lnTo>
                  <a:lnTo>
                    <a:pt x="4214" y="366204"/>
                  </a:lnTo>
                  <a:lnTo>
                    <a:pt x="22763" y="297078"/>
                  </a:lnTo>
                  <a:lnTo>
                    <a:pt x="59860" y="213139"/>
                  </a:lnTo>
                  <a:lnTo>
                    <a:pt x="75036" y="218076"/>
                  </a:lnTo>
                  <a:lnTo>
                    <a:pt x="80094" y="208201"/>
                  </a:lnTo>
                  <a:lnTo>
                    <a:pt x="85153" y="211493"/>
                  </a:lnTo>
                  <a:lnTo>
                    <a:pt x="83467" y="213139"/>
                  </a:lnTo>
                  <a:lnTo>
                    <a:pt x="80094" y="213139"/>
                  </a:lnTo>
                  <a:lnTo>
                    <a:pt x="81781" y="214784"/>
                  </a:lnTo>
                  <a:lnTo>
                    <a:pt x="91898" y="223014"/>
                  </a:lnTo>
                  <a:lnTo>
                    <a:pt x="132367" y="246056"/>
                  </a:lnTo>
                  <a:lnTo>
                    <a:pt x="142485" y="246056"/>
                  </a:lnTo>
                  <a:lnTo>
                    <a:pt x="142485" y="249348"/>
                  </a:lnTo>
                  <a:lnTo>
                    <a:pt x="137426" y="246056"/>
                  </a:lnTo>
                  <a:lnTo>
                    <a:pt x="135740" y="249348"/>
                  </a:lnTo>
                  <a:lnTo>
                    <a:pt x="167778" y="267452"/>
                  </a:lnTo>
                  <a:lnTo>
                    <a:pt x="177895" y="272390"/>
                  </a:lnTo>
                  <a:lnTo>
                    <a:pt x="186327" y="272390"/>
                  </a:lnTo>
                  <a:lnTo>
                    <a:pt x="226796" y="259223"/>
                  </a:lnTo>
                  <a:lnTo>
                    <a:pt x="245344" y="246056"/>
                  </a:lnTo>
                  <a:lnTo>
                    <a:pt x="275696" y="232889"/>
                  </a:lnTo>
                  <a:lnTo>
                    <a:pt x="299304" y="204909"/>
                  </a:lnTo>
                  <a:lnTo>
                    <a:pt x="304362" y="185159"/>
                  </a:lnTo>
                  <a:lnTo>
                    <a:pt x="319538" y="170346"/>
                  </a:lnTo>
                  <a:lnTo>
                    <a:pt x="348204" y="168700"/>
                  </a:lnTo>
                  <a:lnTo>
                    <a:pt x="371811" y="158825"/>
                  </a:lnTo>
                  <a:lnTo>
                    <a:pt x="385301" y="163763"/>
                  </a:lnTo>
                  <a:lnTo>
                    <a:pt x="398791" y="160471"/>
                  </a:lnTo>
                  <a:lnTo>
                    <a:pt x="405536" y="155533"/>
                  </a:lnTo>
                  <a:lnTo>
                    <a:pt x="408908" y="148950"/>
                  </a:lnTo>
                  <a:lnTo>
                    <a:pt x="403850" y="142367"/>
                  </a:lnTo>
                  <a:lnTo>
                    <a:pt x="405536" y="139075"/>
                  </a:lnTo>
                  <a:lnTo>
                    <a:pt x="403850" y="142367"/>
                  </a:lnTo>
                  <a:close/>
                  <a:moveTo>
                    <a:pt x="432515" y="137429"/>
                  </a:moveTo>
                  <a:lnTo>
                    <a:pt x="437574" y="137429"/>
                  </a:lnTo>
                  <a:lnTo>
                    <a:pt x="430829" y="137429"/>
                  </a:lnTo>
                  <a:lnTo>
                    <a:pt x="424084" y="134137"/>
                  </a:lnTo>
                  <a:lnTo>
                    <a:pt x="432515" y="137429"/>
                  </a:lnTo>
                  <a:close/>
                  <a:moveTo>
                    <a:pt x="451064" y="145658"/>
                  </a:moveTo>
                  <a:lnTo>
                    <a:pt x="446005" y="157179"/>
                  </a:lnTo>
                  <a:lnTo>
                    <a:pt x="439260" y="153888"/>
                  </a:lnTo>
                  <a:lnTo>
                    <a:pt x="439260" y="147304"/>
                  </a:lnTo>
                  <a:lnTo>
                    <a:pt x="447691" y="145658"/>
                  </a:lnTo>
                  <a:lnTo>
                    <a:pt x="614628" y="4114"/>
                  </a:lnTo>
                  <a:lnTo>
                    <a:pt x="616314" y="5760"/>
                  </a:lnTo>
                  <a:lnTo>
                    <a:pt x="451064" y="14565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4" name="Oldenzaal">
              <a:extLst>
                <a:ext uri="{FF2B5EF4-FFF2-40B4-BE49-F238E27FC236}">
                  <a16:creationId xmlns:a16="http://schemas.microsoft.com/office/drawing/2014/main" id="{2F20F6B0-E259-4668-B5E6-17C9EF4A5305}"/>
                </a:ext>
              </a:extLst>
            </p:cNvPr>
            <p:cNvSpPr/>
            <p:nvPr/>
          </p:nvSpPr>
          <p:spPr>
            <a:xfrm>
              <a:off x="7763235" y="3122257"/>
              <a:ext cx="101653" cy="88048"/>
            </a:xfrm>
            <a:custGeom>
              <a:avLst/>
              <a:gdLst/>
              <a:ahLst/>
              <a:cxnLst/>
              <a:rect l="l" t="t" r="r" b="b"/>
              <a:pathLst>
                <a:path w="140498" h="125730" extrusionOk="0">
                  <a:moveTo>
                    <a:pt x="80094" y="10697"/>
                  </a:moveTo>
                  <a:lnTo>
                    <a:pt x="110447" y="13989"/>
                  </a:lnTo>
                  <a:lnTo>
                    <a:pt x="112132" y="5760"/>
                  </a:lnTo>
                  <a:lnTo>
                    <a:pt x="120563" y="5760"/>
                  </a:lnTo>
                  <a:lnTo>
                    <a:pt x="115505" y="28802"/>
                  </a:lnTo>
                  <a:lnTo>
                    <a:pt x="128995" y="30448"/>
                  </a:lnTo>
                  <a:lnTo>
                    <a:pt x="132367" y="33739"/>
                  </a:lnTo>
                  <a:lnTo>
                    <a:pt x="132367" y="37031"/>
                  </a:lnTo>
                  <a:lnTo>
                    <a:pt x="139112" y="37031"/>
                  </a:lnTo>
                  <a:lnTo>
                    <a:pt x="139112" y="45260"/>
                  </a:lnTo>
                  <a:lnTo>
                    <a:pt x="137426" y="45260"/>
                  </a:lnTo>
                  <a:lnTo>
                    <a:pt x="135740" y="50198"/>
                  </a:lnTo>
                  <a:lnTo>
                    <a:pt x="140798" y="63365"/>
                  </a:lnTo>
                  <a:lnTo>
                    <a:pt x="128995" y="88053"/>
                  </a:lnTo>
                  <a:lnTo>
                    <a:pt x="135740" y="101220"/>
                  </a:lnTo>
                  <a:lnTo>
                    <a:pt x="127309" y="107803"/>
                  </a:lnTo>
                  <a:lnTo>
                    <a:pt x="118878" y="106157"/>
                  </a:lnTo>
                  <a:lnTo>
                    <a:pt x="125622" y="122616"/>
                  </a:lnTo>
                  <a:lnTo>
                    <a:pt x="93584" y="124262"/>
                  </a:lnTo>
                  <a:lnTo>
                    <a:pt x="86839" y="127554"/>
                  </a:lnTo>
                  <a:lnTo>
                    <a:pt x="83467" y="119324"/>
                  </a:lnTo>
                  <a:lnTo>
                    <a:pt x="56487" y="101220"/>
                  </a:lnTo>
                  <a:lnTo>
                    <a:pt x="49742" y="104512"/>
                  </a:lnTo>
                  <a:lnTo>
                    <a:pt x="41311" y="101220"/>
                  </a:lnTo>
                  <a:lnTo>
                    <a:pt x="34566" y="101220"/>
                  </a:lnTo>
                  <a:lnTo>
                    <a:pt x="34566" y="97928"/>
                  </a:lnTo>
                  <a:lnTo>
                    <a:pt x="26135" y="92991"/>
                  </a:lnTo>
                  <a:lnTo>
                    <a:pt x="12645" y="92991"/>
                  </a:lnTo>
                  <a:lnTo>
                    <a:pt x="4214" y="89699"/>
                  </a:lnTo>
                  <a:lnTo>
                    <a:pt x="5901" y="71594"/>
                  </a:lnTo>
                  <a:lnTo>
                    <a:pt x="14332" y="68302"/>
                  </a:lnTo>
                  <a:lnTo>
                    <a:pt x="14332" y="61719"/>
                  </a:lnTo>
                  <a:lnTo>
                    <a:pt x="17704" y="56781"/>
                  </a:lnTo>
                  <a:lnTo>
                    <a:pt x="29508" y="56781"/>
                  </a:lnTo>
                  <a:lnTo>
                    <a:pt x="32880" y="40323"/>
                  </a:lnTo>
                  <a:lnTo>
                    <a:pt x="39625" y="41969"/>
                  </a:lnTo>
                  <a:lnTo>
                    <a:pt x="42997" y="32094"/>
                  </a:lnTo>
                  <a:lnTo>
                    <a:pt x="54801" y="25510"/>
                  </a:lnTo>
                  <a:lnTo>
                    <a:pt x="63232" y="4114"/>
                  </a:lnTo>
                  <a:lnTo>
                    <a:pt x="80094"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5" name="Oegstgeest">
              <a:extLst>
                <a:ext uri="{FF2B5EF4-FFF2-40B4-BE49-F238E27FC236}">
                  <a16:creationId xmlns:a16="http://schemas.microsoft.com/office/drawing/2014/main" id="{C6AE280B-4717-4952-BCDA-678A91F3E2CA}"/>
                </a:ext>
              </a:extLst>
            </p:cNvPr>
            <p:cNvSpPr/>
            <p:nvPr/>
          </p:nvSpPr>
          <p:spPr>
            <a:xfrm>
              <a:off x="5228843" y="3343770"/>
              <a:ext cx="62053" cy="66142"/>
            </a:xfrm>
            <a:custGeom>
              <a:avLst/>
              <a:gdLst/>
              <a:ahLst/>
              <a:cxnLst/>
              <a:rect l="l" t="t" r="r" b="b"/>
              <a:pathLst>
                <a:path w="93665" h="102870" extrusionOk="0">
                  <a:moveTo>
                    <a:pt x="73349" y="10697"/>
                  </a:moveTo>
                  <a:lnTo>
                    <a:pt x="83467" y="5760"/>
                  </a:lnTo>
                  <a:lnTo>
                    <a:pt x="85153" y="9052"/>
                  </a:lnTo>
                  <a:lnTo>
                    <a:pt x="90212" y="7406"/>
                  </a:lnTo>
                  <a:lnTo>
                    <a:pt x="93584" y="28802"/>
                  </a:lnTo>
                  <a:lnTo>
                    <a:pt x="83467" y="40323"/>
                  </a:lnTo>
                  <a:lnTo>
                    <a:pt x="88525" y="50198"/>
                  </a:lnTo>
                  <a:lnTo>
                    <a:pt x="86839" y="60073"/>
                  </a:lnTo>
                  <a:lnTo>
                    <a:pt x="90212" y="61719"/>
                  </a:lnTo>
                  <a:lnTo>
                    <a:pt x="93584" y="60073"/>
                  </a:lnTo>
                  <a:lnTo>
                    <a:pt x="95270" y="55136"/>
                  </a:lnTo>
                  <a:lnTo>
                    <a:pt x="98643" y="55136"/>
                  </a:lnTo>
                  <a:lnTo>
                    <a:pt x="95270" y="69949"/>
                  </a:lnTo>
                  <a:lnTo>
                    <a:pt x="90212" y="74886"/>
                  </a:lnTo>
                  <a:lnTo>
                    <a:pt x="83467" y="68302"/>
                  </a:lnTo>
                  <a:lnTo>
                    <a:pt x="83467" y="71594"/>
                  </a:lnTo>
                  <a:lnTo>
                    <a:pt x="69977" y="65011"/>
                  </a:lnTo>
                  <a:lnTo>
                    <a:pt x="54801" y="79823"/>
                  </a:lnTo>
                  <a:lnTo>
                    <a:pt x="51428" y="88053"/>
                  </a:lnTo>
                  <a:lnTo>
                    <a:pt x="32880" y="84761"/>
                  </a:lnTo>
                  <a:lnTo>
                    <a:pt x="22763" y="106157"/>
                  </a:lnTo>
                  <a:lnTo>
                    <a:pt x="19390" y="92991"/>
                  </a:lnTo>
                  <a:lnTo>
                    <a:pt x="24449" y="79823"/>
                  </a:lnTo>
                  <a:lnTo>
                    <a:pt x="22763" y="69949"/>
                  </a:lnTo>
                  <a:lnTo>
                    <a:pt x="19390" y="66657"/>
                  </a:lnTo>
                  <a:lnTo>
                    <a:pt x="4214" y="61719"/>
                  </a:lnTo>
                  <a:lnTo>
                    <a:pt x="39625" y="55136"/>
                  </a:lnTo>
                  <a:lnTo>
                    <a:pt x="46370" y="32094"/>
                  </a:lnTo>
                  <a:lnTo>
                    <a:pt x="51428" y="23864"/>
                  </a:lnTo>
                  <a:lnTo>
                    <a:pt x="44683" y="22218"/>
                  </a:lnTo>
                  <a:lnTo>
                    <a:pt x="48056" y="15635"/>
                  </a:lnTo>
                  <a:lnTo>
                    <a:pt x="54801" y="10697"/>
                  </a:lnTo>
                  <a:lnTo>
                    <a:pt x="59860" y="12343"/>
                  </a:lnTo>
                  <a:lnTo>
                    <a:pt x="69977" y="4114"/>
                  </a:lnTo>
                  <a:lnTo>
                    <a:pt x="73349"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6" name="Berg en Dal">
              <a:extLst>
                <a:ext uri="{FF2B5EF4-FFF2-40B4-BE49-F238E27FC236}">
                  <a16:creationId xmlns:a16="http://schemas.microsoft.com/office/drawing/2014/main" id="{2EE49443-B5BA-40C8-97E0-C91630A59224}"/>
                </a:ext>
              </a:extLst>
            </p:cNvPr>
            <p:cNvSpPr/>
            <p:nvPr/>
          </p:nvSpPr>
          <p:spPr>
            <a:xfrm>
              <a:off x="6752514" y="3862484"/>
              <a:ext cx="193781" cy="231703"/>
            </a:xfrm>
            <a:custGeom>
              <a:avLst/>
              <a:gdLst/>
              <a:ahLst/>
              <a:cxnLst/>
              <a:rect l="l" t="t" r="r" b="b"/>
              <a:pathLst>
                <a:path w="280996" h="342900" extrusionOk="0">
                  <a:moveTo>
                    <a:pt x="282441" y="50198"/>
                  </a:moveTo>
                  <a:lnTo>
                    <a:pt x="279069" y="61719"/>
                  </a:lnTo>
                  <a:lnTo>
                    <a:pt x="267265" y="63365"/>
                  </a:lnTo>
                  <a:lnTo>
                    <a:pt x="272324" y="73240"/>
                  </a:lnTo>
                  <a:lnTo>
                    <a:pt x="252089" y="86407"/>
                  </a:lnTo>
                  <a:lnTo>
                    <a:pt x="243658" y="97928"/>
                  </a:lnTo>
                  <a:lnTo>
                    <a:pt x="240286" y="96282"/>
                  </a:lnTo>
                  <a:lnTo>
                    <a:pt x="238599" y="97928"/>
                  </a:lnTo>
                  <a:lnTo>
                    <a:pt x="233541" y="91345"/>
                  </a:lnTo>
                  <a:lnTo>
                    <a:pt x="214992" y="101220"/>
                  </a:lnTo>
                  <a:lnTo>
                    <a:pt x="213306" y="109449"/>
                  </a:lnTo>
                  <a:lnTo>
                    <a:pt x="203189" y="116033"/>
                  </a:lnTo>
                  <a:lnTo>
                    <a:pt x="179582" y="125908"/>
                  </a:lnTo>
                  <a:lnTo>
                    <a:pt x="167778" y="127554"/>
                  </a:lnTo>
                  <a:lnTo>
                    <a:pt x="144171" y="120971"/>
                  </a:lnTo>
                  <a:lnTo>
                    <a:pt x="132367" y="112741"/>
                  </a:lnTo>
                  <a:lnTo>
                    <a:pt x="105388" y="144013"/>
                  </a:lnTo>
                  <a:lnTo>
                    <a:pt x="103701" y="145658"/>
                  </a:lnTo>
                  <a:lnTo>
                    <a:pt x="123936" y="160471"/>
                  </a:lnTo>
                  <a:lnTo>
                    <a:pt x="117191" y="165409"/>
                  </a:lnTo>
                  <a:lnTo>
                    <a:pt x="108760" y="162117"/>
                  </a:lnTo>
                  <a:lnTo>
                    <a:pt x="105388" y="165409"/>
                  </a:lnTo>
                  <a:lnTo>
                    <a:pt x="107074" y="168700"/>
                  </a:lnTo>
                  <a:lnTo>
                    <a:pt x="112132" y="171992"/>
                  </a:lnTo>
                  <a:lnTo>
                    <a:pt x="108760" y="173638"/>
                  </a:lnTo>
                  <a:lnTo>
                    <a:pt x="122250" y="176930"/>
                  </a:lnTo>
                  <a:lnTo>
                    <a:pt x="157661" y="206555"/>
                  </a:lnTo>
                  <a:lnTo>
                    <a:pt x="149230" y="211493"/>
                  </a:lnTo>
                  <a:lnTo>
                    <a:pt x="154288" y="214785"/>
                  </a:lnTo>
                  <a:lnTo>
                    <a:pt x="147543" y="226306"/>
                  </a:lnTo>
                  <a:lnTo>
                    <a:pt x="150916" y="227952"/>
                  </a:lnTo>
                  <a:lnTo>
                    <a:pt x="150916" y="237827"/>
                  </a:lnTo>
                  <a:lnTo>
                    <a:pt x="157661" y="234535"/>
                  </a:lnTo>
                  <a:lnTo>
                    <a:pt x="161033" y="239473"/>
                  </a:lnTo>
                  <a:lnTo>
                    <a:pt x="166092" y="237827"/>
                  </a:lnTo>
                  <a:lnTo>
                    <a:pt x="171150" y="242764"/>
                  </a:lnTo>
                  <a:lnTo>
                    <a:pt x="174523" y="241118"/>
                  </a:lnTo>
                  <a:lnTo>
                    <a:pt x="164405" y="252639"/>
                  </a:lnTo>
                  <a:lnTo>
                    <a:pt x="166092" y="254286"/>
                  </a:lnTo>
                  <a:lnTo>
                    <a:pt x="162719" y="264160"/>
                  </a:lnTo>
                  <a:lnTo>
                    <a:pt x="176209" y="274036"/>
                  </a:lnTo>
                  <a:lnTo>
                    <a:pt x="177895" y="272390"/>
                  </a:lnTo>
                  <a:lnTo>
                    <a:pt x="174523" y="282265"/>
                  </a:lnTo>
                  <a:lnTo>
                    <a:pt x="157661" y="297078"/>
                  </a:lnTo>
                  <a:lnTo>
                    <a:pt x="150916" y="300369"/>
                  </a:lnTo>
                  <a:lnTo>
                    <a:pt x="117191" y="325057"/>
                  </a:lnTo>
                  <a:lnTo>
                    <a:pt x="118877" y="326704"/>
                  </a:lnTo>
                  <a:lnTo>
                    <a:pt x="117191" y="334933"/>
                  </a:lnTo>
                  <a:lnTo>
                    <a:pt x="103701" y="341516"/>
                  </a:lnTo>
                  <a:lnTo>
                    <a:pt x="91898" y="344808"/>
                  </a:lnTo>
                  <a:lnTo>
                    <a:pt x="86839" y="341516"/>
                  </a:lnTo>
                  <a:lnTo>
                    <a:pt x="83467" y="336579"/>
                  </a:lnTo>
                  <a:lnTo>
                    <a:pt x="88525" y="326704"/>
                  </a:lnTo>
                  <a:lnTo>
                    <a:pt x="59859" y="316828"/>
                  </a:lnTo>
                  <a:lnTo>
                    <a:pt x="53115" y="293786"/>
                  </a:lnTo>
                  <a:lnTo>
                    <a:pt x="44684" y="285557"/>
                  </a:lnTo>
                  <a:lnTo>
                    <a:pt x="17704" y="242764"/>
                  </a:lnTo>
                  <a:lnTo>
                    <a:pt x="16018" y="213139"/>
                  </a:lnTo>
                  <a:lnTo>
                    <a:pt x="5900" y="198326"/>
                  </a:lnTo>
                  <a:lnTo>
                    <a:pt x="4214" y="178576"/>
                  </a:lnTo>
                  <a:lnTo>
                    <a:pt x="17704" y="178576"/>
                  </a:lnTo>
                  <a:lnTo>
                    <a:pt x="10959" y="168700"/>
                  </a:lnTo>
                  <a:lnTo>
                    <a:pt x="5900" y="152242"/>
                  </a:lnTo>
                  <a:lnTo>
                    <a:pt x="42997" y="135783"/>
                  </a:lnTo>
                  <a:lnTo>
                    <a:pt x="48056" y="130846"/>
                  </a:lnTo>
                  <a:lnTo>
                    <a:pt x="42997" y="127554"/>
                  </a:lnTo>
                  <a:lnTo>
                    <a:pt x="29507" y="124262"/>
                  </a:lnTo>
                  <a:lnTo>
                    <a:pt x="32880" y="114387"/>
                  </a:lnTo>
                  <a:lnTo>
                    <a:pt x="24449" y="107804"/>
                  </a:lnTo>
                  <a:lnTo>
                    <a:pt x="26135" y="102866"/>
                  </a:lnTo>
                  <a:lnTo>
                    <a:pt x="17704" y="101220"/>
                  </a:lnTo>
                  <a:lnTo>
                    <a:pt x="4214" y="94637"/>
                  </a:lnTo>
                  <a:lnTo>
                    <a:pt x="16018" y="83116"/>
                  </a:lnTo>
                  <a:lnTo>
                    <a:pt x="10959" y="81470"/>
                  </a:lnTo>
                  <a:lnTo>
                    <a:pt x="16018" y="71595"/>
                  </a:lnTo>
                  <a:lnTo>
                    <a:pt x="16018" y="60074"/>
                  </a:lnTo>
                  <a:lnTo>
                    <a:pt x="5900" y="60074"/>
                  </a:lnTo>
                  <a:lnTo>
                    <a:pt x="14332" y="45261"/>
                  </a:lnTo>
                  <a:lnTo>
                    <a:pt x="27821" y="32094"/>
                  </a:lnTo>
                  <a:lnTo>
                    <a:pt x="48056" y="23865"/>
                  </a:lnTo>
                  <a:lnTo>
                    <a:pt x="66605" y="22219"/>
                  </a:lnTo>
                  <a:lnTo>
                    <a:pt x="83467" y="23865"/>
                  </a:lnTo>
                  <a:lnTo>
                    <a:pt x="91898" y="28802"/>
                  </a:lnTo>
                  <a:lnTo>
                    <a:pt x="120563" y="65011"/>
                  </a:lnTo>
                  <a:lnTo>
                    <a:pt x="130681" y="69949"/>
                  </a:lnTo>
                  <a:lnTo>
                    <a:pt x="142484" y="69949"/>
                  </a:lnTo>
                  <a:lnTo>
                    <a:pt x="150916" y="65011"/>
                  </a:lnTo>
                  <a:lnTo>
                    <a:pt x="159347" y="56782"/>
                  </a:lnTo>
                  <a:lnTo>
                    <a:pt x="171150" y="28802"/>
                  </a:lnTo>
                  <a:lnTo>
                    <a:pt x="179582" y="15635"/>
                  </a:lnTo>
                  <a:lnTo>
                    <a:pt x="189699" y="7406"/>
                  </a:lnTo>
                  <a:lnTo>
                    <a:pt x="206561" y="4114"/>
                  </a:lnTo>
                  <a:lnTo>
                    <a:pt x="216678" y="7406"/>
                  </a:lnTo>
                  <a:lnTo>
                    <a:pt x="241972" y="23865"/>
                  </a:lnTo>
                  <a:lnTo>
                    <a:pt x="277382" y="37031"/>
                  </a:lnTo>
                  <a:lnTo>
                    <a:pt x="285814" y="41969"/>
                  </a:lnTo>
                  <a:lnTo>
                    <a:pt x="282441" y="501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7" name="Den Helder">
              <a:extLst>
                <a:ext uri="{FF2B5EF4-FFF2-40B4-BE49-F238E27FC236}">
                  <a16:creationId xmlns:a16="http://schemas.microsoft.com/office/drawing/2014/main" id="{578DB516-FD80-455C-A32B-BF0786957D92}"/>
                </a:ext>
              </a:extLst>
            </p:cNvPr>
            <p:cNvSpPr/>
            <p:nvPr/>
          </p:nvSpPr>
          <p:spPr>
            <a:xfrm>
              <a:off x="5527585" y="2119649"/>
              <a:ext cx="121828" cy="144723"/>
            </a:xfrm>
            <a:custGeom>
              <a:avLst/>
              <a:gdLst/>
              <a:ahLst/>
              <a:cxnLst/>
              <a:rect l="l" t="t" r="r" b="b"/>
              <a:pathLst>
                <a:path w="175622" h="217170" extrusionOk="0">
                  <a:moveTo>
                    <a:pt x="149229" y="37031"/>
                  </a:moveTo>
                  <a:lnTo>
                    <a:pt x="177895" y="40323"/>
                  </a:lnTo>
                  <a:lnTo>
                    <a:pt x="182954" y="46906"/>
                  </a:lnTo>
                  <a:lnTo>
                    <a:pt x="177895" y="40323"/>
                  </a:lnTo>
                  <a:lnTo>
                    <a:pt x="149229" y="37031"/>
                  </a:lnTo>
                  <a:close/>
                  <a:moveTo>
                    <a:pt x="117191" y="7406"/>
                  </a:moveTo>
                  <a:lnTo>
                    <a:pt x="117191" y="13989"/>
                  </a:lnTo>
                  <a:lnTo>
                    <a:pt x="112133" y="12343"/>
                  </a:lnTo>
                  <a:lnTo>
                    <a:pt x="115505" y="15635"/>
                  </a:lnTo>
                  <a:lnTo>
                    <a:pt x="112133" y="12343"/>
                  </a:lnTo>
                  <a:lnTo>
                    <a:pt x="112133" y="15635"/>
                  </a:lnTo>
                  <a:lnTo>
                    <a:pt x="110446" y="13989"/>
                  </a:lnTo>
                  <a:lnTo>
                    <a:pt x="102015" y="17281"/>
                  </a:lnTo>
                  <a:lnTo>
                    <a:pt x="108760" y="32094"/>
                  </a:lnTo>
                  <a:lnTo>
                    <a:pt x="122250" y="45261"/>
                  </a:lnTo>
                  <a:lnTo>
                    <a:pt x="120564" y="51844"/>
                  </a:lnTo>
                  <a:lnTo>
                    <a:pt x="125622" y="46906"/>
                  </a:lnTo>
                  <a:lnTo>
                    <a:pt x="123936" y="51844"/>
                  </a:lnTo>
                  <a:lnTo>
                    <a:pt x="127309" y="45261"/>
                  </a:lnTo>
                  <a:lnTo>
                    <a:pt x="112133" y="30448"/>
                  </a:lnTo>
                  <a:lnTo>
                    <a:pt x="108760" y="20573"/>
                  </a:lnTo>
                  <a:lnTo>
                    <a:pt x="110446" y="23864"/>
                  </a:lnTo>
                  <a:lnTo>
                    <a:pt x="110446" y="18927"/>
                  </a:lnTo>
                  <a:lnTo>
                    <a:pt x="113819" y="20573"/>
                  </a:lnTo>
                  <a:lnTo>
                    <a:pt x="112133" y="22219"/>
                  </a:lnTo>
                  <a:lnTo>
                    <a:pt x="115505" y="20573"/>
                  </a:lnTo>
                  <a:lnTo>
                    <a:pt x="112133" y="22219"/>
                  </a:lnTo>
                  <a:lnTo>
                    <a:pt x="117191" y="22219"/>
                  </a:lnTo>
                  <a:lnTo>
                    <a:pt x="113819" y="23864"/>
                  </a:lnTo>
                  <a:lnTo>
                    <a:pt x="117191" y="23864"/>
                  </a:lnTo>
                  <a:lnTo>
                    <a:pt x="113819" y="25510"/>
                  </a:lnTo>
                  <a:lnTo>
                    <a:pt x="118877" y="27156"/>
                  </a:lnTo>
                  <a:lnTo>
                    <a:pt x="118877" y="32094"/>
                  </a:lnTo>
                  <a:lnTo>
                    <a:pt x="122250" y="32094"/>
                  </a:lnTo>
                  <a:lnTo>
                    <a:pt x="120564" y="25510"/>
                  </a:lnTo>
                  <a:lnTo>
                    <a:pt x="122250" y="32094"/>
                  </a:lnTo>
                  <a:lnTo>
                    <a:pt x="128995" y="30448"/>
                  </a:lnTo>
                  <a:lnTo>
                    <a:pt x="128995" y="25510"/>
                  </a:lnTo>
                  <a:lnTo>
                    <a:pt x="130681" y="30448"/>
                  </a:lnTo>
                  <a:lnTo>
                    <a:pt x="132367" y="30448"/>
                  </a:lnTo>
                  <a:lnTo>
                    <a:pt x="130681" y="25510"/>
                  </a:lnTo>
                  <a:lnTo>
                    <a:pt x="132367" y="27156"/>
                  </a:lnTo>
                  <a:lnTo>
                    <a:pt x="137426" y="25510"/>
                  </a:lnTo>
                  <a:lnTo>
                    <a:pt x="134053" y="22219"/>
                  </a:lnTo>
                  <a:lnTo>
                    <a:pt x="130681" y="22219"/>
                  </a:lnTo>
                  <a:lnTo>
                    <a:pt x="137426" y="20573"/>
                  </a:lnTo>
                  <a:lnTo>
                    <a:pt x="137426" y="18927"/>
                  </a:lnTo>
                  <a:lnTo>
                    <a:pt x="135740" y="13989"/>
                  </a:lnTo>
                  <a:lnTo>
                    <a:pt x="135740" y="17281"/>
                  </a:lnTo>
                  <a:lnTo>
                    <a:pt x="132367" y="15635"/>
                  </a:lnTo>
                  <a:lnTo>
                    <a:pt x="132367" y="18927"/>
                  </a:lnTo>
                  <a:lnTo>
                    <a:pt x="130681" y="18927"/>
                  </a:lnTo>
                  <a:lnTo>
                    <a:pt x="128995" y="13989"/>
                  </a:lnTo>
                  <a:lnTo>
                    <a:pt x="125622" y="12343"/>
                  </a:lnTo>
                  <a:lnTo>
                    <a:pt x="134053" y="9052"/>
                  </a:lnTo>
                  <a:lnTo>
                    <a:pt x="144171" y="9052"/>
                  </a:lnTo>
                  <a:lnTo>
                    <a:pt x="145857" y="20573"/>
                  </a:lnTo>
                  <a:lnTo>
                    <a:pt x="144171" y="35385"/>
                  </a:lnTo>
                  <a:lnTo>
                    <a:pt x="130681" y="56782"/>
                  </a:lnTo>
                  <a:lnTo>
                    <a:pt x="127309" y="78178"/>
                  </a:lnTo>
                  <a:lnTo>
                    <a:pt x="128995" y="84761"/>
                  </a:lnTo>
                  <a:lnTo>
                    <a:pt x="130681" y="79824"/>
                  </a:lnTo>
                  <a:lnTo>
                    <a:pt x="130681" y="84761"/>
                  </a:lnTo>
                  <a:lnTo>
                    <a:pt x="132367" y="83115"/>
                  </a:lnTo>
                  <a:lnTo>
                    <a:pt x="132367" y="91345"/>
                  </a:lnTo>
                  <a:lnTo>
                    <a:pt x="144171" y="119324"/>
                  </a:lnTo>
                  <a:lnTo>
                    <a:pt x="157661" y="132491"/>
                  </a:lnTo>
                  <a:lnTo>
                    <a:pt x="152602" y="129200"/>
                  </a:lnTo>
                  <a:lnTo>
                    <a:pt x="147543" y="139075"/>
                  </a:lnTo>
                  <a:lnTo>
                    <a:pt x="132367" y="134137"/>
                  </a:lnTo>
                  <a:lnTo>
                    <a:pt x="95270" y="214785"/>
                  </a:lnTo>
                  <a:lnTo>
                    <a:pt x="4214" y="203264"/>
                  </a:lnTo>
                  <a:lnTo>
                    <a:pt x="9273" y="170346"/>
                  </a:lnTo>
                  <a:lnTo>
                    <a:pt x="9273" y="135783"/>
                  </a:lnTo>
                  <a:lnTo>
                    <a:pt x="7587" y="132491"/>
                  </a:lnTo>
                  <a:lnTo>
                    <a:pt x="9273" y="130845"/>
                  </a:lnTo>
                  <a:lnTo>
                    <a:pt x="10959" y="84761"/>
                  </a:lnTo>
                  <a:lnTo>
                    <a:pt x="16018" y="56782"/>
                  </a:lnTo>
                  <a:lnTo>
                    <a:pt x="12645" y="55136"/>
                  </a:lnTo>
                  <a:lnTo>
                    <a:pt x="16018" y="55136"/>
                  </a:lnTo>
                  <a:lnTo>
                    <a:pt x="16018" y="46906"/>
                  </a:lnTo>
                  <a:lnTo>
                    <a:pt x="17704" y="48552"/>
                  </a:lnTo>
                  <a:lnTo>
                    <a:pt x="21076" y="35385"/>
                  </a:lnTo>
                  <a:lnTo>
                    <a:pt x="37939" y="12343"/>
                  </a:lnTo>
                  <a:lnTo>
                    <a:pt x="54801" y="9052"/>
                  </a:lnTo>
                  <a:lnTo>
                    <a:pt x="75036" y="9052"/>
                  </a:lnTo>
                  <a:lnTo>
                    <a:pt x="85153" y="5760"/>
                  </a:lnTo>
                  <a:lnTo>
                    <a:pt x="110446" y="5760"/>
                  </a:lnTo>
                  <a:lnTo>
                    <a:pt x="108760" y="12343"/>
                  </a:lnTo>
                  <a:lnTo>
                    <a:pt x="117191" y="4114"/>
                  </a:lnTo>
                  <a:lnTo>
                    <a:pt x="117191"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8" name="Almelo">
              <a:extLst>
                <a:ext uri="{FF2B5EF4-FFF2-40B4-BE49-F238E27FC236}">
                  <a16:creationId xmlns:a16="http://schemas.microsoft.com/office/drawing/2014/main" id="{3A671CA4-BA61-46E0-95CB-D4983A18026A}"/>
                </a:ext>
              </a:extLst>
            </p:cNvPr>
            <p:cNvSpPr/>
            <p:nvPr/>
          </p:nvSpPr>
          <p:spPr>
            <a:xfrm>
              <a:off x="7497969" y="3025904"/>
              <a:ext cx="122203" cy="173063"/>
            </a:xfrm>
            <a:custGeom>
              <a:avLst/>
              <a:gdLst/>
              <a:ahLst/>
              <a:cxnLst/>
              <a:rect l="l" t="t" r="r" b="b"/>
              <a:pathLst>
                <a:path w="187330" h="262890" extrusionOk="0">
                  <a:moveTo>
                    <a:pt x="73349" y="10698"/>
                  </a:moveTo>
                  <a:lnTo>
                    <a:pt x="78408" y="13989"/>
                  </a:lnTo>
                  <a:lnTo>
                    <a:pt x="83467" y="5760"/>
                  </a:lnTo>
                  <a:lnTo>
                    <a:pt x="103701" y="27156"/>
                  </a:lnTo>
                  <a:lnTo>
                    <a:pt x="113819" y="28802"/>
                  </a:lnTo>
                  <a:lnTo>
                    <a:pt x="120564" y="10698"/>
                  </a:lnTo>
                  <a:lnTo>
                    <a:pt x="134053" y="23864"/>
                  </a:lnTo>
                  <a:lnTo>
                    <a:pt x="134053" y="18927"/>
                  </a:lnTo>
                  <a:lnTo>
                    <a:pt x="154288" y="15635"/>
                  </a:lnTo>
                  <a:lnTo>
                    <a:pt x="154288" y="22219"/>
                  </a:lnTo>
                  <a:lnTo>
                    <a:pt x="166092" y="53490"/>
                  </a:lnTo>
                  <a:lnTo>
                    <a:pt x="177895" y="56782"/>
                  </a:lnTo>
                  <a:lnTo>
                    <a:pt x="176209" y="63365"/>
                  </a:lnTo>
                  <a:lnTo>
                    <a:pt x="181268" y="81470"/>
                  </a:lnTo>
                  <a:lnTo>
                    <a:pt x="188013" y="94637"/>
                  </a:lnTo>
                  <a:lnTo>
                    <a:pt x="189699" y="116033"/>
                  </a:lnTo>
                  <a:lnTo>
                    <a:pt x="179582" y="129200"/>
                  </a:lnTo>
                  <a:lnTo>
                    <a:pt x="181268" y="130845"/>
                  </a:lnTo>
                  <a:lnTo>
                    <a:pt x="174523" y="137429"/>
                  </a:lnTo>
                  <a:lnTo>
                    <a:pt x="191385" y="142367"/>
                  </a:lnTo>
                  <a:lnTo>
                    <a:pt x="191385" y="145658"/>
                  </a:lnTo>
                  <a:lnTo>
                    <a:pt x="174523" y="168700"/>
                  </a:lnTo>
                  <a:lnTo>
                    <a:pt x="169464" y="163763"/>
                  </a:lnTo>
                  <a:lnTo>
                    <a:pt x="155974" y="170346"/>
                  </a:lnTo>
                  <a:lnTo>
                    <a:pt x="152602" y="178576"/>
                  </a:lnTo>
                  <a:lnTo>
                    <a:pt x="171150" y="191742"/>
                  </a:lnTo>
                  <a:lnTo>
                    <a:pt x="166092" y="195034"/>
                  </a:lnTo>
                  <a:lnTo>
                    <a:pt x="169464" y="198326"/>
                  </a:lnTo>
                  <a:lnTo>
                    <a:pt x="152602" y="206555"/>
                  </a:lnTo>
                  <a:lnTo>
                    <a:pt x="145857" y="206555"/>
                  </a:lnTo>
                  <a:lnTo>
                    <a:pt x="149230" y="209847"/>
                  </a:lnTo>
                  <a:lnTo>
                    <a:pt x="145857" y="211493"/>
                  </a:lnTo>
                  <a:lnTo>
                    <a:pt x="147543" y="214785"/>
                  </a:lnTo>
                  <a:lnTo>
                    <a:pt x="144170" y="219722"/>
                  </a:lnTo>
                  <a:lnTo>
                    <a:pt x="147543" y="223014"/>
                  </a:lnTo>
                  <a:lnTo>
                    <a:pt x="96957" y="255931"/>
                  </a:lnTo>
                  <a:lnTo>
                    <a:pt x="81780" y="259223"/>
                  </a:lnTo>
                  <a:lnTo>
                    <a:pt x="73349" y="264160"/>
                  </a:lnTo>
                  <a:lnTo>
                    <a:pt x="66604" y="264160"/>
                  </a:lnTo>
                  <a:lnTo>
                    <a:pt x="64918" y="267452"/>
                  </a:lnTo>
                  <a:lnTo>
                    <a:pt x="59859" y="265806"/>
                  </a:lnTo>
                  <a:lnTo>
                    <a:pt x="49742" y="269098"/>
                  </a:lnTo>
                  <a:lnTo>
                    <a:pt x="58173" y="239473"/>
                  </a:lnTo>
                  <a:lnTo>
                    <a:pt x="37939" y="229597"/>
                  </a:lnTo>
                  <a:lnTo>
                    <a:pt x="21076" y="226306"/>
                  </a:lnTo>
                  <a:lnTo>
                    <a:pt x="34566" y="223014"/>
                  </a:lnTo>
                  <a:lnTo>
                    <a:pt x="29507" y="221368"/>
                  </a:lnTo>
                  <a:lnTo>
                    <a:pt x="31194" y="216431"/>
                  </a:lnTo>
                  <a:lnTo>
                    <a:pt x="26135" y="213139"/>
                  </a:lnTo>
                  <a:lnTo>
                    <a:pt x="16018" y="214785"/>
                  </a:lnTo>
                  <a:lnTo>
                    <a:pt x="24449" y="204909"/>
                  </a:lnTo>
                  <a:lnTo>
                    <a:pt x="24449" y="203264"/>
                  </a:lnTo>
                  <a:lnTo>
                    <a:pt x="27821" y="199972"/>
                  </a:lnTo>
                  <a:lnTo>
                    <a:pt x="37939" y="181867"/>
                  </a:lnTo>
                  <a:lnTo>
                    <a:pt x="32880" y="173638"/>
                  </a:lnTo>
                  <a:lnTo>
                    <a:pt x="12645" y="158825"/>
                  </a:lnTo>
                  <a:lnTo>
                    <a:pt x="4214" y="142367"/>
                  </a:lnTo>
                  <a:lnTo>
                    <a:pt x="14331" y="137429"/>
                  </a:lnTo>
                  <a:lnTo>
                    <a:pt x="22763" y="112741"/>
                  </a:lnTo>
                  <a:lnTo>
                    <a:pt x="29507" y="107803"/>
                  </a:lnTo>
                  <a:lnTo>
                    <a:pt x="31194" y="96282"/>
                  </a:lnTo>
                  <a:lnTo>
                    <a:pt x="27821" y="88053"/>
                  </a:lnTo>
                  <a:lnTo>
                    <a:pt x="19390" y="83116"/>
                  </a:lnTo>
                  <a:lnTo>
                    <a:pt x="4214" y="43615"/>
                  </a:lnTo>
                  <a:lnTo>
                    <a:pt x="19390" y="28802"/>
                  </a:lnTo>
                  <a:lnTo>
                    <a:pt x="27821" y="37031"/>
                  </a:lnTo>
                  <a:lnTo>
                    <a:pt x="34566" y="27156"/>
                  </a:lnTo>
                  <a:lnTo>
                    <a:pt x="37939" y="28802"/>
                  </a:lnTo>
                  <a:lnTo>
                    <a:pt x="59859" y="13989"/>
                  </a:lnTo>
                  <a:lnTo>
                    <a:pt x="66604" y="4114"/>
                  </a:lnTo>
                  <a:lnTo>
                    <a:pt x="73349"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69" name="Terneuzen">
              <a:extLst>
                <a:ext uri="{FF2B5EF4-FFF2-40B4-BE49-F238E27FC236}">
                  <a16:creationId xmlns:a16="http://schemas.microsoft.com/office/drawing/2014/main" id="{28C6C07D-40C8-4469-86EA-AD1ADDC5D81A}"/>
                </a:ext>
              </a:extLst>
            </p:cNvPr>
            <p:cNvSpPr/>
            <p:nvPr/>
          </p:nvSpPr>
          <p:spPr>
            <a:xfrm>
              <a:off x="4364792" y="4679214"/>
              <a:ext cx="388483" cy="274326"/>
            </a:xfrm>
            <a:custGeom>
              <a:avLst/>
              <a:gdLst/>
              <a:ahLst/>
              <a:cxnLst/>
              <a:rect l="l" t="t" r="r" b="b"/>
              <a:pathLst>
                <a:path w="561992" h="411480" extrusionOk="0">
                  <a:moveTo>
                    <a:pt x="81780" y="5760"/>
                  </a:moveTo>
                  <a:lnTo>
                    <a:pt x="91898" y="17281"/>
                  </a:lnTo>
                  <a:lnTo>
                    <a:pt x="96956" y="13989"/>
                  </a:lnTo>
                  <a:lnTo>
                    <a:pt x="95270" y="18926"/>
                  </a:lnTo>
                  <a:lnTo>
                    <a:pt x="108760" y="28802"/>
                  </a:lnTo>
                  <a:lnTo>
                    <a:pt x="112133" y="22218"/>
                  </a:lnTo>
                  <a:lnTo>
                    <a:pt x="108760" y="28802"/>
                  </a:lnTo>
                  <a:lnTo>
                    <a:pt x="112133" y="33739"/>
                  </a:lnTo>
                  <a:lnTo>
                    <a:pt x="113819" y="35385"/>
                  </a:lnTo>
                  <a:lnTo>
                    <a:pt x="113819" y="33739"/>
                  </a:lnTo>
                  <a:lnTo>
                    <a:pt x="117191" y="33739"/>
                  </a:lnTo>
                  <a:lnTo>
                    <a:pt x="127309" y="45260"/>
                  </a:lnTo>
                  <a:lnTo>
                    <a:pt x="181268" y="50198"/>
                  </a:lnTo>
                  <a:lnTo>
                    <a:pt x="181268" y="53490"/>
                  </a:lnTo>
                  <a:lnTo>
                    <a:pt x="186326" y="53490"/>
                  </a:lnTo>
                  <a:lnTo>
                    <a:pt x="184640" y="56781"/>
                  </a:lnTo>
                  <a:lnTo>
                    <a:pt x="184640" y="53490"/>
                  </a:lnTo>
                  <a:lnTo>
                    <a:pt x="181268" y="53490"/>
                  </a:lnTo>
                  <a:lnTo>
                    <a:pt x="177895" y="58427"/>
                  </a:lnTo>
                  <a:lnTo>
                    <a:pt x="176209" y="68302"/>
                  </a:lnTo>
                  <a:lnTo>
                    <a:pt x="198130" y="78178"/>
                  </a:lnTo>
                  <a:lnTo>
                    <a:pt x="201502" y="78178"/>
                  </a:lnTo>
                  <a:lnTo>
                    <a:pt x="199816" y="71594"/>
                  </a:lnTo>
                  <a:lnTo>
                    <a:pt x="191385" y="68302"/>
                  </a:lnTo>
                  <a:lnTo>
                    <a:pt x="199816" y="69949"/>
                  </a:lnTo>
                  <a:lnTo>
                    <a:pt x="199816" y="55136"/>
                  </a:lnTo>
                  <a:lnTo>
                    <a:pt x="196444" y="56781"/>
                  </a:lnTo>
                  <a:lnTo>
                    <a:pt x="196444" y="50198"/>
                  </a:lnTo>
                  <a:lnTo>
                    <a:pt x="196444" y="55136"/>
                  </a:lnTo>
                  <a:lnTo>
                    <a:pt x="199816" y="55136"/>
                  </a:lnTo>
                  <a:lnTo>
                    <a:pt x="201502" y="43615"/>
                  </a:lnTo>
                  <a:lnTo>
                    <a:pt x="211620" y="45260"/>
                  </a:lnTo>
                  <a:lnTo>
                    <a:pt x="213306" y="41969"/>
                  </a:lnTo>
                  <a:lnTo>
                    <a:pt x="213306" y="45260"/>
                  </a:lnTo>
                  <a:lnTo>
                    <a:pt x="228482" y="46906"/>
                  </a:lnTo>
                  <a:lnTo>
                    <a:pt x="233541" y="53490"/>
                  </a:lnTo>
                  <a:lnTo>
                    <a:pt x="245344" y="58427"/>
                  </a:lnTo>
                  <a:lnTo>
                    <a:pt x="248717" y="60073"/>
                  </a:lnTo>
                  <a:lnTo>
                    <a:pt x="248717" y="56781"/>
                  </a:lnTo>
                  <a:lnTo>
                    <a:pt x="248717" y="60073"/>
                  </a:lnTo>
                  <a:lnTo>
                    <a:pt x="252089" y="58427"/>
                  </a:lnTo>
                  <a:lnTo>
                    <a:pt x="250403" y="60073"/>
                  </a:lnTo>
                  <a:lnTo>
                    <a:pt x="257148" y="60073"/>
                  </a:lnTo>
                  <a:lnTo>
                    <a:pt x="260520" y="61719"/>
                  </a:lnTo>
                  <a:lnTo>
                    <a:pt x="257148" y="68302"/>
                  </a:lnTo>
                  <a:lnTo>
                    <a:pt x="257148" y="74886"/>
                  </a:lnTo>
                  <a:lnTo>
                    <a:pt x="268951" y="96282"/>
                  </a:lnTo>
                  <a:lnTo>
                    <a:pt x="270638" y="92991"/>
                  </a:lnTo>
                  <a:lnTo>
                    <a:pt x="265579" y="78178"/>
                  </a:lnTo>
                  <a:lnTo>
                    <a:pt x="268951" y="79823"/>
                  </a:lnTo>
                  <a:lnTo>
                    <a:pt x="270638" y="78178"/>
                  </a:lnTo>
                  <a:lnTo>
                    <a:pt x="270638" y="81469"/>
                  </a:lnTo>
                  <a:lnTo>
                    <a:pt x="272324" y="76532"/>
                  </a:lnTo>
                  <a:lnTo>
                    <a:pt x="267265" y="63365"/>
                  </a:lnTo>
                  <a:lnTo>
                    <a:pt x="274010" y="63365"/>
                  </a:lnTo>
                  <a:lnTo>
                    <a:pt x="272324" y="68302"/>
                  </a:lnTo>
                  <a:lnTo>
                    <a:pt x="275696" y="79823"/>
                  </a:lnTo>
                  <a:lnTo>
                    <a:pt x="279069" y="69949"/>
                  </a:lnTo>
                  <a:lnTo>
                    <a:pt x="277383" y="65011"/>
                  </a:lnTo>
                  <a:lnTo>
                    <a:pt x="282441" y="68302"/>
                  </a:lnTo>
                  <a:lnTo>
                    <a:pt x="285814" y="65011"/>
                  </a:lnTo>
                  <a:lnTo>
                    <a:pt x="282441" y="65011"/>
                  </a:lnTo>
                  <a:lnTo>
                    <a:pt x="287500" y="63365"/>
                  </a:lnTo>
                  <a:lnTo>
                    <a:pt x="284127" y="68302"/>
                  </a:lnTo>
                  <a:lnTo>
                    <a:pt x="285814" y="68302"/>
                  </a:lnTo>
                  <a:lnTo>
                    <a:pt x="285814" y="69949"/>
                  </a:lnTo>
                  <a:lnTo>
                    <a:pt x="290872" y="71594"/>
                  </a:lnTo>
                  <a:lnTo>
                    <a:pt x="290872" y="65011"/>
                  </a:lnTo>
                  <a:lnTo>
                    <a:pt x="292559" y="69949"/>
                  </a:lnTo>
                  <a:lnTo>
                    <a:pt x="294245" y="68302"/>
                  </a:lnTo>
                  <a:lnTo>
                    <a:pt x="292559" y="73240"/>
                  </a:lnTo>
                  <a:lnTo>
                    <a:pt x="295931" y="69949"/>
                  </a:lnTo>
                  <a:lnTo>
                    <a:pt x="294245" y="73240"/>
                  </a:lnTo>
                  <a:lnTo>
                    <a:pt x="297617" y="73240"/>
                  </a:lnTo>
                  <a:lnTo>
                    <a:pt x="297617" y="71594"/>
                  </a:lnTo>
                  <a:lnTo>
                    <a:pt x="299303" y="73240"/>
                  </a:lnTo>
                  <a:lnTo>
                    <a:pt x="300990" y="71594"/>
                  </a:lnTo>
                  <a:lnTo>
                    <a:pt x="300990" y="74886"/>
                  </a:lnTo>
                  <a:lnTo>
                    <a:pt x="302676" y="71594"/>
                  </a:lnTo>
                  <a:lnTo>
                    <a:pt x="300990" y="78178"/>
                  </a:lnTo>
                  <a:lnTo>
                    <a:pt x="311107" y="81469"/>
                  </a:lnTo>
                  <a:lnTo>
                    <a:pt x="319538" y="81469"/>
                  </a:lnTo>
                  <a:lnTo>
                    <a:pt x="319538" y="78178"/>
                  </a:lnTo>
                  <a:lnTo>
                    <a:pt x="319538" y="81469"/>
                  </a:lnTo>
                  <a:lnTo>
                    <a:pt x="348204" y="81469"/>
                  </a:lnTo>
                  <a:lnTo>
                    <a:pt x="351576" y="74886"/>
                  </a:lnTo>
                  <a:lnTo>
                    <a:pt x="349890" y="68302"/>
                  </a:lnTo>
                  <a:lnTo>
                    <a:pt x="353263" y="74886"/>
                  </a:lnTo>
                  <a:lnTo>
                    <a:pt x="351576" y="68302"/>
                  </a:lnTo>
                  <a:lnTo>
                    <a:pt x="353263" y="73240"/>
                  </a:lnTo>
                  <a:lnTo>
                    <a:pt x="353263" y="68302"/>
                  </a:lnTo>
                  <a:lnTo>
                    <a:pt x="354949" y="71594"/>
                  </a:lnTo>
                  <a:lnTo>
                    <a:pt x="353263" y="66657"/>
                  </a:lnTo>
                  <a:lnTo>
                    <a:pt x="356635" y="69949"/>
                  </a:lnTo>
                  <a:lnTo>
                    <a:pt x="354949" y="66657"/>
                  </a:lnTo>
                  <a:lnTo>
                    <a:pt x="358321" y="68302"/>
                  </a:lnTo>
                  <a:lnTo>
                    <a:pt x="356635" y="65011"/>
                  </a:lnTo>
                  <a:lnTo>
                    <a:pt x="358321" y="68302"/>
                  </a:lnTo>
                  <a:lnTo>
                    <a:pt x="356635" y="63365"/>
                  </a:lnTo>
                  <a:lnTo>
                    <a:pt x="360008" y="68302"/>
                  </a:lnTo>
                  <a:lnTo>
                    <a:pt x="358321" y="63365"/>
                  </a:lnTo>
                  <a:lnTo>
                    <a:pt x="360008" y="66657"/>
                  </a:lnTo>
                  <a:lnTo>
                    <a:pt x="360008" y="61719"/>
                  </a:lnTo>
                  <a:lnTo>
                    <a:pt x="361694" y="65011"/>
                  </a:lnTo>
                  <a:lnTo>
                    <a:pt x="363380" y="56781"/>
                  </a:lnTo>
                  <a:lnTo>
                    <a:pt x="375184" y="55136"/>
                  </a:lnTo>
                  <a:lnTo>
                    <a:pt x="375184" y="53490"/>
                  </a:lnTo>
                  <a:lnTo>
                    <a:pt x="376870" y="55136"/>
                  </a:lnTo>
                  <a:lnTo>
                    <a:pt x="378556" y="50198"/>
                  </a:lnTo>
                  <a:lnTo>
                    <a:pt x="378556" y="53490"/>
                  </a:lnTo>
                  <a:lnTo>
                    <a:pt x="380242" y="51844"/>
                  </a:lnTo>
                  <a:lnTo>
                    <a:pt x="380242" y="53490"/>
                  </a:lnTo>
                  <a:lnTo>
                    <a:pt x="386987" y="51844"/>
                  </a:lnTo>
                  <a:lnTo>
                    <a:pt x="390360" y="48552"/>
                  </a:lnTo>
                  <a:lnTo>
                    <a:pt x="388673" y="46906"/>
                  </a:lnTo>
                  <a:lnTo>
                    <a:pt x="390360" y="48552"/>
                  </a:lnTo>
                  <a:lnTo>
                    <a:pt x="393732" y="41969"/>
                  </a:lnTo>
                  <a:lnTo>
                    <a:pt x="405536" y="37031"/>
                  </a:lnTo>
                  <a:lnTo>
                    <a:pt x="413967" y="28802"/>
                  </a:lnTo>
                  <a:lnTo>
                    <a:pt x="420712" y="25510"/>
                  </a:lnTo>
                  <a:lnTo>
                    <a:pt x="420712" y="23864"/>
                  </a:lnTo>
                  <a:lnTo>
                    <a:pt x="420712" y="25510"/>
                  </a:lnTo>
                  <a:lnTo>
                    <a:pt x="425770" y="23864"/>
                  </a:lnTo>
                  <a:lnTo>
                    <a:pt x="425770" y="20573"/>
                  </a:lnTo>
                  <a:lnTo>
                    <a:pt x="427457" y="23864"/>
                  </a:lnTo>
                  <a:lnTo>
                    <a:pt x="425770" y="20573"/>
                  </a:lnTo>
                  <a:lnTo>
                    <a:pt x="429143" y="22218"/>
                  </a:lnTo>
                  <a:lnTo>
                    <a:pt x="427457" y="20573"/>
                  </a:lnTo>
                  <a:lnTo>
                    <a:pt x="429143" y="22218"/>
                  </a:lnTo>
                  <a:lnTo>
                    <a:pt x="447691" y="18926"/>
                  </a:lnTo>
                  <a:lnTo>
                    <a:pt x="446005" y="12343"/>
                  </a:lnTo>
                  <a:lnTo>
                    <a:pt x="447691" y="18926"/>
                  </a:lnTo>
                  <a:lnTo>
                    <a:pt x="457809" y="17281"/>
                  </a:lnTo>
                  <a:lnTo>
                    <a:pt x="466240" y="12343"/>
                  </a:lnTo>
                  <a:lnTo>
                    <a:pt x="489847" y="15635"/>
                  </a:lnTo>
                  <a:lnTo>
                    <a:pt x="486475" y="33739"/>
                  </a:lnTo>
                  <a:lnTo>
                    <a:pt x="493219" y="46906"/>
                  </a:lnTo>
                  <a:lnTo>
                    <a:pt x="496592" y="92991"/>
                  </a:lnTo>
                  <a:lnTo>
                    <a:pt x="488161" y="117678"/>
                  </a:lnTo>
                  <a:lnTo>
                    <a:pt x="481416" y="150596"/>
                  </a:lnTo>
                  <a:lnTo>
                    <a:pt x="486475" y="160471"/>
                  </a:lnTo>
                  <a:lnTo>
                    <a:pt x="510081" y="170346"/>
                  </a:lnTo>
                  <a:lnTo>
                    <a:pt x="520199" y="168700"/>
                  </a:lnTo>
                  <a:lnTo>
                    <a:pt x="520199" y="170346"/>
                  </a:lnTo>
                  <a:lnTo>
                    <a:pt x="523571" y="295431"/>
                  </a:lnTo>
                  <a:lnTo>
                    <a:pt x="532003" y="293786"/>
                  </a:lnTo>
                  <a:lnTo>
                    <a:pt x="532003" y="295431"/>
                  </a:lnTo>
                  <a:lnTo>
                    <a:pt x="540434" y="298724"/>
                  </a:lnTo>
                  <a:lnTo>
                    <a:pt x="542120" y="302015"/>
                  </a:lnTo>
                  <a:lnTo>
                    <a:pt x="540434" y="305307"/>
                  </a:lnTo>
                  <a:lnTo>
                    <a:pt x="542120" y="310244"/>
                  </a:lnTo>
                  <a:lnTo>
                    <a:pt x="543806" y="310244"/>
                  </a:lnTo>
                  <a:lnTo>
                    <a:pt x="545492" y="315182"/>
                  </a:lnTo>
                  <a:lnTo>
                    <a:pt x="555610" y="310244"/>
                  </a:lnTo>
                  <a:lnTo>
                    <a:pt x="558982" y="313536"/>
                  </a:lnTo>
                  <a:lnTo>
                    <a:pt x="550551" y="318474"/>
                  </a:lnTo>
                  <a:lnTo>
                    <a:pt x="550551" y="323411"/>
                  </a:lnTo>
                  <a:lnTo>
                    <a:pt x="538747" y="326703"/>
                  </a:lnTo>
                  <a:lnTo>
                    <a:pt x="532003" y="333286"/>
                  </a:lnTo>
                  <a:lnTo>
                    <a:pt x="528630" y="331641"/>
                  </a:lnTo>
                  <a:lnTo>
                    <a:pt x="516827" y="353037"/>
                  </a:lnTo>
                  <a:lnTo>
                    <a:pt x="494905" y="354683"/>
                  </a:lnTo>
                  <a:lnTo>
                    <a:pt x="493219" y="362912"/>
                  </a:lnTo>
                  <a:lnTo>
                    <a:pt x="489847" y="364558"/>
                  </a:lnTo>
                  <a:lnTo>
                    <a:pt x="484788" y="374433"/>
                  </a:lnTo>
                  <a:lnTo>
                    <a:pt x="476357" y="372787"/>
                  </a:lnTo>
                  <a:lnTo>
                    <a:pt x="466240" y="374433"/>
                  </a:lnTo>
                  <a:lnTo>
                    <a:pt x="449378" y="382663"/>
                  </a:lnTo>
                  <a:lnTo>
                    <a:pt x="440946" y="362912"/>
                  </a:lnTo>
                  <a:lnTo>
                    <a:pt x="434202" y="371141"/>
                  </a:lnTo>
                  <a:lnTo>
                    <a:pt x="424084" y="371141"/>
                  </a:lnTo>
                  <a:lnTo>
                    <a:pt x="422398" y="376079"/>
                  </a:lnTo>
                  <a:lnTo>
                    <a:pt x="419025" y="376079"/>
                  </a:lnTo>
                  <a:lnTo>
                    <a:pt x="422398" y="392538"/>
                  </a:lnTo>
                  <a:lnTo>
                    <a:pt x="417339" y="392538"/>
                  </a:lnTo>
                  <a:lnTo>
                    <a:pt x="412281" y="397475"/>
                  </a:lnTo>
                  <a:lnTo>
                    <a:pt x="392046" y="407350"/>
                  </a:lnTo>
                  <a:lnTo>
                    <a:pt x="385301" y="402413"/>
                  </a:lnTo>
                  <a:lnTo>
                    <a:pt x="371811" y="410642"/>
                  </a:lnTo>
                  <a:lnTo>
                    <a:pt x="368439" y="402413"/>
                  </a:lnTo>
                  <a:lnTo>
                    <a:pt x="358321" y="390892"/>
                  </a:lnTo>
                  <a:lnTo>
                    <a:pt x="378556" y="377725"/>
                  </a:lnTo>
                  <a:lnTo>
                    <a:pt x="383615" y="366204"/>
                  </a:lnTo>
                  <a:lnTo>
                    <a:pt x="376870" y="354683"/>
                  </a:lnTo>
                  <a:lnTo>
                    <a:pt x="348204" y="371141"/>
                  </a:lnTo>
                  <a:lnTo>
                    <a:pt x="331342" y="384308"/>
                  </a:lnTo>
                  <a:lnTo>
                    <a:pt x="326283" y="382663"/>
                  </a:lnTo>
                  <a:lnTo>
                    <a:pt x="319538" y="377725"/>
                  </a:lnTo>
                  <a:lnTo>
                    <a:pt x="316166" y="381016"/>
                  </a:lnTo>
                  <a:lnTo>
                    <a:pt x="309421" y="377725"/>
                  </a:lnTo>
                  <a:lnTo>
                    <a:pt x="304362" y="379371"/>
                  </a:lnTo>
                  <a:lnTo>
                    <a:pt x="295931" y="376079"/>
                  </a:lnTo>
                  <a:lnTo>
                    <a:pt x="292559" y="379371"/>
                  </a:lnTo>
                  <a:lnTo>
                    <a:pt x="277383" y="387600"/>
                  </a:lnTo>
                  <a:lnTo>
                    <a:pt x="248717" y="376079"/>
                  </a:lnTo>
                  <a:lnTo>
                    <a:pt x="245344" y="376079"/>
                  </a:lnTo>
                  <a:lnTo>
                    <a:pt x="247030" y="384308"/>
                  </a:lnTo>
                  <a:lnTo>
                    <a:pt x="240286" y="382663"/>
                  </a:lnTo>
                  <a:lnTo>
                    <a:pt x="233541" y="376079"/>
                  </a:lnTo>
                  <a:lnTo>
                    <a:pt x="225110" y="374433"/>
                  </a:lnTo>
                  <a:lnTo>
                    <a:pt x="223423" y="369496"/>
                  </a:lnTo>
                  <a:lnTo>
                    <a:pt x="221737" y="343161"/>
                  </a:lnTo>
                  <a:lnTo>
                    <a:pt x="223423" y="297077"/>
                  </a:lnTo>
                  <a:lnTo>
                    <a:pt x="233541" y="272389"/>
                  </a:lnTo>
                  <a:lnTo>
                    <a:pt x="218365" y="265806"/>
                  </a:lnTo>
                  <a:lnTo>
                    <a:pt x="201502" y="252639"/>
                  </a:lnTo>
                  <a:lnTo>
                    <a:pt x="199816" y="257577"/>
                  </a:lnTo>
                  <a:lnTo>
                    <a:pt x="193071" y="262514"/>
                  </a:lnTo>
                  <a:lnTo>
                    <a:pt x="182954" y="257577"/>
                  </a:lnTo>
                  <a:lnTo>
                    <a:pt x="172837" y="239472"/>
                  </a:lnTo>
                  <a:lnTo>
                    <a:pt x="167778" y="236181"/>
                  </a:lnTo>
                  <a:lnTo>
                    <a:pt x="167778" y="239472"/>
                  </a:lnTo>
                  <a:lnTo>
                    <a:pt x="122250" y="227951"/>
                  </a:lnTo>
                  <a:lnTo>
                    <a:pt x="117191" y="229597"/>
                  </a:lnTo>
                  <a:lnTo>
                    <a:pt x="115505" y="232889"/>
                  </a:lnTo>
                  <a:lnTo>
                    <a:pt x="107074" y="231243"/>
                  </a:lnTo>
                  <a:lnTo>
                    <a:pt x="78408" y="221368"/>
                  </a:lnTo>
                  <a:lnTo>
                    <a:pt x="85153" y="204909"/>
                  </a:lnTo>
                  <a:lnTo>
                    <a:pt x="90212" y="204909"/>
                  </a:lnTo>
                  <a:lnTo>
                    <a:pt x="85153" y="199972"/>
                  </a:lnTo>
                  <a:lnTo>
                    <a:pt x="98643" y="190096"/>
                  </a:lnTo>
                  <a:lnTo>
                    <a:pt x="95270" y="173638"/>
                  </a:lnTo>
                  <a:lnTo>
                    <a:pt x="96956" y="162117"/>
                  </a:lnTo>
                  <a:lnTo>
                    <a:pt x="95270" y="157179"/>
                  </a:lnTo>
                  <a:lnTo>
                    <a:pt x="100329" y="147304"/>
                  </a:lnTo>
                  <a:lnTo>
                    <a:pt x="95270" y="139075"/>
                  </a:lnTo>
                  <a:lnTo>
                    <a:pt x="108760" y="125908"/>
                  </a:lnTo>
                  <a:lnTo>
                    <a:pt x="68291" y="111095"/>
                  </a:lnTo>
                  <a:lnTo>
                    <a:pt x="37939" y="114387"/>
                  </a:lnTo>
                  <a:lnTo>
                    <a:pt x="34566" y="101220"/>
                  </a:lnTo>
                  <a:lnTo>
                    <a:pt x="27821" y="101220"/>
                  </a:lnTo>
                  <a:lnTo>
                    <a:pt x="24449" y="81469"/>
                  </a:lnTo>
                  <a:lnTo>
                    <a:pt x="17704" y="84761"/>
                  </a:lnTo>
                  <a:lnTo>
                    <a:pt x="4214" y="60073"/>
                  </a:lnTo>
                  <a:lnTo>
                    <a:pt x="12645" y="58427"/>
                  </a:lnTo>
                  <a:lnTo>
                    <a:pt x="9273" y="40323"/>
                  </a:lnTo>
                  <a:lnTo>
                    <a:pt x="21076" y="45260"/>
                  </a:lnTo>
                  <a:lnTo>
                    <a:pt x="27821" y="40323"/>
                  </a:lnTo>
                  <a:lnTo>
                    <a:pt x="27821" y="38677"/>
                  </a:lnTo>
                  <a:lnTo>
                    <a:pt x="64918" y="33739"/>
                  </a:lnTo>
                  <a:lnTo>
                    <a:pt x="64918" y="28802"/>
                  </a:lnTo>
                  <a:lnTo>
                    <a:pt x="73349" y="28802"/>
                  </a:lnTo>
                  <a:lnTo>
                    <a:pt x="75036" y="33739"/>
                  </a:lnTo>
                  <a:lnTo>
                    <a:pt x="81780" y="37031"/>
                  </a:lnTo>
                  <a:lnTo>
                    <a:pt x="81780" y="5760"/>
                  </a:lnTo>
                  <a:close/>
                  <a:moveTo>
                    <a:pt x="442633" y="12343"/>
                  </a:moveTo>
                  <a:lnTo>
                    <a:pt x="457809" y="4114"/>
                  </a:lnTo>
                  <a:lnTo>
                    <a:pt x="451064" y="9052"/>
                  </a:lnTo>
                  <a:lnTo>
                    <a:pt x="442633" y="12343"/>
                  </a:lnTo>
                  <a:close/>
                  <a:moveTo>
                    <a:pt x="81780" y="4114"/>
                  </a:moveTo>
                  <a:lnTo>
                    <a:pt x="8178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0" name="Culemborg">
              <a:extLst>
                <a:ext uri="{FF2B5EF4-FFF2-40B4-BE49-F238E27FC236}">
                  <a16:creationId xmlns:a16="http://schemas.microsoft.com/office/drawing/2014/main" id="{E1F2B020-1872-408E-9EEF-A5F85842D3C0}"/>
                </a:ext>
              </a:extLst>
            </p:cNvPr>
            <p:cNvSpPr/>
            <p:nvPr/>
          </p:nvSpPr>
          <p:spPr>
            <a:xfrm>
              <a:off x="5969690" y="3713623"/>
              <a:ext cx="136836" cy="94480"/>
            </a:xfrm>
            <a:custGeom>
              <a:avLst/>
              <a:gdLst/>
              <a:ahLst/>
              <a:cxnLst/>
              <a:rect l="l" t="t" r="r" b="b"/>
              <a:pathLst>
                <a:path w="199038" h="148590" extrusionOk="0">
                  <a:moveTo>
                    <a:pt x="199816" y="37031"/>
                  </a:moveTo>
                  <a:lnTo>
                    <a:pt x="177895" y="65011"/>
                  </a:lnTo>
                  <a:lnTo>
                    <a:pt x="184640" y="69949"/>
                  </a:lnTo>
                  <a:lnTo>
                    <a:pt x="157661" y="84761"/>
                  </a:lnTo>
                  <a:lnTo>
                    <a:pt x="177895" y="109449"/>
                  </a:lnTo>
                  <a:lnTo>
                    <a:pt x="159347" y="129199"/>
                  </a:lnTo>
                  <a:lnTo>
                    <a:pt x="144171" y="139075"/>
                  </a:lnTo>
                  <a:lnTo>
                    <a:pt x="110446" y="147304"/>
                  </a:lnTo>
                  <a:lnTo>
                    <a:pt x="105388" y="132491"/>
                  </a:lnTo>
                  <a:lnTo>
                    <a:pt x="96957" y="135783"/>
                  </a:lnTo>
                  <a:lnTo>
                    <a:pt x="73349" y="137429"/>
                  </a:lnTo>
                  <a:lnTo>
                    <a:pt x="56487" y="144012"/>
                  </a:lnTo>
                  <a:lnTo>
                    <a:pt x="31194" y="147304"/>
                  </a:lnTo>
                  <a:lnTo>
                    <a:pt x="41311" y="132491"/>
                  </a:lnTo>
                  <a:lnTo>
                    <a:pt x="29508" y="125908"/>
                  </a:lnTo>
                  <a:lnTo>
                    <a:pt x="17704" y="127554"/>
                  </a:lnTo>
                  <a:lnTo>
                    <a:pt x="4214" y="134137"/>
                  </a:lnTo>
                  <a:lnTo>
                    <a:pt x="14332" y="124262"/>
                  </a:lnTo>
                  <a:lnTo>
                    <a:pt x="14332" y="116033"/>
                  </a:lnTo>
                  <a:lnTo>
                    <a:pt x="19390" y="114387"/>
                  </a:lnTo>
                  <a:lnTo>
                    <a:pt x="63232" y="32094"/>
                  </a:lnTo>
                  <a:lnTo>
                    <a:pt x="90212" y="48552"/>
                  </a:lnTo>
                  <a:lnTo>
                    <a:pt x="108760" y="50198"/>
                  </a:lnTo>
                  <a:lnTo>
                    <a:pt x="123936" y="41969"/>
                  </a:lnTo>
                  <a:lnTo>
                    <a:pt x="142485" y="9052"/>
                  </a:lnTo>
                  <a:lnTo>
                    <a:pt x="154288" y="4114"/>
                  </a:lnTo>
                  <a:lnTo>
                    <a:pt x="164406" y="9052"/>
                  </a:lnTo>
                  <a:lnTo>
                    <a:pt x="182954" y="27156"/>
                  </a:lnTo>
                  <a:lnTo>
                    <a:pt x="199816" y="3703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1" name="Sluis">
              <a:extLst>
                <a:ext uri="{FF2B5EF4-FFF2-40B4-BE49-F238E27FC236}">
                  <a16:creationId xmlns:a16="http://schemas.microsoft.com/office/drawing/2014/main" id="{4F0EFFB9-DD79-43D1-B0D0-AC552DA6AA56}"/>
                </a:ext>
              </a:extLst>
            </p:cNvPr>
            <p:cNvSpPr/>
            <p:nvPr/>
          </p:nvSpPr>
          <p:spPr>
            <a:xfrm>
              <a:off x="4060817" y="4608175"/>
              <a:ext cx="373851" cy="258077"/>
            </a:xfrm>
            <a:custGeom>
              <a:avLst/>
              <a:gdLst/>
              <a:ahLst/>
              <a:cxnLst/>
              <a:rect l="l" t="t" r="r" b="b"/>
              <a:pathLst>
                <a:path w="550283" h="400050" extrusionOk="0">
                  <a:moveTo>
                    <a:pt x="105388" y="45261"/>
                  </a:moveTo>
                  <a:lnTo>
                    <a:pt x="105388" y="43615"/>
                  </a:lnTo>
                  <a:lnTo>
                    <a:pt x="105388" y="45261"/>
                  </a:lnTo>
                  <a:close/>
                  <a:moveTo>
                    <a:pt x="102015" y="48552"/>
                  </a:moveTo>
                  <a:lnTo>
                    <a:pt x="100329" y="46906"/>
                  </a:lnTo>
                  <a:lnTo>
                    <a:pt x="102015" y="48552"/>
                  </a:lnTo>
                  <a:close/>
                  <a:moveTo>
                    <a:pt x="422398" y="55136"/>
                  </a:moveTo>
                  <a:lnTo>
                    <a:pt x="415653" y="53490"/>
                  </a:lnTo>
                  <a:lnTo>
                    <a:pt x="412280" y="45261"/>
                  </a:lnTo>
                  <a:lnTo>
                    <a:pt x="417339" y="53490"/>
                  </a:lnTo>
                  <a:lnTo>
                    <a:pt x="420712" y="51844"/>
                  </a:lnTo>
                  <a:lnTo>
                    <a:pt x="422398" y="55136"/>
                  </a:lnTo>
                  <a:close/>
                  <a:moveTo>
                    <a:pt x="22763" y="97928"/>
                  </a:moveTo>
                  <a:lnTo>
                    <a:pt x="21076" y="94636"/>
                  </a:lnTo>
                  <a:lnTo>
                    <a:pt x="22763" y="94636"/>
                  </a:lnTo>
                  <a:lnTo>
                    <a:pt x="22763" y="97928"/>
                  </a:lnTo>
                  <a:close/>
                  <a:moveTo>
                    <a:pt x="27821" y="107803"/>
                  </a:moveTo>
                  <a:lnTo>
                    <a:pt x="24449" y="101220"/>
                  </a:lnTo>
                  <a:lnTo>
                    <a:pt x="27821" y="101220"/>
                  </a:lnTo>
                  <a:lnTo>
                    <a:pt x="27821" y="107803"/>
                  </a:lnTo>
                  <a:close/>
                  <a:moveTo>
                    <a:pt x="139112" y="405704"/>
                  </a:moveTo>
                  <a:lnTo>
                    <a:pt x="115505" y="394184"/>
                  </a:lnTo>
                  <a:lnTo>
                    <a:pt x="107074" y="397475"/>
                  </a:lnTo>
                  <a:lnTo>
                    <a:pt x="103701" y="372787"/>
                  </a:lnTo>
                  <a:lnTo>
                    <a:pt x="93584" y="364558"/>
                  </a:lnTo>
                  <a:lnTo>
                    <a:pt x="91898" y="359620"/>
                  </a:lnTo>
                  <a:lnTo>
                    <a:pt x="83467" y="366204"/>
                  </a:lnTo>
                  <a:lnTo>
                    <a:pt x="76722" y="366204"/>
                  </a:lnTo>
                  <a:lnTo>
                    <a:pt x="71663" y="353037"/>
                  </a:lnTo>
                  <a:lnTo>
                    <a:pt x="58173" y="344807"/>
                  </a:lnTo>
                  <a:lnTo>
                    <a:pt x="48056" y="326703"/>
                  </a:lnTo>
                  <a:lnTo>
                    <a:pt x="32880" y="321765"/>
                  </a:lnTo>
                  <a:lnTo>
                    <a:pt x="29507" y="311890"/>
                  </a:lnTo>
                  <a:lnTo>
                    <a:pt x="39625" y="305307"/>
                  </a:lnTo>
                  <a:lnTo>
                    <a:pt x="37939" y="292140"/>
                  </a:lnTo>
                  <a:lnTo>
                    <a:pt x="22763" y="280619"/>
                  </a:lnTo>
                  <a:lnTo>
                    <a:pt x="16018" y="270744"/>
                  </a:lnTo>
                  <a:lnTo>
                    <a:pt x="17704" y="262514"/>
                  </a:lnTo>
                  <a:lnTo>
                    <a:pt x="34566" y="254285"/>
                  </a:lnTo>
                  <a:lnTo>
                    <a:pt x="32880" y="254285"/>
                  </a:lnTo>
                  <a:lnTo>
                    <a:pt x="4214" y="224660"/>
                  </a:lnTo>
                  <a:lnTo>
                    <a:pt x="48056" y="178575"/>
                  </a:lnTo>
                  <a:lnTo>
                    <a:pt x="46370" y="162117"/>
                  </a:lnTo>
                  <a:lnTo>
                    <a:pt x="31194" y="144012"/>
                  </a:lnTo>
                  <a:lnTo>
                    <a:pt x="34566" y="119324"/>
                  </a:lnTo>
                  <a:lnTo>
                    <a:pt x="29507" y="111095"/>
                  </a:lnTo>
                  <a:lnTo>
                    <a:pt x="31194" y="104512"/>
                  </a:lnTo>
                  <a:lnTo>
                    <a:pt x="24449" y="91345"/>
                  </a:lnTo>
                  <a:lnTo>
                    <a:pt x="34566" y="78178"/>
                  </a:lnTo>
                  <a:lnTo>
                    <a:pt x="46370" y="71594"/>
                  </a:lnTo>
                  <a:lnTo>
                    <a:pt x="46370" y="66657"/>
                  </a:lnTo>
                  <a:lnTo>
                    <a:pt x="46370" y="74886"/>
                  </a:lnTo>
                  <a:lnTo>
                    <a:pt x="46370" y="66657"/>
                  </a:lnTo>
                  <a:lnTo>
                    <a:pt x="48056" y="71594"/>
                  </a:lnTo>
                  <a:lnTo>
                    <a:pt x="51428" y="69949"/>
                  </a:lnTo>
                  <a:lnTo>
                    <a:pt x="49742" y="65011"/>
                  </a:lnTo>
                  <a:lnTo>
                    <a:pt x="51428" y="69949"/>
                  </a:lnTo>
                  <a:lnTo>
                    <a:pt x="78408" y="61719"/>
                  </a:lnTo>
                  <a:lnTo>
                    <a:pt x="110446" y="45261"/>
                  </a:lnTo>
                  <a:lnTo>
                    <a:pt x="108760" y="41969"/>
                  </a:lnTo>
                  <a:lnTo>
                    <a:pt x="112132" y="45261"/>
                  </a:lnTo>
                  <a:lnTo>
                    <a:pt x="115505" y="43615"/>
                  </a:lnTo>
                  <a:lnTo>
                    <a:pt x="113819" y="41969"/>
                  </a:lnTo>
                  <a:lnTo>
                    <a:pt x="115505" y="43615"/>
                  </a:lnTo>
                  <a:lnTo>
                    <a:pt x="118877" y="43615"/>
                  </a:lnTo>
                  <a:lnTo>
                    <a:pt x="117191" y="40323"/>
                  </a:lnTo>
                  <a:lnTo>
                    <a:pt x="120564" y="41969"/>
                  </a:lnTo>
                  <a:lnTo>
                    <a:pt x="120564" y="40323"/>
                  </a:lnTo>
                  <a:lnTo>
                    <a:pt x="122250" y="43615"/>
                  </a:lnTo>
                  <a:lnTo>
                    <a:pt x="125622" y="43615"/>
                  </a:lnTo>
                  <a:lnTo>
                    <a:pt x="125622" y="40323"/>
                  </a:lnTo>
                  <a:lnTo>
                    <a:pt x="125622" y="43615"/>
                  </a:lnTo>
                  <a:lnTo>
                    <a:pt x="128995" y="41969"/>
                  </a:lnTo>
                  <a:lnTo>
                    <a:pt x="128995" y="40323"/>
                  </a:lnTo>
                  <a:lnTo>
                    <a:pt x="128995" y="41969"/>
                  </a:lnTo>
                  <a:lnTo>
                    <a:pt x="122250" y="43615"/>
                  </a:lnTo>
                  <a:lnTo>
                    <a:pt x="135740" y="48552"/>
                  </a:lnTo>
                  <a:lnTo>
                    <a:pt x="137426" y="46906"/>
                  </a:lnTo>
                  <a:lnTo>
                    <a:pt x="137426" y="43615"/>
                  </a:lnTo>
                  <a:lnTo>
                    <a:pt x="137426" y="46906"/>
                  </a:lnTo>
                  <a:lnTo>
                    <a:pt x="140798" y="46906"/>
                  </a:lnTo>
                  <a:lnTo>
                    <a:pt x="149229" y="43615"/>
                  </a:lnTo>
                  <a:lnTo>
                    <a:pt x="149229" y="41969"/>
                  </a:lnTo>
                  <a:lnTo>
                    <a:pt x="149229" y="43615"/>
                  </a:lnTo>
                  <a:lnTo>
                    <a:pt x="154288" y="41969"/>
                  </a:lnTo>
                  <a:lnTo>
                    <a:pt x="154288" y="38677"/>
                  </a:lnTo>
                  <a:lnTo>
                    <a:pt x="155974" y="41969"/>
                  </a:lnTo>
                  <a:lnTo>
                    <a:pt x="161033" y="38677"/>
                  </a:lnTo>
                  <a:lnTo>
                    <a:pt x="161033" y="35385"/>
                  </a:lnTo>
                  <a:lnTo>
                    <a:pt x="164405" y="38677"/>
                  </a:lnTo>
                  <a:lnTo>
                    <a:pt x="166092" y="33739"/>
                  </a:lnTo>
                  <a:lnTo>
                    <a:pt x="166092" y="37031"/>
                  </a:lnTo>
                  <a:lnTo>
                    <a:pt x="167778" y="37031"/>
                  </a:lnTo>
                  <a:lnTo>
                    <a:pt x="169464" y="33739"/>
                  </a:lnTo>
                  <a:lnTo>
                    <a:pt x="169464" y="37031"/>
                  </a:lnTo>
                  <a:lnTo>
                    <a:pt x="171150" y="37031"/>
                  </a:lnTo>
                  <a:lnTo>
                    <a:pt x="171150" y="33739"/>
                  </a:lnTo>
                  <a:lnTo>
                    <a:pt x="171150" y="37031"/>
                  </a:lnTo>
                  <a:lnTo>
                    <a:pt x="174523" y="37031"/>
                  </a:lnTo>
                  <a:lnTo>
                    <a:pt x="176209" y="33739"/>
                  </a:lnTo>
                  <a:lnTo>
                    <a:pt x="176209" y="37031"/>
                  </a:lnTo>
                  <a:lnTo>
                    <a:pt x="181268" y="35385"/>
                  </a:lnTo>
                  <a:lnTo>
                    <a:pt x="181268" y="30448"/>
                  </a:lnTo>
                  <a:lnTo>
                    <a:pt x="181268" y="35385"/>
                  </a:lnTo>
                  <a:lnTo>
                    <a:pt x="184640" y="35385"/>
                  </a:lnTo>
                  <a:lnTo>
                    <a:pt x="184640" y="30448"/>
                  </a:lnTo>
                  <a:lnTo>
                    <a:pt x="184640" y="35385"/>
                  </a:lnTo>
                  <a:lnTo>
                    <a:pt x="189699" y="32094"/>
                  </a:lnTo>
                  <a:lnTo>
                    <a:pt x="189699" y="27156"/>
                  </a:lnTo>
                  <a:lnTo>
                    <a:pt x="189699" y="32094"/>
                  </a:lnTo>
                  <a:lnTo>
                    <a:pt x="194757" y="32094"/>
                  </a:lnTo>
                  <a:lnTo>
                    <a:pt x="194757" y="27156"/>
                  </a:lnTo>
                  <a:lnTo>
                    <a:pt x="194757" y="32094"/>
                  </a:lnTo>
                  <a:lnTo>
                    <a:pt x="199816" y="30448"/>
                  </a:lnTo>
                  <a:lnTo>
                    <a:pt x="199816" y="25510"/>
                  </a:lnTo>
                  <a:lnTo>
                    <a:pt x="199816" y="30448"/>
                  </a:lnTo>
                  <a:lnTo>
                    <a:pt x="201502" y="30448"/>
                  </a:lnTo>
                  <a:lnTo>
                    <a:pt x="203189" y="25510"/>
                  </a:lnTo>
                  <a:lnTo>
                    <a:pt x="203189" y="28802"/>
                  </a:lnTo>
                  <a:lnTo>
                    <a:pt x="208247" y="27156"/>
                  </a:lnTo>
                  <a:lnTo>
                    <a:pt x="206561" y="23864"/>
                  </a:lnTo>
                  <a:lnTo>
                    <a:pt x="208247" y="27156"/>
                  </a:lnTo>
                  <a:lnTo>
                    <a:pt x="213306" y="25510"/>
                  </a:lnTo>
                  <a:lnTo>
                    <a:pt x="211620" y="20573"/>
                  </a:lnTo>
                  <a:lnTo>
                    <a:pt x="213306" y="25510"/>
                  </a:lnTo>
                  <a:lnTo>
                    <a:pt x="218365" y="23864"/>
                  </a:lnTo>
                  <a:lnTo>
                    <a:pt x="216678" y="18927"/>
                  </a:lnTo>
                  <a:lnTo>
                    <a:pt x="218365" y="23864"/>
                  </a:lnTo>
                  <a:lnTo>
                    <a:pt x="223423" y="20573"/>
                  </a:lnTo>
                  <a:lnTo>
                    <a:pt x="220051" y="17281"/>
                  </a:lnTo>
                  <a:lnTo>
                    <a:pt x="223423" y="20573"/>
                  </a:lnTo>
                  <a:lnTo>
                    <a:pt x="226796" y="18927"/>
                  </a:lnTo>
                  <a:lnTo>
                    <a:pt x="223423" y="15635"/>
                  </a:lnTo>
                  <a:lnTo>
                    <a:pt x="226796" y="18927"/>
                  </a:lnTo>
                  <a:lnTo>
                    <a:pt x="228482" y="17281"/>
                  </a:lnTo>
                  <a:lnTo>
                    <a:pt x="226796" y="13989"/>
                  </a:lnTo>
                  <a:lnTo>
                    <a:pt x="228482" y="17281"/>
                  </a:lnTo>
                  <a:lnTo>
                    <a:pt x="230168" y="17281"/>
                  </a:lnTo>
                  <a:lnTo>
                    <a:pt x="230168" y="12343"/>
                  </a:lnTo>
                  <a:lnTo>
                    <a:pt x="231854" y="17281"/>
                  </a:lnTo>
                  <a:lnTo>
                    <a:pt x="233541" y="13989"/>
                  </a:lnTo>
                  <a:lnTo>
                    <a:pt x="233541" y="12343"/>
                  </a:lnTo>
                  <a:lnTo>
                    <a:pt x="230168" y="10697"/>
                  </a:lnTo>
                  <a:lnTo>
                    <a:pt x="235227" y="10697"/>
                  </a:lnTo>
                  <a:lnTo>
                    <a:pt x="235227" y="5760"/>
                  </a:lnTo>
                  <a:lnTo>
                    <a:pt x="235227" y="9052"/>
                  </a:lnTo>
                  <a:lnTo>
                    <a:pt x="238599" y="5760"/>
                  </a:lnTo>
                  <a:lnTo>
                    <a:pt x="236913" y="9052"/>
                  </a:lnTo>
                  <a:lnTo>
                    <a:pt x="238599" y="10697"/>
                  </a:lnTo>
                  <a:lnTo>
                    <a:pt x="240286" y="5760"/>
                  </a:lnTo>
                  <a:lnTo>
                    <a:pt x="243658" y="9052"/>
                  </a:lnTo>
                  <a:lnTo>
                    <a:pt x="243658" y="5760"/>
                  </a:lnTo>
                  <a:lnTo>
                    <a:pt x="243658" y="9052"/>
                  </a:lnTo>
                  <a:lnTo>
                    <a:pt x="248717" y="7406"/>
                  </a:lnTo>
                  <a:lnTo>
                    <a:pt x="248717" y="4114"/>
                  </a:lnTo>
                  <a:lnTo>
                    <a:pt x="248717" y="7406"/>
                  </a:lnTo>
                  <a:lnTo>
                    <a:pt x="253775" y="7406"/>
                  </a:lnTo>
                  <a:lnTo>
                    <a:pt x="253775" y="4114"/>
                  </a:lnTo>
                  <a:lnTo>
                    <a:pt x="253775" y="7406"/>
                  </a:lnTo>
                  <a:lnTo>
                    <a:pt x="258834" y="7406"/>
                  </a:lnTo>
                  <a:lnTo>
                    <a:pt x="258834" y="4114"/>
                  </a:lnTo>
                  <a:lnTo>
                    <a:pt x="258834" y="7406"/>
                  </a:lnTo>
                  <a:lnTo>
                    <a:pt x="263893" y="7406"/>
                  </a:lnTo>
                  <a:lnTo>
                    <a:pt x="263893" y="4114"/>
                  </a:lnTo>
                  <a:lnTo>
                    <a:pt x="263893" y="7406"/>
                  </a:lnTo>
                  <a:lnTo>
                    <a:pt x="267265" y="9052"/>
                  </a:lnTo>
                  <a:lnTo>
                    <a:pt x="268951" y="4114"/>
                  </a:lnTo>
                  <a:lnTo>
                    <a:pt x="268951" y="9052"/>
                  </a:lnTo>
                  <a:lnTo>
                    <a:pt x="272324" y="10697"/>
                  </a:lnTo>
                  <a:lnTo>
                    <a:pt x="272324" y="5760"/>
                  </a:lnTo>
                  <a:lnTo>
                    <a:pt x="272324" y="10697"/>
                  </a:lnTo>
                  <a:lnTo>
                    <a:pt x="275696" y="10697"/>
                  </a:lnTo>
                  <a:lnTo>
                    <a:pt x="275696" y="5760"/>
                  </a:lnTo>
                  <a:lnTo>
                    <a:pt x="275696" y="10697"/>
                  </a:lnTo>
                  <a:lnTo>
                    <a:pt x="280755" y="10697"/>
                  </a:lnTo>
                  <a:lnTo>
                    <a:pt x="280755" y="7406"/>
                  </a:lnTo>
                  <a:lnTo>
                    <a:pt x="280755" y="10697"/>
                  </a:lnTo>
                  <a:lnTo>
                    <a:pt x="285814" y="12343"/>
                  </a:lnTo>
                  <a:lnTo>
                    <a:pt x="285814" y="7406"/>
                  </a:lnTo>
                  <a:lnTo>
                    <a:pt x="285814" y="12343"/>
                  </a:lnTo>
                  <a:lnTo>
                    <a:pt x="289186" y="12343"/>
                  </a:lnTo>
                  <a:lnTo>
                    <a:pt x="290872" y="9052"/>
                  </a:lnTo>
                  <a:lnTo>
                    <a:pt x="290872" y="12343"/>
                  </a:lnTo>
                  <a:lnTo>
                    <a:pt x="294245" y="12343"/>
                  </a:lnTo>
                  <a:lnTo>
                    <a:pt x="294245" y="9052"/>
                  </a:lnTo>
                  <a:lnTo>
                    <a:pt x="294245" y="12343"/>
                  </a:lnTo>
                  <a:lnTo>
                    <a:pt x="295931" y="12343"/>
                  </a:lnTo>
                  <a:lnTo>
                    <a:pt x="297617" y="10697"/>
                  </a:lnTo>
                  <a:lnTo>
                    <a:pt x="297617" y="12343"/>
                  </a:lnTo>
                  <a:lnTo>
                    <a:pt x="299303" y="13989"/>
                  </a:lnTo>
                  <a:lnTo>
                    <a:pt x="300990" y="10697"/>
                  </a:lnTo>
                  <a:lnTo>
                    <a:pt x="299303" y="13989"/>
                  </a:lnTo>
                  <a:lnTo>
                    <a:pt x="302676" y="13989"/>
                  </a:lnTo>
                  <a:lnTo>
                    <a:pt x="309421" y="12343"/>
                  </a:lnTo>
                  <a:lnTo>
                    <a:pt x="302676" y="17281"/>
                  </a:lnTo>
                  <a:lnTo>
                    <a:pt x="302676" y="22219"/>
                  </a:lnTo>
                  <a:lnTo>
                    <a:pt x="304362" y="20573"/>
                  </a:lnTo>
                  <a:lnTo>
                    <a:pt x="302676" y="23864"/>
                  </a:lnTo>
                  <a:lnTo>
                    <a:pt x="304362" y="22219"/>
                  </a:lnTo>
                  <a:lnTo>
                    <a:pt x="309421" y="23864"/>
                  </a:lnTo>
                  <a:lnTo>
                    <a:pt x="312793" y="15635"/>
                  </a:lnTo>
                  <a:lnTo>
                    <a:pt x="311107" y="22219"/>
                  </a:lnTo>
                  <a:lnTo>
                    <a:pt x="314479" y="22219"/>
                  </a:lnTo>
                  <a:lnTo>
                    <a:pt x="314479" y="27156"/>
                  </a:lnTo>
                  <a:lnTo>
                    <a:pt x="319538" y="20573"/>
                  </a:lnTo>
                  <a:lnTo>
                    <a:pt x="316166" y="28802"/>
                  </a:lnTo>
                  <a:lnTo>
                    <a:pt x="317852" y="25510"/>
                  </a:lnTo>
                  <a:lnTo>
                    <a:pt x="316166" y="28802"/>
                  </a:lnTo>
                  <a:lnTo>
                    <a:pt x="319538" y="28802"/>
                  </a:lnTo>
                  <a:lnTo>
                    <a:pt x="322911" y="22219"/>
                  </a:lnTo>
                  <a:lnTo>
                    <a:pt x="319538" y="28802"/>
                  </a:lnTo>
                  <a:lnTo>
                    <a:pt x="329655" y="30448"/>
                  </a:lnTo>
                  <a:lnTo>
                    <a:pt x="334714" y="25510"/>
                  </a:lnTo>
                  <a:lnTo>
                    <a:pt x="326283" y="37031"/>
                  </a:lnTo>
                  <a:lnTo>
                    <a:pt x="333028" y="30448"/>
                  </a:lnTo>
                  <a:lnTo>
                    <a:pt x="329655" y="38677"/>
                  </a:lnTo>
                  <a:lnTo>
                    <a:pt x="334714" y="35385"/>
                  </a:lnTo>
                  <a:lnTo>
                    <a:pt x="336400" y="38677"/>
                  </a:lnTo>
                  <a:lnTo>
                    <a:pt x="339773" y="37031"/>
                  </a:lnTo>
                  <a:lnTo>
                    <a:pt x="343145" y="40323"/>
                  </a:lnTo>
                  <a:lnTo>
                    <a:pt x="344831" y="38677"/>
                  </a:lnTo>
                  <a:lnTo>
                    <a:pt x="334714" y="28802"/>
                  </a:lnTo>
                  <a:lnTo>
                    <a:pt x="349890" y="41969"/>
                  </a:lnTo>
                  <a:lnTo>
                    <a:pt x="351576" y="46906"/>
                  </a:lnTo>
                  <a:lnTo>
                    <a:pt x="361694" y="58427"/>
                  </a:lnTo>
                  <a:lnTo>
                    <a:pt x="380242" y="63365"/>
                  </a:lnTo>
                  <a:lnTo>
                    <a:pt x="383615" y="61719"/>
                  </a:lnTo>
                  <a:lnTo>
                    <a:pt x="381928" y="58427"/>
                  </a:lnTo>
                  <a:lnTo>
                    <a:pt x="383615" y="61719"/>
                  </a:lnTo>
                  <a:lnTo>
                    <a:pt x="385301" y="58427"/>
                  </a:lnTo>
                  <a:lnTo>
                    <a:pt x="383615" y="63365"/>
                  </a:lnTo>
                  <a:lnTo>
                    <a:pt x="385301" y="61719"/>
                  </a:lnTo>
                  <a:lnTo>
                    <a:pt x="395418" y="65011"/>
                  </a:lnTo>
                  <a:lnTo>
                    <a:pt x="395418" y="68303"/>
                  </a:lnTo>
                  <a:lnTo>
                    <a:pt x="405536" y="71594"/>
                  </a:lnTo>
                  <a:lnTo>
                    <a:pt x="407222" y="76532"/>
                  </a:lnTo>
                  <a:lnTo>
                    <a:pt x="420712" y="79823"/>
                  </a:lnTo>
                  <a:lnTo>
                    <a:pt x="422398" y="78178"/>
                  </a:lnTo>
                  <a:lnTo>
                    <a:pt x="420712" y="79823"/>
                  </a:lnTo>
                  <a:lnTo>
                    <a:pt x="425770" y="81470"/>
                  </a:lnTo>
                  <a:lnTo>
                    <a:pt x="427457" y="79823"/>
                  </a:lnTo>
                  <a:lnTo>
                    <a:pt x="425770" y="81470"/>
                  </a:lnTo>
                  <a:lnTo>
                    <a:pt x="446005" y="88053"/>
                  </a:lnTo>
                  <a:lnTo>
                    <a:pt x="467926" y="91345"/>
                  </a:lnTo>
                  <a:lnTo>
                    <a:pt x="469612" y="89699"/>
                  </a:lnTo>
                  <a:lnTo>
                    <a:pt x="467926" y="91345"/>
                  </a:lnTo>
                  <a:lnTo>
                    <a:pt x="479730" y="94636"/>
                  </a:lnTo>
                  <a:lnTo>
                    <a:pt x="483102" y="91345"/>
                  </a:lnTo>
                  <a:lnTo>
                    <a:pt x="483102" y="94636"/>
                  </a:lnTo>
                  <a:lnTo>
                    <a:pt x="518513" y="101220"/>
                  </a:lnTo>
                  <a:lnTo>
                    <a:pt x="515140" y="96282"/>
                  </a:lnTo>
                  <a:lnTo>
                    <a:pt x="518513" y="99574"/>
                  </a:lnTo>
                  <a:lnTo>
                    <a:pt x="523571" y="114387"/>
                  </a:lnTo>
                  <a:lnTo>
                    <a:pt x="525257" y="109449"/>
                  </a:lnTo>
                  <a:lnTo>
                    <a:pt x="525257" y="114387"/>
                  </a:lnTo>
                  <a:lnTo>
                    <a:pt x="526944" y="114387"/>
                  </a:lnTo>
                  <a:lnTo>
                    <a:pt x="526944" y="147304"/>
                  </a:lnTo>
                  <a:lnTo>
                    <a:pt x="520199" y="144012"/>
                  </a:lnTo>
                  <a:lnTo>
                    <a:pt x="518513" y="139075"/>
                  </a:lnTo>
                  <a:lnTo>
                    <a:pt x="510081" y="139075"/>
                  </a:lnTo>
                  <a:lnTo>
                    <a:pt x="510081" y="144012"/>
                  </a:lnTo>
                  <a:lnTo>
                    <a:pt x="472984" y="148950"/>
                  </a:lnTo>
                  <a:lnTo>
                    <a:pt x="472984" y="150596"/>
                  </a:lnTo>
                  <a:lnTo>
                    <a:pt x="466240" y="155533"/>
                  </a:lnTo>
                  <a:lnTo>
                    <a:pt x="454436" y="150596"/>
                  </a:lnTo>
                  <a:lnTo>
                    <a:pt x="457808" y="168700"/>
                  </a:lnTo>
                  <a:lnTo>
                    <a:pt x="449377" y="170346"/>
                  </a:lnTo>
                  <a:lnTo>
                    <a:pt x="462867" y="195034"/>
                  </a:lnTo>
                  <a:lnTo>
                    <a:pt x="469612" y="191742"/>
                  </a:lnTo>
                  <a:lnTo>
                    <a:pt x="472984" y="211493"/>
                  </a:lnTo>
                  <a:lnTo>
                    <a:pt x="479730" y="211493"/>
                  </a:lnTo>
                  <a:lnTo>
                    <a:pt x="483102" y="224660"/>
                  </a:lnTo>
                  <a:lnTo>
                    <a:pt x="513454" y="221368"/>
                  </a:lnTo>
                  <a:lnTo>
                    <a:pt x="553923" y="236181"/>
                  </a:lnTo>
                  <a:lnTo>
                    <a:pt x="540433" y="249348"/>
                  </a:lnTo>
                  <a:lnTo>
                    <a:pt x="545492" y="257577"/>
                  </a:lnTo>
                  <a:lnTo>
                    <a:pt x="540433" y="267452"/>
                  </a:lnTo>
                  <a:lnTo>
                    <a:pt x="542120" y="272390"/>
                  </a:lnTo>
                  <a:lnTo>
                    <a:pt x="540433" y="283911"/>
                  </a:lnTo>
                  <a:lnTo>
                    <a:pt x="543806" y="300369"/>
                  </a:lnTo>
                  <a:lnTo>
                    <a:pt x="530316" y="310245"/>
                  </a:lnTo>
                  <a:lnTo>
                    <a:pt x="535375" y="315182"/>
                  </a:lnTo>
                  <a:lnTo>
                    <a:pt x="530316" y="315182"/>
                  </a:lnTo>
                  <a:lnTo>
                    <a:pt x="523571" y="331641"/>
                  </a:lnTo>
                  <a:lnTo>
                    <a:pt x="516826" y="320120"/>
                  </a:lnTo>
                  <a:lnTo>
                    <a:pt x="498278" y="320120"/>
                  </a:lnTo>
                  <a:lnTo>
                    <a:pt x="496592" y="313536"/>
                  </a:lnTo>
                  <a:lnTo>
                    <a:pt x="467926" y="295432"/>
                  </a:lnTo>
                  <a:lnTo>
                    <a:pt x="447691" y="295432"/>
                  </a:lnTo>
                  <a:lnTo>
                    <a:pt x="440946" y="300369"/>
                  </a:lnTo>
                  <a:lnTo>
                    <a:pt x="417339" y="287203"/>
                  </a:lnTo>
                  <a:lnTo>
                    <a:pt x="410594" y="287203"/>
                  </a:lnTo>
                  <a:lnTo>
                    <a:pt x="407222" y="280619"/>
                  </a:lnTo>
                  <a:lnTo>
                    <a:pt x="400477" y="275681"/>
                  </a:lnTo>
                  <a:lnTo>
                    <a:pt x="365066" y="259223"/>
                  </a:lnTo>
                  <a:lnTo>
                    <a:pt x="366752" y="255931"/>
                  </a:lnTo>
                  <a:lnTo>
                    <a:pt x="363380" y="254285"/>
                  </a:lnTo>
                  <a:lnTo>
                    <a:pt x="349890" y="272390"/>
                  </a:lnTo>
                  <a:lnTo>
                    <a:pt x="360008" y="285557"/>
                  </a:lnTo>
                  <a:lnTo>
                    <a:pt x="351576" y="287203"/>
                  </a:lnTo>
                  <a:lnTo>
                    <a:pt x="353263" y="295432"/>
                  </a:lnTo>
                  <a:lnTo>
                    <a:pt x="349890" y="300369"/>
                  </a:lnTo>
                  <a:lnTo>
                    <a:pt x="346518" y="295432"/>
                  </a:lnTo>
                  <a:lnTo>
                    <a:pt x="341459" y="297078"/>
                  </a:lnTo>
                  <a:lnTo>
                    <a:pt x="334714" y="290494"/>
                  </a:lnTo>
                  <a:lnTo>
                    <a:pt x="334714" y="288848"/>
                  </a:lnTo>
                  <a:lnTo>
                    <a:pt x="321224" y="278973"/>
                  </a:lnTo>
                  <a:lnTo>
                    <a:pt x="316166" y="278973"/>
                  </a:lnTo>
                  <a:lnTo>
                    <a:pt x="312793" y="288848"/>
                  </a:lnTo>
                  <a:lnTo>
                    <a:pt x="307735" y="293786"/>
                  </a:lnTo>
                  <a:lnTo>
                    <a:pt x="300990" y="288848"/>
                  </a:lnTo>
                  <a:lnTo>
                    <a:pt x="290872" y="288848"/>
                  </a:lnTo>
                  <a:lnTo>
                    <a:pt x="282441" y="306953"/>
                  </a:lnTo>
                  <a:lnTo>
                    <a:pt x="274010" y="306953"/>
                  </a:lnTo>
                  <a:lnTo>
                    <a:pt x="267265" y="293786"/>
                  </a:lnTo>
                  <a:lnTo>
                    <a:pt x="247030" y="297078"/>
                  </a:lnTo>
                  <a:lnTo>
                    <a:pt x="262206" y="397475"/>
                  </a:lnTo>
                  <a:lnTo>
                    <a:pt x="139112" y="405704"/>
                  </a:lnTo>
                  <a:close/>
                  <a:moveTo>
                    <a:pt x="351576" y="46906"/>
                  </a:moveTo>
                  <a:lnTo>
                    <a:pt x="353263" y="45261"/>
                  </a:lnTo>
                  <a:lnTo>
                    <a:pt x="349890" y="43615"/>
                  </a:lnTo>
                  <a:lnTo>
                    <a:pt x="351576" y="469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2" name="Aa en Hunze">
              <a:extLst>
                <a:ext uri="{FF2B5EF4-FFF2-40B4-BE49-F238E27FC236}">
                  <a16:creationId xmlns:a16="http://schemas.microsoft.com/office/drawing/2014/main" id="{52B4CBB4-D650-4A1A-AE73-2F1852520813}"/>
                </a:ext>
              </a:extLst>
            </p:cNvPr>
            <p:cNvSpPr/>
            <p:nvPr/>
          </p:nvSpPr>
          <p:spPr>
            <a:xfrm>
              <a:off x="7440041" y="1903014"/>
              <a:ext cx="383751" cy="366960"/>
            </a:xfrm>
            <a:custGeom>
              <a:avLst/>
              <a:gdLst/>
              <a:ahLst/>
              <a:cxnLst/>
              <a:rect l="l" t="t" r="r" b="b"/>
              <a:pathLst>
                <a:path w="561992" h="548640" extrusionOk="0">
                  <a:moveTo>
                    <a:pt x="317852" y="4114"/>
                  </a:moveTo>
                  <a:lnTo>
                    <a:pt x="560669" y="244410"/>
                  </a:lnTo>
                  <a:lnTo>
                    <a:pt x="415653" y="283911"/>
                  </a:lnTo>
                  <a:lnTo>
                    <a:pt x="343145" y="321766"/>
                  </a:lnTo>
                  <a:lnTo>
                    <a:pt x="252089" y="343162"/>
                  </a:lnTo>
                  <a:lnTo>
                    <a:pt x="258834" y="384308"/>
                  </a:lnTo>
                  <a:lnTo>
                    <a:pt x="247031" y="385954"/>
                  </a:lnTo>
                  <a:lnTo>
                    <a:pt x="255462" y="458372"/>
                  </a:lnTo>
                  <a:lnTo>
                    <a:pt x="268951" y="525853"/>
                  </a:lnTo>
                  <a:lnTo>
                    <a:pt x="236913" y="552187"/>
                  </a:lnTo>
                  <a:lnTo>
                    <a:pt x="194758" y="535728"/>
                  </a:lnTo>
                  <a:lnTo>
                    <a:pt x="176209" y="464956"/>
                  </a:lnTo>
                  <a:lnTo>
                    <a:pt x="162719" y="453435"/>
                  </a:lnTo>
                  <a:lnTo>
                    <a:pt x="102015" y="446851"/>
                  </a:lnTo>
                  <a:lnTo>
                    <a:pt x="85153" y="433684"/>
                  </a:lnTo>
                  <a:lnTo>
                    <a:pt x="41311" y="432039"/>
                  </a:lnTo>
                  <a:lnTo>
                    <a:pt x="9273" y="371142"/>
                  </a:lnTo>
                  <a:lnTo>
                    <a:pt x="4214" y="366204"/>
                  </a:lnTo>
                  <a:lnTo>
                    <a:pt x="12645" y="353037"/>
                  </a:lnTo>
                  <a:lnTo>
                    <a:pt x="17704" y="338224"/>
                  </a:lnTo>
                  <a:lnTo>
                    <a:pt x="32880" y="316828"/>
                  </a:lnTo>
                  <a:lnTo>
                    <a:pt x="54801" y="303661"/>
                  </a:lnTo>
                  <a:lnTo>
                    <a:pt x="54801" y="287203"/>
                  </a:lnTo>
                  <a:lnTo>
                    <a:pt x="59860" y="282265"/>
                  </a:lnTo>
                  <a:lnTo>
                    <a:pt x="68291" y="277327"/>
                  </a:lnTo>
                  <a:lnTo>
                    <a:pt x="71663" y="267452"/>
                  </a:lnTo>
                  <a:lnTo>
                    <a:pt x="71663" y="249348"/>
                  </a:lnTo>
                  <a:lnTo>
                    <a:pt x="75036" y="239472"/>
                  </a:lnTo>
                  <a:lnTo>
                    <a:pt x="78408" y="239472"/>
                  </a:lnTo>
                  <a:lnTo>
                    <a:pt x="76722" y="237827"/>
                  </a:lnTo>
                  <a:lnTo>
                    <a:pt x="78408" y="234535"/>
                  </a:lnTo>
                  <a:lnTo>
                    <a:pt x="76722" y="231243"/>
                  </a:lnTo>
                  <a:lnTo>
                    <a:pt x="80094" y="227952"/>
                  </a:lnTo>
                  <a:lnTo>
                    <a:pt x="76722" y="224660"/>
                  </a:lnTo>
                  <a:lnTo>
                    <a:pt x="83467" y="221368"/>
                  </a:lnTo>
                  <a:lnTo>
                    <a:pt x="83467" y="216430"/>
                  </a:lnTo>
                  <a:lnTo>
                    <a:pt x="86839" y="214785"/>
                  </a:lnTo>
                  <a:lnTo>
                    <a:pt x="90212" y="214785"/>
                  </a:lnTo>
                  <a:lnTo>
                    <a:pt x="90212" y="206555"/>
                  </a:lnTo>
                  <a:lnTo>
                    <a:pt x="96957" y="199972"/>
                  </a:lnTo>
                  <a:lnTo>
                    <a:pt x="107074" y="195034"/>
                  </a:lnTo>
                  <a:lnTo>
                    <a:pt x="105388" y="191743"/>
                  </a:lnTo>
                  <a:lnTo>
                    <a:pt x="107074" y="183513"/>
                  </a:lnTo>
                  <a:lnTo>
                    <a:pt x="103701" y="178576"/>
                  </a:lnTo>
                  <a:lnTo>
                    <a:pt x="105388" y="173638"/>
                  </a:lnTo>
                  <a:lnTo>
                    <a:pt x="130681" y="171992"/>
                  </a:lnTo>
                  <a:lnTo>
                    <a:pt x="123936" y="140721"/>
                  </a:lnTo>
                  <a:lnTo>
                    <a:pt x="118878" y="135783"/>
                  </a:lnTo>
                  <a:lnTo>
                    <a:pt x="120564" y="132491"/>
                  </a:lnTo>
                  <a:lnTo>
                    <a:pt x="120564" y="125908"/>
                  </a:lnTo>
                  <a:lnTo>
                    <a:pt x="137426" y="101220"/>
                  </a:lnTo>
                  <a:lnTo>
                    <a:pt x="149230" y="99574"/>
                  </a:lnTo>
                  <a:lnTo>
                    <a:pt x="155974" y="96282"/>
                  </a:lnTo>
                  <a:lnTo>
                    <a:pt x="152602" y="86407"/>
                  </a:lnTo>
                  <a:lnTo>
                    <a:pt x="164406" y="78178"/>
                  </a:lnTo>
                  <a:lnTo>
                    <a:pt x="161033" y="78178"/>
                  </a:lnTo>
                  <a:lnTo>
                    <a:pt x="161033" y="73240"/>
                  </a:lnTo>
                  <a:lnTo>
                    <a:pt x="152602" y="68303"/>
                  </a:lnTo>
                  <a:lnTo>
                    <a:pt x="155974" y="61719"/>
                  </a:lnTo>
                  <a:lnTo>
                    <a:pt x="150916" y="63365"/>
                  </a:lnTo>
                  <a:lnTo>
                    <a:pt x="149230" y="61719"/>
                  </a:lnTo>
                  <a:lnTo>
                    <a:pt x="149230" y="55136"/>
                  </a:lnTo>
                  <a:lnTo>
                    <a:pt x="145857" y="56782"/>
                  </a:lnTo>
                  <a:lnTo>
                    <a:pt x="145857" y="51844"/>
                  </a:lnTo>
                  <a:lnTo>
                    <a:pt x="139112" y="46907"/>
                  </a:lnTo>
                  <a:lnTo>
                    <a:pt x="137426" y="50198"/>
                  </a:lnTo>
                  <a:lnTo>
                    <a:pt x="137426" y="41969"/>
                  </a:lnTo>
                  <a:lnTo>
                    <a:pt x="130681" y="43615"/>
                  </a:lnTo>
                  <a:lnTo>
                    <a:pt x="128995" y="37031"/>
                  </a:lnTo>
                  <a:lnTo>
                    <a:pt x="142485" y="32094"/>
                  </a:lnTo>
                  <a:lnTo>
                    <a:pt x="150916" y="38677"/>
                  </a:lnTo>
                  <a:lnTo>
                    <a:pt x="166092" y="43615"/>
                  </a:lnTo>
                  <a:lnTo>
                    <a:pt x="194758" y="65011"/>
                  </a:lnTo>
                  <a:lnTo>
                    <a:pt x="204875" y="76532"/>
                  </a:lnTo>
                  <a:lnTo>
                    <a:pt x="223423" y="65011"/>
                  </a:lnTo>
                  <a:lnTo>
                    <a:pt x="226796" y="68303"/>
                  </a:lnTo>
                  <a:lnTo>
                    <a:pt x="279069" y="35385"/>
                  </a:lnTo>
                  <a:lnTo>
                    <a:pt x="279069" y="30448"/>
                  </a:lnTo>
                  <a:lnTo>
                    <a:pt x="272324" y="28802"/>
                  </a:lnTo>
                  <a:lnTo>
                    <a:pt x="274010" y="25510"/>
                  </a:lnTo>
                  <a:lnTo>
                    <a:pt x="31785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3" name="Bloemendaal">
              <a:extLst>
                <a:ext uri="{FF2B5EF4-FFF2-40B4-BE49-F238E27FC236}">
                  <a16:creationId xmlns:a16="http://schemas.microsoft.com/office/drawing/2014/main" id="{6617EA38-578C-456B-9E9F-241C1DCE547D}"/>
                </a:ext>
              </a:extLst>
            </p:cNvPr>
            <p:cNvSpPr/>
            <p:nvPr/>
          </p:nvSpPr>
          <p:spPr>
            <a:xfrm>
              <a:off x="5343985" y="2974190"/>
              <a:ext cx="96861" cy="203306"/>
            </a:xfrm>
            <a:custGeom>
              <a:avLst/>
              <a:gdLst/>
              <a:ahLst/>
              <a:cxnLst/>
              <a:rect l="l" t="t" r="r" b="b"/>
              <a:pathLst>
                <a:path w="140498" h="308610" extrusionOk="0">
                  <a:moveTo>
                    <a:pt x="113819" y="33740"/>
                  </a:moveTo>
                  <a:lnTo>
                    <a:pt x="130681" y="40323"/>
                  </a:lnTo>
                  <a:lnTo>
                    <a:pt x="127309" y="43615"/>
                  </a:lnTo>
                  <a:lnTo>
                    <a:pt x="132367" y="46906"/>
                  </a:lnTo>
                  <a:lnTo>
                    <a:pt x="132367" y="56782"/>
                  </a:lnTo>
                  <a:lnTo>
                    <a:pt x="135740" y="58427"/>
                  </a:lnTo>
                  <a:lnTo>
                    <a:pt x="134053" y="66657"/>
                  </a:lnTo>
                  <a:lnTo>
                    <a:pt x="140798" y="68303"/>
                  </a:lnTo>
                  <a:lnTo>
                    <a:pt x="128995" y="104512"/>
                  </a:lnTo>
                  <a:lnTo>
                    <a:pt x="127309" y="116033"/>
                  </a:lnTo>
                  <a:lnTo>
                    <a:pt x="123936" y="125908"/>
                  </a:lnTo>
                  <a:lnTo>
                    <a:pt x="108760" y="120971"/>
                  </a:lnTo>
                  <a:lnTo>
                    <a:pt x="103701" y="132492"/>
                  </a:lnTo>
                  <a:lnTo>
                    <a:pt x="96956" y="132492"/>
                  </a:lnTo>
                  <a:lnTo>
                    <a:pt x="91898" y="137429"/>
                  </a:lnTo>
                  <a:lnTo>
                    <a:pt x="90212" y="150596"/>
                  </a:lnTo>
                  <a:lnTo>
                    <a:pt x="93584" y="152242"/>
                  </a:lnTo>
                  <a:lnTo>
                    <a:pt x="93584" y="163763"/>
                  </a:lnTo>
                  <a:lnTo>
                    <a:pt x="98643" y="165409"/>
                  </a:lnTo>
                  <a:lnTo>
                    <a:pt x="96956" y="175284"/>
                  </a:lnTo>
                  <a:lnTo>
                    <a:pt x="102015" y="175284"/>
                  </a:lnTo>
                  <a:lnTo>
                    <a:pt x="75036" y="269098"/>
                  </a:lnTo>
                  <a:lnTo>
                    <a:pt x="85153" y="270744"/>
                  </a:lnTo>
                  <a:lnTo>
                    <a:pt x="107074" y="283911"/>
                  </a:lnTo>
                  <a:lnTo>
                    <a:pt x="107074" y="305307"/>
                  </a:lnTo>
                  <a:lnTo>
                    <a:pt x="85153" y="295432"/>
                  </a:lnTo>
                  <a:lnTo>
                    <a:pt x="71663" y="293786"/>
                  </a:lnTo>
                  <a:lnTo>
                    <a:pt x="69977" y="297078"/>
                  </a:lnTo>
                  <a:lnTo>
                    <a:pt x="64918" y="293786"/>
                  </a:lnTo>
                  <a:lnTo>
                    <a:pt x="49742" y="300370"/>
                  </a:lnTo>
                  <a:lnTo>
                    <a:pt x="42997" y="297078"/>
                  </a:lnTo>
                  <a:lnTo>
                    <a:pt x="34566" y="315182"/>
                  </a:lnTo>
                  <a:lnTo>
                    <a:pt x="9273" y="303661"/>
                  </a:lnTo>
                  <a:lnTo>
                    <a:pt x="78408" y="116033"/>
                  </a:lnTo>
                  <a:lnTo>
                    <a:pt x="4214" y="92991"/>
                  </a:lnTo>
                  <a:lnTo>
                    <a:pt x="21076" y="50198"/>
                  </a:lnTo>
                  <a:lnTo>
                    <a:pt x="32880" y="4114"/>
                  </a:lnTo>
                  <a:lnTo>
                    <a:pt x="75036" y="12344"/>
                  </a:lnTo>
                  <a:lnTo>
                    <a:pt x="113819" y="3374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4" name="Son en Breugel">
              <a:extLst>
                <a:ext uri="{FF2B5EF4-FFF2-40B4-BE49-F238E27FC236}">
                  <a16:creationId xmlns:a16="http://schemas.microsoft.com/office/drawing/2014/main" id="{ED0FFEA9-6CDB-4360-8A2E-D7480EA21852}"/>
                </a:ext>
              </a:extLst>
            </p:cNvPr>
            <p:cNvSpPr/>
            <p:nvPr/>
          </p:nvSpPr>
          <p:spPr>
            <a:xfrm>
              <a:off x="6267283" y="4414948"/>
              <a:ext cx="129823" cy="75608"/>
            </a:xfrm>
            <a:custGeom>
              <a:avLst/>
              <a:gdLst/>
              <a:ahLst/>
              <a:cxnLst/>
              <a:rect l="l" t="t" r="r" b="b"/>
              <a:pathLst>
                <a:path w="187330" h="114300" extrusionOk="0">
                  <a:moveTo>
                    <a:pt x="102015" y="4114"/>
                  </a:moveTo>
                  <a:lnTo>
                    <a:pt x="103701" y="23865"/>
                  </a:lnTo>
                  <a:lnTo>
                    <a:pt x="112132" y="40323"/>
                  </a:lnTo>
                  <a:lnTo>
                    <a:pt x="118877" y="35386"/>
                  </a:lnTo>
                  <a:lnTo>
                    <a:pt x="127309" y="40323"/>
                  </a:lnTo>
                  <a:lnTo>
                    <a:pt x="122250" y="43615"/>
                  </a:lnTo>
                  <a:lnTo>
                    <a:pt x="122250" y="53490"/>
                  </a:lnTo>
                  <a:lnTo>
                    <a:pt x="130681" y="51844"/>
                  </a:lnTo>
                  <a:lnTo>
                    <a:pt x="134053" y="46907"/>
                  </a:lnTo>
                  <a:lnTo>
                    <a:pt x="135740" y="50198"/>
                  </a:lnTo>
                  <a:lnTo>
                    <a:pt x="140798" y="45261"/>
                  </a:lnTo>
                  <a:lnTo>
                    <a:pt x="150916" y="50198"/>
                  </a:lnTo>
                  <a:lnTo>
                    <a:pt x="155974" y="48552"/>
                  </a:lnTo>
                  <a:lnTo>
                    <a:pt x="161033" y="51844"/>
                  </a:lnTo>
                  <a:lnTo>
                    <a:pt x="169464" y="43615"/>
                  </a:lnTo>
                  <a:lnTo>
                    <a:pt x="182954" y="41969"/>
                  </a:lnTo>
                  <a:lnTo>
                    <a:pt x="191385" y="46907"/>
                  </a:lnTo>
                  <a:lnTo>
                    <a:pt x="189699" y="51844"/>
                  </a:lnTo>
                  <a:lnTo>
                    <a:pt x="191385" y="56782"/>
                  </a:lnTo>
                  <a:lnTo>
                    <a:pt x="184640" y="55136"/>
                  </a:lnTo>
                  <a:lnTo>
                    <a:pt x="193071" y="73240"/>
                  </a:lnTo>
                  <a:lnTo>
                    <a:pt x="181268" y="86407"/>
                  </a:lnTo>
                  <a:lnTo>
                    <a:pt x="169464" y="91345"/>
                  </a:lnTo>
                  <a:lnTo>
                    <a:pt x="162719" y="101220"/>
                  </a:lnTo>
                  <a:lnTo>
                    <a:pt x="150916" y="99574"/>
                  </a:lnTo>
                  <a:lnTo>
                    <a:pt x="137426" y="107804"/>
                  </a:lnTo>
                  <a:lnTo>
                    <a:pt x="139112" y="112741"/>
                  </a:lnTo>
                  <a:lnTo>
                    <a:pt x="85153" y="111095"/>
                  </a:lnTo>
                  <a:lnTo>
                    <a:pt x="75036" y="116033"/>
                  </a:lnTo>
                  <a:lnTo>
                    <a:pt x="73349" y="114387"/>
                  </a:lnTo>
                  <a:lnTo>
                    <a:pt x="73349" y="112741"/>
                  </a:lnTo>
                  <a:lnTo>
                    <a:pt x="66604" y="112741"/>
                  </a:lnTo>
                  <a:lnTo>
                    <a:pt x="32880" y="119324"/>
                  </a:lnTo>
                  <a:lnTo>
                    <a:pt x="29507" y="114387"/>
                  </a:lnTo>
                  <a:lnTo>
                    <a:pt x="41311" y="74886"/>
                  </a:lnTo>
                  <a:lnTo>
                    <a:pt x="4214" y="22219"/>
                  </a:lnTo>
                  <a:lnTo>
                    <a:pt x="12645" y="20573"/>
                  </a:lnTo>
                  <a:lnTo>
                    <a:pt x="16018" y="23865"/>
                  </a:lnTo>
                  <a:lnTo>
                    <a:pt x="21076" y="22219"/>
                  </a:lnTo>
                  <a:lnTo>
                    <a:pt x="24449" y="22219"/>
                  </a:lnTo>
                  <a:lnTo>
                    <a:pt x="73349" y="5760"/>
                  </a:lnTo>
                  <a:lnTo>
                    <a:pt x="10201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5" name="Heerhugowaard">
              <a:extLst>
                <a:ext uri="{FF2B5EF4-FFF2-40B4-BE49-F238E27FC236}">
                  <a16:creationId xmlns:a16="http://schemas.microsoft.com/office/drawing/2014/main" id="{364FF952-21EF-4AD8-BC3F-4384CBC91512}"/>
                </a:ext>
              </a:extLst>
            </p:cNvPr>
            <p:cNvSpPr/>
            <p:nvPr/>
          </p:nvSpPr>
          <p:spPr>
            <a:xfrm>
              <a:off x="5601276" y="2518077"/>
              <a:ext cx="121828" cy="137104"/>
            </a:xfrm>
            <a:custGeom>
              <a:avLst/>
              <a:gdLst/>
              <a:ahLst/>
              <a:cxnLst/>
              <a:rect l="l" t="t" r="r" b="b"/>
              <a:pathLst>
                <a:path w="175622" h="217170" extrusionOk="0">
                  <a:moveTo>
                    <a:pt x="127309" y="15635"/>
                  </a:moveTo>
                  <a:lnTo>
                    <a:pt x="135740" y="20573"/>
                  </a:lnTo>
                  <a:lnTo>
                    <a:pt x="144171" y="32094"/>
                  </a:lnTo>
                  <a:lnTo>
                    <a:pt x="176209" y="46906"/>
                  </a:lnTo>
                  <a:lnTo>
                    <a:pt x="177895" y="66657"/>
                  </a:lnTo>
                  <a:lnTo>
                    <a:pt x="164405" y="71594"/>
                  </a:lnTo>
                  <a:lnTo>
                    <a:pt x="161033" y="83115"/>
                  </a:lnTo>
                  <a:lnTo>
                    <a:pt x="142484" y="92991"/>
                  </a:lnTo>
                  <a:lnTo>
                    <a:pt x="147543" y="107803"/>
                  </a:lnTo>
                  <a:lnTo>
                    <a:pt x="139112" y="117679"/>
                  </a:lnTo>
                  <a:lnTo>
                    <a:pt x="127309" y="155533"/>
                  </a:lnTo>
                  <a:lnTo>
                    <a:pt x="122250" y="165408"/>
                  </a:lnTo>
                  <a:lnTo>
                    <a:pt x="120564" y="173638"/>
                  </a:lnTo>
                  <a:lnTo>
                    <a:pt x="123936" y="181867"/>
                  </a:lnTo>
                  <a:lnTo>
                    <a:pt x="142484" y="203263"/>
                  </a:lnTo>
                  <a:lnTo>
                    <a:pt x="140798" y="216430"/>
                  </a:lnTo>
                  <a:lnTo>
                    <a:pt x="134053" y="218076"/>
                  </a:lnTo>
                  <a:lnTo>
                    <a:pt x="122250" y="216430"/>
                  </a:lnTo>
                  <a:lnTo>
                    <a:pt x="117191" y="206555"/>
                  </a:lnTo>
                  <a:lnTo>
                    <a:pt x="98643" y="199972"/>
                  </a:lnTo>
                  <a:lnTo>
                    <a:pt x="90212" y="190097"/>
                  </a:lnTo>
                  <a:lnTo>
                    <a:pt x="85153" y="190097"/>
                  </a:lnTo>
                  <a:lnTo>
                    <a:pt x="80094" y="198326"/>
                  </a:lnTo>
                  <a:lnTo>
                    <a:pt x="78408" y="211493"/>
                  </a:lnTo>
                  <a:lnTo>
                    <a:pt x="71663" y="223014"/>
                  </a:lnTo>
                  <a:lnTo>
                    <a:pt x="63232" y="219722"/>
                  </a:lnTo>
                  <a:lnTo>
                    <a:pt x="37939" y="219722"/>
                  </a:lnTo>
                  <a:lnTo>
                    <a:pt x="14331" y="208201"/>
                  </a:lnTo>
                  <a:lnTo>
                    <a:pt x="4214" y="208201"/>
                  </a:lnTo>
                  <a:lnTo>
                    <a:pt x="14331" y="186805"/>
                  </a:lnTo>
                  <a:lnTo>
                    <a:pt x="26135" y="168700"/>
                  </a:lnTo>
                  <a:lnTo>
                    <a:pt x="27821" y="158825"/>
                  </a:lnTo>
                  <a:lnTo>
                    <a:pt x="26135" y="145658"/>
                  </a:lnTo>
                  <a:lnTo>
                    <a:pt x="29507" y="139075"/>
                  </a:lnTo>
                  <a:lnTo>
                    <a:pt x="37939" y="130845"/>
                  </a:lnTo>
                  <a:lnTo>
                    <a:pt x="41311" y="124262"/>
                  </a:lnTo>
                  <a:lnTo>
                    <a:pt x="59860" y="125908"/>
                  </a:lnTo>
                  <a:lnTo>
                    <a:pt x="68291" y="119324"/>
                  </a:lnTo>
                  <a:lnTo>
                    <a:pt x="68291" y="81469"/>
                  </a:lnTo>
                  <a:lnTo>
                    <a:pt x="64918" y="55136"/>
                  </a:lnTo>
                  <a:lnTo>
                    <a:pt x="56487" y="37031"/>
                  </a:lnTo>
                  <a:lnTo>
                    <a:pt x="78408" y="27156"/>
                  </a:lnTo>
                  <a:lnTo>
                    <a:pt x="75036" y="18927"/>
                  </a:lnTo>
                  <a:lnTo>
                    <a:pt x="68291" y="17281"/>
                  </a:lnTo>
                  <a:lnTo>
                    <a:pt x="100329" y="10697"/>
                  </a:lnTo>
                  <a:lnTo>
                    <a:pt x="107074" y="5760"/>
                  </a:lnTo>
                  <a:lnTo>
                    <a:pt x="115505" y="4114"/>
                  </a:lnTo>
                  <a:lnTo>
                    <a:pt x="127309"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6" name="Loon op Zand">
              <a:extLst>
                <a:ext uri="{FF2B5EF4-FFF2-40B4-BE49-F238E27FC236}">
                  <a16:creationId xmlns:a16="http://schemas.microsoft.com/office/drawing/2014/main" id="{A1F99E51-366C-4FC2-823F-96406D72E819}"/>
                </a:ext>
              </a:extLst>
            </p:cNvPr>
            <p:cNvSpPr/>
            <p:nvPr/>
          </p:nvSpPr>
          <p:spPr>
            <a:xfrm>
              <a:off x="5801227" y="4192346"/>
              <a:ext cx="131728" cy="118290"/>
            </a:xfrm>
            <a:custGeom>
              <a:avLst/>
              <a:gdLst/>
              <a:ahLst/>
              <a:cxnLst/>
              <a:rect l="l" t="t" r="r" b="b"/>
              <a:pathLst>
                <a:path w="187330" h="171450" extrusionOk="0">
                  <a:moveTo>
                    <a:pt x="184640" y="9052"/>
                  </a:moveTo>
                  <a:lnTo>
                    <a:pt x="181268" y="15635"/>
                  </a:lnTo>
                  <a:lnTo>
                    <a:pt x="182954" y="25510"/>
                  </a:lnTo>
                  <a:lnTo>
                    <a:pt x="181268" y="40323"/>
                  </a:lnTo>
                  <a:lnTo>
                    <a:pt x="188013" y="102866"/>
                  </a:lnTo>
                  <a:lnTo>
                    <a:pt x="181268" y="107803"/>
                  </a:lnTo>
                  <a:lnTo>
                    <a:pt x="174523" y="122616"/>
                  </a:lnTo>
                  <a:lnTo>
                    <a:pt x="177895" y="122616"/>
                  </a:lnTo>
                  <a:lnTo>
                    <a:pt x="182954" y="148950"/>
                  </a:lnTo>
                  <a:lnTo>
                    <a:pt x="176209" y="147304"/>
                  </a:lnTo>
                  <a:lnTo>
                    <a:pt x="171151" y="160471"/>
                  </a:lnTo>
                  <a:lnTo>
                    <a:pt x="167778" y="162117"/>
                  </a:lnTo>
                  <a:lnTo>
                    <a:pt x="145857" y="163763"/>
                  </a:lnTo>
                  <a:lnTo>
                    <a:pt x="147543" y="167055"/>
                  </a:lnTo>
                  <a:lnTo>
                    <a:pt x="140799" y="168700"/>
                  </a:lnTo>
                  <a:lnTo>
                    <a:pt x="140799" y="175284"/>
                  </a:lnTo>
                  <a:lnTo>
                    <a:pt x="137426" y="176930"/>
                  </a:lnTo>
                  <a:lnTo>
                    <a:pt x="137426" y="167055"/>
                  </a:lnTo>
                  <a:lnTo>
                    <a:pt x="134053" y="170346"/>
                  </a:lnTo>
                  <a:lnTo>
                    <a:pt x="132367" y="165409"/>
                  </a:lnTo>
                  <a:lnTo>
                    <a:pt x="118878" y="167055"/>
                  </a:lnTo>
                  <a:lnTo>
                    <a:pt x="117191" y="163763"/>
                  </a:lnTo>
                  <a:lnTo>
                    <a:pt x="112133" y="163763"/>
                  </a:lnTo>
                  <a:lnTo>
                    <a:pt x="93584" y="162117"/>
                  </a:lnTo>
                  <a:lnTo>
                    <a:pt x="90212" y="175284"/>
                  </a:lnTo>
                  <a:lnTo>
                    <a:pt x="31194" y="170346"/>
                  </a:lnTo>
                  <a:lnTo>
                    <a:pt x="4214" y="56782"/>
                  </a:lnTo>
                  <a:lnTo>
                    <a:pt x="12645" y="5760"/>
                  </a:lnTo>
                  <a:lnTo>
                    <a:pt x="93584" y="38677"/>
                  </a:lnTo>
                  <a:lnTo>
                    <a:pt x="96957" y="37031"/>
                  </a:lnTo>
                  <a:lnTo>
                    <a:pt x="96957" y="40323"/>
                  </a:lnTo>
                  <a:lnTo>
                    <a:pt x="102015" y="40323"/>
                  </a:lnTo>
                  <a:lnTo>
                    <a:pt x="113819" y="40323"/>
                  </a:lnTo>
                  <a:lnTo>
                    <a:pt x="113819" y="25510"/>
                  </a:lnTo>
                  <a:lnTo>
                    <a:pt x="118878" y="25510"/>
                  </a:lnTo>
                  <a:lnTo>
                    <a:pt x="117191" y="17281"/>
                  </a:lnTo>
                  <a:lnTo>
                    <a:pt x="147543" y="17281"/>
                  </a:lnTo>
                  <a:lnTo>
                    <a:pt x="161033" y="9052"/>
                  </a:lnTo>
                  <a:lnTo>
                    <a:pt x="171151" y="10698"/>
                  </a:lnTo>
                  <a:lnTo>
                    <a:pt x="181268" y="4114"/>
                  </a:lnTo>
                  <a:lnTo>
                    <a:pt x="184640"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7" name="Capelle aan den Ijssel">
              <a:extLst>
                <a:ext uri="{FF2B5EF4-FFF2-40B4-BE49-F238E27FC236}">
                  <a16:creationId xmlns:a16="http://schemas.microsoft.com/office/drawing/2014/main" id="{4145A559-4BC6-4DBF-9386-259771FD63B4}"/>
                </a:ext>
              </a:extLst>
            </p:cNvPr>
            <p:cNvSpPr/>
            <p:nvPr/>
          </p:nvSpPr>
          <p:spPr>
            <a:xfrm>
              <a:off x="5327112" y="3727232"/>
              <a:ext cx="94581" cy="102100"/>
            </a:xfrm>
            <a:custGeom>
              <a:avLst/>
              <a:gdLst/>
              <a:ahLst/>
              <a:cxnLst/>
              <a:rect l="l" t="t" r="r" b="b"/>
              <a:pathLst>
                <a:path w="128789" h="148590" extrusionOk="0">
                  <a:moveTo>
                    <a:pt x="78408" y="4114"/>
                  </a:moveTo>
                  <a:lnTo>
                    <a:pt x="105388" y="43615"/>
                  </a:lnTo>
                  <a:lnTo>
                    <a:pt x="102015" y="48552"/>
                  </a:lnTo>
                  <a:lnTo>
                    <a:pt x="130681" y="83115"/>
                  </a:lnTo>
                  <a:lnTo>
                    <a:pt x="125622" y="94636"/>
                  </a:lnTo>
                  <a:lnTo>
                    <a:pt x="117191" y="101220"/>
                  </a:lnTo>
                  <a:lnTo>
                    <a:pt x="100329" y="99574"/>
                  </a:lnTo>
                  <a:lnTo>
                    <a:pt x="83467" y="109449"/>
                  </a:lnTo>
                  <a:lnTo>
                    <a:pt x="75036" y="112741"/>
                  </a:lnTo>
                  <a:lnTo>
                    <a:pt x="66604" y="127554"/>
                  </a:lnTo>
                  <a:lnTo>
                    <a:pt x="44684" y="140720"/>
                  </a:lnTo>
                  <a:lnTo>
                    <a:pt x="24449" y="145658"/>
                  </a:lnTo>
                  <a:lnTo>
                    <a:pt x="26135" y="139075"/>
                  </a:lnTo>
                  <a:lnTo>
                    <a:pt x="34566" y="137429"/>
                  </a:lnTo>
                  <a:lnTo>
                    <a:pt x="34566" y="125908"/>
                  </a:lnTo>
                  <a:lnTo>
                    <a:pt x="31194" y="125908"/>
                  </a:lnTo>
                  <a:lnTo>
                    <a:pt x="31194" y="122616"/>
                  </a:lnTo>
                  <a:lnTo>
                    <a:pt x="24449" y="125908"/>
                  </a:lnTo>
                  <a:lnTo>
                    <a:pt x="21076" y="144012"/>
                  </a:lnTo>
                  <a:lnTo>
                    <a:pt x="12645" y="147304"/>
                  </a:lnTo>
                  <a:lnTo>
                    <a:pt x="4214" y="129199"/>
                  </a:lnTo>
                  <a:lnTo>
                    <a:pt x="5900" y="124262"/>
                  </a:lnTo>
                  <a:lnTo>
                    <a:pt x="9273" y="125908"/>
                  </a:lnTo>
                  <a:lnTo>
                    <a:pt x="5900" y="114387"/>
                  </a:lnTo>
                  <a:lnTo>
                    <a:pt x="34566" y="114387"/>
                  </a:lnTo>
                  <a:lnTo>
                    <a:pt x="46370" y="106157"/>
                  </a:lnTo>
                  <a:lnTo>
                    <a:pt x="49742" y="99574"/>
                  </a:lnTo>
                  <a:lnTo>
                    <a:pt x="41311" y="63365"/>
                  </a:lnTo>
                  <a:lnTo>
                    <a:pt x="59860" y="58427"/>
                  </a:lnTo>
                  <a:lnTo>
                    <a:pt x="46370" y="40323"/>
                  </a:lnTo>
                  <a:lnTo>
                    <a:pt x="44684" y="20573"/>
                  </a:lnTo>
                  <a:lnTo>
                    <a:pt x="48056" y="17281"/>
                  </a:lnTo>
                  <a:lnTo>
                    <a:pt x="53115" y="22218"/>
                  </a:lnTo>
                  <a:lnTo>
                    <a:pt x="7840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8" name="De Ronde Venen">
              <a:extLst>
                <a:ext uri="{FF2B5EF4-FFF2-40B4-BE49-F238E27FC236}">
                  <a16:creationId xmlns:a16="http://schemas.microsoft.com/office/drawing/2014/main" id="{705E1221-CD4E-4B95-B648-E37D07FAA9C8}"/>
                </a:ext>
              </a:extLst>
            </p:cNvPr>
            <p:cNvSpPr/>
            <p:nvPr/>
          </p:nvSpPr>
          <p:spPr>
            <a:xfrm>
              <a:off x="5606636" y="3185384"/>
              <a:ext cx="241749" cy="229798"/>
            </a:xfrm>
            <a:custGeom>
              <a:avLst/>
              <a:gdLst/>
              <a:ahLst/>
              <a:cxnLst/>
              <a:rect l="l" t="t" r="r" b="b"/>
              <a:pathLst>
                <a:path w="351245" h="342900" extrusionOk="0">
                  <a:moveTo>
                    <a:pt x="339773" y="4114"/>
                  </a:moveTo>
                  <a:lnTo>
                    <a:pt x="351577" y="7406"/>
                  </a:lnTo>
                  <a:lnTo>
                    <a:pt x="351577" y="55136"/>
                  </a:lnTo>
                  <a:lnTo>
                    <a:pt x="327969" y="178576"/>
                  </a:lnTo>
                  <a:lnTo>
                    <a:pt x="312793" y="180221"/>
                  </a:lnTo>
                  <a:lnTo>
                    <a:pt x="309421" y="176930"/>
                  </a:lnTo>
                  <a:lnTo>
                    <a:pt x="307735" y="176930"/>
                  </a:lnTo>
                  <a:lnTo>
                    <a:pt x="309421" y="181867"/>
                  </a:lnTo>
                  <a:lnTo>
                    <a:pt x="287500" y="190097"/>
                  </a:lnTo>
                  <a:lnTo>
                    <a:pt x="290873" y="199972"/>
                  </a:lnTo>
                  <a:lnTo>
                    <a:pt x="277383" y="204909"/>
                  </a:lnTo>
                  <a:lnTo>
                    <a:pt x="265579" y="254285"/>
                  </a:lnTo>
                  <a:lnTo>
                    <a:pt x="258834" y="255931"/>
                  </a:lnTo>
                  <a:lnTo>
                    <a:pt x="257148" y="259223"/>
                  </a:lnTo>
                  <a:lnTo>
                    <a:pt x="241972" y="257577"/>
                  </a:lnTo>
                  <a:lnTo>
                    <a:pt x="240286" y="270744"/>
                  </a:lnTo>
                  <a:lnTo>
                    <a:pt x="238600" y="269098"/>
                  </a:lnTo>
                  <a:lnTo>
                    <a:pt x="238600" y="288848"/>
                  </a:lnTo>
                  <a:lnTo>
                    <a:pt x="233541" y="288848"/>
                  </a:lnTo>
                  <a:lnTo>
                    <a:pt x="216679" y="310245"/>
                  </a:lnTo>
                  <a:lnTo>
                    <a:pt x="218365" y="311890"/>
                  </a:lnTo>
                  <a:lnTo>
                    <a:pt x="211620" y="318474"/>
                  </a:lnTo>
                  <a:lnTo>
                    <a:pt x="213306" y="320120"/>
                  </a:lnTo>
                  <a:lnTo>
                    <a:pt x="208247" y="333287"/>
                  </a:lnTo>
                  <a:lnTo>
                    <a:pt x="176209" y="346454"/>
                  </a:lnTo>
                  <a:lnTo>
                    <a:pt x="150916" y="346454"/>
                  </a:lnTo>
                  <a:lnTo>
                    <a:pt x="96956" y="303661"/>
                  </a:lnTo>
                  <a:lnTo>
                    <a:pt x="78408" y="302015"/>
                  </a:lnTo>
                  <a:lnTo>
                    <a:pt x="48056" y="269098"/>
                  </a:lnTo>
                  <a:lnTo>
                    <a:pt x="46370" y="262515"/>
                  </a:lnTo>
                  <a:lnTo>
                    <a:pt x="34566" y="254285"/>
                  </a:lnTo>
                  <a:lnTo>
                    <a:pt x="32880" y="249348"/>
                  </a:lnTo>
                  <a:lnTo>
                    <a:pt x="17704" y="250993"/>
                  </a:lnTo>
                  <a:lnTo>
                    <a:pt x="16018" y="242764"/>
                  </a:lnTo>
                  <a:lnTo>
                    <a:pt x="16018" y="209847"/>
                  </a:lnTo>
                  <a:lnTo>
                    <a:pt x="9273" y="203264"/>
                  </a:lnTo>
                  <a:lnTo>
                    <a:pt x="7587" y="196680"/>
                  </a:lnTo>
                  <a:lnTo>
                    <a:pt x="4214" y="196680"/>
                  </a:lnTo>
                  <a:lnTo>
                    <a:pt x="4214" y="188451"/>
                  </a:lnTo>
                  <a:lnTo>
                    <a:pt x="21076" y="185159"/>
                  </a:lnTo>
                  <a:lnTo>
                    <a:pt x="26135" y="188451"/>
                  </a:lnTo>
                  <a:lnTo>
                    <a:pt x="34566" y="186805"/>
                  </a:lnTo>
                  <a:lnTo>
                    <a:pt x="59860" y="178576"/>
                  </a:lnTo>
                  <a:lnTo>
                    <a:pt x="71663" y="168700"/>
                  </a:lnTo>
                  <a:lnTo>
                    <a:pt x="78408" y="168700"/>
                  </a:lnTo>
                  <a:lnTo>
                    <a:pt x="85153" y="157179"/>
                  </a:lnTo>
                  <a:lnTo>
                    <a:pt x="91898" y="158825"/>
                  </a:lnTo>
                  <a:lnTo>
                    <a:pt x="91898" y="152242"/>
                  </a:lnTo>
                  <a:lnTo>
                    <a:pt x="96956" y="152242"/>
                  </a:lnTo>
                  <a:lnTo>
                    <a:pt x="96956" y="144013"/>
                  </a:lnTo>
                  <a:lnTo>
                    <a:pt x="100329" y="139075"/>
                  </a:lnTo>
                  <a:lnTo>
                    <a:pt x="117191" y="129200"/>
                  </a:lnTo>
                  <a:lnTo>
                    <a:pt x="120564" y="124262"/>
                  </a:lnTo>
                  <a:lnTo>
                    <a:pt x="125622" y="130845"/>
                  </a:lnTo>
                  <a:lnTo>
                    <a:pt x="139112" y="124262"/>
                  </a:lnTo>
                  <a:lnTo>
                    <a:pt x="145857" y="130845"/>
                  </a:lnTo>
                  <a:lnTo>
                    <a:pt x="152602" y="125908"/>
                  </a:lnTo>
                  <a:lnTo>
                    <a:pt x="162719" y="130845"/>
                  </a:lnTo>
                  <a:lnTo>
                    <a:pt x="169464" y="125908"/>
                  </a:lnTo>
                  <a:lnTo>
                    <a:pt x="181268" y="127554"/>
                  </a:lnTo>
                  <a:lnTo>
                    <a:pt x="193071" y="116033"/>
                  </a:lnTo>
                  <a:lnTo>
                    <a:pt x="193071" y="104512"/>
                  </a:lnTo>
                  <a:lnTo>
                    <a:pt x="201502" y="101220"/>
                  </a:lnTo>
                  <a:lnTo>
                    <a:pt x="203189" y="92991"/>
                  </a:lnTo>
                  <a:lnTo>
                    <a:pt x="209934" y="89699"/>
                  </a:lnTo>
                  <a:lnTo>
                    <a:pt x="206561" y="79824"/>
                  </a:lnTo>
                  <a:lnTo>
                    <a:pt x="206561" y="61719"/>
                  </a:lnTo>
                  <a:lnTo>
                    <a:pt x="216679" y="58427"/>
                  </a:lnTo>
                  <a:lnTo>
                    <a:pt x="230168" y="65011"/>
                  </a:lnTo>
                  <a:lnTo>
                    <a:pt x="236913" y="63365"/>
                  </a:lnTo>
                  <a:lnTo>
                    <a:pt x="247031" y="66657"/>
                  </a:lnTo>
                  <a:lnTo>
                    <a:pt x="258834" y="65011"/>
                  </a:lnTo>
                  <a:lnTo>
                    <a:pt x="260520" y="61719"/>
                  </a:lnTo>
                  <a:lnTo>
                    <a:pt x="267265" y="58427"/>
                  </a:lnTo>
                  <a:lnTo>
                    <a:pt x="268952" y="61719"/>
                  </a:lnTo>
                  <a:lnTo>
                    <a:pt x="272324" y="53490"/>
                  </a:lnTo>
                  <a:lnTo>
                    <a:pt x="292559" y="37031"/>
                  </a:lnTo>
                  <a:lnTo>
                    <a:pt x="314480" y="40323"/>
                  </a:lnTo>
                  <a:lnTo>
                    <a:pt x="321225" y="30448"/>
                  </a:lnTo>
                  <a:lnTo>
                    <a:pt x="324597" y="17281"/>
                  </a:lnTo>
                  <a:lnTo>
                    <a:pt x="326283" y="17281"/>
                  </a:lnTo>
                  <a:lnTo>
                    <a:pt x="329656" y="9052"/>
                  </a:lnTo>
                  <a:lnTo>
                    <a:pt x="33977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79" name="Eindhoven">
              <a:extLst>
                <a:ext uri="{FF2B5EF4-FFF2-40B4-BE49-F238E27FC236}">
                  <a16:creationId xmlns:a16="http://schemas.microsoft.com/office/drawing/2014/main" id="{5FDE1958-CC27-42AC-9587-28F72CDAD2B9}"/>
                </a:ext>
              </a:extLst>
            </p:cNvPr>
            <p:cNvSpPr/>
            <p:nvPr/>
          </p:nvSpPr>
          <p:spPr>
            <a:xfrm>
              <a:off x="6195895" y="4486803"/>
              <a:ext cx="211676" cy="163655"/>
            </a:xfrm>
            <a:custGeom>
              <a:avLst/>
              <a:gdLst/>
              <a:ahLst/>
              <a:cxnLst/>
              <a:rect l="l" t="t" r="r" b="b"/>
              <a:pathLst>
                <a:path w="304412" h="240030" extrusionOk="0">
                  <a:moveTo>
                    <a:pt x="191385" y="4114"/>
                  </a:moveTo>
                  <a:lnTo>
                    <a:pt x="247030" y="4114"/>
                  </a:lnTo>
                  <a:lnTo>
                    <a:pt x="250403" y="12343"/>
                  </a:lnTo>
                  <a:lnTo>
                    <a:pt x="241972" y="25510"/>
                  </a:lnTo>
                  <a:lnTo>
                    <a:pt x="238599" y="25510"/>
                  </a:lnTo>
                  <a:lnTo>
                    <a:pt x="238599" y="32094"/>
                  </a:lnTo>
                  <a:lnTo>
                    <a:pt x="235227" y="35385"/>
                  </a:lnTo>
                  <a:lnTo>
                    <a:pt x="240286" y="46906"/>
                  </a:lnTo>
                  <a:lnTo>
                    <a:pt x="238599" y="48552"/>
                  </a:lnTo>
                  <a:lnTo>
                    <a:pt x="238599" y="65011"/>
                  </a:lnTo>
                  <a:lnTo>
                    <a:pt x="241972" y="68303"/>
                  </a:lnTo>
                  <a:lnTo>
                    <a:pt x="240286" y="69949"/>
                  </a:lnTo>
                  <a:lnTo>
                    <a:pt x="258834" y="89699"/>
                  </a:lnTo>
                  <a:lnTo>
                    <a:pt x="277383" y="99574"/>
                  </a:lnTo>
                  <a:lnTo>
                    <a:pt x="275696" y="104512"/>
                  </a:lnTo>
                  <a:lnTo>
                    <a:pt x="289186" y="120970"/>
                  </a:lnTo>
                  <a:lnTo>
                    <a:pt x="285814" y="132491"/>
                  </a:lnTo>
                  <a:lnTo>
                    <a:pt x="289186" y="139075"/>
                  </a:lnTo>
                  <a:lnTo>
                    <a:pt x="294245" y="142367"/>
                  </a:lnTo>
                  <a:lnTo>
                    <a:pt x="299303" y="155533"/>
                  </a:lnTo>
                  <a:lnTo>
                    <a:pt x="302676" y="153888"/>
                  </a:lnTo>
                  <a:lnTo>
                    <a:pt x="289186" y="162117"/>
                  </a:lnTo>
                  <a:lnTo>
                    <a:pt x="275696" y="160471"/>
                  </a:lnTo>
                  <a:lnTo>
                    <a:pt x="274010" y="171992"/>
                  </a:lnTo>
                  <a:lnTo>
                    <a:pt x="265579" y="170346"/>
                  </a:lnTo>
                  <a:lnTo>
                    <a:pt x="267265" y="226306"/>
                  </a:lnTo>
                  <a:lnTo>
                    <a:pt x="238599" y="226306"/>
                  </a:lnTo>
                  <a:lnTo>
                    <a:pt x="235227" y="229597"/>
                  </a:lnTo>
                  <a:lnTo>
                    <a:pt x="233541" y="237827"/>
                  </a:lnTo>
                  <a:lnTo>
                    <a:pt x="228482" y="229597"/>
                  </a:lnTo>
                  <a:lnTo>
                    <a:pt x="223423" y="227951"/>
                  </a:lnTo>
                  <a:lnTo>
                    <a:pt x="184640" y="224660"/>
                  </a:lnTo>
                  <a:lnTo>
                    <a:pt x="127309" y="226306"/>
                  </a:lnTo>
                  <a:lnTo>
                    <a:pt x="123936" y="231243"/>
                  </a:lnTo>
                  <a:lnTo>
                    <a:pt x="115505" y="231243"/>
                  </a:lnTo>
                  <a:lnTo>
                    <a:pt x="110446" y="226306"/>
                  </a:lnTo>
                  <a:lnTo>
                    <a:pt x="118878" y="219722"/>
                  </a:lnTo>
                  <a:lnTo>
                    <a:pt x="117191" y="206555"/>
                  </a:lnTo>
                  <a:lnTo>
                    <a:pt x="113819" y="201617"/>
                  </a:lnTo>
                  <a:lnTo>
                    <a:pt x="113819" y="196680"/>
                  </a:lnTo>
                  <a:lnTo>
                    <a:pt x="115505" y="196680"/>
                  </a:lnTo>
                  <a:lnTo>
                    <a:pt x="113819" y="165409"/>
                  </a:lnTo>
                  <a:lnTo>
                    <a:pt x="103701" y="158825"/>
                  </a:lnTo>
                  <a:lnTo>
                    <a:pt x="100329" y="158825"/>
                  </a:lnTo>
                  <a:lnTo>
                    <a:pt x="93584" y="165409"/>
                  </a:lnTo>
                  <a:lnTo>
                    <a:pt x="90212" y="162117"/>
                  </a:lnTo>
                  <a:lnTo>
                    <a:pt x="88525" y="152242"/>
                  </a:lnTo>
                  <a:lnTo>
                    <a:pt x="85153" y="153888"/>
                  </a:lnTo>
                  <a:lnTo>
                    <a:pt x="80094" y="147304"/>
                  </a:lnTo>
                  <a:lnTo>
                    <a:pt x="73349" y="157179"/>
                  </a:lnTo>
                  <a:lnTo>
                    <a:pt x="61546" y="153888"/>
                  </a:lnTo>
                  <a:lnTo>
                    <a:pt x="54801" y="145658"/>
                  </a:lnTo>
                  <a:lnTo>
                    <a:pt x="39625" y="152242"/>
                  </a:lnTo>
                  <a:lnTo>
                    <a:pt x="39625" y="148950"/>
                  </a:lnTo>
                  <a:lnTo>
                    <a:pt x="27821" y="144012"/>
                  </a:lnTo>
                  <a:lnTo>
                    <a:pt x="22763" y="145658"/>
                  </a:lnTo>
                  <a:lnTo>
                    <a:pt x="21076" y="150596"/>
                  </a:lnTo>
                  <a:lnTo>
                    <a:pt x="12645" y="152242"/>
                  </a:lnTo>
                  <a:lnTo>
                    <a:pt x="5900" y="145658"/>
                  </a:lnTo>
                  <a:lnTo>
                    <a:pt x="10959" y="132491"/>
                  </a:lnTo>
                  <a:lnTo>
                    <a:pt x="12645" y="120970"/>
                  </a:lnTo>
                  <a:lnTo>
                    <a:pt x="4214" y="107803"/>
                  </a:lnTo>
                  <a:lnTo>
                    <a:pt x="16018" y="91345"/>
                  </a:lnTo>
                  <a:lnTo>
                    <a:pt x="21076" y="94636"/>
                  </a:lnTo>
                  <a:lnTo>
                    <a:pt x="24449" y="79823"/>
                  </a:lnTo>
                  <a:lnTo>
                    <a:pt x="39625" y="83115"/>
                  </a:lnTo>
                  <a:lnTo>
                    <a:pt x="48056" y="74886"/>
                  </a:lnTo>
                  <a:lnTo>
                    <a:pt x="53115" y="73240"/>
                  </a:lnTo>
                  <a:lnTo>
                    <a:pt x="51428" y="69949"/>
                  </a:lnTo>
                  <a:lnTo>
                    <a:pt x="58173" y="66657"/>
                  </a:lnTo>
                  <a:lnTo>
                    <a:pt x="58173" y="61719"/>
                  </a:lnTo>
                  <a:lnTo>
                    <a:pt x="63232" y="60073"/>
                  </a:lnTo>
                  <a:lnTo>
                    <a:pt x="69977" y="41969"/>
                  </a:lnTo>
                  <a:lnTo>
                    <a:pt x="64918" y="37031"/>
                  </a:lnTo>
                  <a:lnTo>
                    <a:pt x="66605" y="33739"/>
                  </a:lnTo>
                  <a:lnTo>
                    <a:pt x="75036" y="30448"/>
                  </a:lnTo>
                  <a:lnTo>
                    <a:pt x="83467" y="35385"/>
                  </a:lnTo>
                  <a:lnTo>
                    <a:pt x="90212" y="33739"/>
                  </a:lnTo>
                  <a:lnTo>
                    <a:pt x="117191" y="18927"/>
                  </a:lnTo>
                  <a:lnTo>
                    <a:pt x="147543" y="7406"/>
                  </a:lnTo>
                  <a:lnTo>
                    <a:pt x="171150" y="4114"/>
                  </a:lnTo>
                  <a:lnTo>
                    <a:pt x="182954" y="5760"/>
                  </a:lnTo>
                  <a:lnTo>
                    <a:pt x="19138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0" name="Nieuwegein">
              <a:extLst>
                <a:ext uri="{FF2B5EF4-FFF2-40B4-BE49-F238E27FC236}">
                  <a16:creationId xmlns:a16="http://schemas.microsoft.com/office/drawing/2014/main" id="{4EDFFDAB-FBC7-4D4F-8A93-AD38EA9020BC}"/>
                </a:ext>
              </a:extLst>
            </p:cNvPr>
            <p:cNvSpPr/>
            <p:nvPr/>
          </p:nvSpPr>
          <p:spPr>
            <a:xfrm>
              <a:off x="5886034" y="3581635"/>
              <a:ext cx="70049" cy="99299"/>
            </a:xfrm>
            <a:custGeom>
              <a:avLst/>
              <a:gdLst/>
              <a:ahLst/>
              <a:cxnLst/>
              <a:rect l="l" t="t" r="r" b="b"/>
              <a:pathLst>
                <a:path w="105373" h="160020" extrusionOk="0">
                  <a:moveTo>
                    <a:pt x="32880" y="5760"/>
                  </a:moveTo>
                  <a:lnTo>
                    <a:pt x="46370" y="7406"/>
                  </a:lnTo>
                  <a:lnTo>
                    <a:pt x="51428" y="12344"/>
                  </a:lnTo>
                  <a:lnTo>
                    <a:pt x="56487" y="10698"/>
                  </a:lnTo>
                  <a:lnTo>
                    <a:pt x="68291" y="33740"/>
                  </a:lnTo>
                  <a:lnTo>
                    <a:pt x="71663" y="33740"/>
                  </a:lnTo>
                  <a:lnTo>
                    <a:pt x="78408" y="13989"/>
                  </a:lnTo>
                  <a:lnTo>
                    <a:pt x="88525" y="17281"/>
                  </a:lnTo>
                  <a:lnTo>
                    <a:pt x="91898" y="22219"/>
                  </a:lnTo>
                  <a:lnTo>
                    <a:pt x="102015" y="22219"/>
                  </a:lnTo>
                  <a:lnTo>
                    <a:pt x="98643" y="33740"/>
                  </a:lnTo>
                  <a:lnTo>
                    <a:pt x="105388" y="33740"/>
                  </a:lnTo>
                  <a:lnTo>
                    <a:pt x="93584" y="81470"/>
                  </a:lnTo>
                  <a:lnTo>
                    <a:pt x="107074" y="94637"/>
                  </a:lnTo>
                  <a:lnTo>
                    <a:pt x="103701" y="94637"/>
                  </a:lnTo>
                  <a:lnTo>
                    <a:pt x="90212" y="153888"/>
                  </a:lnTo>
                  <a:lnTo>
                    <a:pt x="76722" y="148950"/>
                  </a:lnTo>
                  <a:lnTo>
                    <a:pt x="64918" y="147304"/>
                  </a:lnTo>
                  <a:lnTo>
                    <a:pt x="46370" y="150596"/>
                  </a:lnTo>
                  <a:lnTo>
                    <a:pt x="26135" y="160471"/>
                  </a:lnTo>
                  <a:lnTo>
                    <a:pt x="22763" y="152242"/>
                  </a:lnTo>
                  <a:lnTo>
                    <a:pt x="17704" y="153888"/>
                  </a:lnTo>
                  <a:lnTo>
                    <a:pt x="22763" y="145658"/>
                  </a:lnTo>
                  <a:lnTo>
                    <a:pt x="4214" y="91345"/>
                  </a:lnTo>
                  <a:lnTo>
                    <a:pt x="5900" y="28802"/>
                  </a:lnTo>
                  <a:lnTo>
                    <a:pt x="14332" y="5760"/>
                  </a:lnTo>
                  <a:lnTo>
                    <a:pt x="24449" y="4114"/>
                  </a:lnTo>
                  <a:lnTo>
                    <a:pt x="32880"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1" name="Veldhoven">
              <a:extLst>
                <a:ext uri="{FF2B5EF4-FFF2-40B4-BE49-F238E27FC236}">
                  <a16:creationId xmlns:a16="http://schemas.microsoft.com/office/drawing/2014/main" id="{CACA5760-0CCC-4798-BEA4-0299E9430F1D}"/>
                </a:ext>
              </a:extLst>
            </p:cNvPr>
            <p:cNvSpPr/>
            <p:nvPr/>
          </p:nvSpPr>
          <p:spPr>
            <a:xfrm>
              <a:off x="6153292" y="4578508"/>
              <a:ext cx="119923" cy="104005"/>
            </a:xfrm>
            <a:custGeom>
              <a:avLst/>
              <a:gdLst/>
              <a:ahLst/>
              <a:cxnLst/>
              <a:rect l="l" t="t" r="r" b="b"/>
              <a:pathLst>
                <a:path w="175622" h="148590" extrusionOk="0">
                  <a:moveTo>
                    <a:pt x="102015" y="9052"/>
                  </a:moveTo>
                  <a:lnTo>
                    <a:pt x="105388" y="12344"/>
                  </a:lnTo>
                  <a:lnTo>
                    <a:pt x="117191" y="5760"/>
                  </a:lnTo>
                  <a:lnTo>
                    <a:pt x="123936" y="13989"/>
                  </a:lnTo>
                  <a:lnTo>
                    <a:pt x="135740" y="17281"/>
                  </a:lnTo>
                  <a:lnTo>
                    <a:pt x="142485" y="7406"/>
                  </a:lnTo>
                  <a:lnTo>
                    <a:pt x="147543" y="13989"/>
                  </a:lnTo>
                  <a:lnTo>
                    <a:pt x="150916" y="12344"/>
                  </a:lnTo>
                  <a:lnTo>
                    <a:pt x="152602" y="22219"/>
                  </a:lnTo>
                  <a:lnTo>
                    <a:pt x="155974" y="25510"/>
                  </a:lnTo>
                  <a:lnTo>
                    <a:pt x="162719" y="18927"/>
                  </a:lnTo>
                  <a:lnTo>
                    <a:pt x="166092" y="18927"/>
                  </a:lnTo>
                  <a:lnTo>
                    <a:pt x="176209" y="25510"/>
                  </a:lnTo>
                  <a:lnTo>
                    <a:pt x="177895" y="56782"/>
                  </a:lnTo>
                  <a:lnTo>
                    <a:pt x="176209" y="56782"/>
                  </a:lnTo>
                  <a:lnTo>
                    <a:pt x="176209" y="61719"/>
                  </a:lnTo>
                  <a:lnTo>
                    <a:pt x="179582" y="66657"/>
                  </a:lnTo>
                  <a:lnTo>
                    <a:pt x="181268" y="79824"/>
                  </a:lnTo>
                  <a:lnTo>
                    <a:pt x="172837" y="86407"/>
                  </a:lnTo>
                  <a:lnTo>
                    <a:pt x="176209" y="91345"/>
                  </a:lnTo>
                  <a:lnTo>
                    <a:pt x="167778" y="106158"/>
                  </a:lnTo>
                  <a:lnTo>
                    <a:pt x="169464" y="109449"/>
                  </a:lnTo>
                  <a:lnTo>
                    <a:pt x="167778" y="114387"/>
                  </a:lnTo>
                  <a:lnTo>
                    <a:pt x="161033" y="124262"/>
                  </a:lnTo>
                  <a:lnTo>
                    <a:pt x="167778" y="137429"/>
                  </a:lnTo>
                  <a:lnTo>
                    <a:pt x="162719" y="140721"/>
                  </a:lnTo>
                  <a:lnTo>
                    <a:pt x="154288" y="135783"/>
                  </a:lnTo>
                  <a:lnTo>
                    <a:pt x="147543" y="145658"/>
                  </a:lnTo>
                  <a:lnTo>
                    <a:pt x="128995" y="144013"/>
                  </a:lnTo>
                  <a:lnTo>
                    <a:pt x="123936" y="152242"/>
                  </a:lnTo>
                  <a:lnTo>
                    <a:pt x="117191" y="153888"/>
                  </a:lnTo>
                  <a:lnTo>
                    <a:pt x="93584" y="125908"/>
                  </a:lnTo>
                  <a:lnTo>
                    <a:pt x="88526" y="102866"/>
                  </a:lnTo>
                  <a:lnTo>
                    <a:pt x="63232" y="76532"/>
                  </a:lnTo>
                  <a:lnTo>
                    <a:pt x="16018" y="83116"/>
                  </a:lnTo>
                  <a:lnTo>
                    <a:pt x="5901" y="61719"/>
                  </a:lnTo>
                  <a:lnTo>
                    <a:pt x="4214" y="51844"/>
                  </a:lnTo>
                  <a:lnTo>
                    <a:pt x="10959" y="50198"/>
                  </a:lnTo>
                  <a:lnTo>
                    <a:pt x="9273" y="40323"/>
                  </a:lnTo>
                  <a:lnTo>
                    <a:pt x="41311" y="35386"/>
                  </a:lnTo>
                  <a:lnTo>
                    <a:pt x="46370" y="32094"/>
                  </a:lnTo>
                  <a:lnTo>
                    <a:pt x="44684" y="22219"/>
                  </a:lnTo>
                  <a:lnTo>
                    <a:pt x="49742" y="22219"/>
                  </a:lnTo>
                  <a:lnTo>
                    <a:pt x="49742" y="27156"/>
                  </a:lnTo>
                  <a:lnTo>
                    <a:pt x="53115" y="27156"/>
                  </a:lnTo>
                  <a:lnTo>
                    <a:pt x="64918" y="15635"/>
                  </a:lnTo>
                  <a:lnTo>
                    <a:pt x="68291" y="5760"/>
                  </a:lnTo>
                  <a:lnTo>
                    <a:pt x="75036" y="12344"/>
                  </a:lnTo>
                  <a:lnTo>
                    <a:pt x="83467" y="10698"/>
                  </a:lnTo>
                  <a:lnTo>
                    <a:pt x="85153" y="5760"/>
                  </a:lnTo>
                  <a:lnTo>
                    <a:pt x="90212" y="4114"/>
                  </a:lnTo>
                  <a:lnTo>
                    <a:pt x="102015"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2" name="Gulpen-Wittem">
              <a:extLst>
                <a:ext uri="{FF2B5EF4-FFF2-40B4-BE49-F238E27FC236}">
                  <a16:creationId xmlns:a16="http://schemas.microsoft.com/office/drawing/2014/main" id="{0CFCDCFE-4C48-4FD9-91F3-A2D0F0A71274}"/>
                </a:ext>
              </a:extLst>
            </p:cNvPr>
            <p:cNvSpPr/>
            <p:nvPr/>
          </p:nvSpPr>
          <p:spPr>
            <a:xfrm>
              <a:off x="6691007" y="5527224"/>
              <a:ext cx="186333" cy="156036"/>
            </a:xfrm>
            <a:custGeom>
              <a:avLst/>
              <a:gdLst/>
              <a:ahLst/>
              <a:cxnLst/>
              <a:rect l="l" t="t" r="r" b="b"/>
              <a:pathLst>
                <a:path w="257579" h="240030" extrusionOk="0">
                  <a:moveTo>
                    <a:pt x="164406" y="4114"/>
                  </a:moveTo>
                  <a:lnTo>
                    <a:pt x="169464" y="4114"/>
                  </a:lnTo>
                  <a:lnTo>
                    <a:pt x="176209" y="25510"/>
                  </a:lnTo>
                  <a:lnTo>
                    <a:pt x="181268" y="27156"/>
                  </a:lnTo>
                  <a:lnTo>
                    <a:pt x="191385" y="23865"/>
                  </a:lnTo>
                  <a:lnTo>
                    <a:pt x="203189" y="13990"/>
                  </a:lnTo>
                  <a:lnTo>
                    <a:pt x="209934" y="15635"/>
                  </a:lnTo>
                  <a:lnTo>
                    <a:pt x="214993" y="12343"/>
                  </a:lnTo>
                  <a:lnTo>
                    <a:pt x="220051" y="35385"/>
                  </a:lnTo>
                  <a:lnTo>
                    <a:pt x="216679" y="37032"/>
                  </a:lnTo>
                  <a:lnTo>
                    <a:pt x="223424" y="55136"/>
                  </a:lnTo>
                  <a:lnTo>
                    <a:pt x="236913" y="68303"/>
                  </a:lnTo>
                  <a:lnTo>
                    <a:pt x="243658" y="71595"/>
                  </a:lnTo>
                  <a:lnTo>
                    <a:pt x="238599" y="81470"/>
                  </a:lnTo>
                  <a:lnTo>
                    <a:pt x="255462" y="86407"/>
                  </a:lnTo>
                  <a:lnTo>
                    <a:pt x="262207" y="97929"/>
                  </a:lnTo>
                  <a:lnTo>
                    <a:pt x="250403" y="114387"/>
                  </a:lnTo>
                  <a:lnTo>
                    <a:pt x="238599" y="119324"/>
                  </a:lnTo>
                  <a:lnTo>
                    <a:pt x="231855" y="116033"/>
                  </a:lnTo>
                  <a:lnTo>
                    <a:pt x="211620" y="137429"/>
                  </a:lnTo>
                  <a:lnTo>
                    <a:pt x="201503" y="132492"/>
                  </a:lnTo>
                  <a:lnTo>
                    <a:pt x="196444" y="145659"/>
                  </a:lnTo>
                  <a:lnTo>
                    <a:pt x="201503" y="167055"/>
                  </a:lnTo>
                  <a:lnTo>
                    <a:pt x="198130" y="188451"/>
                  </a:lnTo>
                  <a:lnTo>
                    <a:pt x="188013" y="191743"/>
                  </a:lnTo>
                  <a:lnTo>
                    <a:pt x="184640" y="186805"/>
                  </a:lnTo>
                  <a:lnTo>
                    <a:pt x="177895" y="181868"/>
                  </a:lnTo>
                  <a:lnTo>
                    <a:pt x="167778" y="181868"/>
                  </a:lnTo>
                  <a:lnTo>
                    <a:pt x="166092" y="186805"/>
                  </a:lnTo>
                  <a:lnTo>
                    <a:pt x="162720" y="196680"/>
                  </a:lnTo>
                  <a:lnTo>
                    <a:pt x="171151" y="204910"/>
                  </a:lnTo>
                  <a:lnTo>
                    <a:pt x="171151" y="209847"/>
                  </a:lnTo>
                  <a:lnTo>
                    <a:pt x="177895" y="213139"/>
                  </a:lnTo>
                  <a:lnTo>
                    <a:pt x="181268" y="218076"/>
                  </a:lnTo>
                  <a:lnTo>
                    <a:pt x="177895" y="221368"/>
                  </a:lnTo>
                  <a:lnTo>
                    <a:pt x="186327" y="223014"/>
                  </a:lnTo>
                  <a:lnTo>
                    <a:pt x="188013" y="226306"/>
                  </a:lnTo>
                  <a:lnTo>
                    <a:pt x="179582" y="226306"/>
                  </a:lnTo>
                  <a:lnTo>
                    <a:pt x="166092" y="239473"/>
                  </a:lnTo>
                  <a:lnTo>
                    <a:pt x="157661" y="242764"/>
                  </a:lnTo>
                  <a:lnTo>
                    <a:pt x="155974" y="242764"/>
                  </a:lnTo>
                  <a:lnTo>
                    <a:pt x="155974" y="232889"/>
                  </a:lnTo>
                  <a:lnTo>
                    <a:pt x="154288" y="232889"/>
                  </a:lnTo>
                  <a:lnTo>
                    <a:pt x="152602" y="229598"/>
                  </a:lnTo>
                  <a:lnTo>
                    <a:pt x="145857" y="232889"/>
                  </a:lnTo>
                  <a:lnTo>
                    <a:pt x="144171" y="229598"/>
                  </a:lnTo>
                  <a:lnTo>
                    <a:pt x="139112" y="231243"/>
                  </a:lnTo>
                  <a:lnTo>
                    <a:pt x="134054" y="239473"/>
                  </a:lnTo>
                  <a:lnTo>
                    <a:pt x="115505" y="227952"/>
                  </a:lnTo>
                  <a:lnTo>
                    <a:pt x="115505" y="209847"/>
                  </a:lnTo>
                  <a:lnTo>
                    <a:pt x="110447" y="195034"/>
                  </a:lnTo>
                  <a:lnTo>
                    <a:pt x="93584" y="206556"/>
                  </a:lnTo>
                  <a:lnTo>
                    <a:pt x="73349" y="211493"/>
                  </a:lnTo>
                  <a:lnTo>
                    <a:pt x="58174" y="226306"/>
                  </a:lnTo>
                  <a:lnTo>
                    <a:pt x="51429" y="236181"/>
                  </a:lnTo>
                  <a:lnTo>
                    <a:pt x="44684" y="204910"/>
                  </a:lnTo>
                  <a:lnTo>
                    <a:pt x="44684" y="195034"/>
                  </a:lnTo>
                  <a:lnTo>
                    <a:pt x="41311" y="186805"/>
                  </a:lnTo>
                  <a:lnTo>
                    <a:pt x="42997" y="185159"/>
                  </a:lnTo>
                  <a:lnTo>
                    <a:pt x="34566" y="168701"/>
                  </a:lnTo>
                  <a:lnTo>
                    <a:pt x="29508" y="167055"/>
                  </a:lnTo>
                  <a:lnTo>
                    <a:pt x="27822" y="162117"/>
                  </a:lnTo>
                  <a:lnTo>
                    <a:pt x="29508" y="160471"/>
                  </a:lnTo>
                  <a:lnTo>
                    <a:pt x="31194" y="155534"/>
                  </a:lnTo>
                  <a:lnTo>
                    <a:pt x="26135" y="155534"/>
                  </a:lnTo>
                  <a:lnTo>
                    <a:pt x="24449" y="150596"/>
                  </a:lnTo>
                  <a:lnTo>
                    <a:pt x="17704" y="147304"/>
                  </a:lnTo>
                  <a:lnTo>
                    <a:pt x="7587" y="132492"/>
                  </a:lnTo>
                  <a:lnTo>
                    <a:pt x="7587" y="119324"/>
                  </a:lnTo>
                  <a:lnTo>
                    <a:pt x="4214" y="111095"/>
                  </a:lnTo>
                  <a:lnTo>
                    <a:pt x="24449" y="102866"/>
                  </a:lnTo>
                  <a:lnTo>
                    <a:pt x="36253" y="106158"/>
                  </a:lnTo>
                  <a:lnTo>
                    <a:pt x="44684" y="86407"/>
                  </a:lnTo>
                  <a:lnTo>
                    <a:pt x="49742" y="88053"/>
                  </a:lnTo>
                  <a:lnTo>
                    <a:pt x="56487" y="79824"/>
                  </a:lnTo>
                  <a:lnTo>
                    <a:pt x="53115" y="76532"/>
                  </a:lnTo>
                  <a:lnTo>
                    <a:pt x="56487" y="73240"/>
                  </a:lnTo>
                  <a:lnTo>
                    <a:pt x="61546" y="71595"/>
                  </a:lnTo>
                  <a:lnTo>
                    <a:pt x="63232" y="74887"/>
                  </a:lnTo>
                  <a:lnTo>
                    <a:pt x="73349" y="66657"/>
                  </a:lnTo>
                  <a:lnTo>
                    <a:pt x="66605" y="41969"/>
                  </a:lnTo>
                  <a:lnTo>
                    <a:pt x="76722" y="30448"/>
                  </a:lnTo>
                  <a:lnTo>
                    <a:pt x="85153" y="30448"/>
                  </a:lnTo>
                  <a:lnTo>
                    <a:pt x="83467" y="35385"/>
                  </a:lnTo>
                  <a:lnTo>
                    <a:pt x="88526" y="32094"/>
                  </a:lnTo>
                  <a:lnTo>
                    <a:pt x="95270" y="23865"/>
                  </a:lnTo>
                  <a:lnTo>
                    <a:pt x="90212" y="15635"/>
                  </a:lnTo>
                  <a:lnTo>
                    <a:pt x="91898" y="9052"/>
                  </a:lnTo>
                  <a:lnTo>
                    <a:pt x="93584" y="12343"/>
                  </a:lnTo>
                  <a:lnTo>
                    <a:pt x="110447" y="9052"/>
                  </a:lnTo>
                  <a:lnTo>
                    <a:pt x="115505" y="20573"/>
                  </a:lnTo>
                  <a:lnTo>
                    <a:pt x="127309" y="18927"/>
                  </a:lnTo>
                  <a:lnTo>
                    <a:pt x="135740" y="12343"/>
                  </a:lnTo>
                  <a:lnTo>
                    <a:pt x="155974" y="5760"/>
                  </a:lnTo>
                  <a:lnTo>
                    <a:pt x="16440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3" name="Hardenberg">
              <a:extLst>
                <a:ext uri="{FF2B5EF4-FFF2-40B4-BE49-F238E27FC236}">
                  <a16:creationId xmlns:a16="http://schemas.microsoft.com/office/drawing/2014/main" id="{E15DA130-F7E3-43F3-8AB7-E171901AFCAB}"/>
                </a:ext>
              </a:extLst>
            </p:cNvPr>
            <p:cNvSpPr/>
            <p:nvPr/>
          </p:nvSpPr>
          <p:spPr>
            <a:xfrm>
              <a:off x="7181596" y="2588843"/>
              <a:ext cx="482517" cy="329097"/>
            </a:xfrm>
            <a:custGeom>
              <a:avLst/>
              <a:gdLst/>
              <a:ahLst/>
              <a:cxnLst/>
              <a:rect l="l" t="t" r="r" b="b"/>
              <a:pathLst>
                <a:path w="702490" h="502920" extrusionOk="0">
                  <a:moveTo>
                    <a:pt x="601138" y="79824"/>
                  </a:moveTo>
                  <a:lnTo>
                    <a:pt x="607883" y="81470"/>
                  </a:lnTo>
                  <a:lnTo>
                    <a:pt x="609569" y="84761"/>
                  </a:lnTo>
                  <a:lnTo>
                    <a:pt x="604510" y="92991"/>
                  </a:lnTo>
                  <a:lnTo>
                    <a:pt x="606197" y="101220"/>
                  </a:lnTo>
                  <a:lnTo>
                    <a:pt x="601138" y="111095"/>
                  </a:lnTo>
                  <a:lnTo>
                    <a:pt x="602824" y="114387"/>
                  </a:lnTo>
                  <a:lnTo>
                    <a:pt x="611255" y="114387"/>
                  </a:lnTo>
                  <a:lnTo>
                    <a:pt x="611255" y="112741"/>
                  </a:lnTo>
                  <a:lnTo>
                    <a:pt x="621373" y="114387"/>
                  </a:lnTo>
                  <a:lnTo>
                    <a:pt x="628118" y="125908"/>
                  </a:lnTo>
                  <a:lnTo>
                    <a:pt x="638235" y="134137"/>
                  </a:lnTo>
                  <a:lnTo>
                    <a:pt x="641607" y="142367"/>
                  </a:lnTo>
                  <a:lnTo>
                    <a:pt x="629804" y="206555"/>
                  </a:lnTo>
                  <a:lnTo>
                    <a:pt x="703998" y="265806"/>
                  </a:lnTo>
                  <a:lnTo>
                    <a:pt x="703998" y="270744"/>
                  </a:lnTo>
                  <a:lnTo>
                    <a:pt x="682077" y="277327"/>
                  </a:lnTo>
                  <a:lnTo>
                    <a:pt x="663528" y="270744"/>
                  </a:lnTo>
                  <a:lnTo>
                    <a:pt x="655097" y="270744"/>
                  </a:lnTo>
                  <a:lnTo>
                    <a:pt x="641607" y="267452"/>
                  </a:lnTo>
                  <a:lnTo>
                    <a:pt x="634862" y="293786"/>
                  </a:lnTo>
                  <a:lnTo>
                    <a:pt x="628118" y="298724"/>
                  </a:lnTo>
                  <a:lnTo>
                    <a:pt x="628118" y="303661"/>
                  </a:lnTo>
                  <a:lnTo>
                    <a:pt x="574158" y="293786"/>
                  </a:lnTo>
                  <a:lnTo>
                    <a:pt x="612941" y="371142"/>
                  </a:lnTo>
                  <a:lnTo>
                    <a:pt x="602824" y="455081"/>
                  </a:lnTo>
                  <a:lnTo>
                    <a:pt x="596079" y="455081"/>
                  </a:lnTo>
                  <a:lnTo>
                    <a:pt x="558982" y="433684"/>
                  </a:lnTo>
                  <a:lnTo>
                    <a:pt x="537061" y="451789"/>
                  </a:lnTo>
                  <a:lnTo>
                    <a:pt x="537061" y="464956"/>
                  </a:lnTo>
                  <a:lnTo>
                    <a:pt x="526944" y="474831"/>
                  </a:lnTo>
                  <a:lnTo>
                    <a:pt x="533689" y="483060"/>
                  </a:lnTo>
                  <a:lnTo>
                    <a:pt x="530316" y="487998"/>
                  </a:lnTo>
                  <a:lnTo>
                    <a:pt x="518513" y="492935"/>
                  </a:lnTo>
                  <a:lnTo>
                    <a:pt x="516827" y="487998"/>
                  </a:lnTo>
                  <a:lnTo>
                    <a:pt x="510082" y="491289"/>
                  </a:lnTo>
                  <a:lnTo>
                    <a:pt x="503337" y="491289"/>
                  </a:lnTo>
                  <a:lnTo>
                    <a:pt x="496592" y="486352"/>
                  </a:lnTo>
                  <a:lnTo>
                    <a:pt x="481416" y="497873"/>
                  </a:lnTo>
                  <a:lnTo>
                    <a:pt x="476357" y="506103"/>
                  </a:lnTo>
                  <a:lnTo>
                    <a:pt x="457809" y="473185"/>
                  </a:lnTo>
                  <a:lnTo>
                    <a:pt x="447691" y="471539"/>
                  </a:lnTo>
                  <a:lnTo>
                    <a:pt x="469612" y="441914"/>
                  </a:lnTo>
                  <a:lnTo>
                    <a:pt x="413967" y="405705"/>
                  </a:lnTo>
                  <a:lnTo>
                    <a:pt x="405536" y="397475"/>
                  </a:lnTo>
                  <a:lnTo>
                    <a:pt x="395418" y="394184"/>
                  </a:lnTo>
                  <a:lnTo>
                    <a:pt x="393732" y="387600"/>
                  </a:lnTo>
                  <a:lnTo>
                    <a:pt x="400477" y="389246"/>
                  </a:lnTo>
                  <a:lnTo>
                    <a:pt x="403849" y="385954"/>
                  </a:lnTo>
                  <a:lnTo>
                    <a:pt x="400477" y="379371"/>
                  </a:lnTo>
                  <a:lnTo>
                    <a:pt x="395418" y="377725"/>
                  </a:lnTo>
                  <a:lnTo>
                    <a:pt x="392046" y="379371"/>
                  </a:lnTo>
                  <a:lnTo>
                    <a:pt x="385301" y="387600"/>
                  </a:lnTo>
                  <a:lnTo>
                    <a:pt x="388674" y="392538"/>
                  </a:lnTo>
                  <a:lnTo>
                    <a:pt x="385301" y="394184"/>
                  </a:lnTo>
                  <a:lnTo>
                    <a:pt x="378556" y="389246"/>
                  </a:lnTo>
                  <a:lnTo>
                    <a:pt x="371811" y="385954"/>
                  </a:lnTo>
                  <a:lnTo>
                    <a:pt x="373497" y="381017"/>
                  </a:lnTo>
                  <a:lnTo>
                    <a:pt x="365066" y="379371"/>
                  </a:lnTo>
                  <a:lnTo>
                    <a:pt x="366753" y="374433"/>
                  </a:lnTo>
                  <a:lnTo>
                    <a:pt x="365066" y="366204"/>
                  </a:lnTo>
                  <a:lnTo>
                    <a:pt x="365066" y="361266"/>
                  </a:lnTo>
                  <a:lnTo>
                    <a:pt x="356635" y="356329"/>
                  </a:lnTo>
                  <a:lnTo>
                    <a:pt x="354949" y="356329"/>
                  </a:lnTo>
                  <a:lnTo>
                    <a:pt x="349890" y="339870"/>
                  </a:lnTo>
                  <a:lnTo>
                    <a:pt x="346518" y="313536"/>
                  </a:lnTo>
                  <a:lnTo>
                    <a:pt x="334714" y="278973"/>
                  </a:lnTo>
                  <a:lnTo>
                    <a:pt x="307735" y="242764"/>
                  </a:lnTo>
                  <a:lnTo>
                    <a:pt x="295931" y="254285"/>
                  </a:lnTo>
                  <a:lnTo>
                    <a:pt x="284128" y="259223"/>
                  </a:lnTo>
                  <a:lnTo>
                    <a:pt x="208247" y="260869"/>
                  </a:lnTo>
                  <a:lnTo>
                    <a:pt x="193072" y="255931"/>
                  </a:lnTo>
                  <a:lnTo>
                    <a:pt x="172837" y="259223"/>
                  </a:lnTo>
                  <a:lnTo>
                    <a:pt x="154288" y="208201"/>
                  </a:lnTo>
                  <a:lnTo>
                    <a:pt x="34566" y="206555"/>
                  </a:lnTo>
                  <a:lnTo>
                    <a:pt x="27821" y="190097"/>
                  </a:lnTo>
                  <a:lnTo>
                    <a:pt x="4214" y="195034"/>
                  </a:lnTo>
                  <a:lnTo>
                    <a:pt x="37939" y="46907"/>
                  </a:lnTo>
                  <a:lnTo>
                    <a:pt x="46370" y="51844"/>
                  </a:lnTo>
                  <a:lnTo>
                    <a:pt x="48056" y="56782"/>
                  </a:lnTo>
                  <a:lnTo>
                    <a:pt x="59860" y="56782"/>
                  </a:lnTo>
                  <a:lnTo>
                    <a:pt x="68291" y="69949"/>
                  </a:lnTo>
                  <a:lnTo>
                    <a:pt x="76722" y="73240"/>
                  </a:lnTo>
                  <a:lnTo>
                    <a:pt x="78408" y="76532"/>
                  </a:lnTo>
                  <a:lnTo>
                    <a:pt x="86839" y="78178"/>
                  </a:lnTo>
                  <a:lnTo>
                    <a:pt x="93584" y="83116"/>
                  </a:lnTo>
                  <a:lnTo>
                    <a:pt x="91898" y="92991"/>
                  </a:lnTo>
                  <a:lnTo>
                    <a:pt x="102015" y="101220"/>
                  </a:lnTo>
                  <a:lnTo>
                    <a:pt x="102015" y="109449"/>
                  </a:lnTo>
                  <a:lnTo>
                    <a:pt x="105388" y="111095"/>
                  </a:lnTo>
                  <a:lnTo>
                    <a:pt x="110447" y="120970"/>
                  </a:lnTo>
                  <a:lnTo>
                    <a:pt x="108760" y="124262"/>
                  </a:lnTo>
                  <a:lnTo>
                    <a:pt x="110447" y="125908"/>
                  </a:lnTo>
                  <a:lnTo>
                    <a:pt x="108760" y="129200"/>
                  </a:lnTo>
                  <a:lnTo>
                    <a:pt x="113819" y="139075"/>
                  </a:lnTo>
                  <a:lnTo>
                    <a:pt x="113819" y="147304"/>
                  </a:lnTo>
                  <a:lnTo>
                    <a:pt x="118878" y="150596"/>
                  </a:lnTo>
                  <a:lnTo>
                    <a:pt x="122250" y="148950"/>
                  </a:lnTo>
                  <a:lnTo>
                    <a:pt x="123936" y="157179"/>
                  </a:lnTo>
                  <a:lnTo>
                    <a:pt x="135740" y="152242"/>
                  </a:lnTo>
                  <a:lnTo>
                    <a:pt x="142485" y="144012"/>
                  </a:lnTo>
                  <a:lnTo>
                    <a:pt x="154288" y="147304"/>
                  </a:lnTo>
                  <a:lnTo>
                    <a:pt x="159347" y="144012"/>
                  </a:lnTo>
                  <a:lnTo>
                    <a:pt x="157661" y="137429"/>
                  </a:lnTo>
                  <a:lnTo>
                    <a:pt x="162720" y="134137"/>
                  </a:lnTo>
                  <a:lnTo>
                    <a:pt x="167778" y="139075"/>
                  </a:lnTo>
                  <a:lnTo>
                    <a:pt x="176209" y="140721"/>
                  </a:lnTo>
                  <a:lnTo>
                    <a:pt x="179582" y="132491"/>
                  </a:lnTo>
                  <a:lnTo>
                    <a:pt x="188013" y="127554"/>
                  </a:lnTo>
                  <a:lnTo>
                    <a:pt x="188013" y="124262"/>
                  </a:lnTo>
                  <a:lnTo>
                    <a:pt x="191385" y="117679"/>
                  </a:lnTo>
                  <a:lnTo>
                    <a:pt x="194758" y="117679"/>
                  </a:lnTo>
                  <a:lnTo>
                    <a:pt x="199816" y="122616"/>
                  </a:lnTo>
                  <a:lnTo>
                    <a:pt x="198130" y="124262"/>
                  </a:lnTo>
                  <a:lnTo>
                    <a:pt x="201503" y="132491"/>
                  </a:lnTo>
                  <a:lnTo>
                    <a:pt x="201503" y="139075"/>
                  </a:lnTo>
                  <a:lnTo>
                    <a:pt x="211620" y="148950"/>
                  </a:lnTo>
                  <a:lnTo>
                    <a:pt x="225110" y="148950"/>
                  </a:lnTo>
                  <a:lnTo>
                    <a:pt x="228482" y="152242"/>
                  </a:lnTo>
                  <a:lnTo>
                    <a:pt x="231855" y="148950"/>
                  </a:lnTo>
                  <a:lnTo>
                    <a:pt x="238599" y="147304"/>
                  </a:lnTo>
                  <a:lnTo>
                    <a:pt x="245345" y="132491"/>
                  </a:lnTo>
                  <a:lnTo>
                    <a:pt x="243658" y="129200"/>
                  </a:lnTo>
                  <a:lnTo>
                    <a:pt x="253776" y="125908"/>
                  </a:lnTo>
                  <a:lnTo>
                    <a:pt x="257148" y="125908"/>
                  </a:lnTo>
                  <a:lnTo>
                    <a:pt x="258834" y="134137"/>
                  </a:lnTo>
                  <a:lnTo>
                    <a:pt x="262207" y="134137"/>
                  </a:lnTo>
                  <a:lnTo>
                    <a:pt x="265579" y="140721"/>
                  </a:lnTo>
                  <a:lnTo>
                    <a:pt x="285814" y="139075"/>
                  </a:lnTo>
                  <a:lnTo>
                    <a:pt x="306049" y="144012"/>
                  </a:lnTo>
                  <a:lnTo>
                    <a:pt x="317852" y="152242"/>
                  </a:lnTo>
                  <a:lnTo>
                    <a:pt x="327970" y="150596"/>
                  </a:lnTo>
                  <a:lnTo>
                    <a:pt x="319538" y="73240"/>
                  </a:lnTo>
                  <a:lnTo>
                    <a:pt x="366753" y="30448"/>
                  </a:lnTo>
                  <a:lnTo>
                    <a:pt x="376870" y="25510"/>
                  </a:lnTo>
                  <a:lnTo>
                    <a:pt x="469612" y="4114"/>
                  </a:lnTo>
                  <a:lnTo>
                    <a:pt x="572472" y="50198"/>
                  </a:lnTo>
                  <a:lnTo>
                    <a:pt x="611255" y="61719"/>
                  </a:lnTo>
                  <a:lnTo>
                    <a:pt x="607883" y="69949"/>
                  </a:lnTo>
                  <a:lnTo>
                    <a:pt x="607883" y="74886"/>
                  </a:lnTo>
                  <a:lnTo>
                    <a:pt x="601138" y="7982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4" name="Leusden">
              <a:extLst>
                <a:ext uri="{FF2B5EF4-FFF2-40B4-BE49-F238E27FC236}">
                  <a16:creationId xmlns:a16="http://schemas.microsoft.com/office/drawing/2014/main" id="{0BB4FC4F-16C1-4044-9DAC-55D802A85166}"/>
                </a:ext>
              </a:extLst>
            </p:cNvPr>
            <p:cNvSpPr/>
            <p:nvPr/>
          </p:nvSpPr>
          <p:spPr>
            <a:xfrm>
              <a:off x="6146781" y="3418892"/>
              <a:ext cx="221575" cy="116386"/>
            </a:xfrm>
            <a:custGeom>
              <a:avLst/>
              <a:gdLst/>
              <a:ahLst/>
              <a:cxnLst/>
              <a:rect l="l" t="t" r="r" b="b"/>
              <a:pathLst>
                <a:path w="316120" h="171450" extrusionOk="0">
                  <a:moveTo>
                    <a:pt x="208247" y="7406"/>
                  </a:moveTo>
                  <a:lnTo>
                    <a:pt x="230168" y="23865"/>
                  </a:lnTo>
                  <a:lnTo>
                    <a:pt x="257148" y="25510"/>
                  </a:lnTo>
                  <a:lnTo>
                    <a:pt x="268951" y="33740"/>
                  </a:lnTo>
                  <a:lnTo>
                    <a:pt x="290872" y="37031"/>
                  </a:lnTo>
                  <a:lnTo>
                    <a:pt x="289186" y="51844"/>
                  </a:lnTo>
                  <a:lnTo>
                    <a:pt x="307735" y="60074"/>
                  </a:lnTo>
                  <a:lnTo>
                    <a:pt x="314480" y="65011"/>
                  </a:lnTo>
                  <a:lnTo>
                    <a:pt x="311107" y="69949"/>
                  </a:lnTo>
                  <a:lnTo>
                    <a:pt x="311107" y="74886"/>
                  </a:lnTo>
                  <a:lnTo>
                    <a:pt x="294245" y="79824"/>
                  </a:lnTo>
                  <a:lnTo>
                    <a:pt x="289186" y="78178"/>
                  </a:lnTo>
                  <a:lnTo>
                    <a:pt x="287500" y="92991"/>
                  </a:lnTo>
                  <a:lnTo>
                    <a:pt x="284128" y="92991"/>
                  </a:lnTo>
                  <a:lnTo>
                    <a:pt x="287500" y="104512"/>
                  </a:lnTo>
                  <a:lnTo>
                    <a:pt x="300990" y="104512"/>
                  </a:lnTo>
                  <a:lnTo>
                    <a:pt x="299303" y="112741"/>
                  </a:lnTo>
                  <a:lnTo>
                    <a:pt x="304362" y="114387"/>
                  </a:lnTo>
                  <a:lnTo>
                    <a:pt x="304362" y="119324"/>
                  </a:lnTo>
                  <a:lnTo>
                    <a:pt x="299303" y="119324"/>
                  </a:lnTo>
                  <a:lnTo>
                    <a:pt x="290872" y="112741"/>
                  </a:lnTo>
                  <a:lnTo>
                    <a:pt x="272324" y="114387"/>
                  </a:lnTo>
                  <a:lnTo>
                    <a:pt x="260520" y="109449"/>
                  </a:lnTo>
                  <a:lnTo>
                    <a:pt x="255462" y="122616"/>
                  </a:lnTo>
                  <a:lnTo>
                    <a:pt x="257148" y="140721"/>
                  </a:lnTo>
                  <a:lnTo>
                    <a:pt x="252089" y="140721"/>
                  </a:lnTo>
                  <a:lnTo>
                    <a:pt x="250403" y="148950"/>
                  </a:lnTo>
                  <a:lnTo>
                    <a:pt x="243658" y="150596"/>
                  </a:lnTo>
                  <a:lnTo>
                    <a:pt x="228482" y="139075"/>
                  </a:lnTo>
                  <a:lnTo>
                    <a:pt x="206561" y="135783"/>
                  </a:lnTo>
                  <a:lnTo>
                    <a:pt x="198130" y="152242"/>
                  </a:lnTo>
                  <a:lnTo>
                    <a:pt x="186326" y="162117"/>
                  </a:lnTo>
                  <a:lnTo>
                    <a:pt x="172837" y="160471"/>
                  </a:lnTo>
                  <a:lnTo>
                    <a:pt x="155974" y="144013"/>
                  </a:lnTo>
                  <a:lnTo>
                    <a:pt x="147543" y="142367"/>
                  </a:lnTo>
                  <a:lnTo>
                    <a:pt x="142485" y="178576"/>
                  </a:lnTo>
                  <a:lnTo>
                    <a:pt x="107074" y="175284"/>
                  </a:lnTo>
                  <a:lnTo>
                    <a:pt x="42997" y="162117"/>
                  </a:lnTo>
                  <a:lnTo>
                    <a:pt x="27821" y="152242"/>
                  </a:lnTo>
                  <a:lnTo>
                    <a:pt x="4214" y="132492"/>
                  </a:lnTo>
                  <a:lnTo>
                    <a:pt x="26135" y="111095"/>
                  </a:lnTo>
                  <a:lnTo>
                    <a:pt x="39625" y="102866"/>
                  </a:lnTo>
                  <a:lnTo>
                    <a:pt x="73349" y="63365"/>
                  </a:lnTo>
                  <a:lnTo>
                    <a:pt x="95270" y="76532"/>
                  </a:lnTo>
                  <a:lnTo>
                    <a:pt x="98643" y="74886"/>
                  </a:lnTo>
                  <a:lnTo>
                    <a:pt x="102015" y="78178"/>
                  </a:lnTo>
                  <a:lnTo>
                    <a:pt x="137426" y="71595"/>
                  </a:lnTo>
                  <a:lnTo>
                    <a:pt x="152602" y="50198"/>
                  </a:lnTo>
                  <a:lnTo>
                    <a:pt x="154288" y="55136"/>
                  </a:lnTo>
                  <a:lnTo>
                    <a:pt x="152602" y="50198"/>
                  </a:lnTo>
                  <a:lnTo>
                    <a:pt x="166092" y="30448"/>
                  </a:lnTo>
                  <a:lnTo>
                    <a:pt x="167778" y="20573"/>
                  </a:lnTo>
                  <a:lnTo>
                    <a:pt x="176209" y="12343"/>
                  </a:lnTo>
                  <a:lnTo>
                    <a:pt x="189699" y="10698"/>
                  </a:lnTo>
                  <a:lnTo>
                    <a:pt x="199816" y="4114"/>
                  </a:lnTo>
                  <a:lnTo>
                    <a:pt x="204875" y="4114"/>
                  </a:lnTo>
                  <a:lnTo>
                    <a:pt x="208247"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5" name="Krimpenerwaard">
              <a:extLst>
                <a:ext uri="{FF2B5EF4-FFF2-40B4-BE49-F238E27FC236}">
                  <a16:creationId xmlns:a16="http://schemas.microsoft.com/office/drawing/2014/main" id="{153752DC-AC95-4A6F-994D-43AB2291DAB8}"/>
                </a:ext>
              </a:extLst>
            </p:cNvPr>
            <p:cNvSpPr/>
            <p:nvPr/>
          </p:nvSpPr>
          <p:spPr>
            <a:xfrm>
              <a:off x="5368563" y="3639883"/>
              <a:ext cx="328335" cy="217650"/>
            </a:xfrm>
            <a:custGeom>
              <a:avLst/>
              <a:gdLst/>
              <a:ahLst/>
              <a:cxnLst/>
              <a:rect l="l" t="t" r="r" b="b"/>
              <a:pathLst>
                <a:path w="468326" h="320040" extrusionOk="0">
                  <a:moveTo>
                    <a:pt x="346518" y="4114"/>
                  </a:moveTo>
                  <a:lnTo>
                    <a:pt x="353263" y="23864"/>
                  </a:lnTo>
                  <a:lnTo>
                    <a:pt x="371811" y="23864"/>
                  </a:lnTo>
                  <a:lnTo>
                    <a:pt x="386987" y="15635"/>
                  </a:lnTo>
                  <a:lnTo>
                    <a:pt x="398791" y="18927"/>
                  </a:lnTo>
                  <a:lnTo>
                    <a:pt x="420712" y="15635"/>
                  </a:lnTo>
                  <a:lnTo>
                    <a:pt x="434201" y="43615"/>
                  </a:lnTo>
                  <a:lnTo>
                    <a:pt x="375184" y="58427"/>
                  </a:lnTo>
                  <a:lnTo>
                    <a:pt x="400477" y="91345"/>
                  </a:lnTo>
                  <a:lnTo>
                    <a:pt x="398791" y="92991"/>
                  </a:lnTo>
                  <a:lnTo>
                    <a:pt x="417339" y="119324"/>
                  </a:lnTo>
                  <a:lnTo>
                    <a:pt x="419025" y="117679"/>
                  </a:lnTo>
                  <a:lnTo>
                    <a:pt x="439260" y="135783"/>
                  </a:lnTo>
                  <a:lnTo>
                    <a:pt x="456122" y="168700"/>
                  </a:lnTo>
                  <a:lnTo>
                    <a:pt x="464553" y="208201"/>
                  </a:lnTo>
                  <a:lnTo>
                    <a:pt x="427457" y="199972"/>
                  </a:lnTo>
                  <a:lnTo>
                    <a:pt x="400477" y="203264"/>
                  </a:lnTo>
                  <a:lnTo>
                    <a:pt x="361694" y="241118"/>
                  </a:lnTo>
                  <a:lnTo>
                    <a:pt x="317852" y="255931"/>
                  </a:lnTo>
                  <a:lnTo>
                    <a:pt x="290872" y="262514"/>
                  </a:lnTo>
                  <a:lnTo>
                    <a:pt x="250403" y="292140"/>
                  </a:lnTo>
                  <a:lnTo>
                    <a:pt x="226796" y="305307"/>
                  </a:lnTo>
                  <a:lnTo>
                    <a:pt x="216678" y="308599"/>
                  </a:lnTo>
                  <a:lnTo>
                    <a:pt x="201502" y="305307"/>
                  </a:lnTo>
                  <a:lnTo>
                    <a:pt x="193071" y="305307"/>
                  </a:lnTo>
                  <a:lnTo>
                    <a:pt x="162719" y="315182"/>
                  </a:lnTo>
                  <a:lnTo>
                    <a:pt x="145857" y="321766"/>
                  </a:lnTo>
                  <a:lnTo>
                    <a:pt x="118877" y="321766"/>
                  </a:lnTo>
                  <a:lnTo>
                    <a:pt x="95270" y="318474"/>
                  </a:lnTo>
                  <a:lnTo>
                    <a:pt x="80094" y="321766"/>
                  </a:lnTo>
                  <a:lnTo>
                    <a:pt x="68291" y="321766"/>
                  </a:lnTo>
                  <a:lnTo>
                    <a:pt x="29507" y="308599"/>
                  </a:lnTo>
                  <a:lnTo>
                    <a:pt x="14331" y="293786"/>
                  </a:lnTo>
                  <a:lnTo>
                    <a:pt x="4214" y="288848"/>
                  </a:lnTo>
                  <a:lnTo>
                    <a:pt x="12645" y="285557"/>
                  </a:lnTo>
                  <a:lnTo>
                    <a:pt x="22763" y="290494"/>
                  </a:lnTo>
                  <a:lnTo>
                    <a:pt x="22763" y="285557"/>
                  </a:lnTo>
                  <a:lnTo>
                    <a:pt x="27821" y="282265"/>
                  </a:lnTo>
                  <a:lnTo>
                    <a:pt x="29507" y="285557"/>
                  </a:lnTo>
                  <a:lnTo>
                    <a:pt x="34566" y="282265"/>
                  </a:lnTo>
                  <a:lnTo>
                    <a:pt x="32880" y="278973"/>
                  </a:lnTo>
                  <a:lnTo>
                    <a:pt x="34566" y="277327"/>
                  </a:lnTo>
                  <a:lnTo>
                    <a:pt x="41311" y="278973"/>
                  </a:lnTo>
                  <a:lnTo>
                    <a:pt x="73349" y="277327"/>
                  </a:lnTo>
                  <a:lnTo>
                    <a:pt x="93584" y="272390"/>
                  </a:lnTo>
                  <a:lnTo>
                    <a:pt x="105388" y="267452"/>
                  </a:lnTo>
                  <a:lnTo>
                    <a:pt x="68291" y="221368"/>
                  </a:lnTo>
                  <a:lnTo>
                    <a:pt x="75036" y="209847"/>
                  </a:lnTo>
                  <a:lnTo>
                    <a:pt x="88525" y="209847"/>
                  </a:lnTo>
                  <a:lnTo>
                    <a:pt x="93584" y="206555"/>
                  </a:lnTo>
                  <a:lnTo>
                    <a:pt x="102015" y="173638"/>
                  </a:lnTo>
                  <a:lnTo>
                    <a:pt x="112132" y="165409"/>
                  </a:lnTo>
                  <a:lnTo>
                    <a:pt x="102015" y="147304"/>
                  </a:lnTo>
                  <a:lnTo>
                    <a:pt x="88525" y="132491"/>
                  </a:lnTo>
                  <a:lnTo>
                    <a:pt x="90212" y="127554"/>
                  </a:lnTo>
                  <a:lnTo>
                    <a:pt x="115505" y="120970"/>
                  </a:lnTo>
                  <a:lnTo>
                    <a:pt x="127308" y="112741"/>
                  </a:lnTo>
                  <a:lnTo>
                    <a:pt x="147543" y="106157"/>
                  </a:lnTo>
                  <a:lnTo>
                    <a:pt x="154288" y="89699"/>
                  </a:lnTo>
                  <a:lnTo>
                    <a:pt x="177895" y="65011"/>
                  </a:lnTo>
                  <a:lnTo>
                    <a:pt x="196444" y="63365"/>
                  </a:lnTo>
                  <a:lnTo>
                    <a:pt x="206561" y="51844"/>
                  </a:lnTo>
                  <a:lnTo>
                    <a:pt x="214992" y="58427"/>
                  </a:lnTo>
                  <a:lnTo>
                    <a:pt x="216678" y="55136"/>
                  </a:lnTo>
                  <a:lnTo>
                    <a:pt x="223423" y="60073"/>
                  </a:lnTo>
                  <a:lnTo>
                    <a:pt x="236913" y="53490"/>
                  </a:lnTo>
                  <a:lnTo>
                    <a:pt x="230168" y="43615"/>
                  </a:lnTo>
                  <a:lnTo>
                    <a:pt x="238599" y="38677"/>
                  </a:lnTo>
                  <a:lnTo>
                    <a:pt x="252089" y="41969"/>
                  </a:lnTo>
                  <a:lnTo>
                    <a:pt x="252089" y="40323"/>
                  </a:lnTo>
                  <a:lnTo>
                    <a:pt x="263893" y="50198"/>
                  </a:lnTo>
                  <a:lnTo>
                    <a:pt x="282441" y="53490"/>
                  </a:lnTo>
                  <a:lnTo>
                    <a:pt x="272324" y="23864"/>
                  </a:lnTo>
                  <a:lnTo>
                    <a:pt x="295931" y="25510"/>
                  </a:lnTo>
                  <a:lnTo>
                    <a:pt x="311107" y="23864"/>
                  </a:lnTo>
                  <a:lnTo>
                    <a:pt x="324597" y="17281"/>
                  </a:lnTo>
                  <a:lnTo>
                    <a:pt x="34651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6" name="Westerveld">
              <a:extLst>
                <a:ext uri="{FF2B5EF4-FFF2-40B4-BE49-F238E27FC236}">
                  <a16:creationId xmlns:a16="http://schemas.microsoft.com/office/drawing/2014/main" id="{E43B6532-8715-4489-823B-304D0D734A5D}"/>
                </a:ext>
              </a:extLst>
            </p:cNvPr>
            <p:cNvSpPr/>
            <p:nvPr/>
          </p:nvSpPr>
          <p:spPr>
            <a:xfrm>
              <a:off x="6988157" y="2184154"/>
              <a:ext cx="363952" cy="319691"/>
            </a:xfrm>
            <a:custGeom>
              <a:avLst/>
              <a:gdLst/>
              <a:ahLst/>
              <a:cxnLst/>
              <a:rect l="l" t="t" r="r" b="b"/>
              <a:pathLst>
                <a:path w="538575" h="480060" extrusionOk="0">
                  <a:moveTo>
                    <a:pt x="275696" y="10698"/>
                  </a:moveTo>
                  <a:lnTo>
                    <a:pt x="322911" y="53490"/>
                  </a:lnTo>
                  <a:lnTo>
                    <a:pt x="375184" y="15635"/>
                  </a:lnTo>
                  <a:lnTo>
                    <a:pt x="400477" y="30448"/>
                  </a:lnTo>
                  <a:lnTo>
                    <a:pt x="397105" y="40323"/>
                  </a:lnTo>
                  <a:lnTo>
                    <a:pt x="393732" y="38677"/>
                  </a:lnTo>
                  <a:lnTo>
                    <a:pt x="388674" y="46906"/>
                  </a:lnTo>
                  <a:lnTo>
                    <a:pt x="390360" y="48552"/>
                  </a:lnTo>
                  <a:lnTo>
                    <a:pt x="388674" y="51844"/>
                  </a:lnTo>
                  <a:lnTo>
                    <a:pt x="386987" y="51844"/>
                  </a:lnTo>
                  <a:lnTo>
                    <a:pt x="378556" y="61719"/>
                  </a:lnTo>
                  <a:lnTo>
                    <a:pt x="373497" y="60073"/>
                  </a:lnTo>
                  <a:lnTo>
                    <a:pt x="361694" y="83115"/>
                  </a:lnTo>
                  <a:lnTo>
                    <a:pt x="381928" y="92991"/>
                  </a:lnTo>
                  <a:lnTo>
                    <a:pt x="373497" y="112741"/>
                  </a:lnTo>
                  <a:lnTo>
                    <a:pt x="376870" y="125908"/>
                  </a:lnTo>
                  <a:lnTo>
                    <a:pt x="381928" y="127554"/>
                  </a:lnTo>
                  <a:lnTo>
                    <a:pt x="381928" y="114387"/>
                  </a:lnTo>
                  <a:lnTo>
                    <a:pt x="395418" y="94637"/>
                  </a:lnTo>
                  <a:lnTo>
                    <a:pt x="452750" y="111095"/>
                  </a:lnTo>
                  <a:lnTo>
                    <a:pt x="456122" y="116033"/>
                  </a:lnTo>
                  <a:lnTo>
                    <a:pt x="452750" y="120970"/>
                  </a:lnTo>
                  <a:lnTo>
                    <a:pt x="464554" y="134137"/>
                  </a:lnTo>
                  <a:lnTo>
                    <a:pt x="466240" y="132492"/>
                  </a:lnTo>
                  <a:lnTo>
                    <a:pt x="469612" y="140721"/>
                  </a:lnTo>
                  <a:lnTo>
                    <a:pt x="474671" y="171992"/>
                  </a:lnTo>
                  <a:lnTo>
                    <a:pt x="467926" y="173638"/>
                  </a:lnTo>
                  <a:lnTo>
                    <a:pt x="469612" y="186805"/>
                  </a:lnTo>
                  <a:lnTo>
                    <a:pt x="476357" y="185159"/>
                  </a:lnTo>
                  <a:lnTo>
                    <a:pt x="486474" y="188451"/>
                  </a:lnTo>
                  <a:lnTo>
                    <a:pt x="499964" y="188451"/>
                  </a:lnTo>
                  <a:lnTo>
                    <a:pt x="515140" y="180221"/>
                  </a:lnTo>
                  <a:lnTo>
                    <a:pt x="518513" y="190097"/>
                  </a:lnTo>
                  <a:lnTo>
                    <a:pt x="515140" y="199972"/>
                  </a:lnTo>
                  <a:lnTo>
                    <a:pt x="518513" y="214785"/>
                  </a:lnTo>
                  <a:lnTo>
                    <a:pt x="538747" y="216430"/>
                  </a:lnTo>
                  <a:lnTo>
                    <a:pt x="543806" y="218076"/>
                  </a:lnTo>
                  <a:lnTo>
                    <a:pt x="525258" y="255931"/>
                  </a:lnTo>
                  <a:lnTo>
                    <a:pt x="516827" y="270744"/>
                  </a:lnTo>
                  <a:lnTo>
                    <a:pt x="515140" y="269098"/>
                  </a:lnTo>
                  <a:lnTo>
                    <a:pt x="513454" y="270744"/>
                  </a:lnTo>
                  <a:lnTo>
                    <a:pt x="511768" y="297078"/>
                  </a:lnTo>
                  <a:lnTo>
                    <a:pt x="496592" y="343162"/>
                  </a:lnTo>
                  <a:lnTo>
                    <a:pt x="481416" y="328349"/>
                  </a:lnTo>
                  <a:lnTo>
                    <a:pt x="471299" y="336579"/>
                  </a:lnTo>
                  <a:lnTo>
                    <a:pt x="471299" y="339870"/>
                  </a:lnTo>
                  <a:lnTo>
                    <a:pt x="474671" y="341516"/>
                  </a:lnTo>
                  <a:lnTo>
                    <a:pt x="474671" y="346454"/>
                  </a:lnTo>
                  <a:lnTo>
                    <a:pt x="467926" y="348099"/>
                  </a:lnTo>
                  <a:lnTo>
                    <a:pt x="467926" y="351391"/>
                  </a:lnTo>
                  <a:lnTo>
                    <a:pt x="461181" y="351391"/>
                  </a:lnTo>
                  <a:lnTo>
                    <a:pt x="459495" y="354683"/>
                  </a:lnTo>
                  <a:lnTo>
                    <a:pt x="451064" y="353037"/>
                  </a:lnTo>
                  <a:lnTo>
                    <a:pt x="451064" y="341516"/>
                  </a:lnTo>
                  <a:lnTo>
                    <a:pt x="446005" y="338224"/>
                  </a:lnTo>
                  <a:lnTo>
                    <a:pt x="417339" y="364558"/>
                  </a:lnTo>
                  <a:lnTo>
                    <a:pt x="413967" y="359621"/>
                  </a:lnTo>
                  <a:lnTo>
                    <a:pt x="407222" y="361266"/>
                  </a:lnTo>
                  <a:lnTo>
                    <a:pt x="393732" y="346454"/>
                  </a:lnTo>
                  <a:lnTo>
                    <a:pt x="386987" y="353037"/>
                  </a:lnTo>
                  <a:lnTo>
                    <a:pt x="388674" y="354683"/>
                  </a:lnTo>
                  <a:lnTo>
                    <a:pt x="385301" y="357975"/>
                  </a:lnTo>
                  <a:lnTo>
                    <a:pt x="368439" y="351391"/>
                  </a:lnTo>
                  <a:lnTo>
                    <a:pt x="360008" y="359621"/>
                  </a:lnTo>
                  <a:lnTo>
                    <a:pt x="356635" y="353037"/>
                  </a:lnTo>
                  <a:lnTo>
                    <a:pt x="349890" y="351391"/>
                  </a:lnTo>
                  <a:lnTo>
                    <a:pt x="356635" y="346454"/>
                  </a:lnTo>
                  <a:lnTo>
                    <a:pt x="354949" y="339870"/>
                  </a:lnTo>
                  <a:lnTo>
                    <a:pt x="339773" y="336579"/>
                  </a:lnTo>
                  <a:lnTo>
                    <a:pt x="351576" y="329995"/>
                  </a:lnTo>
                  <a:lnTo>
                    <a:pt x="358321" y="321766"/>
                  </a:lnTo>
                  <a:lnTo>
                    <a:pt x="356635" y="313536"/>
                  </a:lnTo>
                  <a:lnTo>
                    <a:pt x="336401" y="313536"/>
                  </a:lnTo>
                  <a:lnTo>
                    <a:pt x="307735" y="321766"/>
                  </a:lnTo>
                  <a:lnTo>
                    <a:pt x="290872" y="321766"/>
                  </a:lnTo>
                  <a:lnTo>
                    <a:pt x="284128" y="331641"/>
                  </a:lnTo>
                  <a:lnTo>
                    <a:pt x="277383" y="333287"/>
                  </a:lnTo>
                  <a:lnTo>
                    <a:pt x="280755" y="338224"/>
                  </a:lnTo>
                  <a:lnTo>
                    <a:pt x="275696" y="343162"/>
                  </a:lnTo>
                  <a:lnTo>
                    <a:pt x="277383" y="346454"/>
                  </a:lnTo>
                  <a:lnTo>
                    <a:pt x="272324" y="353037"/>
                  </a:lnTo>
                  <a:lnTo>
                    <a:pt x="274010" y="354683"/>
                  </a:lnTo>
                  <a:lnTo>
                    <a:pt x="265579" y="362912"/>
                  </a:lnTo>
                  <a:lnTo>
                    <a:pt x="275696" y="387600"/>
                  </a:lnTo>
                  <a:lnTo>
                    <a:pt x="275696" y="392538"/>
                  </a:lnTo>
                  <a:lnTo>
                    <a:pt x="247030" y="402413"/>
                  </a:lnTo>
                  <a:lnTo>
                    <a:pt x="230168" y="412288"/>
                  </a:lnTo>
                  <a:lnTo>
                    <a:pt x="220051" y="415580"/>
                  </a:lnTo>
                  <a:lnTo>
                    <a:pt x="204875" y="413934"/>
                  </a:lnTo>
                  <a:lnTo>
                    <a:pt x="189699" y="432038"/>
                  </a:lnTo>
                  <a:lnTo>
                    <a:pt x="182954" y="448497"/>
                  </a:lnTo>
                  <a:lnTo>
                    <a:pt x="174523" y="453435"/>
                  </a:lnTo>
                  <a:lnTo>
                    <a:pt x="155974" y="438622"/>
                  </a:lnTo>
                  <a:lnTo>
                    <a:pt x="130681" y="484706"/>
                  </a:lnTo>
                  <a:lnTo>
                    <a:pt x="93584" y="390892"/>
                  </a:lnTo>
                  <a:lnTo>
                    <a:pt x="85153" y="379371"/>
                  </a:lnTo>
                  <a:lnTo>
                    <a:pt x="117191" y="346454"/>
                  </a:lnTo>
                  <a:lnTo>
                    <a:pt x="128995" y="328349"/>
                  </a:lnTo>
                  <a:lnTo>
                    <a:pt x="91898" y="280619"/>
                  </a:lnTo>
                  <a:lnTo>
                    <a:pt x="83467" y="275682"/>
                  </a:lnTo>
                  <a:lnTo>
                    <a:pt x="83467" y="277327"/>
                  </a:lnTo>
                  <a:lnTo>
                    <a:pt x="61546" y="254285"/>
                  </a:lnTo>
                  <a:lnTo>
                    <a:pt x="49742" y="246056"/>
                  </a:lnTo>
                  <a:lnTo>
                    <a:pt x="53115" y="244410"/>
                  </a:lnTo>
                  <a:lnTo>
                    <a:pt x="19390" y="208201"/>
                  </a:lnTo>
                  <a:lnTo>
                    <a:pt x="17704" y="199972"/>
                  </a:lnTo>
                  <a:lnTo>
                    <a:pt x="4214" y="183513"/>
                  </a:lnTo>
                  <a:lnTo>
                    <a:pt x="73349" y="132492"/>
                  </a:lnTo>
                  <a:lnTo>
                    <a:pt x="134053" y="94637"/>
                  </a:lnTo>
                  <a:lnTo>
                    <a:pt x="171151" y="38677"/>
                  </a:lnTo>
                  <a:lnTo>
                    <a:pt x="189699" y="23864"/>
                  </a:lnTo>
                  <a:lnTo>
                    <a:pt x="193071" y="13989"/>
                  </a:lnTo>
                  <a:lnTo>
                    <a:pt x="206561" y="4114"/>
                  </a:lnTo>
                  <a:lnTo>
                    <a:pt x="275696"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7" name="Twenterand">
              <a:extLst>
                <a:ext uri="{FF2B5EF4-FFF2-40B4-BE49-F238E27FC236}">
                  <a16:creationId xmlns:a16="http://schemas.microsoft.com/office/drawing/2014/main" id="{C9684D65-6DBA-427E-BDA9-378C1E0B7883}"/>
                </a:ext>
              </a:extLst>
            </p:cNvPr>
            <p:cNvSpPr/>
            <p:nvPr/>
          </p:nvSpPr>
          <p:spPr>
            <a:xfrm>
              <a:off x="7332432" y="2867517"/>
              <a:ext cx="278837" cy="182527"/>
            </a:xfrm>
            <a:custGeom>
              <a:avLst/>
              <a:gdLst/>
              <a:ahLst/>
              <a:cxnLst/>
              <a:rect l="l" t="t" r="r" b="b"/>
              <a:pathLst>
                <a:path w="409785" h="274320" extrusionOk="0">
                  <a:moveTo>
                    <a:pt x="338087" y="4114"/>
                  </a:moveTo>
                  <a:lnTo>
                    <a:pt x="375184" y="25510"/>
                  </a:lnTo>
                  <a:lnTo>
                    <a:pt x="381929" y="25510"/>
                  </a:lnTo>
                  <a:lnTo>
                    <a:pt x="412281" y="43615"/>
                  </a:lnTo>
                  <a:lnTo>
                    <a:pt x="388674" y="84761"/>
                  </a:lnTo>
                  <a:lnTo>
                    <a:pt x="383615" y="107804"/>
                  </a:lnTo>
                  <a:lnTo>
                    <a:pt x="378556" y="111095"/>
                  </a:lnTo>
                  <a:lnTo>
                    <a:pt x="375184" y="119325"/>
                  </a:lnTo>
                  <a:lnTo>
                    <a:pt x="361694" y="122616"/>
                  </a:lnTo>
                  <a:lnTo>
                    <a:pt x="351576" y="127554"/>
                  </a:lnTo>
                  <a:lnTo>
                    <a:pt x="346518" y="134137"/>
                  </a:lnTo>
                  <a:lnTo>
                    <a:pt x="348204" y="150596"/>
                  </a:lnTo>
                  <a:lnTo>
                    <a:pt x="354949" y="167054"/>
                  </a:lnTo>
                  <a:lnTo>
                    <a:pt x="349890" y="168700"/>
                  </a:lnTo>
                  <a:lnTo>
                    <a:pt x="348204" y="173638"/>
                  </a:lnTo>
                  <a:lnTo>
                    <a:pt x="353263" y="176930"/>
                  </a:lnTo>
                  <a:lnTo>
                    <a:pt x="346518" y="180222"/>
                  </a:lnTo>
                  <a:lnTo>
                    <a:pt x="343145" y="191742"/>
                  </a:lnTo>
                  <a:lnTo>
                    <a:pt x="351576" y="199972"/>
                  </a:lnTo>
                  <a:lnTo>
                    <a:pt x="386987" y="247702"/>
                  </a:lnTo>
                  <a:lnTo>
                    <a:pt x="366753" y="250994"/>
                  </a:lnTo>
                  <a:lnTo>
                    <a:pt x="366753" y="255931"/>
                  </a:lnTo>
                  <a:lnTo>
                    <a:pt x="353263" y="242764"/>
                  </a:lnTo>
                  <a:lnTo>
                    <a:pt x="346518" y="260869"/>
                  </a:lnTo>
                  <a:lnTo>
                    <a:pt x="336401" y="259223"/>
                  </a:lnTo>
                  <a:lnTo>
                    <a:pt x="316166" y="237826"/>
                  </a:lnTo>
                  <a:lnTo>
                    <a:pt x="311107" y="246056"/>
                  </a:lnTo>
                  <a:lnTo>
                    <a:pt x="299303" y="236181"/>
                  </a:lnTo>
                  <a:lnTo>
                    <a:pt x="292559" y="246056"/>
                  </a:lnTo>
                  <a:lnTo>
                    <a:pt x="270638" y="260869"/>
                  </a:lnTo>
                  <a:lnTo>
                    <a:pt x="267265" y="259223"/>
                  </a:lnTo>
                  <a:lnTo>
                    <a:pt x="260520" y="269098"/>
                  </a:lnTo>
                  <a:lnTo>
                    <a:pt x="252089" y="260869"/>
                  </a:lnTo>
                  <a:lnTo>
                    <a:pt x="236913" y="275681"/>
                  </a:lnTo>
                  <a:lnTo>
                    <a:pt x="194758" y="180222"/>
                  </a:lnTo>
                  <a:lnTo>
                    <a:pt x="198130" y="180222"/>
                  </a:lnTo>
                  <a:lnTo>
                    <a:pt x="218365" y="153888"/>
                  </a:lnTo>
                  <a:lnTo>
                    <a:pt x="233541" y="142367"/>
                  </a:lnTo>
                  <a:lnTo>
                    <a:pt x="230168" y="102866"/>
                  </a:lnTo>
                  <a:lnTo>
                    <a:pt x="193071" y="124262"/>
                  </a:lnTo>
                  <a:lnTo>
                    <a:pt x="193071" y="119325"/>
                  </a:lnTo>
                  <a:lnTo>
                    <a:pt x="179582" y="125908"/>
                  </a:lnTo>
                  <a:lnTo>
                    <a:pt x="172837" y="119325"/>
                  </a:lnTo>
                  <a:lnTo>
                    <a:pt x="167778" y="119325"/>
                  </a:lnTo>
                  <a:lnTo>
                    <a:pt x="162719" y="116033"/>
                  </a:lnTo>
                  <a:lnTo>
                    <a:pt x="145857" y="114387"/>
                  </a:lnTo>
                  <a:lnTo>
                    <a:pt x="132367" y="125908"/>
                  </a:lnTo>
                  <a:lnTo>
                    <a:pt x="127309" y="139075"/>
                  </a:lnTo>
                  <a:lnTo>
                    <a:pt x="122250" y="142367"/>
                  </a:lnTo>
                  <a:lnTo>
                    <a:pt x="117191" y="139075"/>
                  </a:lnTo>
                  <a:lnTo>
                    <a:pt x="112132" y="147304"/>
                  </a:lnTo>
                  <a:lnTo>
                    <a:pt x="105388" y="145658"/>
                  </a:lnTo>
                  <a:lnTo>
                    <a:pt x="102015" y="148950"/>
                  </a:lnTo>
                  <a:lnTo>
                    <a:pt x="54801" y="140721"/>
                  </a:lnTo>
                  <a:lnTo>
                    <a:pt x="53115" y="139075"/>
                  </a:lnTo>
                  <a:lnTo>
                    <a:pt x="48056" y="140721"/>
                  </a:lnTo>
                  <a:lnTo>
                    <a:pt x="44684" y="135783"/>
                  </a:lnTo>
                  <a:lnTo>
                    <a:pt x="36253" y="129200"/>
                  </a:lnTo>
                  <a:lnTo>
                    <a:pt x="14332" y="94636"/>
                  </a:lnTo>
                  <a:lnTo>
                    <a:pt x="5900" y="92991"/>
                  </a:lnTo>
                  <a:lnTo>
                    <a:pt x="10959" y="91345"/>
                  </a:lnTo>
                  <a:lnTo>
                    <a:pt x="4214" y="81470"/>
                  </a:lnTo>
                  <a:lnTo>
                    <a:pt x="9273" y="78178"/>
                  </a:lnTo>
                  <a:lnTo>
                    <a:pt x="12645" y="83115"/>
                  </a:lnTo>
                  <a:lnTo>
                    <a:pt x="12645" y="78178"/>
                  </a:lnTo>
                  <a:lnTo>
                    <a:pt x="9273" y="74886"/>
                  </a:lnTo>
                  <a:lnTo>
                    <a:pt x="12645" y="68303"/>
                  </a:lnTo>
                  <a:lnTo>
                    <a:pt x="14332" y="66657"/>
                  </a:lnTo>
                  <a:lnTo>
                    <a:pt x="14332" y="71594"/>
                  </a:lnTo>
                  <a:lnTo>
                    <a:pt x="21076" y="69949"/>
                  </a:lnTo>
                  <a:lnTo>
                    <a:pt x="26135" y="66657"/>
                  </a:lnTo>
                  <a:lnTo>
                    <a:pt x="26135" y="61719"/>
                  </a:lnTo>
                  <a:lnTo>
                    <a:pt x="31194" y="56782"/>
                  </a:lnTo>
                  <a:lnTo>
                    <a:pt x="42997" y="56782"/>
                  </a:lnTo>
                  <a:lnTo>
                    <a:pt x="51428" y="51844"/>
                  </a:lnTo>
                  <a:lnTo>
                    <a:pt x="66605" y="53490"/>
                  </a:lnTo>
                  <a:lnTo>
                    <a:pt x="71663" y="46907"/>
                  </a:lnTo>
                  <a:lnTo>
                    <a:pt x="76722" y="46907"/>
                  </a:lnTo>
                  <a:lnTo>
                    <a:pt x="75036" y="41969"/>
                  </a:lnTo>
                  <a:lnTo>
                    <a:pt x="88525" y="40323"/>
                  </a:lnTo>
                  <a:lnTo>
                    <a:pt x="91898" y="18927"/>
                  </a:lnTo>
                  <a:lnTo>
                    <a:pt x="166092" y="25510"/>
                  </a:lnTo>
                  <a:lnTo>
                    <a:pt x="236913" y="43615"/>
                  </a:lnTo>
                  <a:lnTo>
                    <a:pt x="255462" y="76532"/>
                  </a:lnTo>
                  <a:lnTo>
                    <a:pt x="260520" y="68303"/>
                  </a:lnTo>
                  <a:lnTo>
                    <a:pt x="275696" y="56782"/>
                  </a:lnTo>
                  <a:lnTo>
                    <a:pt x="282441" y="61719"/>
                  </a:lnTo>
                  <a:lnTo>
                    <a:pt x="289186" y="61719"/>
                  </a:lnTo>
                  <a:lnTo>
                    <a:pt x="295931" y="58428"/>
                  </a:lnTo>
                  <a:lnTo>
                    <a:pt x="297617" y="63365"/>
                  </a:lnTo>
                  <a:lnTo>
                    <a:pt x="309421" y="58428"/>
                  </a:lnTo>
                  <a:lnTo>
                    <a:pt x="312793" y="53490"/>
                  </a:lnTo>
                  <a:lnTo>
                    <a:pt x="306048" y="45261"/>
                  </a:lnTo>
                  <a:lnTo>
                    <a:pt x="316166" y="35385"/>
                  </a:lnTo>
                  <a:lnTo>
                    <a:pt x="316166" y="22218"/>
                  </a:lnTo>
                  <a:lnTo>
                    <a:pt x="3380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8" name="Bergen (NH.)">
              <a:extLst>
                <a:ext uri="{FF2B5EF4-FFF2-40B4-BE49-F238E27FC236}">
                  <a16:creationId xmlns:a16="http://schemas.microsoft.com/office/drawing/2014/main" id="{ACE901FB-6117-4191-8F9F-518D4D6F1660}"/>
                </a:ext>
              </a:extLst>
            </p:cNvPr>
            <p:cNvSpPr/>
            <p:nvPr/>
          </p:nvSpPr>
          <p:spPr>
            <a:xfrm>
              <a:off x="5422408" y="2459832"/>
              <a:ext cx="151901" cy="297846"/>
            </a:xfrm>
            <a:custGeom>
              <a:avLst/>
              <a:gdLst/>
              <a:ahLst/>
              <a:cxnLst/>
              <a:rect l="l" t="t" r="r" b="b"/>
              <a:pathLst>
                <a:path w="222455" h="445770" extrusionOk="0">
                  <a:moveTo>
                    <a:pt x="69977" y="4114"/>
                  </a:moveTo>
                  <a:lnTo>
                    <a:pt x="81780" y="20573"/>
                  </a:lnTo>
                  <a:lnTo>
                    <a:pt x="83467" y="27156"/>
                  </a:lnTo>
                  <a:lnTo>
                    <a:pt x="88525" y="27156"/>
                  </a:lnTo>
                  <a:lnTo>
                    <a:pt x="100329" y="41969"/>
                  </a:lnTo>
                  <a:lnTo>
                    <a:pt x="110446" y="45261"/>
                  </a:lnTo>
                  <a:lnTo>
                    <a:pt x="118877" y="60073"/>
                  </a:lnTo>
                  <a:lnTo>
                    <a:pt x="127308" y="60073"/>
                  </a:lnTo>
                  <a:lnTo>
                    <a:pt x="132367" y="65011"/>
                  </a:lnTo>
                  <a:lnTo>
                    <a:pt x="166092" y="116033"/>
                  </a:lnTo>
                  <a:lnTo>
                    <a:pt x="172837" y="147304"/>
                  </a:lnTo>
                  <a:lnTo>
                    <a:pt x="213306" y="196680"/>
                  </a:lnTo>
                  <a:lnTo>
                    <a:pt x="220051" y="211493"/>
                  </a:lnTo>
                  <a:lnTo>
                    <a:pt x="213306" y="227951"/>
                  </a:lnTo>
                  <a:lnTo>
                    <a:pt x="204875" y="234535"/>
                  </a:lnTo>
                  <a:lnTo>
                    <a:pt x="199816" y="229597"/>
                  </a:lnTo>
                  <a:lnTo>
                    <a:pt x="193071" y="231243"/>
                  </a:lnTo>
                  <a:lnTo>
                    <a:pt x="194757" y="234535"/>
                  </a:lnTo>
                  <a:lnTo>
                    <a:pt x="188013" y="232889"/>
                  </a:lnTo>
                  <a:lnTo>
                    <a:pt x="191385" y="237826"/>
                  </a:lnTo>
                  <a:lnTo>
                    <a:pt x="179581" y="244410"/>
                  </a:lnTo>
                  <a:lnTo>
                    <a:pt x="184640" y="246056"/>
                  </a:lnTo>
                  <a:lnTo>
                    <a:pt x="181268" y="247702"/>
                  </a:lnTo>
                  <a:lnTo>
                    <a:pt x="179581" y="257577"/>
                  </a:lnTo>
                  <a:lnTo>
                    <a:pt x="174523" y="259223"/>
                  </a:lnTo>
                  <a:lnTo>
                    <a:pt x="174523" y="262514"/>
                  </a:lnTo>
                  <a:lnTo>
                    <a:pt x="166092" y="262514"/>
                  </a:lnTo>
                  <a:lnTo>
                    <a:pt x="167778" y="269098"/>
                  </a:lnTo>
                  <a:lnTo>
                    <a:pt x="161033" y="270744"/>
                  </a:lnTo>
                  <a:lnTo>
                    <a:pt x="162719" y="278973"/>
                  </a:lnTo>
                  <a:lnTo>
                    <a:pt x="155974" y="278973"/>
                  </a:lnTo>
                  <a:lnTo>
                    <a:pt x="155974" y="303661"/>
                  </a:lnTo>
                  <a:lnTo>
                    <a:pt x="152602" y="306953"/>
                  </a:lnTo>
                  <a:lnTo>
                    <a:pt x="157661" y="310244"/>
                  </a:lnTo>
                  <a:lnTo>
                    <a:pt x="155974" y="311890"/>
                  </a:lnTo>
                  <a:lnTo>
                    <a:pt x="162719" y="320120"/>
                  </a:lnTo>
                  <a:lnTo>
                    <a:pt x="162719" y="321766"/>
                  </a:lnTo>
                  <a:lnTo>
                    <a:pt x="152602" y="333287"/>
                  </a:lnTo>
                  <a:lnTo>
                    <a:pt x="125622" y="325057"/>
                  </a:lnTo>
                  <a:lnTo>
                    <a:pt x="118877" y="334932"/>
                  </a:lnTo>
                  <a:lnTo>
                    <a:pt x="115505" y="351391"/>
                  </a:lnTo>
                  <a:lnTo>
                    <a:pt x="107074" y="367850"/>
                  </a:lnTo>
                  <a:lnTo>
                    <a:pt x="102015" y="372787"/>
                  </a:lnTo>
                  <a:lnTo>
                    <a:pt x="98643" y="404059"/>
                  </a:lnTo>
                  <a:lnTo>
                    <a:pt x="78408" y="415580"/>
                  </a:lnTo>
                  <a:lnTo>
                    <a:pt x="71663" y="415580"/>
                  </a:lnTo>
                  <a:lnTo>
                    <a:pt x="71663" y="422163"/>
                  </a:lnTo>
                  <a:lnTo>
                    <a:pt x="4214" y="443559"/>
                  </a:lnTo>
                  <a:lnTo>
                    <a:pt x="37939" y="201617"/>
                  </a:lnTo>
                  <a:lnTo>
                    <a:pt x="42997" y="178575"/>
                  </a:lnTo>
                  <a:lnTo>
                    <a:pt x="51428" y="180221"/>
                  </a:lnTo>
                  <a:lnTo>
                    <a:pt x="48056" y="176929"/>
                  </a:lnTo>
                  <a:lnTo>
                    <a:pt x="42997" y="175284"/>
                  </a:lnTo>
                  <a:lnTo>
                    <a:pt x="42997" y="173638"/>
                  </a:lnTo>
                  <a:lnTo>
                    <a:pt x="49742" y="116033"/>
                  </a:lnTo>
                  <a:lnTo>
                    <a:pt x="49742" y="104512"/>
                  </a:lnTo>
                  <a:lnTo>
                    <a:pt x="46370" y="104512"/>
                  </a:lnTo>
                  <a:lnTo>
                    <a:pt x="49742" y="104512"/>
                  </a:lnTo>
                  <a:lnTo>
                    <a:pt x="51428" y="96282"/>
                  </a:lnTo>
                  <a:lnTo>
                    <a:pt x="48056" y="92991"/>
                  </a:lnTo>
                  <a:lnTo>
                    <a:pt x="51428" y="94636"/>
                  </a:lnTo>
                  <a:lnTo>
                    <a:pt x="51428" y="88053"/>
                  </a:lnTo>
                  <a:lnTo>
                    <a:pt x="48056" y="88053"/>
                  </a:lnTo>
                  <a:lnTo>
                    <a:pt x="51428" y="88053"/>
                  </a:lnTo>
                  <a:lnTo>
                    <a:pt x="51428" y="83115"/>
                  </a:lnTo>
                  <a:lnTo>
                    <a:pt x="48056" y="81470"/>
                  </a:lnTo>
                  <a:lnTo>
                    <a:pt x="53115" y="81470"/>
                  </a:lnTo>
                  <a:lnTo>
                    <a:pt x="49742" y="76532"/>
                  </a:lnTo>
                  <a:lnTo>
                    <a:pt x="51428" y="71594"/>
                  </a:lnTo>
                  <a:lnTo>
                    <a:pt x="49742" y="71594"/>
                  </a:lnTo>
                  <a:lnTo>
                    <a:pt x="51428" y="71594"/>
                  </a:lnTo>
                  <a:lnTo>
                    <a:pt x="53115" y="66657"/>
                  </a:lnTo>
                  <a:lnTo>
                    <a:pt x="51428" y="66657"/>
                  </a:lnTo>
                  <a:lnTo>
                    <a:pt x="53115" y="66657"/>
                  </a:lnTo>
                  <a:lnTo>
                    <a:pt x="53115" y="60073"/>
                  </a:lnTo>
                  <a:lnTo>
                    <a:pt x="54801" y="60073"/>
                  </a:lnTo>
                  <a:lnTo>
                    <a:pt x="53115" y="58427"/>
                  </a:lnTo>
                  <a:lnTo>
                    <a:pt x="54801" y="58427"/>
                  </a:lnTo>
                  <a:lnTo>
                    <a:pt x="64918" y="4114"/>
                  </a:lnTo>
                  <a:lnTo>
                    <a:pt x="6997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89" name="Teylingen">
              <a:extLst>
                <a:ext uri="{FF2B5EF4-FFF2-40B4-BE49-F238E27FC236}">
                  <a16:creationId xmlns:a16="http://schemas.microsoft.com/office/drawing/2014/main" id="{E31A9A2E-0CD8-4791-A51B-EA130AFEF0B7}"/>
                </a:ext>
              </a:extLst>
            </p:cNvPr>
            <p:cNvSpPr/>
            <p:nvPr/>
          </p:nvSpPr>
          <p:spPr>
            <a:xfrm>
              <a:off x="5246909" y="3267036"/>
              <a:ext cx="111927" cy="118231"/>
            </a:xfrm>
            <a:custGeom>
              <a:avLst/>
              <a:gdLst/>
              <a:ahLst/>
              <a:cxnLst/>
              <a:rect l="l" t="t" r="r" b="b"/>
              <a:pathLst>
                <a:path w="163914" h="182880" extrusionOk="0">
                  <a:moveTo>
                    <a:pt x="113819" y="48552"/>
                  </a:moveTo>
                  <a:lnTo>
                    <a:pt x="110446" y="51844"/>
                  </a:lnTo>
                  <a:lnTo>
                    <a:pt x="113819" y="55136"/>
                  </a:lnTo>
                  <a:lnTo>
                    <a:pt x="132367" y="65011"/>
                  </a:lnTo>
                  <a:lnTo>
                    <a:pt x="161033" y="91345"/>
                  </a:lnTo>
                  <a:lnTo>
                    <a:pt x="159347" y="101220"/>
                  </a:lnTo>
                  <a:lnTo>
                    <a:pt x="154288" y="107803"/>
                  </a:lnTo>
                  <a:lnTo>
                    <a:pt x="161033" y="112741"/>
                  </a:lnTo>
                  <a:lnTo>
                    <a:pt x="159347" y="124262"/>
                  </a:lnTo>
                  <a:lnTo>
                    <a:pt x="162719" y="125908"/>
                  </a:lnTo>
                  <a:lnTo>
                    <a:pt x="164405" y="130845"/>
                  </a:lnTo>
                  <a:lnTo>
                    <a:pt x="161033" y="135783"/>
                  </a:lnTo>
                  <a:lnTo>
                    <a:pt x="155974" y="137429"/>
                  </a:lnTo>
                  <a:lnTo>
                    <a:pt x="157661" y="142367"/>
                  </a:lnTo>
                  <a:lnTo>
                    <a:pt x="142485" y="139075"/>
                  </a:lnTo>
                  <a:lnTo>
                    <a:pt x="137426" y="167055"/>
                  </a:lnTo>
                  <a:lnTo>
                    <a:pt x="128995" y="185159"/>
                  </a:lnTo>
                  <a:lnTo>
                    <a:pt x="113819" y="185159"/>
                  </a:lnTo>
                  <a:lnTo>
                    <a:pt x="96957" y="178576"/>
                  </a:lnTo>
                  <a:lnTo>
                    <a:pt x="75036" y="173638"/>
                  </a:lnTo>
                  <a:lnTo>
                    <a:pt x="63232" y="175284"/>
                  </a:lnTo>
                  <a:lnTo>
                    <a:pt x="61546" y="180221"/>
                  </a:lnTo>
                  <a:lnTo>
                    <a:pt x="56487" y="181867"/>
                  </a:lnTo>
                  <a:lnTo>
                    <a:pt x="54801" y="180221"/>
                  </a:lnTo>
                  <a:lnTo>
                    <a:pt x="56487" y="168700"/>
                  </a:lnTo>
                  <a:lnTo>
                    <a:pt x="51428" y="158825"/>
                  </a:lnTo>
                  <a:lnTo>
                    <a:pt x="61546" y="148950"/>
                  </a:lnTo>
                  <a:lnTo>
                    <a:pt x="58173" y="127554"/>
                  </a:lnTo>
                  <a:lnTo>
                    <a:pt x="53115" y="129200"/>
                  </a:lnTo>
                  <a:lnTo>
                    <a:pt x="51428" y="125908"/>
                  </a:lnTo>
                  <a:lnTo>
                    <a:pt x="41311" y="130845"/>
                  </a:lnTo>
                  <a:lnTo>
                    <a:pt x="37939" y="124262"/>
                  </a:lnTo>
                  <a:lnTo>
                    <a:pt x="27821" y="132492"/>
                  </a:lnTo>
                  <a:lnTo>
                    <a:pt x="22763" y="130845"/>
                  </a:lnTo>
                  <a:lnTo>
                    <a:pt x="19390" y="134137"/>
                  </a:lnTo>
                  <a:lnTo>
                    <a:pt x="16018" y="135783"/>
                  </a:lnTo>
                  <a:lnTo>
                    <a:pt x="10959" y="130845"/>
                  </a:lnTo>
                  <a:lnTo>
                    <a:pt x="14332" y="127554"/>
                  </a:lnTo>
                  <a:lnTo>
                    <a:pt x="4214" y="119324"/>
                  </a:lnTo>
                  <a:lnTo>
                    <a:pt x="16018" y="106158"/>
                  </a:lnTo>
                  <a:lnTo>
                    <a:pt x="21076" y="104512"/>
                  </a:lnTo>
                  <a:lnTo>
                    <a:pt x="16018" y="97928"/>
                  </a:lnTo>
                  <a:lnTo>
                    <a:pt x="19390" y="94637"/>
                  </a:lnTo>
                  <a:lnTo>
                    <a:pt x="17704" y="92991"/>
                  </a:lnTo>
                  <a:lnTo>
                    <a:pt x="26135" y="88053"/>
                  </a:lnTo>
                  <a:lnTo>
                    <a:pt x="24449" y="86407"/>
                  </a:lnTo>
                  <a:lnTo>
                    <a:pt x="27821" y="83116"/>
                  </a:lnTo>
                  <a:lnTo>
                    <a:pt x="21076" y="74886"/>
                  </a:lnTo>
                  <a:lnTo>
                    <a:pt x="76722" y="17281"/>
                  </a:lnTo>
                  <a:lnTo>
                    <a:pt x="93584" y="4114"/>
                  </a:lnTo>
                  <a:lnTo>
                    <a:pt x="112133" y="22219"/>
                  </a:lnTo>
                  <a:lnTo>
                    <a:pt x="108760" y="30448"/>
                  </a:lnTo>
                  <a:lnTo>
                    <a:pt x="117191" y="37031"/>
                  </a:lnTo>
                  <a:lnTo>
                    <a:pt x="113819" y="41969"/>
                  </a:lnTo>
                  <a:lnTo>
                    <a:pt x="117191" y="45261"/>
                  </a:lnTo>
                  <a:lnTo>
                    <a:pt x="113819" y="485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0" name="Albrandswaard">
              <a:extLst>
                <a:ext uri="{FF2B5EF4-FFF2-40B4-BE49-F238E27FC236}">
                  <a16:creationId xmlns:a16="http://schemas.microsoft.com/office/drawing/2014/main" id="{CEAE211C-3000-4385-ACC7-48E7E3E66269}"/>
                </a:ext>
              </a:extLst>
            </p:cNvPr>
            <p:cNvSpPr/>
            <p:nvPr/>
          </p:nvSpPr>
          <p:spPr>
            <a:xfrm>
              <a:off x="5160951" y="3876093"/>
              <a:ext cx="111927" cy="64237"/>
            </a:xfrm>
            <a:custGeom>
              <a:avLst/>
              <a:gdLst/>
              <a:ahLst/>
              <a:cxnLst/>
              <a:rect l="l" t="t" r="r" b="b"/>
              <a:pathLst>
                <a:path w="163914" h="102870" extrusionOk="0">
                  <a:moveTo>
                    <a:pt x="41311" y="4114"/>
                  </a:moveTo>
                  <a:lnTo>
                    <a:pt x="49742" y="7406"/>
                  </a:lnTo>
                  <a:lnTo>
                    <a:pt x="56487" y="5760"/>
                  </a:lnTo>
                  <a:lnTo>
                    <a:pt x="73349" y="9052"/>
                  </a:lnTo>
                  <a:lnTo>
                    <a:pt x="88525" y="15635"/>
                  </a:lnTo>
                  <a:lnTo>
                    <a:pt x="93584" y="22219"/>
                  </a:lnTo>
                  <a:lnTo>
                    <a:pt x="102015" y="22219"/>
                  </a:lnTo>
                  <a:lnTo>
                    <a:pt x="127309" y="30448"/>
                  </a:lnTo>
                  <a:lnTo>
                    <a:pt x="154288" y="32094"/>
                  </a:lnTo>
                  <a:lnTo>
                    <a:pt x="154288" y="48552"/>
                  </a:lnTo>
                  <a:lnTo>
                    <a:pt x="167778" y="58427"/>
                  </a:lnTo>
                  <a:lnTo>
                    <a:pt x="164406" y="65011"/>
                  </a:lnTo>
                  <a:lnTo>
                    <a:pt x="167778" y="68303"/>
                  </a:lnTo>
                  <a:lnTo>
                    <a:pt x="167778" y="74886"/>
                  </a:lnTo>
                  <a:lnTo>
                    <a:pt x="171150" y="81470"/>
                  </a:lnTo>
                  <a:lnTo>
                    <a:pt x="167778" y="83116"/>
                  </a:lnTo>
                  <a:lnTo>
                    <a:pt x="166092" y="96282"/>
                  </a:lnTo>
                  <a:lnTo>
                    <a:pt x="132367" y="104512"/>
                  </a:lnTo>
                  <a:lnTo>
                    <a:pt x="110446" y="104512"/>
                  </a:lnTo>
                  <a:lnTo>
                    <a:pt x="96957" y="99574"/>
                  </a:lnTo>
                  <a:lnTo>
                    <a:pt x="51428" y="76532"/>
                  </a:lnTo>
                  <a:lnTo>
                    <a:pt x="5900" y="78178"/>
                  </a:lnTo>
                  <a:lnTo>
                    <a:pt x="4214" y="53490"/>
                  </a:lnTo>
                  <a:lnTo>
                    <a:pt x="7587" y="50198"/>
                  </a:lnTo>
                  <a:lnTo>
                    <a:pt x="5900" y="40323"/>
                  </a:lnTo>
                  <a:lnTo>
                    <a:pt x="9273" y="20573"/>
                  </a:lnTo>
                  <a:lnTo>
                    <a:pt x="19390" y="7406"/>
                  </a:lnTo>
                  <a:lnTo>
                    <a:pt x="4131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1" name="Zeist">
              <a:extLst>
                <a:ext uri="{FF2B5EF4-FFF2-40B4-BE49-F238E27FC236}">
                  <a16:creationId xmlns:a16="http://schemas.microsoft.com/office/drawing/2014/main" id="{09479A1E-8C11-4063-AA43-4321DBAF96FF}"/>
                </a:ext>
              </a:extLst>
            </p:cNvPr>
            <p:cNvSpPr/>
            <p:nvPr/>
          </p:nvSpPr>
          <p:spPr>
            <a:xfrm>
              <a:off x="6018093" y="3406371"/>
              <a:ext cx="156261" cy="174908"/>
            </a:xfrm>
            <a:custGeom>
              <a:avLst/>
              <a:gdLst/>
              <a:ahLst/>
              <a:cxnLst/>
              <a:rect l="l" t="t" r="r" b="b"/>
              <a:pathLst>
                <a:path w="210747" h="274320" extrusionOk="0">
                  <a:moveTo>
                    <a:pt x="73349" y="12343"/>
                  </a:moveTo>
                  <a:lnTo>
                    <a:pt x="80094" y="7406"/>
                  </a:lnTo>
                  <a:lnTo>
                    <a:pt x="98643" y="56782"/>
                  </a:lnTo>
                  <a:lnTo>
                    <a:pt x="102015" y="71595"/>
                  </a:lnTo>
                  <a:lnTo>
                    <a:pt x="100329" y="88053"/>
                  </a:lnTo>
                  <a:lnTo>
                    <a:pt x="112132" y="116033"/>
                  </a:lnTo>
                  <a:lnTo>
                    <a:pt x="123936" y="111095"/>
                  </a:lnTo>
                  <a:lnTo>
                    <a:pt x="139112" y="147304"/>
                  </a:lnTo>
                  <a:lnTo>
                    <a:pt x="154288" y="142367"/>
                  </a:lnTo>
                  <a:lnTo>
                    <a:pt x="179582" y="153888"/>
                  </a:lnTo>
                  <a:lnTo>
                    <a:pt x="201502" y="171992"/>
                  </a:lnTo>
                  <a:lnTo>
                    <a:pt x="164405" y="185159"/>
                  </a:lnTo>
                  <a:lnTo>
                    <a:pt x="216678" y="214785"/>
                  </a:lnTo>
                  <a:lnTo>
                    <a:pt x="216678" y="227951"/>
                  </a:lnTo>
                  <a:lnTo>
                    <a:pt x="198130" y="249348"/>
                  </a:lnTo>
                  <a:lnTo>
                    <a:pt x="152602" y="209847"/>
                  </a:lnTo>
                  <a:lnTo>
                    <a:pt x="102015" y="259223"/>
                  </a:lnTo>
                  <a:lnTo>
                    <a:pt x="100329" y="265806"/>
                  </a:lnTo>
                  <a:lnTo>
                    <a:pt x="93584" y="267452"/>
                  </a:lnTo>
                  <a:lnTo>
                    <a:pt x="86839" y="275682"/>
                  </a:lnTo>
                  <a:lnTo>
                    <a:pt x="51428" y="274035"/>
                  </a:lnTo>
                  <a:lnTo>
                    <a:pt x="42997" y="272390"/>
                  </a:lnTo>
                  <a:lnTo>
                    <a:pt x="53115" y="260869"/>
                  </a:lnTo>
                  <a:lnTo>
                    <a:pt x="16018" y="232889"/>
                  </a:lnTo>
                  <a:lnTo>
                    <a:pt x="7586" y="231243"/>
                  </a:lnTo>
                  <a:lnTo>
                    <a:pt x="4214" y="209847"/>
                  </a:lnTo>
                  <a:lnTo>
                    <a:pt x="22763" y="213138"/>
                  </a:lnTo>
                  <a:lnTo>
                    <a:pt x="24449" y="209847"/>
                  </a:lnTo>
                  <a:lnTo>
                    <a:pt x="22763" y="208201"/>
                  </a:lnTo>
                  <a:lnTo>
                    <a:pt x="26135" y="209847"/>
                  </a:lnTo>
                  <a:lnTo>
                    <a:pt x="31194" y="199972"/>
                  </a:lnTo>
                  <a:lnTo>
                    <a:pt x="27821" y="191742"/>
                  </a:lnTo>
                  <a:lnTo>
                    <a:pt x="34566" y="181867"/>
                  </a:lnTo>
                  <a:lnTo>
                    <a:pt x="31194" y="175284"/>
                  </a:lnTo>
                  <a:lnTo>
                    <a:pt x="48056" y="167054"/>
                  </a:lnTo>
                  <a:lnTo>
                    <a:pt x="42997" y="144012"/>
                  </a:lnTo>
                  <a:lnTo>
                    <a:pt x="61546" y="135783"/>
                  </a:lnTo>
                  <a:lnTo>
                    <a:pt x="53115" y="17281"/>
                  </a:lnTo>
                  <a:lnTo>
                    <a:pt x="69977" y="13989"/>
                  </a:lnTo>
                  <a:lnTo>
                    <a:pt x="69977" y="4114"/>
                  </a:lnTo>
                  <a:lnTo>
                    <a:pt x="73349" y="4114"/>
                  </a:lnTo>
                  <a:lnTo>
                    <a:pt x="73349"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2" name="Borne">
              <a:extLst>
                <a:ext uri="{FF2B5EF4-FFF2-40B4-BE49-F238E27FC236}">
                  <a16:creationId xmlns:a16="http://schemas.microsoft.com/office/drawing/2014/main" id="{9FC0B899-FFE8-43CF-8D26-A79DC5C536C3}"/>
                </a:ext>
              </a:extLst>
            </p:cNvPr>
            <p:cNvSpPr/>
            <p:nvPr/>
          </p:nvSpPr>
          <p:spPr>
            <a:xfrm>
              <a:off x="7589725" y="3121167"/>
              <a:ext cx="121828" cy="87989"/>
            </a:xfrm>
            <a:custGeom>
              <a:avLst/>
              <a:gdLst/>
              <a:ahLst/>
              <a:cxnLst/>
              <a:rect l="l" t="t" r="r" b="b"/>
              <a:pathLst>
                <a:path w="175622" h="137160" extrusionOk="0">
                  <a:moveTo>
                    <a:pt x="88526" y="18927"/>
                  </a:moveTo>
                  <a:lnTo>
                    <a:pt x="96957" y="32094"/>
                  </a:lnTo>
                  <a:lnTo>
                    <a:pt x="108760" y="25510"/>
                  </a:lnTo>
                  <a:lnTo>
                    <a:pt x="113819" y="28802"/>
                  </a:lnTo>
                  <a:lnTo>
                    <a:pt x="115505" y="37031"/>
                  </a:lnTo>
                  <a:lnTo>
                    <a:pt x="132368" y="56782"/>
                  </a:lnTo>
                  <a:lnTo>
                    <a:pt x="140799" y="58427"/>
                  </a:lnTo>
                  <a:lnTo>
                    <a:pt x="150916" y="58427"/>
                  </a:lnTo>
                  <a:lnTo>
                    <a:pt x="149230" y="60074"/>
                  </a:lnTo>
                  <a:lnTo>
                    <a:pt x="174523" y="68303"/>
                  </a:lnTo>
                  <a:lnTo>
                    <a:pt x="174523" y="81470"/>
                  </a:lnTo>
                  <a:lnTo>
                    <a:pt x="167778" y="84761"/>
                  </a:lnTo>
                  <a:lnTo>
                    <a:pt x="154288" y="89699"/>
                  </a:lnTo>
                  <a:lnTo>
                    <a:pt x="161033" y="101220"/>
                  </a:lnTo>
                  <a:lnTo>
                    <a:pt x="150916" y="102866"/>
                  </a:lnTo>
                  <a:lnTo>
                    <a:pt x="135740" y="119324"/>
                  </a:lnTo>
                  <a:lnTo>
                    <a:pt x="127309" y="122616"/>
                  </a:lnTo>
                  <a:lnTo>
                    <a:pt x="123936" y="120971"/>
                  </a:lnTo>
                  <a:lnTo>
                    <a:pt x="117191" y="130845"/>
                  </a:lnTo>
                  <a:lnTo>
                    <a:pt x="102015" y="132492"/>
                  </a:lnTo>
                  <a:lnTo>
                    <a:pt x="98643" y="139075"/>
                  </a:lnTo>
                  <a:lnTo>
                    <a:pt x="86839" y="144013"/>
                  </a:lnTo>
                  <a:lnTo>
                    <a:pt x="71663" y="127554"/>
                  </a:lnTo>
                  <a:lnTo>
                    <a:pt x="66605" y="125908"/>
                  </a:lnTo>
                  <a:lnTo>
                    <a:pt x="58174" y="114387"/>
                  </a:lnTo>
                  <a:lnTo>
                    <a:pt x="37939" y="94637"/>
                  </a:lnTo>
                  <a:lnTo>
                    <a:pt x="24449" y="84761"/>
                  </a:lnTo>
                  <a:lnTo>
                    <a:pt x="7587" y="84761"/>
                  </a:lnTo>
                  <a:lnTo>
                    <a:pt x="4214" y="81470"/>
                  </a:lnTo>
                  <a:lnTo>
                    <a:pt x="7587" y="76532"/>
                  </a:lnTo>
                  <a:lnTo>
                    <a:pt x="5901" y="73240"/>
                  </a:lnTo>
                  <a:lnTo>
                    <a:pt x="9273" y="71595"/>
                  </a:lnTo>
                  <a:lnTo>
                    <a:pt x="5901" y="68303"/>
                  </a:lnTo>
                  <a:lnTo>
                    <a:pt x="12645" y="68303"/>
                  </a:lnTo>
                  <a:lnTo>
                    <a:pt x="29508" y="60074"/>
                  </a:lnTo>
                  <a:lnTo>
                    <a:pt x="26135" y="56782"/>
                  </a:lnTo>
                  <a:lnTo>
                    <a:pt x="31194" y="53490"/>
                  </a:lnTo>
                  <a:lnTo>
                    <a:pt x="12645" y="40323"/>
                  </a:lnTo>
                  <a:lnTo>
                    <a:pt x="16018" y="32094"/>
                  </a:lnTo>
                  <a:lnTo>
                    <a:pt x="29508" y="25510"/>
                  </a:lnTo>
                  <a:lnTo>
                    <a:pt x="34566" y="30448"/>
                  </a:lnTo>
                  <a:lnTo>
                    <a:pt x="51429" y="4114"/>
                  </a:lnTo>
                  <a:lnTo>
                    <a:pt x="71663" y="9052"/>
                  </a:lnTo>
                  <a:lnTo>
                    <a:pt x="88526"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3" name="Blaricum">
              <a:extLst>
                <a:ext uri="{FF2B5EF4-FFF2-40B4-BE49-F238E27FC236}">
                  <a16:creationId xmlns:a16="http://schemas.microsoft.com/office/drawing/2014/main" id="{051921C5-1BF2-4431-9FFA-7AD9C86FEFD8}"/>
                </a:ext>
              </a:extLst>
            </p:cNvPr>
            <p:cNvSpPr/>
            <p:nvPr/>
          </p:nvSpPr>
          <p:spPr>
            <a:xfrm>
              <a:off x="6031511" y="3184294"/>
              <a:ext cx="136462" cy="83169"/>
            </a:xfrm>
            <a:custGeom>
              <a:avLst/>
              <a:gdLst/>
              <a:ahLst/>
              <a:cxnLst/>
              <a:rect l="l" t="t" r="r" b="b"/>
              <a:pathLst>
                <a:path w="187330" h="125730" extrusionOk="0">
                  <a:moveTo>
                    <a:pt x="162719" y="32094"/>
                  </a:moveTo>
                  <a:lnTo>
                    <a:pt x="157661" y="33739"/>
                  </a:lnTo>
                  <a:lnTo>
                    <a:pt x="155974" y="30448"/>
                  </a:lnTo>
                  <a:lnTo>
                    <a:pt x="161033" y="28802"/>
                  </a:lnTo>
                  <a:lnTo>
                    <a:pt x="162719" y="32094"/>
                  </a:lnTo>
                  <a:close/>
                  <a:moveTo>
                    <a:pt x="174523" y="28802"/>
                  </a:moveTo>
                  <a:lnTo>
                    <a:pt x="188013" y="28802"/>
                  </a:lnTo>
                  <a:lnTo>
                    <a:pt x="193071" y="35385"/>
                  </a:lnTo>
                  <a:lnTo>
                    <a:pt x="191385" y="40323"/>
                  </a:lnTo>
                  <a:lnTo>
                    <a:pt x="174523" y="33739"/>
                  </a:lnTo>
                  <a:lnTo>
                    <a:pt x="174523" y="28802"/>
                  </a:lnTo>
                  <a:close/>
                  <a:moveTo>
                    <a:pt x="169464" y="22218"/>
                  </a:moveTo>
                  <a:lnTo>
                    <a:pt x="167778" y="18927"/>
                  </a:lnTo>
                  <a:lnTo>
                    <a:pt x="171150" y="20573"/>
                  </a:lnTo>
                  <a:lnTo>
                    <a:pt x="169464" y="22218"/>
                  </a:lnTo>
                  <a:close/>
                  <a:moveTo>
                    <a:pt x="172836" y="10697"/>
                  </a:moveTo>
                  <a:lnTo>
                    <a:pt x="176209" y="15635"/>
                  </a:lnTo>
                  <a:lnTo>
                    <a:pt x="172836" y="12343"/>
                  </a:lnTo>
                  <a:lnTo>
                    <a:pt x="166092" y="17281"/>
                  </a:lnTo>
                  <a:lnTo>
                    <a:pt x="172836" y="10697"/>
                  </a:lnTo>
                  <a:lnTo>
                    <a:pt x="174523" y="12343"/>
                  </a:lnTo>
                  <a:lnTo>
                    <a:pt x="172836" y="10697"/>
                  </a:lnTo>
                  <a:lnTo>
                    <a:pt x="144170" y="28802"/>
                  </a:lnTo>
                  <a:lnTo>
                    <a:pt x="161033" y="18927"/>
                  </a:lnTo>
                  <a:lnTo>
                    <a:pt x="157661" y="22218"/>
                  </a:lnTo>
                  <a:lnTo>
                    <a:pt x="155974" y="28802"/>
                  </a:lnTo>
                  <a:lnTo>
                    <a:pt x="150916" y="28802"/>
                  </a:lnTo>
                  <a:lnTo>
                    <a:pt x="147543" y="32094"/>
                  </a:lnTo>
                  <a:lnTo>
                    <a:pt x="144170" y="40323"/>
                  </a:lnTo>
                  <a:lnTo>
                    <a:pt x="145857" y="48552"/>
                  </a:lnTo>
                  <a:lnTo>
                    <a:pt x="161033" y="69949"/>
                  </a:lnTo>
                  <a:lnTo>
                    <a:pt x="98643" y="60073"/>
                  </a:lnTo>
                  <a:lnTo>
                    <a:pt x="66604" y="125908"/>
                  </a:lnTo>
                  <a:lnTo>
                    <a:pt x="37939" y="92991"/>
                  </a:lnTo>
                  <a:lnTo>
                    <a:pt x="37939" y="81470"/>
                  </a:lnTo>
                  <a:lnTo>
                    <a:pt x="12645" y="97928"/>
                  </a:lnTo>
                  <a:lnTo>
                    <a:pt x="4214" y="96282"/>
                  </a:lnTo>
                  <a:lnTo>
                    <a:pt x="9273" y="78178"/>
                  </a:lnTo>
                  <a:lnTo>
                    <a:pt x="16018" y="71594"/>
                  </a:lnTo>
                  <a:lnTo>
                    <a:pt x="41311" y="71594"/>
                  </a:lnTo>
                  <a:lnTo>
                    <a:pt x="48056" y="61719"/>
                  </a:lnTo>
                  <a:lnTo>
                    <a:pt x="69977" y="58427"/>
                  </a:lnTo>
                  <a:lnTo>
                    <a:pt x="69977" y="56781"/>
                  </a:lnTo>
                  <a:lnTo>
                    <a:pt x="107074" y="38677"/>
                  </a:lnTo>
                  <a:lnTo>
                    <a:pt x="117191" y="25510"/>
                  </a:lnTo>
                  <a:lnTo>
                    <a:pt x="122250" y="32094"/>
                  </a:lnTo>
                  <a:lnTo>
                    <a:pt x="132367" y="22218"/>
                  </a:lnTo>
                  <a:lnTo>
                    <a:pt x="139112" y="25510"/>
                  </a:lnTo>
                  <a:lnTo>
                    <a:pt x="147543" y="22218"/>
                  </a:lnTo>
                  <a:lnTo>
                    <a:pt x="154288" y="10697"/>
                  </a:lnTo>
                  <a:lnTo>
                    <a:pt x="162719" y="10697"/>
                  </a:lnTo>
                  <a:lnTo>
                    <a:pt x="162719" y="4114"/>
                  </a:lnTo>
                  <a:lnTo>
                    <a:pt x="172836"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4" name="Schiermonnikoog">
              <a:extLst>
                <a:ext uri="{FF2B5EF4-FFF2-40B4-BE49-F238E27FC236}">
                  <a16:creationId xmlns:a16="http://schemas.microsoft.com/office/drawing/2014/main" id="{0D4E82DB-9745-4F0A-BCFE-2DA8CE925F1A}"/>
                </a:ext>
              </a:extLst>
            </p:cNvPr>
            <p:cNvSpPr/>
            <p:nvPr/>
          </p:nvSpPr>
          <p:spPr>
            <a:xfrm>
              <a:off x="6915617" y="1232443"/>
              <a:ext cx="335782" cy="94540"/>
            </a:xfrm>
            <a:custGeom>
              <a:avLst/>
              <a:gdLst/>
              <a:ahLst/>
              <a:cxnLst/>
              <a:rect l="l" t="t" r="r" b="b"/>
              <a:pathLst>
                <a:path w="491743" h="137160" extrusionOk="0">
                  <a:moveTo>
                    <a:pt x="12645" y="116033"/>
                  </a:moveTo>
                  <a:lnTo>
                    <a:pt x="5900" y="114387"/>
                  </a:lnTo>
                  <a:lnTo>
                    <a:pt x="4214" y="106158"/>
                  </a:lnTo>
                  <a:lnTo>
                    <a:pt x="10959" y="109449"/>
                  </a:lnTo>
                  <a:lnTo>
                    <a:pt x="14332" y="112741"/>
                  </a:lnTo>
                  <a:lnTo>
                    <a:pt x="12645" y="116033"/>
                  </a:lnTo>
                  <a:close/>
                  <a:moveTo>
                    <a:pt x="488160" y="4114"/>
                  </a:moveTo>
                  <a:lnTo>
                    <a:pt x="493220" y="4114"/>
                  </a:lnTo>
                  <a:lnTo>
                    <a:pt x="494906" y="7406"/>
                  </a:lnTo>
                  <a:lnTo>
                    <a:pt x="478043" y="12343"/>
                  </a:lnTo>
                  <a:lnTo>
                    <a:pt x="471299" y="17281"/>
                  </a:lnTo>
                  <a:lnTo>
                    <a:pt x="462867" y="17281"/>
                  </a:lnTo>
                  <a:lnTo>
                    <a:pt x="442633" y="27156"/>
                  </a:lnTo>
                  <a:lnTo>
                    <a:pt x="415653" y="27156"/>
                  </a:lnTo>
                  <a:lnTo>
                    <a:pt x="408908" y="28802"/>
                  </a:lnTo>
                  <a:lnTo>
                    <a:pt x="397105" y="27156"/>
                  </a:lnTo>
                  <a:lnTo>
                    <a:pt x="412281" y="33740"/>
                  </a:lnTo>
                  <a:lnTo>
                    <a:pt x="408908" y="38677"/>
                  </a:lnTo>
                  <a:lnTo>
                    <a:pt x="402163" y="40323"/>
                  </a:lnTo>
                  <a:lnTo>
                    <a:pt x="395418" y="32094"/>
                  </a:lnTo>
                  <a:lnTo>
                    <a:pt x="400477" y="40323"/>
                  </a:lnTo>
                  <a:lnTo>
                    <a:pt x="358321" y="58428"/>
                  </a:lnTo>
                  <a:lnTo>
                    <a:pt x="353262" y="55136"/>
                  </a:lnTo>
                  <a:lnTo>
                    <a:pt x="358321" y="58428"/>
                  </a:lnTo>
                  <a:lnTo>
                    <a:pt x="356635" y="60073"/>
                  </a:lnTo>
                  <a:lnTo>
                    <a:pt x="327969" y="66657"/>
                  </a:lnTo>
                  <a:lnTo>
                    <a:pt x="322911" y="71594"/>
                  </a:lnTo>
                  <a:lnTo>
                    <a:pt x="316166" y="68303"/>
                  </a:lnTo>
                  <a:lnTo>
                    <a:pt x="321224" y="69949"/>
                  </a:lnTo>
                  <a:lnTo>
                    <a:pt x="322911" y="73240"/>
                  </a:lnTo>
                  <a:lnTo>
                    <a:pt x="312793" y="81470"/>
                  </a:lnTo>
                  <a:lnTo>
                    <a:pt x="307735" y="69949"/>
                  </a:lnTo>
                  <a:lnTo>
                    <a:pt x="307735" y="61719"/>
                  </a:lnTo>
                  <a:lnTo>
                    <a:pt x="300990" y="53490"/>
                  </a:lnTo>
                  <a:lnTo>
                    <a:pt x="307735" y="61719"/>
                  </a:lnTo>
                  <a:lnTo>
                    <a:pt x="307735" y="69949"/>
                  </a:lnTo>
                  <a:lnTo>
                    <a:pt x="312793" y="81470"/>
                  </a:lnTo>
                  <a:lnTo>
                    <a:pt x="304362" y="73240"/>
                  </a:lnTo>
                  <a:lnTo>
                    <a:pt x="306048" y="76532"/>
                  </a:lnTo>
                  <a:lnTo>
                    <a:pt x="309421" y="78178"/>
                  </a:lnTo>
                  <a:lnTo>
                    <a:pt x="311107" y="79824"/>
                  </a:lnTo>
                  <a:lnTo>
                    <a:pt x="306048" y="79824"/>
                  </a:lnTo>
                  <a:lnTo>
                    <a:pt x="309421" y="79824"/>
                  </a:lnTo>
                  <a:lnTo>
                    <a:pt x="311107" y="84761"/>
                  </a:lnTo>
                  <a:lnTo>
                    <a:pt x="299303" y="89699"/>
                  </a:lnTo>
                  <a:lnTo>
                    <a:pt x="300990" y="89699"/>
                  </a:lnTo>
                  <a:lnTo>
                    <a:pt x="299303" y="91345"/>
                  </a:lnTo>
                  <a:lnTo>
                    <a:pt x="306048" y="89699"/>
                  </a:lnTo>
                  <a:lnTo>
                    <a:pt x="294245" y="92991"/>
                  </a:lnTo>
                  <a:lnTo>
                    <a:pt x="294245" y="96282"/>
                  </a:lnTo>
                  <a:lnTo>
                    <a:pt x="292559" y="91345"/>
                  </a:lnTo>
                  <a:lnTo>
                    <a:pt x="290872" y="91345"/>
                  </a:lnTo>
                  <a:lnTo>
                    <a:pt x="292559" y="91345"/>
                  </a:lnTo>
                  <a:lnTo>
                    <a:pt x="292559" y="96282"/>
                  </a:lnTo>
                  <a:lnTo>
                    <a:pt x="289186" y="96282"/>
                  </a:lnTo>
                  <a:lnTo>
                    <a:pt x="285814" y="86407"/>
                  </a:lnTo>
                  <a:lnTo>
                    <a:pt x="289186" y="96282"/>
                  </a:lnTo>
                  <a:lnTo>
                    <a:pt x="284128" y="97928"/>
                  </a:lnTo>
                  <a:lnTo>
                    <a:pt x="275696" y="81470"/>
                  </a:lnTo>
                  <a:lnTo>
                    <a:pt x="282441" y="97928"/>
                  </a:lnTo>
                  <a:lnTo>
                    <a:pt x="272324" y="101220"/>
                  </a:lnTo>
                  <a:lnTo>
                    <a:pt x="267265" y="88053"/>
                  </a:lnTo>
                  <a:lnTo>
                    <a:pt x="258834" y="78178"/>
                  </a:lnTo>
                  <a:lnTo>
                    <a:pt x="258834" y="71594"/>
                  </a:lnTo>
                  <a:lnTo>
                    <a:pt x="258834" y="78178"/>
                  </a:lnTo>
                  <a:lnTo>
                    <a:pt x="255462" y="73240"/>
                  </a:lnTo>
                  <a:lnTo>
                    <a:pt x="258834" y="78178"/>
                  </a:lnTo>
                  <a:lnTo>
                    <a:pt x="255462" y="79824"/>
                  </a:lnTo>
                  <a:lnTo>
                    <a:pt x="260520" y="79824"/>
                  </a:lnTo>
                  <a:lnTo>
                    <a:pt x="268951" y="96282"/>
                  </a:lnTo>
                  <a:lnTo>
                    <a:pt x="267265" y="99574"/>
                  </a:lnTo>
                  <a:lnTo>
                    <a:pt x="255462" y="99574"/>
                  </a:lnTo>
                  <a:lnTo>
                    <a:pt x="252089" y="96282"/>
                  </a:lnTo>
                  <a:lnTo>
                    <a:pt x="250403" y="88053"/>
                  </a:lnTo>
                  <a:lnTo>
                    <a:pt x="230168" y="76532"/>
                  </a:lnTo>
                  <a:lnTo>
                    <a:pt x="233541" y="79824"/>
                  </a:lnTo>
                  <a:lnTo>
                    <a:pt x="230168" y="79824"/>
                  </a:lnTo>
                  <a:lnTo>
                    <a:pt x="241972" y="83116"/>
                  </a:lnTo>
                  <a:lnTo>
                    <a:pt x="250403" y="88053"/>
                  </a:lnTo>
                  <a:lnTo>
                    <a:pt x="253776" y="99574"/>
                  </a:lnTo>
                  <a:lnTo>
                    <a:pt x="248717" y="101220"/>
                  </a:lnTo>
                  <a:lnTo>
                    <a:pt x="245344" y="94637"/>
                  </a:lnTo>
                  <a:lnTo>
                    <a:pt x="236913" y="89699"/>
                  </a:lnTo>
                  <a:lnTo>
                    <a:pt x="245344" y="94637"/>
                  </a:lnTo>
                  <a:lnTo>
                    <a:pt x="247031" y="101220"/>
                  </a:lnTo>
                  <a:lnTo>
                    <a:pt x="209934" y="111095"/>
                  </a:lnTo>
                  <a:lnTo>
                    <a:pt x="211620" y="116033"/>
                  </a:lnTo>
                  <a:lnTo>
                    <a:pt x="216678" y="120970"/>
                  </a:lnTo>
                  <a:lnTo>
                    <a:pt x="206561" y="111095"/>
                  </a:lnTo>
                  <a:lnTo>
                    <a:pt x="169464" y="112741"/>
                  </a:lnTo>
                  <a:lnTo>
                    <a:pt x="166092" y="116033"/>
                  </a:lnTo>
                  <a:lnTo>
                    <a:pt x="166092" y="122616"/>
                  </a:lnTo>
                  <a:lnTo>
                    <a:pt x="164405" y="117679"/>
                  </a:lnTo>
                  <a:lnTo>
                    <a:pt x="164405" y="122616"/>
                  </a:lnTo>
                  <a:lnTo>
                    <a:pt x="162719" y="112741"/>
                  </a:lnTo>
                  <a:lnTo>
                    <a:pt x="155974" y="112741"/>
                  </a:lnTo>
                  <a:lnTo>
                    <a:pt x="149230" y="116033"/>
                  </a:lnTo>
                  <a:lnTo>
                    <a:pt x="150916" y="120970"/>
                  </a:lnTo>
                  <a:lnTo>
                    <a:pt x="147543" y="122616"/>
                  </a:lnTo>
                  <a:lnTo>
                    <a:pt x="150916" y="125908"/>
                  </a:lnTo>
                  <a:lnTo>
                    <a:pt x="137426" y="127554"/>
                  </a:lnTo>
                  <a:lnTo>
                    <a:pt x="142485" y="137429"/>
                  </a:lnTo>
                  <a:lnTo>
                    <a:pt x="139112" y="140721"/>
                  </a:lnTo>
                  <a:lnTo>
                    <a:pt x="140798" y="142367"/>
                  </a:lnTo>
                  <a:lnTo>
                    <a:pt x="137426" y="142367"/>
                  </a:lnTo>
                  <a:lnTo>
                    <a:pt x="130681" y="137429"/>
                  </a:lnTo>
                  <a:lnTo>
                    <a:pt x="135740" y="135783"/>
                  </a:lnTo>
                  <a:lnTo>
                    <a:pt x="132367" y="127554"/>
                  </a:lnTo>
                  <a:lnTo>
                    <a:pt x="118877" y="120970"/>
                  </a:lnTo>
                  <a:lnTo>
                    <a:pt x="110446" y="107803"/>
                  </a:lnTo>
                  <a:lnTo>
                    <a:pt x="112132" y="89699"/>
                  </a:lnTo>
                  <a:lnTo>
                    <a:pt x="120564" y="69949"/>
                  </a:lnTo>
                  <a:lnTo>
                    <a:pt x="128995" y="61719"/>
                  </a:lnTo>
                  <a:lnTo>
                    <a:pt x="150916" y="50198"/>
                  </a:lnTo>
                  <a:lnTo>
                    <a:pt x="147543" y="46907"/>
                  </a:lnTo>
                  <a:lnTo>
                    <a:pt x="150916" y="43615"/>
                  </a:lnTo>
                  <a:lnTo>
                    <a:pt x="236913" y="33740"/>
                  </a:lnTo>
                  <a:lnTo>
                    <a:pt x="240286" y="38677"/>
                  </a:lnTo>
                  <a:lnTo>
                    <a:pt x="241972" y="33740"/>
                  </a:lnTo>
                  <a:lnTo>
                    <a:pt x="253776" y="33740"/>
                  </a:lnTo>
                  <a:lnTo>
                    <a:pt x="248717" y="37031"/>
                  </a:lnTo>
                  <a:lnTo>
                    <a:pt x="255462" y="37031"/>
                  </a:lnTo>
                  <a:lnTo>
                    <a:pt x="258834" y="35385"/>
                  </a:lnTo>
                  <a:lnTo>
                    <a:pt x="253776" y="35385"/>
                  </a:lnTo>
                  <a:lnTo>
                    <a:pt x="257148" y="33740"/>
                  </a:lnTo>
                  <a:lnTo>
                    <a:pt x="263893" y="32094"/>
                  </a:lnTo>
                  <a:lnTo>
                    <a:pt x="263893" y="35385"/>
                  </a:lnTo>
                  <a:lnTo>
                    <a:pt x="267265" y="32094"/>
                  </a:lnTo>
                  <a:lnTo>
                    <a:pt x="279069" y="30448"/>
                  </a:lnTo>
                  <a:lnTo>
                    <a:pt x="279069" y="33740"/>
                  </a:lnTo>
                  <a:lnTo>
                    <a:pt x="285814" y="33740"/>
                  </a:lnTo>
                  <a:lnTo>
                    <a:pt x="285814" y="32094"/>
                  </a:lnTo>
                  <a:lnTo>
                    <a:pt x="282441" y="32094"/>
                  </a:lnTo>
                  <a:lnTo>
                    <a:pt x="284128" y="30448"/>
                  </a:lnTo>
                  <a:lnTo>
                    <a:pt x="294245" y="30448"/>
                  </a:lnTo>
                  <a:lnTo>
                    <a:pt x="292559" y="32094"/>
                  </a:lnTo>
                  <a:lnTo>
                    <a:pt x="309421" y="28802"/>
                  </a:lnTo>
                  <a:lnTo>
                    <a:pt x="312793" y="28802"/>
                  </a:lnTo>
                  <a:lnTo>
                    <a:pt x="309421" y="30448"/>
                  </a:lnTo>
                  <a:lnTo>
                    <a:pt x="314480" y="32094"/>
                  </a:lnTo>
                  <a:lnTo>
                    <a:pt x="312793" y="30448"/>
                  </a:lnTo>
                  <a:lnTo>
                    <a:pt x="314480" y="28802"/>
                  </a:lnTo>
                  <a:lnTo>
                    <a:pt x="344832" y="23864"/>
                  </a:lnTo>
                  <a:lnTo>
                    <a:pt x="343145" y="27156"/>
                  </a:lnTo>
                  <a:lnTo>
                    <a:pt x="348204" y="25510"/>
                  </a:lnTo>
                  <a:lnTo>
                    <a:pt x="349890" y="23864"/>
                  </a:lnTo>
                  <a:lnTo>
                    <a:pt x="390360" y="13989"/>
                  </a:lnTo>
                  <a:lnTo>
                    <a:pt x="395418" y="15635"/>
                  </a:lnTo>
                  <a:lnTo>
                    <a:pt x="393732" y="18927"/>
                  </a:lnTo>
                  <a:lnTo>
                    <a:pt x="398791" y="18927"/>
                  </a:lnTo>
                  <a:lnTo>
                    <a:pt x="395418" y="17281"/>
                  </a:lnTo>
                  <a:lnTo>
                    <a:pt x="397105" y="13989"/>
                  </a:lnTo>
                  <a:lnTo>
                    <a:pt x="419026" y="9052"/>
                  </a:lnTo>
                  <a:lnTo>
                    <a:pt x="427457" y="9052"/>
                  </a:lnTo>
                  <a:lnTo>
                    <a:pt x="420712" y="12343"/>
                  </a:lnTo>
                  <a:lnTo>
                    <a:pt x="427457" y="15635"/>
                  </a:lnTo>
                  <a:lnTo>
                    <a:pt x="429143" y="13989"/>
                  </a:lnTo>
                  <a:lnTo>
                    <a:pt x="435887" y="13989"/>
                  </a:lnTo>
                  <a:lnTo>
                    <a:pt x="440947" y="12343"/>
                  </a:lnTo>
                  <a:lnTo>
                    <a:pt x="440947" y="10697"/>
                  </a:lnTo>
                  <a:lnTo>
                    <a:pt x="446005" y="12343"/>
                  </a:lnTo>
                  <a:lnTo>
                    <a:pt x="446005" y="9052"/>
                  </a:lnTo>
                  <a:lnTo>
                    <a:pt x="48816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5" name="Heusden">
              <a:extLst>
                <a:ext uri="{FF2B5EF4-FFF2-40B4-BE49-F238E27FC236}">
                  <a16:creationId xmlns:a16="http://schemas.microsoft.com/office/drawing/2014/main" id="{1531B8A9-5291-4853-85CC-B3B4AC62F812}"/>
                </a:ext>
              </a:extLst>
            </p:cNvPr>
            <p:cNvSpPr/>
            <p:nvPr/>
          </p:nvSpPr>
          <p:spPr>
            <a:xfrm>
              <a:off x="5897591" y="4088645"/>
              <a:ext cx="198139" cy="174967"/>
            </a:xfrm>
            <a:custGeom>
              <a:avLst/>
              <a:gdLst/>
              <a:ahLst/>
              <a:cxnLst/>
              <a:rect l="l" t="t" r="r" b="b"/>
              <a:pathLst>
                <a:path w="269287" h="262890" extrusionOk="0">
                  <a:moveTo>
                    <a:pt x="177895" y="10698"/>
                  </a:moveTo>
                  <a:lnTo>
                    <a:pt x="196444" y="9052"/>
                  </a:lnTo>
                  <a:lnTo>
                    <a:pt x="201503" y="17281"/>
                  </a:lnTo>
                  <a:lnTo>
                    <a:pt x="201503" y="27156"/>
                  </a:lnTo>
                  <a:lnTo>
                    <a:pt x="214992" y="40323"/>
                  </a:lnTo>
                  <a:lnTo>
                    <a:pt x="220051" y="38678"/>
                  </a:lnTo>
                  <a:lnTo>
                    <a:pt x="223423" y="45261"/>
                  </a:lnTo>
                  <a:lnTo>
                    <a:pt x="228482" y="43615"/>
                  </a:lnTo>
                  <a:lnTo>
                    <a:pt x="233541" y="50198"/>
                  </a:lnTo>
                  <a:lnTo>
                    <a:pt x="230168" y="73240"/>
                  </a:lnTo>
                  <a:lnTo>
                    <a:pt x="231855" y="83116"/>
                  </a:lnTo>
                  <a:lnTo>
                    <a:pt x="248717" y="74886"/>
                  </a:lnTo>
                  <a:lnTo>
                    <a:pt x="240286" y="97928"/>
                  </a:lnTo>
                  <a:lnTo>
                    <a:pt x="243658" y="97928"/>
                  </a:lnTo>
                  <a:lnTo>
                    <a:pt x="248717" y="106158"/>
                  </a:lnTo>
                  <a:lnTo>
                    <a:pt x="258834" y="102866"/>
                  </a:lnTo>
                  <a:lnTo>
                    <a:pt x="263893" y="107803"/>
                  </a:lnTo>
                  <a:lnTo>
                    <a:pt x="265579" y="109449"/>
                  </a:lnTo>
                  <a:lnTo>
                    <a:pt x="260520" y="116033"/>
                  </a:lnTo>
                  <a:lnTo>
                    <a:pt x="260520" y="119324"/>
                  </a:lnTo>
                  <a:lnTo>
                    <a:pt x="226796" y="130845"/>
                  </a:lnTo>
                  <a:lnTo>
                    <a:pt x="221737" y="171992"/>
                  </a:lnTo>
                  <a:lnTo>
                    <a:pt x="198130" y="171992"/>
                  </a:lnTo>
                  <a:lnTo>
                    <a:pt x="189699" y="180221"/>
                  </a:lnTo>
                  <a:lnTo>
                    <a:pt x="193071" y="181867"/>
                  </a:lnTo>
                  <a:lnTo>
                    <a:pt x="134053" y="183513"/>
                  </a:lnTo>
                  <a:lnTo>
                    <a:pt x="127309" y="196680"/>
                  </a:lnTo>
                  <a:lnTo>
                    <a:pt x="120564" y="196680"/>
                  </a:lnTo>
                  <a:lnTo>
                    <a:pt x="118878" y="209847"/>
                  </a:lnTo>
                  <a:lnTo>
                    <a:pt x="115505" y="218076"/>
                  </a:lnTo>
                  <a:lnTo>
                    <a:pt x="123936" y="254286"/>
                  </a:lnTo>
                  <a:lnTo>
                    <a:pt x="91898" y="252639"/>
                  </a:lnTo>
                  <a:lnTo>
                    <a:pt x="75036" y="259223"/>
                  </a:lnTo>
                  <a:lnTo>
                    <a:pt x="66605" y="257577"/>
                  </a:lnTo>
                  <a:lnTo>
                    <a:pt x="56487" y="259223"/>
                  </a:lnTo>
                  <a:lnTo>
                    <a:pt x="48056" y="264160"/>
                  </a:lnTo>
                  <a:lnTo>
                    <a:pt x="48056" y="262515"/>
                  </a:lnTo>
                  <a:lnTo>
                    <a:pt x="41311" y="262515"/>
                  </a:lnTo>
                  <a:lnTo>
                    <a:pt x="34566" y="199972"/>
                  </a:lnTo>
                  <a:lnTo>
                    <a:pt x="36253" y="185159"/>
                  </a:lnTo>
                  <a:lnTo>
                    <a:pt x="34566" y="175284"/>
                  </a:lnTo>
                  <a:lnTo>
                    <a:pt x="37939" y="168700"/>
                  </a:lnTo>
                  <a:lnTo>
                    <a:pt x="34566" y="163763"/>
                  </a:lnTo>
                  <a:lnTo>
                    <a:pt x="41311" y="163763"/>
                  </a:lnTo>
                  <a:lnTo>
                    <a:pt x="36253" y="102866"/>
                  </a:lnTo>
                  <a:lnTo>
                    <a:pt x="49742" y="99574"/>
                  </a:lnTo>
                  <a:lnTo>
                    <a:pt x="46370" y="86407"/>
                  </a:lnTo>
                  <a:lnTo>
                    <a:pt x="34566" y="76532"/>
                  </a:lnTo>
                  <a:lnTo>
                    <a:pt x="31194" y="68303"/>
                  </a:lnTo>
                  <a:lnTo>
                    <a:pt x="21076" y="61720"/>
                  </a:lnTo>
                  <a:lnTo>
                    <a:pt x="7587" y="58428"/>
                  </a:lnTo>
                  <a:lnTo>
                    <a:pt x="4214" y="53490"/>
                  </a:lnTo>
                  <a:lnTo>
                    <a:pt x="29507" y="35386"/>
                  </a:lnTo>
                  <a:lnTo>
                    <a:pt x="51428" y="25510"/>
                  </a:lnTo>
                  <a:lnTo>
                    <a:pt x="91898" y="13989"/>
                  </a:lnTo>
                  <a:lnTo>
                    <a:pt x="137426" y="4114"/>
                  </a:lnTo>
                  <a:lnTo>
                    <a:pt x="155974" y="5760"/>
                  </a:lnTo>
                  <a:lnTo>
                    <a:pt x="177895"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6" name="Waalre">
              <a:extLst>
                <a:ext uri="{FF2B5EF4-FFF2-40B4-BE49-F238E27FC236}">
                  <a16:creationId xmlns:a16="http://schemas.microsoft.com/office/drawing/2014/main" id="{D7C8B0E1-0426-4CD7-9E51-50DC62B2F34A}"/>
                </a:ext>
              </a:extLst>
            </p:cNvPr>
            <p:cNvSpPr/>
            <p:nvPr/>
          </p:nvSpPr>
          <p:spPr>
            <a:xfrm>
              <a:off x="6258470" y="4635665"/>
              <a:ext cx="109647" cy="56676"/>
            </a:xfrm>
            <a:custGeom>
              <a:avLst/>
              <a:gdLst/>
              <a:ahLst/>
              <a:cxnLst/>
              <a:rect l="l" t="t" r="r" b="b"/>
              <a:pathLst>
                <a:path w="152206" h="91440" extrusionOk="0">
                  <a:moveTo>
                    <a:pt x="90212" y="4114"/>
                  </a:moveTo>
                  <a:lnTo>
                    <a:pt x="128995" y="7406"/>
                  </a:lnTo>
                  <a:lnTo>
                    <a:pt x="134053" y="9052"/>
                  </a:lnTo>
                  <a:lnTo>
                    <a:pt x="139112" y="17281"/>
                  </a:lnTo>
                  <a:lnTo>
                    <a:pt x="150916" y="55136"/>
                  </a:lnTo>
                  <a:lnTo>
                    <a:pt x="157661" y="69949"/>
                  </a:lnTo>
                  <a:lnTo>
                    <a:pt x="145857" y="83116"/>
                  </a:lnTo>
                  <a:lnTo>
                    <a:pt x="134053" y="78178"/>
                  </a:lnTo>
                  <a:lnTo>
                    <a:pt x="127309" y="81470"/>
                  </a:lnTo>
                  <a:lnTo>
                    <a:pt x="120564" y="79824"/>
                  </a:lnTo>
                  <a:lnTo>
                    <a:pt x="32880" y="97928"/>
                  </a:lnTo>
                  <a:lnTo>
                    <a:pt x="32880" y="92991"/>
                  </a:lnTo>
                  <a:lnTo>
                    <a:pt x="22763" y="89699"/>
                  </a:lnTo>
                  <a:lnTo>
                    <a:pt x="21076" y="86407"/>
                  </a:lnTo>
                  <a:lnTo>
                    <a:pt x="12645" y="78178"/>
                  </a:lnTo>
                  <a:lnTo>
                    <a:pt x="17704" y="66657"/>
                  </a:lnTo>
                  <a:lnTo>
                    <a:pt x="9273" y="53490"/>
                  </a:lnTo>
                  <a:lnTo>
                    <a:pt x="9273" y="50198"/>
                  </a:lnTo>
                  <a:lnTo>
                    <a:pt x="4214" y="46907"/>
                  </a:lnTo>
                  <a:lnTo>
                    <a:pt x="4214" y="40323"/>
                  </a:lnTo>
                  <a:lnTo>
                    <a:pt x="12645" y="28802"/>
                  </a:lnTo>
                  <a:lnTo>
                    <a:pt x="10959" y="25510"/>
                  </a:lnTo>
                  <a:lnTo>
                    <a:pt x="14332" y="17281"/>
                  </a:lnTo>
                  <a:lnTo>
                    <a:pt x="19390" y="10698"/>
                  </a:lnTo>
                  <a:lnTo>
                    <a:pt x="29508" y="10698"/>
                  </a:lnTo>
                  <a:lnTo>
                    <a:pt x="32880" y="5760"/>
                  </a:lnTo>
                  <a:lnTo>
                    <a:pt x="9021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7" name="Alkmaar">
              <a:extLst>
                <a:ext uri="{FF2B5EF4-FFF2-40B4-BE49-F238E27FC236}">
                  <a16:creationId xmlns:a16="http://schemas.microsoft.com/office/drawing/2014/main" id="{230A7607-C913-482E-97AB-B7E1C89E1A75}"/>
                </a:ext>
              </a:extLst>
            </p:cNvPr>
            <p:cNvSpPr/>
            <p:nvPr/>
          </p:nvSpPr>
          <p:spPr>
            <a:xfrm>
              <a:off x="5521829" y="2580406"/>
              <a:ext cx="221950" cy="262955"/>
            </a:xfrm>
            <a:custGeom>
              <a:avLst/>
              <a:gdLst/>
              <a:ahLst/>
              <a:cxnLst/>
              <a:rect l="l" t="t" r="r" b="b"/>
              <a:pathLst>
                <a:path w="327828" h="400050" extrusionOk="0">
                  <a:moveTo>
                    <a:pt x="108760" y="18927"/>
                  </a:moveTo>
                  <a:lnTo>
                    <a:pt x="112133" y="18927"/>
                  </a:lnTo>
                  <a:lnTo>
                    <a:pt x="112133" y="23865"/>
                  </a:lnTo>
                  <a:lnTo>
                    <a:pt x="105388" y="45261"/>
                  </a:lnTo>
                  <a:lnTo>
                    <a:pt x="110446" y="48552"/>
                  </a:lnTo>
                  <a:lnTo>
                    <a:pt x="102015" y="74886"/>
                  </a:lnTo>
                  <a:lnTo>
                    <a:pt x="107074" y="76532"/>
                  </a:lnTo>
                  <a:lnTo>
                    <a:pt x="103701" y="86407"/>
                  </a:lnTo>
                  <a:lnTo>
                    <a:pt x="144171" y="58427"/>
                  </a:lnTo>
                  <a:lnTo>
                    <a:pt x="142485" y="73240"/>
                  </a:lnTo>
                  <a:lnTo>
                    <a:pt x="130681" y="89699"/>
                  </a:lnTo>
                  <a:lnTo>
                    <a:pt x="120564" y="111095"/>
                  </a:lnTo>
                  <a:lnTo>
                    <a:pt x="130681" y="111095"/>
                  </a:lnTo>
                  <a:lnTo>
                    <a:pt x="154288" y="122616"/>
                  </a:lnTo>
                  <a:lnTo>
                    <a:pt x="179582" y="122616"/>
                  </a:lnTo>
                  <a:lnTo>
                    <a:pt x="188013" y="125908"/>
                  </a:lnTo>
                  <a:lnTo>
                    <a:pt x="194758" y="114387"/>
                  </a:lnTo>
                  <a:lnTo>
                    <a:pt x="196444" y="101220"/>
                  </a:lnTo>
                  <a:lnTo>
                    <a:pt x="201502" y="92991"/>
                  </a:lnTo>
                  <a:lnTo>
                    <a:pt x="206561" y="92991"/>
                  </a:lnTo>
                  <a:lnTo>
                    <a:pt x="214992" y="102866"/>
                  </a:lnTo>
                  <a:lnTo>
                    <a:pt x="233541" y="109449"/>
                  </a:lnTo>
                  <a:lnTo>
                    <a:pt x="238599" y="119324"/>
                  </a:lnTo>
                  <a:lnTo>
                    <a:pt x="263893" y="122616"/>
                  </a:lnTo>
                  <a:lnTo>
                    <a:pt x="270638" y="129200"/>
                  </a:lnTo>
                  <a:lnTo>
                    <a:pt x="277382" y="147304"/>
                  </a:lnTo>
                  <a:lnTo>
                    <a:pt x="274010" y="150596"/>
                  </a:lnTo>
                  <a:lnTo>
                    <a:pt x="268951" y="173638"/>
                  </a:lnTo>
                  <a:lnTo>
                    <a:pt x="289186" y="171992"/>
                  </a:lnTo>
                  <a:lnTo>
                    <a:pt x="326283" y="176930"/>
                  </a:lnTo>
                  <a:lnTo>
                    <a:pt x="331342" y="181867"/>
                  </a:lnTo>
                  <a:lnTo>
                    <a:pt x="333028" y="188451"/>
                  </a:lnTo>
                  <a:lnTo>
                    <a:pt x="316166" y="183513"/>
                  </a:lnTo>
                  <a:lnTo>
                    <a:pt x="290872" y="201618"/>
                  </a:lnTo>
                  <a:lnTo>
                    <a:pt x="277382" y="218076"/>
                  </a:lnTo>
                  <a:lnTo>
                    <a:pt x="272324" y="237827"/>
                  </a:lnTo>
                  <a:lnTo>
                    <a:pt x="262207" y="252639"/>
                  </a:lnTo>
                  <a:lnTo>
                    <a:pt x="253775" y="259223"/>
                  </a:lnTo>
                  <a:lnTo>
                    <a:pt x="245344" y="262514"/>
                  </a:lnTo>
                  <a:lnTo>
                    <a:pt x="240286" y="267452"/>
                  </a:lnTo>
                  <a:lnTo>
                    <a:pt x="233541" y="295432"/>
                  </a:lnTo>
                  <a:lnTo>
                    <a:pt x="220051" y="313536"/>
                  </a:lnTo>
                  <a:lnTo>
                    <a:pt x="204875" y="341516"/>
                  </a:lnTo>
                  <a:lnTo>
                    <a:pt x="191385" y="351391"/>
                  </a:lnTo>
                  <a:lnTo>
                    <a:pt x="177895" y="343162"/>
                  </a:lnTo>
                  <a:lnTo>
                    <a:pt x="166092" y="359620"/>
                  </a:lnTo>
                  <a:lnTo>
                    <a:pt x="177895" y="364558"/>
                  </a:lnTo>
                  <a:lnTo>
                    <a:pt x="172837" y="367850"/>
                  </a:lnTo>
                  <a:lnTo>
                    <a:pt x="157661" y="372787"/>
                  </a:lnTo>
                  <a:lnTo>
                    <a:pt x="147543" y="384309"/>
                  </a:lnTo>
                  <a:lnTo>
                    <a:pt x="137426" y="385954"/>
                  </a:lnTo>
                  <a:lnTo>
                    <a:pt x="128995" y="397475"/>
                  </a:lnTo>
                  <a:lnTo>
                    <a:pt x="122250" y="399121"/>
                  </a:lnTo>
                  <a:lnTo>
                    <a:pt x="113819" y="397475"/>
                  </a:lnTo>
                  <a:lnTo>
                    <a:pt x="107074" y="367850"/>
                  </a:lnTo>
                  <a:lnTo>
                    <a:pt x="107074" y="338224"/>
                  </a:lnTo>
                  <a:lnTo>
                    <a:pt x="113819" y="306953"/>
                  </a:lnTo>
                  <a:lnTo>
                    <a:pt x="98643" y="300370"/>
                  </a:lnTo>
                  <a:lnTo>
                    <a:pt x="69977" y="293786"/>
                  </a:lnTo>
                  <a:lnTo>
                    <a:pt x="58173" y="283911"/>
                  </a:lnTo>
                  <a:lnTo>
                    <a:pt x="76722" y="223014"/>
                  </a:lnTo>
                  <a:lnTo>
                    <a:pt x="48056" y="218076"/>
                  </a:lnTo>
                  <a:lnTo>
                    <a:pt x="48056" y="209847"/>
                  </a:lnTo>
                  <a:lnTo>
                    <a:pt x="44683" y="193388"/>
                  </a:lnTo>
                  <a:lnTo>
                    <a:pt x="46370" y="190097"/>
                  </a:lnTo>
                  <a:lnTo>
                    <a:pt x="41311" y="185159"/>
                  </a:lnTo>
                  <a:lnTo>
                    <a:pt x="51428" y="170346"/>
                  </a:lnTo>
                  <a:lnTo>
                    <a:pt x="36252" y="155533"/>
                  </a:lnTo>
                  <a:lnTo>
                    <a:pt x="16018" y="142367"/>
                  </a:lnTo>
                  <a:lnTo>
                    <a:pt x="14331" y="142367"/>
                  </a:lnTo>
                  <a:lnTo>
                    <a:pt x="14331" y="140721"/>
                  </a:lnTo>
                  <a:lnTo>
                    <a:pt x="7587" y="132491"/>
                  </a:lnTo>
                  <a:lnTo>
                    <a:pt x="9273" y="130845"/>
                  </a:lnTo>
                  <a:lnTo>
                    <a:pt x="4214" y="127554"/>
                  </a:lnTo>
                  <a:lnTo>
                    <a:pt x="7587" y="124262"/>
                  </a:lnTo>
                  <a:lnTo>
                    <a:pt x="7587" y="99574"/>
                  </a:lnTo>
                  <a:lnTo>
                    <a:pt x="14331" y="99574"/>
                  </a:lnTo>
                  <a:lnTo>
                    <a:pt x="12645" y="91345"/>
                  </a:lnTo>
                  <a:lnTo>
                    <a:pt x="19390" y="89699"/>
                  </a:lnTo>
                  <a:lnTo>
                    <a:pt x="17704" y="83115"/>
                  </a:lnTo>
                  <a:lnTo>
                    <a:pt x="26135" y="83115"/>
                  </a:lnTo>
                  <a:lnTo>
                    <a:pt x="26135" y="79824"/>
                  </a:lnTo>
                  <a:lnTo>
                    <a:pt x="31194" y="78178"/>
                  </a:lnTo>
                  <a:lnTo>
                    <a:pt x="32880" y="68303"/>
                  </a:lnTo>
                  <a:lnTo>
                    <a:pt x="36252" y="66657"/>
                  </a:lnTo>
                  <a:lnTo>
                    <a:pt x="31194" y="65011"/>
                  </a:lnTo>
                  <a:lnTo>
                    <a:pt x="42997" y="58427"/>
                  </a:lnTo>
                  <a:lnTo>
                    <a:pt x="39625" y="53490"/>
                  </a:lnTo>
                  <a:lnTo>
                    <a:pt x="46370" y="55136"/>
                  </a:lnTo>
                  <a:lnTo>
                    <a:pt x="44683" y="51844"/>
                  </a:lnTo>
                  <a:lnTo>
                    <a:pt x="51428" y="50198"/>
                  </a:lnTo>
                  <a:lnTo>
                    <a:pt x="56487" y="55136"/>
                  </a:lnTo>
                  <a:lnTo>
                    <a:pt x="63232" y="48552"/>
                  </a:lnTo>
                  <a:lnTo>
                    <a:pt x="71663" y="35385"/>
                  </a:lnTo>
                  <a:lnTo>
                    <a:pt x="71663" y="30448"/>
                  </a:lnTo>
                  <a:lnTo>
                    <a:pt x="64918" y="17281"/>
                  </a:lnTo>
                  <a:lnTo>
                    <a:pt x="56487" y="7406"/>
                  </a:lnTo>
                  <a:lnTo>
                    <a:pt x="68291" y="4114"/>
                  </a:lnTo>
                  <a:lnTo>
                    <a:pt x="108760"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8" name="Valkenswaard">
              <a:extLst>
                <a:ext uri="{FF2B5EF4-FFF2-40B4-BE49-F238E27FC236}">
                  <a16:creationId xmlns:a16="http://schemas.microsoft.com/office/drawing/2014/main" id="{3AC6BE14-F230-4837-868C-FFFE2DCA1A89}"/>
                </a:ext>
              </a:extLst>
            </p:cNvPr>
            <p:cNvSpPr/>
            <p:nvPr/>
          </p:nvSpPr>
          <p:spPr>
            <a:xfrm>
              <a:off x="6229285" y="4679214"/>
              <a:ext cx="151901" cy="184374"/>
            </a:xfrm>
            <a:custGeom>
              <a:avLst/>
              <a:gdLst/>
              <a:ahLst/>
              <a:cxnLst/>
              <a:rect l="l" t="t" r="r" b="b"/>
              <a:pathLst>
                <a:path w="222455" h="285750" extrusionOk="0">
                  <a:moveTo>
                    <a:pt x="203189" y="4114"/>
                  </a:moveTo>
                  <a:lnTo>
                    <a:pt x="220051" y="30448"/>
                  </a:lnTo>
                  <a:lnTo>
                    <a:pt x="167778" y="58427"/>
                  </a:lnTo>
                  <a:lnTo>
                    <a:pt x="169464" y="63365"/>
                  </a:lnTo>
                  <a:lnTo>
                    <a:pt x="172837" y="65011"/>
                  </a:lnTo>
                  <a:lnTo>
                    <a:pt x="171151" y="79823"/>
                  </a:lnTo>
                  <a:lnTo>
                    <a:pt x="149230" y="94636"/>
                  </a:lnTo>
                  <a:lnTo>
                    <a:pt x="137426" y="111095"/>
                  </a:lnTo>
                  <a:lnTo>
                    <a:pt x="147543" y="134137"/>
                  </a:lnTo>
                  <a:lnTo>
                    <a:pt x="161033" y="148950"/>
                  </a:lnTo>
                  <a:lnTo>
                    <a:pt x="164406" y="157179"/>
                  </a:lnTo>
                  <a:lnTo>
                    <a:pt x="161033" y="176930"/>
                  </a:lnTo>
                  <a:lnTo>
                    <a:pt x="154288" y="191742"/>
                  </a:lnTo>
                  <a:lnTo>
                    <a:pt x="150916" y="191742"/>
                  </a:lnTo>
                  <a:lnTo>
                    <a:pt x="152602" y="195034"/>
                  </a:lnTo>
                  <a:lnTo>
                    <a:pt x="144171" y="204909"/>
                  </a:lnTo>
                  <a:lnTo>
                    <a:pt x="142485" y="213138"/>
                  </a:lnTo>
                  <a:lnTo>
                    <a:pt x="123936" y="229597"/>
                  </a:lnTo>
                  <a:lnTo>
                    <a:pt x="88526" y="236181"/>
                  </a:lnTo>
                  <a:lnTo>
                    <a:pt x="81781" y="250993"/>
                  </a:lnTo>
                  <a:lnTo>
                    <a:pt x="75036" y="249347"/>
                  </a:lnTo>
                  <a:lnTo>
                    <a:pt x="49742" y="283911"/>
                  </a:lnTo>
                  <a:lnTo>
                    <a:pt x="4214" y="227951"/>
                  </a:lnTo>
                  <a:lnTo>
                    <a:pt x="19390" y="214784"/>
                  </a:lnTo>
                  <a:lnTo>
                    <a:pt x="10959" y="206555"/>
                  </a:lnTo>
                  <a:lnTo>
                    <a:pt x="14332" y="201617"/>
                  </a:lnTo>
                  <a:lnTo>
                    <a:pt x="12645" y="193388"/>
                  </a:lnTo>
                  <a:lnTo>
                    <a:pt x="16018" y="178575"/>
                  </a:lnTo>
                  <a:lnTo>
                    <a:pt x="14332" y="171992"/>
                  </a:lnTo>
                  <a:lnTo>
                    <a:pt x="19390" y="158825"/>
                  </a:lnTo>
                  <a:lnTo>
                    <a:pt x="24449" y="160471"/>
                  </a:lnTo>
                  <a:lnTo>
                    <a:pt x="42997" y="142366"/>
                  </a:lnTo>
                  <a:lnTo>
                    <a:pt x="44684" y="147304"/>
                  </a:lnTo>
                  <a:lnTo>
                    <a:pt x="48056" y="145658"/>
                  </a:lnTo>
                  <a:lnTo>
                    <a:pt x="53115" y="148950"/>
                  </a:lnTo>
                  <a:lnTo>
                    <a:pt x="59860" y="162117"/>
                  </a:lnTo>
                  <a:lnTo>
                    <a:pt x="63232" y="163763"/>
                  </a:lnTo>
                  <a:lnTo>
                    <a:pt x="75036" y="134137"/>
                  </a:lnTo>
                  <a:lnTo>
                    <a:pt x="59860" y="117678"/>
                  </a:lnTo>
                  <a:lnTo>
                    <a:pt x="58173" y="102866"/>
                  </a:lnTo>
                  <a:lnTo>
                    <a:pt x="56487" y="99574"/>
                  </a:lnTo>
                  <a:lnTo>
                    <a:pt x="61546" y="83115"/>
                  </a:lnTo>
                  <a:lnTo>
                    <a:pt x="58173" y="76532"/>
                  </a:lnTo>
                  <a:lnTo>
                    <a:pt x="59860" y="66657"/>
                  </a:lnTo>
                  <a:lnTo>
                    <a:pt x="53115" y="51844"/>
                  </a:lnTo>
                  <a:lnTo>
                    <a:pt x="54801" y="25510"/>
                  </a:lnTo>
                  <a:lnTo>
                    <a:pt x="53115" y="18926"/>
                  </a:lnTo>
                  <a:lnTo>
                    <a:pt x="58173" y="12343"/>
                  </a:lnTo>
                  <a:lnTo>
                    <a:pt x="61546" y="17281"/>
                  </a:lnTo>
                  <a:lnTo>
                    <a:pt x="64918" y="17281"/>
                  </a:lnTo>
                  <a:lnTo>
                    <a:pt x="68291" y="23864"/>
                  </a:lnTo>
                  <a:lnTo>
                    <a:pt x="78408" y="27156"/>
                  </a:lnTo>
                  <a:lnTo>
                    <a:pt x="80094" y="33739"/>
                  </a:lnTo>
                  <a:lnTo>
                    <a:pt x="93584" y="28802"/>
                  </a:lnTo>
                  <a:lnTo>
                    <a:pt x="125622" y="23864"/>
                  </a:lnTo>
                  <a:lnTo>
                    <a:pt x="166092" y="13989"/>
                  </a:lnTo>
                  <a:lnTo>
                    <a:pt x="172837" y="15635"/>
                  </a:lnTo>
                  <a:lnTo>
                    <a:pt x="179582" y="12343"/>
                  </a:lnTo>
                  <a:lnTo>
                    <a:pt x="191385" y="17281"/>
                  </a:lnTo>
                  <a:lnTo>
                    <a:pt x="20318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199" name="Nederweert">
              <a:extLst>
                <a:ext uri="{FF2B5EF4-FFF2-40B4-BE49-F238E27FC236}">
                  <a16:creationId xmlns:a16="http://schemas.microsoft.com/office/drawing/2014/main" id="{094C6DF2-83EE-463D-94A6-13B978DBDCB2}"/>
                </a:ext>
              </a:extLst>
            </p:cNvPr>
            <p:cNvSpPr/>
            <p:nvPr/>
          </p:nvSpPr>
          <p:spPr>
            <a:xfrm>
              <a:off x="6501021" y="4721403"/>
              <a:ext cx="258285" cy="182528"/>
            </a:xfrm>
            <a:custGeom>
              <a:avLst/>
              <a:gdLst/>
              <a:ahLst/>
              <a:cxnLst/>
              <a:rect l="l" t="t" r="r" b="b"/>
              <a:pathLst>
                <a:path w="362953" h="274320" extrusionOk="0">
                  <a:moveTo>
                    <a:pt x="331342" y="112741"/>
                  </a:moveTo>
                  <a:lnTo>
                    <a:pt x="324597" y="139075"/>
                  </a:lnTo>
                  <a:lnTo>
                    <a:pt x="304362" y="167055"/>
                  </a:lnTo>
                  <a:lnTo>
                    <a:pt x="306049" y="171992"/>
                  </a:lnTo>
                  <a:lnTo>
                    <a:pt x="297617" y="178575"/>
                  </a:lnTo>
                  <a:lnTo>
                    <a:pt x="317852" y="224660"/>
                  </a:lnTo>
                  <a:lnTo>
                    <a:pt x="322911" y="223014"/>
                  </a:lnTo>
                  <a:lnTo>
                    <a:pt x="331342" y="229597"/>
                  </a:lnTo>
                  <a:lnTo>
                    <a:pt x="333028" y="239472"/>
                  </a:lnTo>
                  <a:lnTo>
                    <a:pt x="329656" y="252639"/>
                  </a:lnTo>
                  <a:lnTo>
                    <a:pt x="326283" y="254285"/>
                  </a:lnTo>
                  <a:lnTo>
                    <a:pt x="321224" y="249348"/>
                  </a:lnTo>
                  <a:lnTo>
                    <a:pt x="307735" y="250994"/>
                  </a:lnTo>
                  <a:lnTo>
                    <a:pt x="300990" y="259223"/>
                  </a:lnTo>
                  <a:lnTo>
                    <a:pt x="274010" y="257577"/>
                  </a:lnTo>
                  <a:lnTo>
                    <a:pt x="258834" y="262514"/>
                  </a:lnTo>
                  <a:lnTo>
                    <a:pt x="250403" y="269098"/>
                  </a:lnTo>
                  <a:lnTo>
                    <a:pt x="236913" y="270744"/>
                  </a:lnTo>
                  <a:lnTo>
                    <a:pt x="231855" y="267452"/>
                  </a:lnTo>
                  <a:lnTo>
                    <a:pt x="211620" y="239472"/>
                  </a:lnTo>
                  <a:lnTo>
                    <a:pt x="196444" y="226306"/>
                  </a:lnTo>
                  <a:lnTo>
                    <a:pt x="189699" y="224660"/>
                  </a:lnTo>
                  <a:lnTo>
                    <a:pt x="162719" y="206555"/>
                  </a:lnTo>
                  <a:lnTo>
                    <a:pt x="140798" y="167055"/>
                  </a:lnTo>
                  <a:lnTo>
                    <a:pt x="127309" y="160471"/>
                  </a:lnTo>
                  <a:lnTo>
                    <a:pt x="102015" y="158825"/>
                  </a:lnTo>
                  <a:lnTo>
                    <a:pt x="76722" y="163763"/>
                  </a:lnTo>
                  <a:lnTo>
                    <a:pt x="51428" y="175284"/>
                  </a:lnTo>
                  <a:lnTo>
                    <a:pt x="41311" y="173638"/>
                  </a:lnTo>
                  <a:lnTo>
                    <a:pt x="24449" y="168700"/>
                  </a:lnTo>
                  <a:lnTo>
                    <a:pt x="10959" y="155534"/>
                  </a:lnTo>
                  <a:lnTo>
                    <a:pt x="4214" y="142367"/>
                  </a:lnTo>
                  <a:lnTo>
                    <a:pt x="46370" y="83116"/>
                  </a:lnTo>
                  <a:lnTo>
                    <a:pt x="306049" y="4114"/>
                  </a:lnTo>
                  <a:lnTo>
                    <a:pt x="294245" y="25510"/>
                  </a:lnTo>
                  <a:lnTo>
                    <a:pt x="326283" y="68303"/>
                  </a:lnTo>
                  <a:lnTo>
                    <a:pt x="365066" y="78178"/>
                  </a:lnTo>
                  <a:lnTo>
                    <a:pt x="339773" y="91345"/>
                  </a:lnTo>
                  <a:lnTo>
                    <a:pt x="331342" y="11274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0" name="Simpelveld">
              <a:extLst>
                <a:ext uri="{FF2B5EF4-FFF2-40B4-BE49-F238E27FC236}">
                  <a16:creationId xmlns:a16="http://schemas.microsoft.com/office/drawing/2014/main" id="{270547FC-229D-467E-A33D-ACFA41D4E193}"/>
                </a:ext>
              </a:extLst>
            </p:cNvPr>
            <p:cNvSpPr/>
            <p:nvPr/>
          </p:nvSpPr>
          <p:spPr>
            <a:xfrm>
              <a:off x="6836609" y="5504907"/>
              <a:ext cx="81854" cy="102100"/>
            </a:xfrm>
            <a:custGeom>
              <a:avLst/>
              <a:gdLst/>
              <a:ahLst/>
              <a:cxnLst/>
              <a:rect l="l" t="t" r="r" b="b"/>
              <a:pathLst>
                <a:path w="117081" h="148590" extrusionOk="0">
                  <a:moveTo>
                    <a:pt x="31194" y="7405"/>
                  </a:moveTo>
                  <a:lnTo>
                    <a:pt x="42997" y="30448"/>
                  </a:lnTo>
                  <a:lnTo>
                    <a:pt x="59860" y="43615"/>
                  </a:lnTo>
                  <a:lnTo>
                    <a:pt x="73349" y="50198"/>
                  </a:lnTo>
                  <a:lnTo>
                    <a:pt x="83467" y="58427"/>
                  </a:lnTo>
                  <a:lnTo>
                    <a:pt x="86839" y="65011"/>
                  </a:lnTo>
                  <a:lnTo>
                    <a:pt x="81780" y="73240"/>
                  </a:lnTo>
                  <a:lnTo>
                    <a:pt x="96957" y="76532"/>
                  </a:lnTo>
                  <a:lnTo>
                    <a:pt x="105388" y="88053"/>
                  </a:lnTo>
                  <a:lnTo>
                    <a:pt x="102015" y="92990"/>
                  </a:lnTo>
                  <a:lnTo>
                    <a:pt x="105388" y="97928"/>
                  </a:lnTo>
                  <a:lnTo>
                    <a:pt x="115505" y="104512"/>
                  </a:lnTo>
                  <a:lnTo>
                    <a:pt x="112133" y="109449"/>
                  </a:lnTo>
                  <a:lnTo>
                    <a:pt x="117191" y="111095"/>
                  </a:lnTo>
                  <a:lnTo>
                    <a:pt x="115505" y="114387"/>
                  </a:lnTo>
                  <a:lnTo>
                    <a:pt x="117191" y="116032"/>
                  </a:lnTo>
                  <a:lnTo>
                    <a:pt x="103701" y="125908"/>
                  </a:lnTo>
                  <a:lnTo>
                    <a:pt x="93584" y="140721"/>
                  </a:lnTo>
                  <a:lnTo>
                    <a:pt x="83467" y="145658"/>
                  </a:lnTo>
                  <a:lnTo>
                    <a:pt x="56487" y="124262"/>
                  </a:lnTo>
                  <a:lnTo>
                    <a:pt x="53115" y="125908"/>
                  </a:lnTo>
                  <a:lnTo>
                    <a:pt x="46370" y="114387"/>
                  </a:lnTo>
                  <a:lnTo>
                    <a:pt x="29507" y="109449"/>
                  </a:lnTo>
                  <a:lnTo>
                    <a:pt x="34566" y="99574"/>
                  </a:lnTo>
                  <a:lnTo>
                    <a:pt x="27821" y="96282"/>
                  </a:lnTo>
                  <a:lnTo>
                    <a:pt x="14332" y="83115"/>
                  </a:lnTo>
                  <a:lnTo>
                    <a:pt x="7587" y="65011"/>
                  </a:lnTo>
                  <a:lnTo>
                    <a:pt x="10959" y="63365"/>
                  </a:lnTo>
                  <a:lnTo>
                    <a:pt x="7587" y="37031"/>
                  </a:lnTo>
                  <a:lnTo>
                    <a:pt x="4214" y="33740"/>
                  </a:lnTo>
                  <a:lnTo>
                    <a:pt x="5901" y="23864"/>
                  </a:lnTo>
                  <a:lnTo>
                    <a:pt x="16018" y="17280"/>
                  </a:lnTo>
                  <a:lnTo>
                    <a:pt x="17704" y="20573"/>
                  </a:lnTo>
                  <a:lnTo>
                    <a:pt x="24449" y="17280"/>
                  </a:lnTo>
                  <a:lnTo>
                    <a:pt x="24449" y="12343"/>
                  </a:lnTo>
                  <a:lnTo>
                    <a:pt x="27821" y="7405"/>
                  </a:lnTo>
                  <a:lnTo>
                    <a:pt x="29507" y="4114"/>
                  </a:lnTo>
                  <a:lnTo>
                    <a:pt x="31194"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1" name="Oostzaan">
              <a:extLst>
                <a:ext uri="{FF2B5EF4-FFF2-40B4-BE49-F238E27FC236}">
                  <a16:creationId xmlns:a16="http://schemas.microsoft.com/office/drawing/2014/main" id="{BF53195D-4D5A-4ECE-9BA5-C38491D4A90E}"/>
                </a:ext>
              </a:extLst>
            </p:cNvPr>
            <p:cNvSpPr/>
            <p:nvPr/>
          </p:nvSpPr>
          <p:spPr>
            <a:xfrm>
              <a:off x="5664564" y="2908887"/>
              <a:ext cx="60148" cy="89893"/>
            </a:xfrm>
            <a:custGeom>
              <a:avLst/>
              <a:gdLst/>
              <a:ahLst/>
              <a:cxnLst/>
              <a:rect l="l" t="t" r="r" b="b"/>
              <a:pathLst>
                <a:path w="93665" h="137160" extrusionOk="0">
                  <a:moveTo>
                    <a:pt x="100329" y="4114"/>
                  </a:moveTo>
                  <a:lnTo>
                    <a:pt x="95270" y="20573"/>
                  </a:lnTo>
                  <a:lnTo>
                    <a:pt x="80094" y="61719"/>
                  </a:lnTo>
                  <a:lnTo>
                    <a:pt x="83467" y="86407"/>
                  </a:lnTo>
                  <a:lnTo>
                    <a:pt x="85153" y="101220"/>
                  </a:lnTo>
                  <a:lnTo>
                    <a:pt x="81780" y="107803"/>
                  </a:lnTo>
                  <a:lnTo>
                    <a:pt x="88526" y="117678"/>
                  </a:lnTo>
                  <a:lnTo>
                    <a:pt x="86839" y="137429"/>
                  </a:lnTo>
                  <a:lnTo>
                    <a:pt x="54801" y="134137"/>
                  </a:lnTo>
                  <a:lnTo>
                    <a:pt x="44684" y="124262"/>
                  </a:lnTo>
                  <a:lnTo>
                    <a:pt x="31194" y="125908"/>
                  </a:lnTo>
                  <a:lnTo>
                    <a:pt x="19390" y="94636"/>
                  </a:lnTo>
                  <a:lnTo>
                    <a:pt x="4214" y="69949"/>
                  </a:lnTo>
                  <a:lnTo>
                    <a:pt x="5900" y="68303"/>
                  </a:lnTo>
                  <a:lnTo>
                    <a:pt x="5900" y="60074"/>
                  </a:lnTo>
                  <a:lnTo>
                    <a:pt x="12645" y="50198"/>
                  </a:lnTo>
                  <a:lnTo>
                    <a:pt x="17704" y="27156"/>
                  </a:lnTo>
                  <a:lnTo>
                    <a:pt x="32880" y="32094"/>
                  </a:lnTo>
                  <a:lnTo>
                    <a:pt x="63232" y="17281"/>
                  </a:lnTo>
                  <a:lnTo>
                    <a:pt x="75036" y="7406"/>
                  </a:lnTo>
                  <a:lnTo>
                    <a:pt x="83467" y="9052"/>
                  </a:lnTo>
                  <a:lnTo>
                    <a:pt x="10032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2" name="Borger-Odoorn">
              <a:extLst>
                <a:ext uri="{FF2B5EF4-FFF2-40B4-BE49-F238E27FC236}">
                  <a16:creationId xmlns:a16="http://schemas.microsoft.com/office/drawing/2014/main" id="{36E78381-A0F5-4DBB-A01D-3BA9F25920BF}"/>
                </a:ext>
              </a:extLst>
            </p:cNvPr>
            <p:cNvSpPr/>
            <p:nvPr/>
          </p:nvSpPr>
          <p:spPr>
            <a:xfrm>
              <a:off x="7609656" y="2066846"/>
              <a:ext cx="323977" cy="307311"/>
            </a:xfrm>
            <a:custGeom>
              <a:avLst/>
              <a:gdLst/>
              <a:ahLst/>
              <a:cxnLst/>
              <a:rect l="l" t="t" r="r" b="b"/>
              <a:pathLst>
                <a:path w="480034" h="457200" extrusionOk="0">
                  <a:moveTo>
                    <a:pt x="319538" y="4114"/>
                  </a:moveTo>
                  <a:lnTo>
                    <a:pt x="442632" y="167054"/>
                  </a:lnTo>
                  <a:lnTo>
                    <a:pt x="457808" y="180221"/>
                  </a:lnTo>
                  <a:lnTo>
                    <a:pt x="486474" y="186805"/>
                  </a:lnTo>
                  <a:lnTo>
                    <a:pt x="442632" y="292140"/>
                  </a:lnTo>
                  <a:lnTo>
                    <a:pt x="432515" y="292140"/>
                  </a:lnTo>
                  <a:lnTo>
                    <a:pt x="371811" y="315182"/>
                  </a:lnTo>
                  <a:lnTo>
                    <a:pt x="368439" y="311891"/>
                  </a:lnTo>
                  <a:lnTo>
                    <a:pt x="363380" y="313536"/>
                  </a:lnTo>
                  <a:lnTo>
                    <a:pt x="358321" y="320120"/>
                  </a:lnTo>
                  <a:lnTo>
                    <a:pt x="349890" y="336579"/>
                  </a:lnTo>
                  <a:lnTo>
                    <a:pt x="348204" y="343162"/>
                  </a:lnTo>
                  <a:lnTo>
                    <a:pt x="349890" y="346454"/>
                  </a:lnTo>
                  <a:lnTo>
                    <a:pt x="348204" y="346454"/>
                  </a:lnTo>
                  <a:lnTo>
                    <a:pt x="346518" y="351391"/>
                  </a:lnTo>
                  <a:lnTo>
                    <a:pt x="285813" y="387600"/>
                  </a:lnTo>
                  <a:lnTo>
                    <a:pt x="248716" y="413934"/>
                  </a:lnTo>
                  <a:lnTo>
                    <a:pt x="226796" y="425455"/>
                  </a:lnTo>
                  <a:lnTo>
                    <a:pt x="221737" y="433684"/>
                  </a:lnTo>
                  <a:lnTo>
                    <a:pt x="208247" y="443559"/>
                  </a:lnTo>
                  <a:lnTo>
                    <a:pt x="199816" y="461664"/>
                  </a:lnTo>
                  <a:lnTo>
                    <a:pt x="159347" y="422163"/>
                  </a:lnTo>
                  <a:lnTo>
                    <a:pt x="71663" y="354683"/>
                  </a:lnTo>
                  <a:lnTo>
                    <a:pt x="76722" y="351391"/>
                  </a:lnTo>
                  <a:lnTo>
                    <a:pt x="51428" y="333287"/>
                  </a:lnTo>
                  <a:lnTo>
                    <a:pt x="51428" y="326703"/>
                  </a:lnTo>
                  <a:lnTo>
                    <a:pt x="42997" y="306953"/>
                  </a:lnTo>
                  <a:lnTo>
                    <a:pt x="39625" y="302015"/>
                  </a:lnTo>
                  <a:lnTo>
                    <a:pt x="32880" y="305307"/>
                  </a:lnTo>
                  <a:lnTo>
                    <a:pt x="27821" y="295432"/>
                  </a:lnTo>
                  <a:lnTo>
                    <a:pt x="12645" y="218076"/>
                  </a:lnTo>
                  <a:lnTo>
                    <a:pt x="4214" y="145658"/>
                  </a:lnTo>
                  <a:lnTo>
                    <a:pt x="16018" y="144012"/>
                  </a:lnTo>
                  <a:lnTo>
                    <a:pt x="9273" y="102866"/>
                  </a:lnTo>
                  <a:lnTo>
                    <a:pt x="100329" y="81470"/>
                  </a:lnTo>
                  <a:lnTo>
                    <a:pt x="172836" y="43615"/>
                  </a:lnTo>
                  <a:lnTo>
                    <a:pt x="317852" y="4114"/>
                  </a:lnTo>
                  <a:lnTo>
                    <a:pt x="31953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3" name="Enkhuizen">
              <a:extLst>
                <a:ext uri="{FF2B5EF4-FFF2-40B4-BE49-F238E27FC236}">
                  <a16:creationId xmlns:a16="http://schemas.microsoft.com/office/drawing/2014/main" id="{D2883B57-0553-4216-8835-84118BC93EE6}"/>
                </a:ext>
              </a:extLst>
            </p:cNvPr>
            <p:cNvSpPr/>
            <p:nvPr/>
          </p:nvSpPr>
          <p:spPr>
            <a:xfrm>
              <a:off x="6059231" y="2381736"/>
              <a:ext cx="90223" cy="201459"/>
            </a:xfrm>
            <a:custGeom>
              <a:avLst/>
              <a:gdLst/>
              <a:ahLst/>
              <a:cxnLst/>
              <a:rect l="l" t="t" r="r" b="b"/>
              <a:pathLst>
                <a:path w="140498" h="297180" extrusionOk="0">
                  <a:moveTo>
                    <a:pt x="102015" y="277327"/>
                  </a:moveTo>
                  <a:lnTo>
                    <a:pt x="102015" y="278973"/>
                  </a:lnTo>
                  <a:lnTo>
                    <a:pt x="103701" y="277327"/>
                  </a:lnTo>
                  <a:lnTo>
                    <a:pt x="102015" y="277327"/>
                  </a:lnTo>
                  <a:close/>
                  <a:moveTo>
                    <a:pt x="98643" y="280619"/>
                  </a:moveTo>
                  <a:lnTo>
                    <a:pt x="98643" y="278973"/>
                  </a:lnTo>
                  <a:lnTo>
                    <a:pt x="102015" y="275682"/>
                  </a:lnTo>
                  <a:lnTo>
                    <a:pt x="98643" y="280619"/>
                  </a:lnTo>
                  <a:close/>
                  <a:moveTo>
                    <a:pt x="107074" y="280619"/>
                  </a:moveTo>
                  <a:lnTo>
                    <a:pt x="107074" y="283911"/>
                  </a:lnTo>
                  <a:lnTo>
                    <a:pt x="90212" y="297078"/>
                  </a:lnTo>
                  <a:lnTo>
                    <a:pt x="88525" y="292140"/>
                  </a:lnTo>
                  <a:lnTo>
                    <a:pt x="91898" y="295432"/>
                  </a:lnTo>
                  <a:lnTo>
                    <a:pt x="105388" y="282265"/>
                  </a:lnTo>
                  <a:lnTo>
                    <a:pt x="102015" y="277327"/>
                  </a:lnTo>
                  <a:lnTo>
                    <a:pt x="107074" y="280619"/>
                  </a:lnTo>
                  <a:lnTo>
                    <a:pt x="110446" y="274036"/>
                  </a:lnTo>
                  <a:lnTo>
                    <a:pt x="117191" y="267452"/>
                  </a:lnTo>
                  <a:lnTo>
                    <a:pt x="107074" y="280619"/>
                  </a:lnTo>
                  <a:close/>
                  <a:moveTo>
                    <a:pt x="122250" y="269098"/>
                  </a:moveTo>
                  <a:lnTo>
                    <a:pt x="122250" y="260869"/>
                  </a:lnTo>
                  <a:lnTo>
                    <a:pt x="139112" y="249348"/>
                  </a:lnTo>
                  <a:lnTo>
                    <a:pt x="123936" y="260869"/>
                  </a:lnTo>
                  <a:lnTo>
                    <a:pt x="122250" y="269098"/>
                  </a:lnTo>
                  <a:close/>
                  <a:moveTo>
                    <a:pt x="64918" y="150596"/>
                  </a:moveTo>
                  <a:lnTo>
                    <a:pt x="81780" y="148950"/>
                  </a:lnTo>
                  <a:lnTo>
                    <a:pt x="85153" y="147304"/>
                  </a:lnTo>
                  <a:lnTo>
                    <a:pt x="93584" y="155533"/>
                  </a:lnTo>
                  <a:lnTo>
                    <a:pt x="100329" y="157179"/>
                  </a:lnTo>
                  <a:lnTo>
                    <a:pt x="107074" y="180221"/>
                  </a:lnTo>
                  <a:lnTo>
                    <a:pt x="103701" y="176930"/>
                  </a:lnTo>
                  <a:lnTo>
                    <a:pt x="107074" y="180221"/>
                  </a:lnTo>
                  <a:lnTo>
                    <a:pt x="103701" y="180221"/>
                  </a:lnTo>
                  <a:lnTo>
                    <a:pt x="102015" y="185159"/>
                  </a:lnTo>
                  <a:lnTo>
                    <a:pt x="110446" y="191742"/>
                  </a:lnTo>
                  <a:lnTo>
                    <a:pt x="107074" y="190097"/>
                  </a:lnTo>
                  <a:lnTo>
                    <a:pt x="103701" y="193388"/>
                  </a:lnTo>
                  <a:lnTo>
                    <a:pt x="105388" y="199972"/>
                  </a:lnTo>
                  <a:lnTo>
                    <a:pt x="102015" y="204909"/>
                  </a:lnTo>
                  <a:lnTo>
                    <a:pt x="103701" y="206555"/>
                  </a:lnTo>
                  <a:lnTo>
                    <a:pt x="107074" y="213139"/>
                  </a:lnTo>
                  <a:lnTo>
                    <a:pt x="108760" y="213139"/>
                  </a:lnTo>
                  <a:lnTo>
                    <a:pt x="108760" y="223014"/>
                  </a:lnTo>
                  <a:lnTo>
                    <a:pt x="127309" y="237827"/>
                  </a:lnTo>
                  <a:lnTo>
                    <a:pt x="135740" y="237827"/>
                  </a:lnTo>
                  <a:lnTo>
                    <a:pt x="137426" y="234535"/>
                  </a:lnTo>
                  <a:lnTo>
                    <a:pt x="139112" y="237827"/>
                  </a:lnTo>
                  <a:lnTo>
                    <a:pt x="137426" y="242764"/>
                  </a:lnTo>
                  <a:lnTo>
                    <a:pt x="134053" y="246056"/>
                  </a:lnTo>
                  <a:lnTo>
                    <a:pt x="134053" y="242764"/>
                  </a:lnTo>
                  <a:lnTo>
                    <a:pt x="127309" y="239473"/>
                  </a:lnTo>
                  <a:lnTo>
                    <a:pt x="123936" y="242764"/>
                  </a:lnTo>
                  <a:lnTo>
                    <a:pt x="125622" y="244410"/>
                  </a:lnTo>
                  <a:lnTo>
                    <a:pt x="123936" y="246056"/>
                  </a:lnTo>
                  <a:lnTo>
                    <a:pt x="125622" y="244410"/>
                  </a:lnTo>
                  <a:lnTo>
                    <a:pt x="122250" y="249348"/>
                  </a:lnTo>
                  <a:lnTo>
                    <a:pt x="125622" y="252639"/>
                  </a:lnTo>
                  <a:lnTo>
                    <a:pt x="132367" y="247702"/>
                  </a:lnTo>
                  <a:lnTo>
                    <a:pt x="117191" y="259223"/>
                  </a:lnTo>
                  <a:lnTo>
                    <a:pt x="110446" y="257577"/>
                  </a:lnTo>
                  <a:lnTo>
                    <a:pt x="117191" y="260869"/>
                  </a:lnTo>
                  <a:lnTo>
                    <a:pt x="110446" y="260869"/>
                  </a:lnTo>
                  <a:lnTo>
                    <a:pt x="113819" y="262515"/>
                  </a:lnTo>
                  <a:lnTo>
                    <a:pt x="107074" y="269098"/>
                  </a:lnTo>
                  <a:lnTo>
                    <a:pt x="112132" y="264160"/>
                  </a:lnTo>
                  <a:lnTo>
                    <a:pt x="110446" y="260869"/>
                  </a:lnTo>
                  <a:lnTo>
                    <a:pt x="102015" y="260869"/>
                  </a:lnTo>
                  <a:lnTo>
                    <a:pt x="105388" y="264160"/>
                  </a:lnTo>
                  <a:lnTo>
                    <a:pt x="110446" y="262515"/>
                  </a:lnTo>
                  <a:lnTo>
                    <a:pt x="96957" y="269098"/>
                  </a:lnTo>
                  <a:lnTo>
                    <a:pt x="95270" y="270744"/>
                  </a:lnTo>
                  <a:lnTo>
                    <a:pt x="102015" y="274036"/>
                  </a:lnTo>
                  <a:lnTo>
                    <a:pt x="81780" y="288848"/>
                  </a:lnTo>
                  <a:lnTo>
                    <a:pt x="85153" y="297078"/>
                  </a:lnTo>
                  <a:lnTo>
                    <a:pt x="81780" y="288848"/>
                  </a:lnTo>
                  <a:lnTo>
                    <a:pt x="75036" y="287203"/>
                  </a:lnTo>
                  <a:lnTo>
                    <a:pt x="66605" y="290494"/>
                  </a:lnTo>
                  <a:lnTo>
                    <a:pt x="75036" y="288848"/>
                  </a:lnTo>
                  <a:lnTo>
                    <a:pt x="64918" y="290494"/>
                  </a:lnTo>
                  <a:lnTo>
                    <a:pt x="58173" y="147304"/>
                  </a:lnTo>
                  <a:lnTo>
                    <a:pt x="64918" y="150596"/>
                  </a:lnTo>
                  <a:close/>
                  <a:moveTo>
                    <a:pt x="24449" y="28802"/>
                  </a:moveTo>
                  <a:lnTo>
                    <a:pt x="21076" y="25510"/>
                  </a:lnTo>
                  <a:lnTo>
                    <a:pt x="22763" y="22218"/>
                  </a:lnTo>
                  <a:lnTo>
                    <a:pt x="24449" y="28802"/>
                  </a:lnTo>
                  <a:close/>
                  <a:moveTo>
                    <a:pt x="17704" y="15635"/>
                  </a:moveTo>
                  <a:lnTo>
                    <a:pt x="21076" y="20573"/>
                  </a:lnTo>
                  <a:lnTo>
                    <a:pt x="21076" y="23865"/>
                  </a:lnTo>
                  <a:lnTo>
                    <a:pt x="14332" y="22218"/>
                  </a:lnTo>
                  <a:lnTo>
                    <a:pt x="16018" y="13989"/>
                  </a:lnTo>
                  <a:lnTo>
                    <a:pt x="17704" y="15635"/>
                  </a:lnTo>
                  <a:close/>
                  <a:moveTo>
                    <a:pt x="9273" y="4114"/>
                  </a:moveTo>
                  <a:lnTo>
                    <a:pt x="34566" y="28802"/>
                  </a:lnTo>
                  <a:lnTo>
                    <a:pt x="31194" y="32094"/>
                  </a:lnTo>
                  <a:lnTo>
                    <a:pt x="31194" y="25510"/>
                  </a:lnTo>
                  <a:lnTo>
                    <a:pt x="16018" y="10698"/>
                  </a:lnTo>
                  <a:lnTo>
                    <a:pt x="12645" y="10698"/>
                  </a:lnTo>
                  <a:lnTo>
                    <a:pt x="14332" y="9052"/>
                  </a:lnTo>
                  <a:lnTo>
                    <a:pt x="9273" y="5760"/>
                  </a:lnTo>
                  <a:lnTo>
                    <a:pt x="5900" y="12343"/>
                  </a:lnTo>
                  <a:lnTo>
                    <a:pt x="10959" y="17281"/>
                  </a:lnTo>
                  <a:lnTo>
                    <a:pt x="10959" y="22218"/>
                  </a:lnTo>
                  <a:lnTo>
                    <a:pt x="12645" y="22218"/>
                  </a:lnTo>
                  <a:lnTo>
                    <a:pt x="24449" y="32094"/>
                  </a:lnTo>
                  <a:lnTo>
                    <a:pt x="29507" y="30448"/>
                  </a:lnTo>
                  <a:lnTo>
                    <a:pt x="29507" y="33740"/>
                  </a:lnTo>
                  <a:lnTo>
                    <a:pt x="7586" y="22218"/>
                  </a:lnTo>
                  <a:lnTo>
                    <a:pt x="9273" y="17281"/>
                  </a:lnTo>
                  <a:lnTo>
                    <a:pt x="4214" y="12343"/>
                  </a:lnTo>
                  <a:lnTo>
                    <a:pt x="927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4" name="Alphen-Chaam">
              <a:extLst>
                <a:ext uri="{FF2B5EF4-FFF2-40B4-BE49-F238E27FC236}">
                  <a16:creationId xmlns:a16="http://schemas.microsoft.com/office/drawing/2014/main" id="{05583722-4BA0-4B84-90B5-5254002DA979}"/>
                </a:ext>
              </a:extLst>
            </p:cNvPr>
            <p:cNvSpPr/>
            <p:nvPr/>
          </p:nvSpPr>
          <p:spPr>
            <a:xfrm>
              <a:off x="5550572" y="4391541"/>
              <a:ext cx="282098" cy="163596"/>
            </a:xfrm>
            <a:custGeom>
              <a:avLst/>
              <a:gdLst/>
              <a:ahLst/>
              <a:cxnLst/>
              <a:rect l="l" t="t" r="r" b="b"/>
              <a:pathLst>
                <a:path w="421494" h="251460" extrusionOk="0">
                  <a:moveTo>
                    <a:pt x="184640" y="4114"/>
                  </a:moveTo>
                  <a:lnTo>
                    <a:pt x="186327" y="17281"/>
                  </a:lnTo>
                  <a:lnTo>
                    <a:pt x="162719" y="38677"/>
                  </a:lnTo>
                  <a:lnTo>
                    <a:pt x="140798" y="50198"/>
                  </a:lnTo>
                  <a:lnTo>
                    <a:pt x="140798" y="58427"/>
                  </a:lnTo>
                  <a:lnTo>
                    <a:pt x="144171" y="60073"/>
                  </a:lnTo>
                  <a:lnTo>
                    <a:pt x="144171" y="63365"/>
                  </a:lnTo>
                  <a:lnTo>
                    <a:pt x="135740" y="71594"/>
                  </a:lnTo>
                  <a:lnTo>
                    <a:pt x="132367" y="71594"/>
                  </a:lnTo>
                  <a:lnTo>
                    <a:pt x="132367" y="74886"/>
                  </a:lnTo>
                  <a:lnTo>
                    <a:pt x="150916" y="78178"/>
                  </a:lnTo>
                  <a:lnTo>
                    <a:pt x="155974" y="74886"/>
                  </a:lnTo>
                  <a:lnTo>
                    <a:pt x="155974" y="61719"/>
                  </a:lnTo>
                  <a:lnTo>
                    <a:pt x="171150" y="61719"/>
                  </a:lnTo>
                  <a:lnTo>
                    <a:pt x="189699" y="51844"/>
                  </a:lnTo>
                  <a:lnTo>
                    <a:pt x="258834" y="119324"/>
                  </a:lnTo>
                  <a:lnTo>
                    <a:pt x="327969" y="99574"/>
                  </a:lnTo>
                  <a:lnTo>
                    <a:pt x="338087" y="81470"/>
                  </a:lnTo>
                  <a:lnTo>
                    <a:pt x="348204" y="94636"/>
                  </a:lnTo>
                  <a:lnTo>
                    <a:pt x="361694" y="91345"/>
                  </a:lnTo>
                  <a:lnTo>
                    <a:pt x="365066" y="99574"/>
                  </a:lnTo>
                  <a:lnTo>
                    <a:pt x="371811" y="101220"/>
                  </a:lnTo>
                  <a:lnTo>
                    <a:pt x="368439" y="109449"/>
                  </a:lnTo>
                  <a:lnTo>
                    <a:pt x="383615" y="114387"/>
                  </a:lnTo>
                  <a:lnTo>
                    <a:pt x="378556" y="135783"/>
                  </a:lnTo>
                  <a:lnTo>
                    <a:pt x="373497" y="145658"/>
                  </a:lnTo>
                  <a:lnTo>
                    <a:pt x="375184" y="155533"/>
                  </a:lnTo>
                  <a:lnTo>
                    <a:pt x="386987" y="150596"/>
                  </a:lnTo>
                  <a:lnTo>
                    <a:pt x="390360" y="152242"/>
                  </a:lnTo>
                  <a:lnTo>
                    <a:pt x="383615" y="158825"/>
                  </a:lnTo>
                  <a:lnTo>
                    <a:pt x="395418" y="163763"/>
                  </a:lnTo>
                  <a:lnTo>
                    <a:pt x="390360" y="173638"/>
                  </a:lnTo>
                  <a:lnTo>
                    <a:pt x="383615" y="173638"/>
                  </a:lnTo>
                  <a:lnTo>
                    <a:pt x="381929" y="176930"/>
                  </a:lnTo>
                  <a:lnTo>
                    <a:pt x="385301" y="178575"/>
                  </a:lnTo>
                  <a:lnTo>
                    <a:pt x="381929" y="181867"/>
                  </a:lnTo>
                  <a:lnTo>
                    <a:pt x="380242" y="180221"/>
                  </a:lnTo>
                  <a:lnTo>
                    <a:pt x="376870" y="185159"/>
                  </a:lnTo>
                  <a:lnTo>
                    <a:pt x="393732" y="188451"/>
                  </a:lnTo>
                  <a:lnTo>
                    <a:pt x="393732" y="193388"/>
                  </a:lnTo>
                  <a:lnTo>
                    <a:pt x="407222" y="208201"/>
                  </a:lnTo>
                  <a:lnTo>
                    <a:pt x="419025" y="201617"/>
                  </a:lnTo>
                  <a:lnTo>
                    <a:pt x="420712" y="204909"/>
                  </a:lnTo>
                  <a:lnTo>
                    <a:pt x="412281" y="211493"/>
                  </a:lnTo>
                  <a:lnTo>
                    <a:pt x="407222" y="224660"/>
                  </a:lnTo>
                  <a:lnTo>
                    <a:pt x="407222" y="236181"/>
                  </a:lnTo>
                  <a:lnTo>
                    <a:pt x="410594" y="246056"/>
                  </a:lnTo>
                  <a:lnTo>
                    <a:pt x="358321" y="237827"/>
                  </a:lnTo>
                  <a:lnTo>
                    <a:pt x="348204" y="244410"/>
                  </a:lnTo>
                  <a:lnTo>
                    <a:pt x="343145" y="241118"/>
                  </a:lnTo>
                  <a:lnTo>
                    <a:pt x="331342" y="242764"/>
                  </a:lnTo>
                  <a:lnTo>
                    <a:pt x="331342" y="244410"/>
                  </a:lnTo>
                  <a:lnTo>
                    <a:pt x="327969" y="241118"/>
                  </a:lnTo>
                  <a:lnTo>
                    <a:pt x="312793" y="244410"/>
                  </a:lnTo>
                  <a:lnTo>
                    <a:pt x="309421" y="247702"/>
                  </a:lnTo>
                  <a:lnTo>
                    <a:pt x="302676" y="246056"/>
                  </a:lnTo>
                  <a:lnTo>
                    <a:pt x="289186" y="242764"/>
                  </a:lnTo>
                  <a:lnTo>
                    <a:pt x="267265" y="221368"/>
                  </a:lnTo>
                  <a:lnTo>
                    <a:pt x="226796" y="196680"/>
                  </a:lnTo>
                  <a:lnTo>
                    <a:pt x="214992" y="198326"/>
                  </a:lnTo>
                  <a:lnTo>
                    <a:pt x="213306" y="195034"/>
                  </a:lnTo>
                  <a:lnTo>
                    <a:pt x="196444" y="191742"/>
                  </a:lnTo>
                  <a:lnTo>
                    <a:pt x="181268" y="196680"/>
                  </a:lnTo>
                  <a:lnTo>
                    <a:pt x="144171" y="186805"/>
                  </a:lnTo>
                  <a:lnTo>
                    <a:pt x="123936" y="185159"/>
                  </a:lnTo>
                  <a:lnTo>
                    <a:pt x="118877" y="183513"/>
                  </a:lnTo>
                  <a:lnTo>
                    <a:pt x="113819" y="168700"/>
                  </a:lnTo>
                  <a:lnTo>
                    <a:pt x="113819" y="160471"/>
                  </a:lnTo>
                  <a:lnTo>
                    <a:pt x="108760" y="153888"/>
                  </a:lnTo>
                  <a:lnTo>
                    <a:pt x="95270" y="148950"/>
                  </a:lnTo>
                  <a:lnTo>
                    <a:pt x="90212" y="148950"/>
                  </a:lnTo>
                  <a:lnTo>
                    <a:pt x="83467" y="142367"/>
                  </a:lnTo>
                  <a:lnTo>
                    <a:pt x="76722" y="142367"/>
                  </a:lnTo>
                  <a:lnTo>
                    <a:pt x="71663" y="147304"/>
                  </a:lnTo>
                  <a:lnTo>
                    <a:pt x="59860" y="144012"/>
                  </a:lnTo>
                  <a:lnTo>
                    <a:pt x="56487" y="132491"/>
                  </a:lnTo>
                  <a:lnTo>
                    <a:pt x="53115" y="130845"/>
                  </a:lnTo>
                  <a:lnTo>
                    <a:pt x="46370" y="129199"/>
                  </a:lnTo>
                  <a:lnTo>
                    <a:pt x="24449" y="135783"/>
                  </a:lnTo>
                  <a:lnTo>
                    <a:pt x="14331" y="127554"/>
                  </a:lnTo>
                  <a:lnTo>
                    <a:pt x="4214" y="104512"/>
                  </a:lnTo>
                  <a:lnTo>
                    <a:pt x="7587" y="96282"/>
                  </a:lnTo>
                  <a:lnTo>
                    <a:pt x="26135" y="94636"/>
                  </a:lnTo>
                  <a:lnTo>
                    <a:pt x="32880" y="83115"/>
                  </a:lnTo>
                  <a:lnTo>
                    <a:pt x="37939" y="81470"/>
                  </a:lnTo>
                  <a:lnTo>
                    <a:pt x="41311" y="84761"/>
                  </a:lnTo>
                  <a:lnTo>
                    <a:pt x="41311" y="76532"/>
                  </a:lnTo>
                  <a:lnTo>
                    <a:pt x="78408" y="58427"/>
                  </a:lnTo>
                  <a:lnTo>
                    <a:pt x="86839" y="56782"/>
                  </a:lnTo>
                  <a:lnTo>
                    <a:pt x="88525" y="55136"/>
                  </a:lnTo>
                  <a:lnTo>
                    <a:pt x="86839" y="53490"/>
                  </a:lnTo>
                  <a:lnTo>
                    <a:pt x="108760" y="37031"/>
                  </a:lnTo>
                  <a:lnTo>
                    <a:pt x="112133" y="40323"/>
                  </a:lnTo>
                  <a:lnTo>
                    <a:pt x="110446" y="37031"/>
                  </a:lnTo>
                  <a:lnTo>
                    <a:pt x="120564" y="30448"/>
                  </a:lnTo>
                  <a:lnTo>
                    <a:pt x="122250" y="32094"/>
                  </a:lnTo>
                  <a:lnTo>
                    <a:pt x="122250" y="28802"/>
                  </a:lnTo>
                  <a:lnTo>
                    <a:pt x="134053" y="20573"/>
                  </a:lnTo>
                  <a:lnTo>
                    <a:pt x="145857" y="23864"/>
                  </a:lnTo>
                  <a:lnTo>
                    <a:pt x="149230" y="13989"/>
                  </a:lnTo>
                  <a:lnTo>
                    <a:pt x="171150" y="7405"/>
                  </a:lnTo>
                  <a:lnTo>
                    <a:pt x="174523" y="10697"/>
                  </a:lnTo>
                  <a:lnTo>
                    <a:pt x="177895" y="5760"/>
                  </a:lnTo>
                  <a:lnTo>
                    <a:pt x="18464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5" name="Dordrecht">
              <a:extLst>
                <a:ext uri="{FF2B5EF4-FFF2-40B4-BE49-F238E27FC236}">
                  <a16:creationId xmlns:a16="http://schemas.microsoft.com/office/drawing/2014/main" id="{E2CE083E-96DE-4A97-92A7-9FED572E10FD}"/>
                </a:ext>
              </a:extLst>
            </p:cNvPr>
            <p:cNvSpPr/>
            <p:nvPr/>
          </p:nvSpPr>
          <p:spPr>
            <a:xfrm>
              <a:off x="5420106" y="3958837"/>
              <a:ext cx="283628" cy="165501"/>
            </a:xfrm>
            <a:custGeom>
              <a:avLst/>
              <a:gdLst/>
              <a:ahLst/>
              <a:cxnLst/>
              <a:rect l="l" t="t" r="r" b="b"/>
              <a:pathLst>
                <a:path w="409785" h="251460" extrusionOk="0">
                  <a:moveTo>
                    <a:pt x="171150" y="7406"/>
                  </a:moveTo>
                  <a:lnTo>
                    <a:pt x="201503" y="7406"/>
                  </a:lnTo>
                  <a:lnTo>
                    <a:pt x="225110" y="22219"/>
                  </a:lnTo>
                  <a:lnTo>
                    <a:pt x="235227" y="23864"/>
                  </a:lnTo>
                  <a:lnTo>
                    <a:pt x="255462" y="25510"/>
                  </a:lnTo>
                  <a:lnTo>
                    <a:pt x="290872" y="17281"/>
                  </a:lnTo>
                  <a:lnTo>
                    <a:pt x="331342" y="15635"/>
                  </a:lnTo>
                  <a:lnTo>
                    <a:pt x="386987" y="20573"/>
                  </a:lnTo>
                  <a:lnTo>
                    <a:pt x="405535" y="17281"/>
                  </a:lnTo>
                  <a:lnTo>
                    <a:pt x="407222" y="22219"/>
                  </a:lnTo>
                  <a:lnTo>
                    <a:pt x="370125" y="55136"/>
                  </a:lnTo>
                  <a:lnTo>
                    <a:pt x="348204" y="65011"/>
                  </a:lnTo>
                  <a:lnTo>
                    <a:pt x="333028" y="66657"/>
                  </a:lnTo>
                  <a:lnTo>
                    <a:pt x="289186" y="60074"/>
                  </a:lnTo>
                  <a:lnTo>
                    <a:pt x="274010" y="61719"/>
                  </a:lnTo>
                  <a:lnTo>
                    <a:pt x="236913" y="78178"/>
                  </a:lnTo>
                  <a:lnTo>
                    <a:pt x="225110" y="86407"/>
                  </a:lnTo>
                  <a:lnTo>
                    <a:pt x="208247" y="106158"/>
                  </a:lnTo>
                  <a:lnTo>
                    <a:pt x="186326" y="160471"/>
                  </a:lnTo>
                  <a:lnTo>
                    <a:pt x="167778" y="180221"/>
                  </a:lnTo>
                  <a:lnTo>
                    <a:pt x="128995" y="213139"/>
                  </a:lnTo>
                  <a:lnTo>
                    <a:pt x="95270" y="232889"/>
                  </a:lnTo>
                  <a:lnTo>
                    <a:pt x="85153" y="242764"/>
                  </a:lnTo>
                  <a:lnTo>
                    <a:pt x="36252" y="255931"/>
                  </a:lnTo>
                  <a:lnTo>
                    <a:pt x="31194" y="244410"/>
                  </a:lnTo>
                  <a:lnTo>
                    <a:pt x="12645" y="252639"/>
                  </a:lnTo>
                  <a:lnTo>
                    <a:pt x="12645" y="239472"/>
                  </a:lnTo>
                  <a:lnTo>
                    <a:pt x="9273" y="247702"/>
                  </a:lnTo>
                  <a:lnTo>
                    <a:pt x="10959" y="252639"/>
                  </a:lnTo>
                  <a:lnTo>
                    <a:pt x="9273" y="252639"/>
                  </a:lnTo>
                  <a:lnTo>
                    <a:pt x="5900" y="249348"/>
                  </a:lnTo>
                  <a:lnTo>
                    <a:pt x="16018" y="211493"/>
                  </a:lnTo>
                  <a:lnTo>
                    <a:pt x="17704" y="186805"/>
                  </a:lnTo>
                  <a:lnTo>
                    <a:pt x="10959" y="147304"/>
                  </a:lnTo>
                  <a:lnTo>
                    <a:pt x="12645" y="102866"/>
                  </a:lnTo>
                  <a:lnTo>
                    <a:pt x="4214" y="56782"/>
                  </a:lnTo>
                  <a:lnTo>
                    <a:pt x="17704" y="55136"/>
                  </a:lnTo>
                  <a:lnTo>
                    <a:pt x="29508" y="50198"/>
                  </a:lnTo>
                  <a:lnTo>
                    <a:pt x="41311" y="41969"/>
                  </a:lnTo>
                  <a:lnTo>
                    <a:pt x="58173" y="22219"/>
                  </a:lnTo>
                  <a:lnTo>
                    <a:pt x="75036" y="10698"/>
                  </a:lnTo>
                  <a:lnTo>
                    <a:pt x="100329" y="10698"/>
                  </a:lnTo>
                  <a:lnTo>
                    <a:pt x="135740" y="4114"/>
                  </a:lnTo>
                  <a:lnTo>
                    <a:pt x="171150"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6" name="Leidschendam-Voorburg">
              <a:extLst>
                <a:ext uri="{FF2B5EF4-FFF2-40B4-BE49-F238E27FC236}">
                  <a16:creationId xmlns:a16="http://schemas.microsoft.com/office/drawing/2014/main" id="{1A94E406-1417-4FC2-97F6-58F303D8CA6F}"/>
                </a:ext>
              </a:extLst>
            </p:cNvPr>
            <p:cNvSpPr/>
            <p:nvPr/>
          </p:nvSpPr>
          <p:spPr>
            <a:xfrm>
              <a:off x="5123665" y="3466523"/>
              <a:ext cx="162176" cy="116386"/>
            </a:xfrm>
            <a:custGeom>
              <a:avLst/>
              <a:gdLst/>
              <a:ahLst/>
              <a:cxnLst/>
              <a:rect l="l" t="t" r="r" b="b"/>
              <a:pathLst>
                <a:path w="245871" h="171450" extrusionOk="0">
                  <a:moveTo>
                    <a:pt x="206561" y="4114"/>
                  </a:moveTo>
                  <a:lnTo>
                    <a:pt x="216679" y="17281"/>
                  </a:lnTo>
                  <a:lnTo>
                    <a:pt x="216679" y="28802"/>
                  </a:lnTo>
                  <a:lnTo>
                    <a:pt x="213306" y="32094"/>
                  </a:lnTo>
                  <a:lnTo>
                    <a:pt x="241972" y="79824"/>
                  </a:lnTo>
                  <a:lnTo>
                    <a:pt x="245344" y="104512"/>
                  </a:lnTo>
                  <a:lnTo>
                    <a:pt x="216679" y="109449"/>
                  </a:lnTo>
                  <a:lnTo>
                    <a:pt x="220051" y="119324"/>
                  </a:lnTo>
                  <a:lnTo>
                    <a:pt x="189699" y="125908"/>
                  </a:lnTo>
                  <a:lnTo>
                    <a:pt x="135740" y="163763"/>
                  </a:lnTo>
                  <a:lnTo>
                    <a:pt x="122250" y="140721"/>
                  </a:lnTo>
                  <a:lnTo>
                    <a:pt x="110446" y="125908"/>
                  </a:lnTo>
                  <a:lnTo>
                    <a:pt x="98643" y="134137"/>
                  </a:lnTo>
                  <a:lnTo>
                    <a:pt x="95270" y="130845"/>
                  </a:lnTo>
                  <a:lnTo>
                    <a:pt x="86839" y="137429"/>
                  </a:lnTo>
                  <a:lnTo>
                    <a:pt x="80094" y="130845"/>
                  </a:lnTo>
                  <a:lnTo>
                    <a:pt x="36252" y="165409"/>
                  </a:lnTo>
                  <a:lnTo>
                    <a:pt x="42997" y="171992"/>
                  </a:lnTo>
                  <a:lnTo>
                    <a:pt x="41311" y="175284"/>
                  </a:lnTo>
                  <a:lnTo>
                    <a:pt x="37939" y="178576"/>
                  </a:lnTo>
                  <a:lnTo>
                    <a:pt x="31194" y="170346"/>
                  </a:lnTo>
                  <a:lnTo>
                    <a:pt x="24449" y="176930"/>
                  </a:lnTo>
                  <a:lnTo>
                    <a:pt x="14332" y="165409"/>
                  </a:lnTo>
                  <a:lnTo>
                    <a:pt x="36252" y="148950"/>
                  </a:lnTo>
                  <a:lnTo>
                    <a:pt x="4214" y="132492"/>
                  </a:lnTo>
                  <a:lnTo>
                    <a:pt x="63232" y="91345"/>
                  </a:lnTo>
                  <a:lnTo>
                    <a:pt x="61546" y="86407"/>
                  </a:lnTo>
                  <a:lnTo>
                    <a:pt x="107074" y="45261"/>
                  </a:lnTo>
                  <a:lnTo>
                    <a:pt x="123936" y="53490"/>
                  </a:lnTo>
                  <a:lnTo>
                    <a:pt x="122250" y="55136"/>
                  </a:lnTo>
                  <a:lnTo>
                    <a:pt x="123936" y="56782"/>
                  </a:lnTo>
                  <a:lnTo>
                    <a:pt x="125622" y="55136"/>
                  </a:lnTo>
                  <a:lnTo>
                    <a:pt x="137426" y="61719"/>
                  </a:lnTo>
                  <a:lnTo>
                    <a:pt x="147543" y="69949"/>
                  </a:lnTo>
                  <a:lnTo>
                    <a:pt x="155974" y="63365"/>
                  </a:lnTo>
                  <a:lnTo>
                    <a:pt x="162719" y="51844"/>
                  </a:lnTo>
                  <a:lnTo>
                    <a:pt x="176209" y="41969"/>
                  </a:lnTo>
                  <a:lnTo>
                    <a:pt x="203189" y="9052"/>
                  </a:lnTo>
                  <a:lnTo>
                    <a:pt x="204875" y="10698"/>
                  </a:lnTo>
                  <a:lnTo>
                    <a:pt x="206561" y="9052"/>
                  </a:lnTo>
                  <a:lnTo>
                    <a:pt x="20656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7" name="Hardinxveld-Giessendam">
              <a:extLst>
                <a:ext uri="{FF2B5EF4-FFF2-40B4-BE49-F238E27FC236}">
                  <a16:creationId xmlns:a16="http://schemas.microsoft.com/office/drawing/2014/main" id="{C1843F64-3695-4ED0-979D-16A578361717}"/>
                </a:ext>
              </a:extLst>
            </p:cNvPr>
            <p:cNvSpPr/>
            <p:nvPr/>
          </p:nvSpPr>
          <p:spPr>
            <a:xfrm>
              <a:off x="5611242" y="3896235"/>
              <a:ext cx="131728" cy="75608"/>
            </a:xfrm>
            <a:custGeom>
              <a:avLst/>
              <a:gdLst/>
              <a:ahLst/>
              <a:cxnLst/>
              <a:rect l="l" t="t" r="r" b="b"/>
              <a:pathLst>
                <a:path w="187330" h="114300" extrusionOk="0">
                  <a:moveTo>
                    <a:pt x="58173" y="4114"/>
                  </a:moveTo>
                  <a:lnTo>
                    <a:pt x="71663" y="71594"/>
                  </a:lnTo>
                  <a:lnTo>
                    <a:pt x="95270" y="71594"/>
                  </a:lnTo>
                  <a:lnTo>
                    <a:pt x="100329" y="66657"/>
                  </a:lnTo>
                  <a:lnTo>
                    <a:pt x="102015" y="73240"/>
                  </a:lnTo>
                  <a:lnTo>
                    <a:pt x="117191" y="73240"/>
                  </a:lnTo>
                  <a:lnTo>
                    <a:pt x="162719" y="58427"/>
                  </a:lnTo>
                  <a:lnTo>
                    <a:pt x="189699" y="55136"/>
                  </a:lnTo>
                  <a:lnTo>
                    <a:pt x="193071" y="83115"/>
                  </a:lnTo>
                  <a:lnTo>
                    <a:pt x="169464" y="89699"/>
                  </a:lnTo>
                  <a:lnTo>
                    <a:pt x="127309" y="111095"/>
                  </a:lnTo>
                  <a:lnTo>
                    <a:pt x="125622" y="106157"/>
                  </a:lnTo>
                  <a:lnTo>
                    <a:pt x="107074" y="109449"/>
                  </a:lnTo>
                  <a:lnTo>
                    <a:pt x="58173" y="104512"/>
                  </a:lnTo>
                  <a:lnTo>
                    <a:pt x="16018" y="106157"/>
                  </a:lnTo>
                  <a:lnTo>
                    <a:pt x="16018" y="99574"/>
                  </a:lnTo>
                  <a:lnTo>
                    <a:pt x="5900" y="97928"/>
                  </a:lnTo>
                  <a:lnTo>
                    <a:pt x="4214" y="38677"/>
                  </a:lnTo>
                  <a:lnTo>
                    <a:pt x="5817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8" name="Aalsmeer">
              <a:extLst>
                <a:ext uri="{FF2B5EF4-FFF2-40B4-BE49-F238E27FC236}">
                  <a16:creationId xmlns:a16="http://schemas.microsoft.com/office/drawing/2014/main" id="{C1ED2B0F-4C58-4C25-9F55-A1FFF7FE53F2}"/>
                </a:ext>
              </a:extLst>
            </p:cNvPr>
            <p:cNvSpPr/>
            <p:nvPr/>
          </p:nvSpPr>
          <p:spPr>
            <a:xfrm>
              <a:off x="5475018" y="3188648"/>
              <a:ext cx="161801" cy="137103"/>
            </a:xfrm>
            <a:custGeom>
              <a:avLst/>
              <a:gdLst/>
              <a:ahLst/>
              <a:cxnLst/>
              <a:rect l="l" t="t" r="r" b="b"/>
              <a:pathLst>
                <a:path w="234163" h="217170" extrusionOk="0">
                  <a:moveTo>
                    <a:pt x="174523" y="125908"/>
                  </a:moveTo>
                  <a:lnTo>
                    <a:pt x="155974" y="139075"/>
                  </a:lnTo>
                  <a:lnTo>
                    <a:pt x="152602" y="144013"/>
                  </a:lnTo>
                  <a:lnTo>
                    <a:pt x="152602" y="150596"/>
                  </a:lnTo>
                  <a:lnTo>
                    <a:pt x="159347" y="160471"/>
                  </a:lnTo>
                  <a:lnTo>
                    <a:pt x="83467" y="219722"/>
                  </a:lnTo>
                  <a:lnTo>
                    <a:pt x="85153" y="180221"/>
                  </a:lnTo>
                  <a:lnTo>
                    <a:pt x="54801" y="176930"/>
                  </a:lnTo>
                  <a:lnTo>
                    <a:pt x="42997" y="180221"/>
                  </a:lnTo>
                  <a:lnTo>
                    <a:pt x="27821" y="193389"/>
                  </a:lnTo>
                  <a:lnTo>
                    <a:pt x="12645" y="195034"/>
                  </a:lnTo>
                  <a:lnTo>
                    <a:pt x="4214" y="183513"/>
                  </a:lnTo>
                  <a:lnTo>
                    <a:pt x="14331" y="173638"/>
                  </a:lnTo>
                  <a:lnTo>
                    <a:pt x="21076" y="163763"/>
                  </a:lnTo>
                  <a:lnTo>
                    <a:pt x="51428" y="150596"/>
                  </a:lnTo>
                  <a:lnTo>
                    <a:pt x="69977" y="124262"/>
                  </a:lnTo>
                  <a:lnTo>
                    <a:pt x="80094" y="116033"/>
                  </a:lnTo>
                  <a:lnTo>
                    <a:pt x="88525" y="106158"/>
                  </a:lnTo>
                  <a:lnTo>
                    <a:pt x="108760" y="94637"/>
                  </a:lnTo>
                  <a:lnTo>
                    <a:pt x="120564" y="84761"/>
                  </a:lnTo>
                  <a:lnTo>
                    <a:pt x="147543" y="74886"/>
                  </a:lnTo>
                  <a:lnTo>
                    <a:pt x="171150" y="58427"/>
                  </a:lnTo>
                  <a:lnTo>
                    <a:pt x="186326" y="43615"/>
                  </a:lnTo>
                  <a:lnTo>
                    <a:pt x="194757" y="18927"/>
                  </a:lnTo>
                  <a:lnTo>
                    <a:pt x="216678" y="4114"/>
                  </a:lnTo>
                  <a:lnTo>
                    <a:pt x="238599" y="41969"/>
                  </a:lnTo>
                  <a:lnTo>
                    <a:pt x="193071" y="114387"/>
                  </a:lnTo>
                  <a:lnTo>
                    <a:pt x="174523" y="12590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09" name="Hellendoorn">
              <a:extLst>
                <a:ext uri="{FF2B5EF4-FFF2-40B4-BE49-F238E27FC236}">
                  <a16:creationId xmlns:a16="http://schemas.microsoft.com/office/drawing/2014/main" id="{603170EF-41F9-4A2F-ACF0-4EFDDF609B72}"/>
                </a:ext>
              </a:extLst>
            </p:cNvPr>
            <p:cNvSpPr/>
            <p:nvPr/>
          </p:nvSpPr>
          <p:spPr>
            <a:xfrm>
              <a:off x="7217291" y="2929030"/>
              <a:ext cx="278462" cy="236522"/>
            </a:xfrm>
            <a:custGeom>
              <a:avLst/>
              <a:gdLst/>
              <a:ahLst/>
              <a:cxnLst/>
              <a:rect l="l" t="t" r="r" b="b"/>
              <a:pathLst>
                <a:path w="398077" h="354330" extrusionOk="0">
                  <a:moveTo>
                    <a:pt x="177895" y="4114"/>
                  </a:moveTo>
                  <a:lnTo>
                    <a:pt x="174523" y="5760"/>
                  </a:lnTo>
                  <a:lnTo>
                    <a:pt x="182954" y="7405"/>
                  </a:lnTo>
                  <a:lnTo>
                    <a:pt x="204875" y="41969"/>
                  </a:lnTo>
                  <a:lnTo>
                    <a:pt x="213306" y="48552"/>
                  </a:lnTo>
                  <a:lnTo>
                    <a:pt x="216679" y="53490"/>
                  </a:lnTo>
                  <a:lnTo>
                    <a:pt x="221737" y="51844"/>
                  </a:lnTo>
                  <a:lnTo>
                    <a:pt x="223424" y="53490"/>
                  </a:lnTo>
                  <a:lnTo>
                    <a:pt x="270638" y="61719"/>
                  </a:lnTo>
                  <a:lnTo>
                    <a:pt x="274010" y="58427"/>
                  </a:lnTo>
                  <a:lnTo>
                    <a:pt x="279069" y="60073"/>
                  </a:lnTo>
                  <a:lnTo>
                    <a:pt x="285814" y="51844"/>
                  </a:lnTo>
                  <a:lnTo>
                    <a:pt x="290872" y="55136"/>
                  </a:lnTo>
                  <a:lnTo>
                    <a:pt x="295931" y="51844"/>
                  </a:lnTo>
                  <a:lnTo>
                    <a:pt x="300990" y="38677"/>
                  </a:lnTo>
                  <a:lnTo>
                    <a:pt x="314480" y="27156"/>
                  </a:lnTo>
                  <a:lnTo>
                    <a:pt x="331342" y="28802"/>
                  </a:lnTo>
                  <a:lnTo>
                    <a:pt x="336401" y="32094"/>
                  </a:lnTo>
                  <a:lnTo>
                    <a:pt x="341459" y="32094"/>
                  </a:lnTo>
                  <a:lnTo>
                    <a:pt x="348204" y="38677"/>
                  </a:lnTo>
                  <a:lnTo>
                    <a:pt x="361694" y="32094"/>
                  </a:lnTo>
                  <a:lnTo>
                    <a:pt x="361694" y="37031"/>
                  </a:lnTo>
                  <a:lnTo>
                    <a:pt x="398791" y="15635"/>
                  </a:lnTo>
                  <a:lnTo>
                    <a:pt x="402163" y="55136"/>
                  </a:lnTo>
                  <a:lnTo>
                    <a:pt x="386987" y="66657"/>
                  </a:lnTo>
                  <a:lnTo>
                    <a:pt x="366753" y="92991"/>
                  </a:lnTo>
                  <a:lnTo>
                    <a:pt x="363380" y="92991"/>
                  </a:lnTo>
                  <a:lnTo>
                    <a:pt x="370125" y="106157"/>
                  </a:lnTo>
                  <a:lnTo>
                    <a:pt x="279069" y="135783"/>
                  </a:lnTo>
                  <a:lnTo>
                    <a:pt x="268951" y="170346"/>
                  </a:lnTo>
                  <a:lnTo>
                    <a:pt x="277383" y="195034"/>
                  </a:lnTo>
                  <a:lnTo>
                    <a:pt x="248717" y="208201"/>
                  </a:lnTo>
                  <a:lnTo>
                    <a:pt x="250403" y="227951"/>
                  </a:lnTo>
                  <a:lnTo>
                    <a:pt x="255462" y="239472"/>
                  </a:lnTo>
                  <a:lnTo>
                    <a:pt x="287500" y="244410"/>
                  </a:lnTo>
                  <a:lnTo>
                    <a:pt x="285814" y="259223"/>
                  </a:lnTo>
                  <a:lnTo>
                    <a:pt x="267265" y="259223"/>
                  </a:lnTo>
                  <a:lnTo>
                    <a:pt x="265579" y="265806"/>
                  </a:lnTo>
                  <a:lnTo>
                    <a:pt x="258834" y="264160"/>
                  </a:lnTo>
                  <a:lnTo>
                    <a:pt x="250403" y="272389"/>
                  </a:lnTo>
                  <a:lnTo>
                    <a:pt x="243658" y="274035"/>
                  </a:lnTo>
                  <a:lnTo>
                    <a:pt x="240286" y="282265"/>
                  </a:lnTo>
                  <a:lnTo>
                    <a:pt x="236913" y="283910"/>
                  </a:lnTo>
                  <a:lnTo>
                    <a:pt x="240286" y="287202"/>
                  </a:lnTo>
                  <a:lnTo>
                    <a:pt x="199816" y="344807"/>
                  </a:lnTo>
                  <a:lnTo>
                    <a:pt x="139112" y="331641"/>
                  </a:lnTo>
                  <a:lnTo>
                    <a:pt x="39625" y="351391"/>
                  </a:lnTo>
                  <a:lnTo>
                    <a:pt x="19390" y="315182"/>
                  </a:lnTo>
                  <a:lnTo>
                    <a:pt x="4214" y="272389"/>
                  </a:lnTo>
                  <a:lnTo>
                    <a:pt x="19390" y="226305"/>
                  </a:lnTo>
                  <a:lnTo>
                    <a:pt x="39625" y="209847"/>
                  </a:lnTo>
                  <a:lnTo>
                    <a:pt x="78408" y="199971"/>
                  </a:lnTo>
                  <a:lnTo>
                    <a:pt x="86839" y="201617"/>
                  </a:lnTo>
                  <a:lnTo>
                    <a:pt x="112133" y="116033"/>
                  </a:lnTo>
                  <a:lnTo>
                    <a:pt x="88526" y="84761"/>
                  </a:lnTo>
                  <a:lnTo>
                    <a:pt x="145857" y="58427"/>
                  </a:lnTo>
                  <a:lnTo>
                    <a:pt x="161033" y="46906"/>
                  </a:lnTo>
                  <a:lnTo>
                    <a:pt x="159347" y="35385"/>
                  </a:lnTo>
                  <a:lnTo>
                    <a:pt x="166092" y="32094"/>
                  </a:lnTo>
                  <a:lnTo>
                    <a:pt x="169464" y="20573"/>
                  </a:lnTo>
                  <a:lnTo>
                    <a:pt x="166092" y="18926"/>
                  </a:lnTo>
                  <a:lnTo>
                    <a:pt x="166092" y="17281"/>
                  </a:lnTo>
                  <a:lnTo>
                    <a:pt x="171151" y="12343"/>
                  </a:lnTo>
                  <a:lnTo>
                    <a:pt x="169464" y="10697"/>
                  </a:lnTo>
                  <a:lnTo>
                    <a:pt x="171151" y="4114"/>
                  </a:lnTo>
                  <a:lnTo>
                    <a:pt x="17789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0" name="Stichtse Vecht">
              <a:extLst>
                <a:ext uri="{FF2B5EF4-FFF2-40B4-BE49-F238E27FC236}">
                  <a16:creationId xmlns:a16="http://schemas.microsoft.com/office/drawing/2014/main" id="{3160629D-F447-443A-8409-B4ED3C44C654}"/>
                </a:ext>
              </a:extLst>
            </p:cNvPr>
            <p:cNvSpPr/>
            <p:nvPr/>
          </p:nvSpPr>
          <p:spPr>
            <a:xfrm>
              <a:off x="5726384" y="3215049"/>
              <a:ext cx="223855" cy="281887"/>
            </a:xfrm>
            <a:custGeom>
              <a:avLst/>
              <a:gdLst/>
              <a:ahLst/>
              <a:cxnLst/>
              <a:rect l="l" t="t" r="r" b="b"/>
              <a:pathLst>
                <a:path w="327828" h="422910" extrusionOk="0">
                  <a:moveTo>
                    <a:pt x="238599" y="9052"/>
                  </a:moveTo>
                  <a:lnTo>
                    <a:pt x="241972" y="13989"/>
                  </a:lnTo>
                  <a:lnTo>
                    <a:pt x="241972" y="23864"/>
                  </a:lnTo>
                  <a:lnTo>
                    <a:pt x="238599" y="22218"/>
                  </a:lnTo>
                  <a:lnTo>
                    <a:pt x="238599" y="13989"/>
                  </a:lnTo>
                  <a:lnTo>
                    <a:pt x="233540" y="13989"/>
                  </a:lnTo>
                  <a:lnTo>
                    <a:pt x="220051" y="22218"/>
                  </a:lnTo>
                  <a:lnTo>
                    <a:pt x="216678" y="33739"/>
                  </a:lnTo>
                  <a:lnTo>
                    <a:pt x="208247" y="30448"/>
                  </a:lnTo>
                  <a:lnTo>
                    <a:pt x="201502" y="33739"/>
                  </a:lnTo>
                  <a:lnTo>
                    <a:pt x="193071" y="37031"/>
                  </a:lnTo>
                  <a:lnTo>
                    <a:pt x="188013" y="45260"/>
                  </a:lnTo>
                  <a:lnTo>
                    <a:pt x="177895" y="43615"/>
                  </a:lnTo>
                  <a:lnTo>
                    <a:pt x="184640" y="55136"/>
                  </a:lnTo>
                  <a:lnTo>
                    <a:pt x="182954" y="63365"/>
                  </a:lnTo>
                  <a:lnTo>
                    <a:pt x="191385" y="73240"/>
                  </a:lnTo>
                  <a:lnTo>
                    <a:pt x="189699" y="86407"/>
                  </a:lnTo>
                  <a:lnTo>
                    <a:pt x="196443" y="91345"/>
                  </a:lnTo>
                  <a:lnTo>
                    <a:pt x="203188" y="83115"/>
                  </a:lnTo>
                  <a:lnTo>
                    <a:pt x="206561" y="83115"/>
                  </a:lnTo>
                  <a:lnTo>
                    <a:pt x="213306" y="101220"/>
                  </a:lnTo>
                  <a:lnTo>
                    <a:pt x="211620" y="114387"/>
                  </a:lnTo>
                  <a:lnTo>
                    <a:pt x="230168" y="134137"/>
                  </a:lnTo>
                  <a:lnTo>
                    <a:pt x="204875" y="144012"/>
                  </a:lnTo>
                  <a:lnTo>
                    <a:pt x="203188" y="147304"/>
                  </a:lnTo>
                  <a:lnTo>
                    <a:pt x="206561" y="148950"/>
                  </a:lnTo>
                  <a:lnTo>
                    <a:pt x="199816" y="158825"/>
                  </a:lnTo>
                  <a:lnTo>
                    <a:pt x="198130" y="157179"/>
                  </a:lnTo>
                  <a:lnTo>
                    <a:pt x="206561" y="160471"/>
                  </a:lnTo>
                  <a:lnTo>
                    <a:pt x="198130" y="160471"/>
                  </a:lnTo>
                  <a:lnTo>
                    <a:pt x="196443" y="176930"/>
                  </a:lnTo>
                  <a:lnTo>
                    <a:pt x="198130" y="180221"/>
                  </a:lnTo>
                  <a:lnTo>
                    <a:pt x="194757" y="183513"/>
                  </a:lnTo>
                  <a:lnTo>
                    <a:pt x="198130" y="185159"/>
                  </a:lnTo>
                  <a:lnTo>
                    <a:pt x="193071" y="185159"/>
                  </a:lnTo>
                  <a:lnTo>
                    <a:pt x="193071" y="195034"/>
                  </a:lnTo>
                  <a:lnTo>
                    <a:pt x="196443" y="196680"/>
                  </a:lnTo>
                  <a:lnTo>
                    <a:pt x="194757" y="206555"/>
                  </a:lnTo>
                  <a:lnTo>
                    <a:pt x="198130" y="206555"/>
                  </a:lnTo>
                  <a:lnTo>
                    <a:pt x="196443" y="213138"/>
                  </a:lnTo>
                  <a:lnTo>
                    <a:pt x="179581" y="209847"/>
                  </a:lnTo>
                  <a:lnTo>
                    <a:pt x="179581" y="211493"/>
                  </a:lnTo>
                  <a:lnTo>
                    <a:pt x="176209" y="209847"/>
                  </a:lnTo>
                  <a:lnTo>
                    <a:pt x="176209" y="213138"/>
                  </a:lnTo>
                  <a:lnTo>
                    <a:pt x="174522" y="213138"/>
                  </a:lnTo>
                  <a:lnTo>
                    <a:pt x="176209" y="214784"/>
                  </a:lnTo>
                  <a:lnTo>
                    <a:pt x="174522" y="214784"/>
                  </a:lnTo>
                  <a:lnTo>
                    <a:pt x="181268" y="214784"/>
                  </a:lnTo>
                  <a:lnTo>
                    <a:pt x="189699" y="223014"/>
                  </a:lnTo>
                  <a:lnTo>
                    <a:pt x="198130" y="224660"/>
                  </a:lnTo>
                  <a:lnTo>
                    <a:pt x="199816" y="231243"/>
                  </a:lnTo>
                  <a:lnTo>
                    <a:pt x="191385" y="257577"/>
                  </a:lnTo>
                  <a:lnTo>
                    <a:pt x="204875" y="259223"/>
                  </a:lnTo>
                  <a:lnTo>
                    <a:pt x="211620" y="302015"/>
                  </a:lnTo>
                  <a:lnTo>
                    <a:pt x="316166" y="267452"/>
                  </a:lnTo>
                  <a:lnTo>
                    <a:pt x="321224" y="285557"/>
                  </a:lnTo>
                  <a:lnTo>
                    <a:pt x="285813" y="326703"/>
                  </a:lnTo>
                  <a:lnTo>
                    <a:pt x="324597" y="351391"/>
                  </a:lnTo>
                  <a:lnTo>
                    <a:pt x="297617" y="389246"/>
                  </a:lnTo>
                  <a:lnTo>
                    <a:pt x="294245" y="389246"/>
                  </a:lnTo>
                  <a:lnTo>
                    <a:pt x="274010" y="374433"/>
                  </a:lnTo>
                  <a:lnTo>
                    <a:pt x="257148" y="395829"/>
                  </a:lnTo>
                  <a:lnTo>
                    <a:pt x="250403" y="399121"/>
                  </a:lnTo>
                  <a:lnTo>
                    <a:pt x="247030" y="395829"/>
                  </a:lnTo>
                  <a:lnTo>
                    <a:pt x="233540" y="405704"/>
                  </a:lnTo>
                  <a:lnTo>
                    <a:pt x="213306" y="387600"/>
                  </a:lnTo>
                  <a:lnTo>
                    <a:pt x="203188" y="399121"/>
                  </a:lnTo>
                  <a:lnTo>
                    <a:pt x="191385" y="420517"/>
                  </a:lnTo>
                  <a:lnTo>
                    <a:pt x="159347" y="389246"/>
                  </a:lnTo>
                  <a:lnTo>
                    <a:pt x="145857" y="357975"/>
                  </a:lnTo>
                  <a:lnTo>
                    <a:pt x="120563" y="374433"/>
                  </a:lnTo>
                  <a:lnTo>
                    <a:pt x="117191" y="381017"/>
                  </a:lnTo>
                  <a:lnTo>
                    <a:pt x="100329" y="387600"/>
                  </a:lnTo>
                  <a:lnTo>
                    <a:pt x="95270" y="405704"/>
                  </a:lnTo>
                  <a:lnTo>
                    <a:pt x="81780" y="379371"/>
                  </a:lnTo>
                  <a:lnTo>
                    <a:pt x="54801" y="392538"/>
                  </a:lnTo>
                  <a:lnTo>
                    <a:pt x="41311" y="366204"/>
                  </a:lnTo>
                  <a:lnTo>
                    <a:pt x="24449" y="344807"/>
                  </a:lnTo>
                  <a:lnTo>
                    <a:pt x="5900" y="353037"/>
                  </a:lnTo>
                  <a:lnTo>
                    <a:pt x="5900" y="313536"/>
                  </a:lnTo>
                  <a:lnTo>
                    <a:pt x="4214" y="310245"/>
                  </a:lnTo>
                  <a:lnTo>
                    <a:pt x="32880" y="297078"/>
                  </a:lnTo>
                  <a:lnTo>
                    <a:pt x="37938" y="283910"/>
                  </a:lnTo>
                  <a:lnTo>
                    <a:pt x="36252" y="282265"/>
                  </a:lnTo>
                  <a:lnTo>
                    <a:pt x="42997" y="275681"/>
                  </a:lnTo>
                  <a:lnTo>
                    <a:pt x="41311" y="274035"/>
                  </a:lnTo>
                  <a:lnTo>
                    <a:pt x="58173" y="252639"/>
                  </a:lnTo>
                  <a:lnTo>
                    <a:pt x="63232" y="252639"/>
                  </a:lnTo>
                  <a:lnTo>
                    <a:pt x="63232" y="232889"/>
                  </a:lnTo>
                  <a:lnTo>
                    <a:pt x="64918" y="234535"/>
                  </a:lnTo>
                  <a:lnTo>
                    <a:pt x="66604" y="221368"/>
                  </a:lnTo>
                  <a:lnTo>
                    <a:pt x="81780" y="223014"/>
                  </a:lnTo>
                  <a:lnTo>
                    <a:pt x="83467" y="219722"/>
                  </a:lnTo>
                  <a:lnTo>
                    <a:pt x="90211" y="218076"/>
                  </a:lnTo>
                  <a:lnTo>
                    <a:pt x="102015" y="168700"/>
                  </a:lnTo>
                  <a:lnTo>
                    <a:pt x="115505" y="163763"/>
                  </a:lnTo>
                  <a:lnTo>
                    <a:pt x="112132" y="153888"/>
                  </a:lnTo>
                  <a:lnTo>
                    <a:pt x="134053" y="145658"/>
                  </a:lnTo>
                  <a:lnTo>
                    <a:pt x="132367" y="140720"/>
                  </a:lnTo>
                  <a:lnTo>
                    <a:pt x="134053" y="140720"/>
                  </a:lnTo>
                  <a:lnTo>
                    <a:pt x="137426" y="144012"/>
                  </a:lnTo>
                  <a:lnTo>
                    <a:pt x="152602" y="142367"/>
                  </a:lnTo>
                  <a:lnTo>
                    <a:pt x="174522" y="18926"/>
                  </a:lnTo>
                  <a:lnTo>
                    <a:pt x="179581" y="22218"/>
                  </a:lnTo>
                  <a:lnTo>
                    <a:pt x="188013" y="5760"/>
                  </a:lnTo>
                  <a:lnTo>
                    <a:pt x="193071" y="10697"/>
                  </a:lnTo>
                  <a:lnTo>
                    <a:pt x="206561" y="20573"/>
                  </a:lnTo>
                  <a:lnTo>
                    <a:pt x="218365" y="7405"/>
                  </a:lnTo>
                  <a:lnTo>
                    <a:pt x="221737" y="10697"/>
                  </a:lnTo>
                  <a:lnTo>
                    <a:pt x="233540" y="4114"/>
                  </a:lnTo>
                  <a:lnTo>
                    <a:pt x="238599"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1" name="Gooise Meren">
              <a:extLst>
                <a:ext uri="{FF2B5EF4-FFF2-40B4-BE49-F238E27FC236}">
                  <a16:creationId xmlns:a16="http://schemas.microsoft.com/office/drawing/2014/main" id="{6E461A1A-1727-447B-84FD-88C70583A13E}"/>
                </a:ext>
              </a:extLst>
            </p:cNvPr>
            <p:cNvSpPr/>
            <p:nvPr/>
          </p:nvSpPr>
          <p:spPr>
            <a:xfrm>
              <a:off x="5832712" y="3086330"/>
              <a:ext cx="228588" cy="174968"/>
            </a:xfrm>
            <a:custGeom>
              <a:avLst/>
              <a:gdLst/>
              <a:ahLst/>
              <a:cxnLst/>
              <a:rect l="l" t="t" r="r" b="b"/>
              <a:pathLst>
                <a:path w="327828" h="262890" extrusionOk="0">
                  <a:moveTo>
                    <a:pt x="231855" y="122616"/>
                  </a:moveTo>
                  <a:lnTo>
                    <a:pt x="226796" y="125908"/>
                  </a:lnTo>
                  <a:lnTo>
                    <a:pt x="228482" y="127554"/>
                  </a:lnTo>
                  <a:lnTo>
                    <a:pt x="226796" y="125908"/>
                  </a:lnTo>
                  <a:lnTo>
                    <a:pt x="226796" y="124262"/>
                  </a:lnTo>
                  <a:lnTo>
                    <a:pt x="231855" y="122616"/>
                  </a:lnTo>
                  <a:close/>
                  <a:moveTo>
                    <a:pt x="88526" y="73240"/>
                  </a:moveTo>
                  <a:lnTo>
                    <a:pt x="90212" y="89699"/>
                  </a:lnTo>
                  <a:lnTo>
                    <a:pt x="91898" y="81470"/>
                  </a:lnTo>
                  <a:lnTo>
                    <a:pt x="90212" y="78178"/>
                  </a:lnTo>
                  <a:lnTo>
                    <a:pt x="90212" y="60073"/>
                  </a:lnTo>
                  <a:lnTo>
                    <a:pt x="90212" y="71594"/>
                  </a:lnTo>
                  <a:lnTo>
                    <a:pt x="102015" y="66657"/>
                  </a:lnTo>
                  <a:lnTo>
                    <a:pt x="127309" y="68302"/>
                  </a:lnTo>
                  <a:lnTo>
                    <a:pt x="145857" y="86407"/>
                  </a:lnTo>
                  <a:lnTo>
                    <a:pt x="149230" y="84761"/>
                  </a:lnTo>
                  <a:lnTo>
                    <a:pt x="152602" y="89699"/>
                  </a:lnTo>
                  <a:lnTo>
                    <a:pt x="172837" y="91345"/>
                  </a:lnTo>
                  <a:lnTo>
                    <a:pt x="179582" y="101220"/>
                  </a:lnTo>
                  <a:lnTo>
                    <a:pt x="186326" y="96282"/>
                  </a:lnTo>
                  <a:lnTo>
                    <a:pt x="193072" y="101220"/>
                  </a:lnTo>
                  <a:lnTo>
                    <a:pt x="194758" y="99574"/>
                  </a:lnTo>
                  <a:lnTo>
                    <a:pt x="193072" y="101220"/>
                  </a:lnTo>
                  <a:lnTo>
                    <a:pt x="198130" y="109449"/>
                  </a:lnTo>
                  <a:lnTo>
                    <a:pt x="196444" y="111095"/>
                  </a:lnTo>
                  <a:lnTo>
                    <a:pt x="213306" y="132491"/>
                  </a:lnTo>
                  <a:lnTo>
                    <a:pt x="206561" y="132491"/>
                  </a:lnTo>
                  <a:lnTo>
                    <a:pt x="201503" y="135783"/>
                  </a:lnTo>
                  <a:lnTo>
                    <a:pt x="203189" y="137429"/>
                  </a:lnTo>
                  <a:lnTo>
                    <a:pt x="206561" y="140720"/>
                  </a:lnTo>
                  <a:lnTo>
                    <a:pt x="211620" y="137429"/>
                  </a:lnTo>
                  <a:lnTo>
                    <a:pt x="213306" y="140720"/>
                  </a:lnTo>
                  <a:lnTo>
                    <a:pt x="209934" y="144012"/>
                  </a:lnTo>
                  <a:lnTo>
                    <a:pt x="214993" y="144012"/>
                  </a:lnTo>
                  <a:lnTo>
                    <a:pt x="218365" y="142367"/>
                  </a:lnTo>
                  <a:lnTo>
                    <a:pt x="214993" y="142367"/>
                  </a:lnTo>
                  <a:lnTo>
                    <a:pt x="213306" y="140720"/>
                  </a:lnTo>
                  <a:lnTo>
                    <a:pt x="216679" y="139075"/>
                  </a:lnTo>
                  <a:lnTo>
                    <a:pt x="214993" y="135783"/>
                  </a:lnTo>
                  <a:lnTo>
                    <a:pt x="213306" y="139075"/>
                  </a:lnTo>
                  <a:lnTo>
                    <a:pt x="211620" y="135783"/>
                  </a:lnTo>
                  <a:lnTo>
                    <a:pt x="214993" y="134137"/>
                  </a:lnTo>
                  <a:lnTo>
                    <a:pt x="228482" y="147304"/>
                  </a:lnTo>
                  <a:lnTo>
                    <a:pt x="240286" y="152242"/>
                  </a:lnTo>
                  <a:lnTo>
                    <a:pt x="258834" y="150596"/>
                  </a:lnTo>
                  <a:lnTo>
                    <a:pt x="263893" y="145658"/>
                  </a:lnTo>
                  <a:lnTo>
                    <a:pt x="274010" y="144012"/>
                  </a:lnTo>
                  <a:lnTo>
                    <a:pt x="279069" y="140720"/>
                  </a:lnTo>
                  <a:lnTo>
                    <a:pt x="304362" y="140720"/>
                  </a:lnTo>
                  <a:lnTo>
                    <a:pt x="311107" y="137429"/>
                  </a:lnTo>
                  <a:lnTo>
                    <a:pt x="331342" y="135783"/>
                  </a:lnTo>
                  <a:lnTo>
                    <a:pt x="333028" y="148950"/>
                  </a:lnTo>
                  <a:lnTo>
                    <a:pt x="333028" y="158825"/>
                  </a:lnTo>
                  <a:lnTo>
                    <a:pt x="309421" y="167054"/>
                  </a:lnTo>
                  <a:lnTo>
                    <a:pt x="302676" y="158825"/>
                  </a:lnTo>
                  <a:lnTo>
                    <a:pt x="297618" y="163763"/>
                  </a:lnTo>
                  <a:lnTo>
                    <a:pt x="284128" y="162117"/>
                  </a:lnTo>
                  <a:lnTo>
                    <a:pt x="279069" y="170346"/>
                  </a:lnTo>
                  <a:lnTo>
                    <a:pt x="280755" y="175284"/>
                  </a:lnTo>
                  <a:lnTo>
                    <a:pt x="267265" y="180221"/>
                  </a:lnTo>
                  <a:lnTo>
                    <a:pt x="275697" y="186805"/>
                  </a:lnTo>
                  <a:lnTo>
                    <a:pt x="277383" y="191742"/>
                  </a:lnTo>
                  <a:lnTo>
                    <a:pt x="280755" y="190096"/>
                  </a:lnTo>
                  <a:lnTo>
                    <a:pt x="280755" y="199971"/>
                  </a:lnTo>
                  <a:lnTo>
                    <a:pt x="277383" y="198326"/>
                  </a:lnTo>
                  <a:lnTo>
                    <a:pt x="275697" y="201617"/>
                  </a:lnTo>
                  <a:lnTo>
                    <a:pt x="279069" y="203263"/>
                  </a:lnTo>
                  <a:lnTo>
                    <a:pt x="279069" y="208201"/>
                  </a:lnTo>
                  <a:lnTo>
                    <a:pt x="263893" y="216430"/>
                  </a:lnTo>
                  <a:lnTo>
                    <a:pt x="268951" y="223013"/>
                  </a:lnTo>
                  <a:lnTo>
                    <a:pt x="289186" y="239472"/>
                  </a:lnTo>
                  <a:lnTo>
                    <a:pt x="262207" y="249348"/>
                  </a:lnTo>
                  <a:lnTo>
                    <a:pt x="262207" y="247702"/>
                  </a:lnTo>
                  <a:lnTo>
                    <a:pt x="257148" y="249348"/>
                  </a:lnTo>
                  <a:lnTo>
                    <a:pt x="230168" y="269098"/>
                  </a:lnTo>
                  <a:lnTo>
                    <a:pt x="193072" y="259223"/>
                  </a:lnTo>
                  <a:lnTo>
                    <a:pt x="193072" y="250993"/>
                  </a:lnTo>
                  <a:lnTo>
                    <a:pt x="203189" y="231243"/>
                  </a:lnTo>
                  <a:lnTo>
                    <a:pt x="201503" y="224660"/>
                  </a:lnTo>
                  <a:lnTo>
                    <a:pt x="198130" y="223013"/>
                  </a:lnTo>
                  <a:lnTo>
                    <a:pt x="201503" y="218076"/>
                  </a:lnTo>
                  <a:lnTo>
                    <a:pt x="198130" y="216430"/>
                  </a:lnTo>
                  <a:lnTo>
                    <a:pt x="206561" y="203263"/>
                  </a:lnTo>
                  <a:lnTo>
                    <a:pt x="199816" y="198326"/>
                  </a:lnTo>
                  <a:lnTo>
                    <a:pt x="198130" y="204909"/>
                  </a:lnTo>
                  <a:lnTo>
                    <a:pt x="188013" y="216430"/>
                  </a:lnTo>
                  <a:lnTo>
                    <a:pt x="186326" y="213138"/>
                  </a:lnTo>
                  <a:lnTo>
                    <a:pt x="174523" y="213138"/>
                  </a:lnTo>
                  <a:lnTo>
                    <a:pt x="169464" y="206555"/>
                  </a:lnTo>
                  <a:lnTo>
                    <a:pt x="142485" y="198326"/>
                  </a:lnTo>
                  <a:lnTo>
                    <a:pt x="134054" y="181867"/>
                  </a:lnTo>
                  <a:lnTo>
                    <a:pt x="140799" y="175284"/>
                  </a:lnTo>
                  <a:lnTo>
                    <a:pt x="144171" y="175284"/>
                  </a:lnTo>
                  <a:lnTo>
                    <a:pt x="147543" y="168700"/>
                  </a:lnTo>
                  <a:lnTo>
                    <a:pt x="145857" y="167054"/>
                  </a:lnTo>
                  <a:lnTo>
                    <a:pt x="139112" y="167054"/>
                  </a:lnTo>
                  <a:lnTo>
                    <a:pt x="134054" y="165409"/>
                  </a:lnTo>
                  <a:lnTo>
                    <a:pt x="128995" y="153887"/>
                  </a:lnTo>
                  <a:lnTo>
                    <a:pt x="130681" y="144012"/>
                  </a:lnTo>
                  <a:lnTo>
                    <a:pt x="137426" y="137429"/>
                  </a:lnTo>
                  <a:lnTo>
                    <a:pt x="123936" y="130845"/>
                  </a:lnTo>
                  <a:lnTo>
                    <a:pt x="125622" y="127554"/>
                  </a:lnTo>
                  <a:lnTo>
                    <a:pt x="102015" y="117678"/>
                  </a:lnTo>
                  <a:lnTo>
                    <a:pt x="90212" y="109449"/>
                  </a:lnTo>
                  <a:lnTo>
                    <a:pt x="81781" y="109449"/>
                  </a:lnTo>
                  <a:lnTo>
                    <a:pt x="83467" y="116033"/>
                  </a:lnTo>
                  <a:lnTo>
                    <a:pt x="73349" y="122616"/>
                  </a:lnTo>
                  <a:lnTo>
                    <a:pt x="69977" y="114387"/>
                  </a:lnTo>
                  <a:lnTo>
                    <a:pt x="78408" y="109449"/>
                  </a:lnTo>
                  <a:lnTo>
                    <a:pt x="78408" y="104512"/>
                  </a:lnTo>
                  <a:lnTo>
                    <a:pt x="32880" y="88053"/>
                  </a:lnTo>
                  <a:lnTo>
                    <a:pt x="10959" y="88053"/>
                  </a:lnTo>
                  <a:lnTo>
                    <a:pt x="12645" y="106157"/>
                  </a:lnTo>
                  <a:lnTo>
                    <a:pt x="9273" y="106157"/>
                  </a:lnTo>
                  <a:lnTo>
                    <a:pt x="4214" y="88053"/>
                  </a:lnTo>
                  <a:lnTo>
                    <a:pt x="12645" y="79823"/>
                  </a:lnTo>
                  <a:lnTo>
                    <a:pt x="26135" y="69949"/>
                  </a:lnTo>
                  <a:lnTo>
                    <a:pt x="29508" y="73240"/>
                  </a:lnTo>
                  <a:lnTo>
                    <a:pt x="27822" y="74886"/>
                  </a:lnTo>
                  <a:lnTo>
                    <a:pt x="31194" y="79823"/>
                  </a:lnTo>
                  <a:lnTo>
                    <a:pt x="37939" y="81470"/>
                  </a:lnTo>
                  <a:lnTo>
                    <a:pt x="41311" y="78178"/>
                  </a:lnTo>
                  <a:lnTo>
                    <a:pt x="41311" y="71594"/>
                  </a:lnTo>
                  <a:lnTo>
                    <a:pt x="34566" y="69949"/>
                  </a:lnTo>
                  <a:lnTo>
                    <a:pt x="44684" y="71594"/>
                  </a:lnTo>
                  <a:lnTo>
                    <a:pt x="51429" y="76532"/>
                  </a:lnTo>
                  <a:lnTo>
                    <a:pt x="68291" y="69949"/>
                  </a:lnTo>
                  <a:lnTo>
                    <a:pt x="85153" y="73240"/>
                  </a:lnTo>
                  <a:lnTo>
                    <a:pt x="88526" y="71594"/>
                  </a:lnTo>
                  <a:lnTo>
                    <a:pt x="88526" y="60073"/>
                  </a:lnTo>
                  <a:lnTo>
                    <a:pt x="88526" y="73240"/>
                  </a:lnTo>
                  <a:close/>
                  <a:moveTo>
                    <a:pt x="145857" y="51844"/>
                  </a:moveTo>
                  <a:lnTo>
                    <a:pt x="150916" y="56781"/>
                  </a:lnTo>
                  <a:lnTo>
                    <a:pt x="147543" y="58427"/>
                  </a:lnTo>
                  <a:lnTo>
                    <a:pt x="137426" y="48552"/>
                  </a:lnTo>
                  <a:lnTo>
                    <a:pt x="145857" y="51844"/>
                  </a:lnTo>
                  <a:close/>
                  <a:moveTo>
                    <a:pt x="105388" y="55136"/>
                  </a:moveTo>
                  <a:lnTo>
                    <a:pt x="107074" y="51844"/>
                  </a:lnTo>
                  <a:lnTo>
                    <a:pt x="118878" y="48552"/>
                  </a:lnTo>
                  <a:lnTo>
                    <a:pt x="105388" y="55136"/>
                  </a:lnTo>
                  <a:close/>
                  <a:moveTo>
                    <a:pt x="90212" y="7405"/>
                  </a:moveTo>
                  <a:lnTo>
                    <a:pt x="86839" y="5760"/>
                  </a:lnTo>
                  <a:lnTo>
                    <a:pt x="88526" y="4114"/>
                  </a:lnTo>
                  <a:lnTo>
                    <a:pt x="91898" y="4114"/>
                  </a:lnTo>
                  <a:lnTo>
                    <a:pt x="90212"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2" name="Doesburg">
              <a:extLst>
                <a:ext uri="{FF2B5EF4-FFF2-40B4-BE49-F238E27FC236}">
                  <a16:creationId xmlns:a16="http://schemas.microsoft.com/office/drawing/2014/main" id="{7DA1209A-9864-408F-8B97-EAA132134159}"/>
                </a:ext>
              </a:extLst>
            </p:cNvPr>
            <p:cNvSpPr/>
            <p:nvPr/>
          </p:nvSpPr>
          <p:spPr>
            <a:xfrm>
              <a:off x="6991611" y="3608037"/>
              <a:ext cx="71954" cy="78581"/>
            </a:xfrm>
            <a:custGeom>
              <a:avLst/>
              <a:gdLst/>
              <a:ahLst/>
              <a:cxnLst/>
              <a:rect l="l" t="t" r="r" b="b"/>
              <a:pathLst>
                <a:path w="105373" h="114300" extrusionOk="0">
                  <a:moveTo>
                    <a:pt x="78408" y="13989"/>
                  </a:moveTo>
                  <a:lnTo>
                    <a:pt x="80094" y="15635"/>
                  </a:lnTo>
                  <a:lnTo>
                    <a:pt x="91898" y="17281"/>
                  </a:lnTo>
                  <a:lnTo>
                    <a:pt x="105388" y="10697"/>
                  </a:lnTo>
                  <a:lnTo>
                    <a:pt x="103701" y="28802"/>
                  </a:lnTo>
                  <a:lnTo>
                    <a:pt x="107074" y="30448"/>
                  </a:lnTo>
                  <a:lnTo>
                    <a:pt x="102015" y="38677"/>
                  </a:lnTo>
                  <a:lnTo>
                    <a:pt x="105388" y="40323"/>
                  </a:lnTo>
                  <a:lnTo>
                    <a:pt x="103701" y="43615"/>
                  </a:lnTo>
                  <a:lnTo>
                    <a:pt x="107074" y="45260"/>
                  </a:lnTo>
                  <a:lnTo>
                    <a:pt x="103701" y="51844"/>
                  </a:lnTo>
                  <a:lnTo>
                    <a:pt x="107074" y="53490"/>
                  </a:lnTo>
                  <a:lnTo>
                    <a:pt x="107074" y="60073"/>
                  </a:lnTo>
                  <a:lnTo>
                    <a:pt x="95270" y="66657"/>
                  </a:lnTo>
                  <a:lnTo>
                    <a:pt x="88525" y="65011"/>
                  </a:lnTo>
                  <a:lnTo>
                    <a:pt x="88525" y="71594"/>
                  </a:lnTo>
                  <a:lnTo>
                    <a:pt x="83467" y="73240"/>
                  </a:lnTo>
                  <a:lnTo>
                    <a:pt x="81780" y="89699"/>
                  </a:lnTo>
                  <a:lnTo>
                    <a:pt x="76722" y="91345"/>
                  </a:lnTo>
                  <a:lnTo>
                    <a:pt x="73349" y="97928"/>
                  </a:lnTo>
                  <a:lnTo>
                    <a:pt x="80094" y="96282"/>
                  </a:lnTo>
                  <a:lnTo>
                    <a:pt x="80094" y="106157"/>
                  </a:lnTo>
                  <a:lnTo>
                    <a:pt x="66605" y="101220"/>
                  </a:lnTo>
                  <a:lnTo>
                    <a:pt x="51428" y="114387"/>
                  </a:lnTo>
                  <a:lnTo>
                    <a:pt x="14332" y="114387"/>
                  </a:lnTo>
                  <a:lnTo>
                    <a:pt x="5900" y="117678"/>
                  </a:lnTo>
                  <a:lnTo>
                    <a:pt x="4214" y="116033"/>
                  </a:lnTo>
                  <a:lnTo>
                    <a:pt x="12645" y="96282"/>
                  </a:lnTo>
                  <a:lnTo>
                    <a:pt x="24449" y="89699"/>
                  </a:lnTo>
                  <a:lnTo>
                    <a:pt x="29507" y="81470"/>
                  </a:lnTo>
                  <a:lnTo>
                    <a:pt x="32880" y="66657"/>
                  </a:lnTo>
                  <a:lnTo>
                    <a:pt x="37939" y="51844"/>
                  </a:lnTo>
                  <a:lnTo>
                    <a:pt x="36253" y="33739"/>
                  </a:lnTo>
                  <a:lnTo>
                    <a:pt x="22763" y="23864"/>
                  </a:lnTo>
                  <a:lnTo>
                    <a:pt x="34566" y="23864"/>
                  </a:lnTo>
                  <a:lnTo>
                    <a:pt x="48056" y="20573"/>
                  </a:lnTo>
                  <a:lnTo>
                    <a:pt x="54801" y="17281"/>
                  </a:lnTo>
                  <a:lnTo>
                    <a:pt x="59859" y="7406"/>
                  </a:lnTo>
                  <a:lnTo>
                    <a:pt x="66605" y="4114"/>
                  </a:lnTo>
                  <a:lnTo>
                    <a:pt x="73349" y="5760"/>
                  </a:lnTo>
                  <a:lnTo>
                    <a:pt x="78408"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3" name="Waddinxveen">
              <a:extLst>
                <a:ext uri="{FF2B5EF4-FFF2-40B4-BE49-F238E27FC236}">
                  <a16:creationId xmlns:a16="http://schemas.microsoft.com/office/drawing/2014/main" id="{A04182A9-9CD7-4F17-986A-44226CA4A2DE}"/>
                </a:ext>
              </a:extLst>
            </p:cNvPr>
            <p:cNvSpPr/>
            <p:nvPr/>
          </p:nvSpPr>
          <p:spPr>
            <a:xfrm>
              <a:off x="5394376" y="3546797"/>
              <a:ext cx="121828" cy="113471"/>
            </a:xfrm>
            <a:custGeom>
              <a:avLst/>
              <a:gdLst/>
              <a:ahLst/>
              <a:cxnLst/>
              <a:rect l="l" t="t" r="r" b="b"/>
              <a:pathLst>
                <a:path w="175622" h="160020" extrusionOk="0">
                  <a:moveTo>
                    <a:pt x="75036" y="12343"/>
                  </a:moveTo>
                  <a:lnTo>
                    <a:pt x="76722" y="33739"/>
                  </a:lnTo>
                  <a:lnTo>
                    <a:pt x="110446" y="35385"/>
                  </a:lnTo>
                  <a:lnTo>
                    <a:pt x="115505" y="51844"/>
                  </a:lnTo>
                  <a:lnTo>
                    <a:pt x="120564" y="51844"/>
                  </a:lnTo>
                  <a:lnTo>
                    <a:pt x="123936" y="56781"/>
                  </a:lnTo>
                  <a:lnTo>
                    <a:pt x="123936" y="65011"/>
                  </a:lnTo>
                  <a:lnTo>
                    <a:pt x="140798" y="65011"/>
                  </a:lnTo>
                  <a:lnTo>
                    <a:pt x="135740" y="84761"/>
                  </a:lnTo>
                  <a:lnTo>
                    <a:pt x="150916" y="84761"/>
                  </a:lnTo>
                  <a:lnTo>
                    <a:pt x="179582" y="94636"/>
                  </a:lnTo>
                  <a:lnTo>
                    <a:pt x="149230" y="117678"/>
                  </a:lnTo>
                  <a:lnTo>
                    <a:pt x="120564" y="130845"/>
                  </a:lnTo>
                  <a:lnTo>
                    <a:pt x="123936" y="135783"/>
                  </a:lnTo>
                  <a:lnTo>
                    <a:pt x="137426" y="139075"/>
                  </a:lnTo>
                  <a:lnTo>
                    <a:pt x="142485" y="144012"/>
                  </a:lnTo>
                  <a:lnTo>
                    <a:pt x="132367" y="148950"/>
                  </a:lnTo>
                  <a:lnTo>
                    <a:pt x="118878" y="158825"/>
                  </a:lnTo>
                  <a:lnTo>
                    <a:pt x="115505" y="152242"/>
                  </a:lnTo>
                  <a:lnTo>
                    <a:pt x="120564" y="144012"/>
                  </a:lnTo>
                  <a:lnTo>
                    <a:pt x="120564" y="137429"/>
                  </a:lnTo>
                  <a:lnTo>
                    <a:pt x="115505" y="137429"/>
                  </a:lnTo>
                  <a:lnTo>
                    <a:pt x="113819" y="132491"/>
                  </a:lnTo>
                  <a:lnTo>
                    <a:pt x="102015" y="140720"/>
                  </a:lnTo>
                  <a:lnTo>
                    <a:pt x="91898" y="140720"/>
                  </a:lnTo>
                  <a:lnTo>
                    <a:pt x="91898" y="144012"/>
                  </a:lnTo>
                  <a:lnTo>
                    <a:pt x="73349" y="162117"/>
                  </a:lnTo>
                  <a:lnTo>
                    <a:pt x="54801" y="153888"/>
                  </a:lnTo>
                  <a:lnTo>
                    <a:pt x="4214" y="104512"/>
                  </a:lnTo>
                  <a:lnTo>
                    <a:pt x="29508" y="79823"/>
                  </a:lnTo>
                  <a:lnTo>
                    <a:pt x="27821" y="78178"/>
                  </a:lnTo>
                  <a:lnTo>
                    <a:pt x="34566" y="76532"/>
                  </a:lnTo>
                  <a:lnTo>
                    <a:pt x="34566" y="71595"/>
                  </a:lnTo>
                  <a:lnTo>
                    <a:pt x="26135" y="68303"/>
                  </a:lnTo>
                  <a:lnTo>
                    <a:pt x="31194" y="37031"/>
                  </a:lnTo>
                  <a:lnTo>
                    <a:pt x="29508" y="4114"/>
                  </a:lnTo>
                  <a:lnTo>
                    <a:pt x="58173" y="5760"/>
                  </a:lnTo>
                  <a:lnTo>
                    <a:pt x="58173" y="10697"/>
                  </a:lnTo>
                  <a:lnTo>
                    <a:pt x="75036"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4" name="Assen">
              <a:extLst>
                <a:ext uri="{FF2B5EF4-FFF2-40B4-BE49-F238E27FC236}">
                  <a16:creationId xmlns:a16="http://schemas.microsoft.com/office/drawing/2014/main" id="{2D9F3376-EB9C-40D0-A6EA-E7EB65B110F8}"/>
                </a:ext>
              </a:extLst>
            </p:cNvPr>
            <p:cNvSpPr/>
            <p:nvPr/>
          </p:nvSpPr>
          <p:spPr>
            <a:xfrm>
              <a:off x="7355859" y="1962349"/>
              <a:ext cx="156635" cy="212772"/>
            </a:xfrm>
            <a:custGeom>
              <a:avLst/>
              <a:gdLst/>
              <a:ahLst/>
              <a:cxnLst/>
              <a:rect l="l" t="t" r="r" b="b"/>
              <a:pathLst>
                <a:path w="222455" h="320040" extrusionOk="0">
                  <a:moveTo>
                    <a:pt x="174523" y="4114"/>
                  </a:moveTo>
                  <a:lnTo>
                    <a:pt x="181268" y="17281"/>
                  </a:lnTo>
                  <a:lnTo>
                    <a:pt x="186326" y="35385"/>
                  </a:lnTo>
                  <a:lnTo>
                    <a:pt x="184640" y="61719"/>
                  </a:lnTo>
                  <a:lnTo>
                    <a:pt x="179582" y="73240"/>
                  </a:lnTo>
                  <a:lnTo>
                    <a:pt x="218365" y="89699"/>
                  </a:lnTo>
                  <a:lnTo>
                    <a:pt x="221737" y="89699"/>
                  </a:lnTo>
                  <a:lnTo>
                    <a:pt x="220051" y="94636"/>
                  </a:lnTo>
                  <a:lnTo>
                    <a:pt x="223424" y="99574"/>
                  </a:lnTo>
                  <a:lnTo>
                    <a:pt x="221737" y="107803"/>
                  </a:lnTo>
                  <a:lnTo>
                    <a:pt x="223424" y="111095"/>
                  </a:lnTo>
                  <a:lnTo>
                    <a:pt x="213306" y="116033"/>
                  </a:lnTo>
                  <a:lnTo>
                    <a:pt x="206561" y="122616"/>
                  </a:lnTo>
                  <a:lnTo>
                    <a:pt x="206561" y="130845"/>
                  </a:lnTo>
                  <a:lnTo>
                    <a:pt x="203189" y="130845"/>
                  </a:lnTo>
                  <a:lnTo>
                    <a:pt x="199816" y="132491"/>
                  </a:lnTo>
                  <a:lnTo>
                    <a:pt x="199816" y="137429"/>
                  </a:lnTo>
                  <a:lnTo>
                    <a:pt x="193072" y="140721"/>
                  </a:lnTo>
                  <a:lnTo>
                    <a:pt x="196444" y="144012"/>
                  </a:lnTo>
                  <a:lnTo>
                    <a:pt x="193072" y="147304"/>
                  </a:lnTo>
                  <a:lnTo>
                    <a:pt x="194758" y="150596"/>
                  </a:lnTo>
                  <a:lnTo>
                    <a:pt x="193072" y="153888"/>
                  </a:lnTo>
                  <a:lnTo>
                    <a:pt x="194758" y="155533"/>
                  </a:lnTo>
                  <a:lnTo>
                    <a:pt x="191385" y="155533"/>
                  </a:lnTo>
                  <a:lnTo>
                    <a:pt x="188013" y="165409"/>
                  </a:lnTo>
                  <a:lnTo>
                    <a:pt x="188013" y="183513"/>
                  </a:lnTo>
                  <a:lnTo>
                    <a:pt x="184640" y="193388"/>
                  </a:lnTo>
                  <a:lnTo>
                    <a:pt x="176209" y="198326"/>
                  </a:lnTo>
                  <a:lnTo>
                    <a:pt x="171151" y="203264"/>
                  </a:lnTo>
                  <a:lnTo>
                    <a:pt x="171151" y="219722"/>
                  </a:lnTo>
                  <a:lnTo>
                    <a:pt x="149230" y="232889"/>
                  </a:lnTo>
                  <a:lnTo>
                    <a:pt x="134053" y="254285"/>
                  </a:lnTo>
                  <a:lnTo>
                    <a:pt x="127309" y="274036"/>
                  </a:lnTo>
                  <a:lnTo>
                    <a:pt x="122250" y="275681"/>
                  </a:lnTo>
                  <a:lnTo>
                    <a:pt x="122250" y="282265"/>
                  </a:lnTo>
                  <a:lnTo>
                    <a:pt x="120564" y="282265"/>
                  </a:lnTo>
                  <a:lnTo>
                    <a:pt x="91898" y="262514"/>
                  </a:lnTo>
                  <a:lnTo>
                    <a:pt x="85153" y="290494"/>
                  </a:lnTo>
                  <a:lnTo>
                    <a:pt x="83467" y="316828"/>
                  </a:lnTo>
                  <a:lnTo>
                    <a:pt x="81781" y="318474"/>
                  </a:lnTo>
                  <a:lnTo>
                    <a:pt x="78408" y="313536"/>
                  </a:lnTo>
                  <a:lnTo>
                    <a:pt x="75036" y="315182"/>
                  </a:lnTo>
                  <a:lnTo>
                    <a:pt x="75036" y="310245"/>
                  </a:lnTo>
                  <a:lnTo>
                    <a:pt x="69977" y="310245"/>
                  </a:lnTo>
                  <a:lnTo>
                    <a:pt x="54801" y="300369"/>
                  </a:lnTo>
                  <a:lnTo>
                    <a:pt x="58174" y="292140"/>
                  </a:lnTo>
                  <a:lnTo>
                    <a:pt x="24449" y="272390"/>
                  </a:lnTo>
                  <a:lnTo>
                    <a:pt x="17704" y="280619"/>
                  </a:lnTo>
                  <a:lnTo>
                    <a:pt x="14332" y="278973"/>
                  </a:lnTo>
                  <a:lnTo>
                    <a:pt x="12645" y="280619"/>
                  </a:lnTo>
                  <a:lnTo>
                    <a:pt x="4214" y="275681"/>
                  </a:lnTo>
                  <a:lnTo>
                    <a:pt x="19390" y="255931"/>
                  </a:lnTo>
                  <a:lnTo>
                    <a:pt x="9273" y="249348"/>
                  </a:lnTo>
                  <a:lnTo>
                    <a:pt x="21076" y="231243"/>
                  </a:lnTo>
                  <a:lnTo>
                    <a:pt x="5901" y="221368"/>
                  </a:lnTo>
                  <a:lnTo>
                    <a:pt x="22763" y="196680"/>
                  </a:lnTo>
                  <a:lnTo>
                    <a:pt x="16018" y="193388"/>
                  </a:lnTo>
                  <a:lnTo>
                    <a:pt x="26135" y="178575"/>
                  </a:lnTo>
                  <a:lnTo>
                    <a:pt x="17704" y="173638"/>
                  </a:lnTo>
                  <a:lnTo>
                    <a:pt x="24449" y="170346"/>
                  </a:lnTo>
                  <a:lnTo>
                    <a:pt x="16018" y="171992"/>
                  </a:lnTo>
                  <a:lnTo>
                    <a:pt x="9273" y="142367"/>
                  </a:lnTo>
                  <a:lnTo>
                    <a:pt x="34566" y="130845"/>
                  </a:lnTo>
                  <a:lnTo>
                    <a:pt x="46370" y="129200"/>
                  </a:lnTo>
                  <a:lnTo>
                    <a:pt x="41311" y="114387"/>
                  </a:lnTo>
                  <a:lnTo>
                    <a:pt x="31194" y="116033"/>
                  </a:lnTo>
                  <a:lnTo>
                    <a:pt x="19390" y="81470"/>
                  </a:lnTo>
                  <a:lnTo>
                    <a:pt x="29508" y="78178"/>
                  </a:lnTo>
                  <a:lnTo>
                    <a:pt x="24449" y="63365"/>
                  </a:lnTo>
                  <a:lnTo>
                    <a:pt x="32880" y="43615"/>
                  </a:lnTo>
                  <a:lnTo>
                    <a:pt x="41311" y="48552"/>
                  </a:lnTo>
                  <a:lnTo>
                    <a:pt x="63232" y="43615"/>
                  </a:lnTo>
                  <a:lnTo>
                    <a:pt x="69977" y="51844"/>
                  </a:lnTo>
                  <a:lnTo>
                    <a:pt x="69977" y="58427"/>
                  </a:lnTo>
                  <a:lnTo>
                    <a:pt x="75036" y="63365"/>
                  </a:lnTo>
                  <a:lnTo>
                    <a:pt x="86839" y="65011"/>
                  </a:lnTo>
                  <a:lnTo>
                    <a:pt x="86839" y="68303"/>
                  </a:lnTo>
                  <a:lnTo>
                    <a:pt x="95270" y="69949"/>
                  </a:lnTo>
                  <a:lnTo>
                    <a:pt x="98643" y="60073"/>
                  </a:lnTo>
                  <a:lnTo>
                    <a:pt x="100329" y="61719"/>
                  </a:lnTo>
                  <a:lnTo>
                    <a:pt x="103701" y="50198"/>
                  </a:lnTo>
                  <a:lnTo>
                    <a:pt x="100329" y="40323"/>
                  </a:lnTo>
                  <a:lnTo>
                    <a:pt x="105388" y="27156"/>
                  </a:lnTo>
                  <a:lnTo>
                    <a:pt x="103701" y="20573"/>
                  </a:lnTo>
                  <a:lnTo>
                    <a:pt x="108760" y="18927"/>
                  </a:lnTo>
                  <a:lnTo>
                    <a:pt x="107074" y="12343"/>
                  </a:lnTo>
                  <a:lnTo>
                    <a:pt x="128995" y="9052"/>
                  </a:lnTo>
                  <a:lnTo>
                    <a:pt x="128995" y="20573"/>
                  </a:lnTo>
                  <a:lnTo>
                    <a:pt x="135740" y="22218"/>
                  </a:lnTo>
                  <a:lnTo>
                    <a:pt x="137426" y="10697"/>
                  </a:lnTo>
                  <a:lnTo>
                    <a:pt x="152602" y="9052"/>
                  </a:lnTo>
                  <a:lnTo>
                    <a:pt x="155974" y="13989"/>
                  </a:lnTo>
                  <a:lnTo>
                    <a:pt x="174523" y="5760"/>
                  </a:lnTo>
                  <a:lnTo>
                    <a:pt x="17452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5" name="Eersel">
              <a:extLst>
                <a:ext uri="{FF2B5EF4-FFF2-40B4-BE49-F238E27FC236}">
                  <a16:creationId xmlns:a16="http://schemas.microsoft.com/office/drawing/2014/main" id="{9A1AC23D-E1F4-4297-96D4-F61616028AF2}"/>
                </a:ext>
              </a:extLst>
            </p:cNvPr>
            <p:cNvSpPr/>
            <p:nvPr/>
          </p:nvSpPr>
          <p:spPr>
            <a:xfrm>
              <a:off x="6068484" y="4533346"/>
              <a:ext cx="161801" cy="244083"/>
            </a:xfrm>
            <a:custGeom>
              <a:avLst/>
              <a:gdLst/>
              <a:ahLst/>
              <a:cxnLst/>
              <a:rect l="l" t="t" r="r" b="b"/>
              <a:pathLst>
                <a:path w="234163" h="365760" extrusionOk="0">
                  <a:moveTo>
                    <a:pt x="152602" y="4114"/>
                  </a:moveTo>
                  <a:lnTo>
                    <a:pt x="188013" y="18927"/>
                  </a:lnTo>
                  <a:lnTo>
                    <a:pt x="191385" y="9052"/>
                  </a:lnTo>
                  <a:lnTo>
                    <a:pt x="208247" y="12343"/>
                  </a:lnTo>
                  <a:lnTo>
                    <a:pt x="204875" y="27156"/>
                  </a:lnTo>
                  <a:lnTo>
                    <a:pt x="199816" y="23865"/>
                  </a:lnTo>
                  <a:lnTo>
                    <a:pt x="188013" y="40323"/>
                  </a:lnTo>
                  <a:lnTo>
                    <a:pt x="194757" y="50198"/>
                  </a:lnTo>
                  <a:lnTo>
                    <a:pt x="196444" y="56782"/>
                  </a:lnTo>
                  <a:lnTo>
                    <a:pt x="194757" y="65011"/>
                  </a:lnTo>
                  <a:lnTo>
                    <a:pt x="189699" y="74886"/>
                  </a:lnTo>
                  <a:lnTo>
                    <a:pt x="186326" y="88053"/>
                  </a:lnTo>
                  <a:lnTo>
                    <a:pt x="172837" y="99574"/>
                  </a:lnTo>
                  <a:lnTo>
                    <a:pt x="171150" y="94637"/>
                  </a:lnTo>
                  <a:lnTo>
                    <a:pt x="166092" y="94637"/>
                  </a:lnTo>
                  <a:lnTo>
                    <a:pt x="167778" y="104512"/>
                  </a:lnTo>
                  <a:lnTo>
                    <a:pt x="162719" y="107804"/>
                  </a:lnTo>
                  <a:lnTo>
                    <a:pt x="130681" y="112741"/>
                  </a:lnTo>
                  <a:lnTo>
                    <a:pt x="132367" y="122616"/>
                  </a:lnTo>
                  <a:lnTo>
                    <a:pt x="125622" y="124262"/>
                  </a:lnTo>
                  <a:lnTo>
                    <a:pt x="127309" y="134137"/>
                  </a:lnTo>
                  <a:lnTo>
                    <a:pt x="137426" y="155534"/>
                  </a:lnTo>
                  <a:lnTo>
                    <a:pt x="184640" y="148950"/>
                  </a:lnTo>
                  <a:lnTo>
                    <a:pt x="209934" y="175284"/>
                  </a:lnTo>
                  <a:lnTo>
                    <a:pt x="214992" y="198326"/>
                  </a:lnTo>
                  <a:lnTo>
                    <a:pt x="238599" y="226306"/>
                  </a:lnTo>
                  <a:lnTo>
                    <a:pt x="221737" y="244410"/>
                  </a:lnTo>
                  <a:lnTo>
                    <a:pt x="209934" y="244410"/>
                  </a:lnTo>
                  <a:lnTo>
                    <a:pt x="176209" y="267452"/>
                  </a:lnTo>
                  <a:lnTo>
                    <a:pt x="166092" y="283911"/>
                  </a:lnTo>
                  <a:lnTo>
                    <a:pt x="172837" y="297078"/>
                  </a:lnTo>
                  <a:lnTo>
                    <a:pt x="166092" y="305307"/>
                  </a:lnTo>
                  <a:lnTo>
                    <a:pt x="174523" y="321766"/>
                  </a:lnTo>
                  <a:lnTo>
                    <a:pt x="140798" y="334933"/>
                  </a:lnTo>
                  <a:lnTo>
                    <a:pt x="137426" y="331641"/>
                  </a:lnTo>
                  <a:lnTo>
                    <a:pt x="134053" y="339870"/>
                  </a:lnTo>
                  <a:lnTo>
                    <a:pt x="135740" y="343162"/>
                  </a:lnTo>
                  <a:lnTo>
                    <a:pt x="127309" y="354683"/>
                  </a:lnTo>
                  <a:lnTo>
                    <a:pt x="115505" y="361266"/>
                  </a:lnTo>
                  <a:lnTo>
                    <a:pt x="113819" y="357975"/>
                  </a:lnTo>
                  <a:lnTo>
                    <a:pt x="88525" y="367850"/>
                  </a:lnTo>
                  <a:lnTo>
                    <a:pt x="44684" y="364558"/>
                  </a:lnTo>
                  <a:lnTo>
                    <a:pt x="78408" y="323412"/>
                  </a:lnTo>
                  <a:lnTo>
                    <a:pt x="63232" y="259223"/>
                  </a:lnTo>
                  <a:lnTo>
                    <a:pt x="69977" y="229597"/>
                  </a:lnTo>
                  <a:lnTo>
                    <a:pt x="78408" y="208201"/>
                  </a:lnTo>
                  <a:lnTo>
                    <a:pt x="86839" y="203264"/>
                  </a:lnTo>
                  <a:lnTo>
                    <a:pt x="83467" y="196680"/>
                  </a:lnTo>
                  <a:lnTo>
                    <a:pt x="117191" y="191742"/>
                  </a:lnTo>
                  <a:lnTo>
                    <a:pt x="117191" y="180221"/>
                  </a:lnTo>
                  <a:lnTo>
                    <a:pt x="122250" y="171992"/>
                  </a:lnTo>
                  <a:lnTo>
                    <a:pt x="112132" y="155534"/>
                  </a:lnTo>
                  <a:lnTo>
                    <a:pt x="105388" y="152242"/>
                  </a:lnTo>
                  <a:lnTo>
                    <a:pt x="95270" y="150596"/>
                  </a:lnTo>
                  <a:lnTo>
                    <a:pt x="85153" y="160471"/>
                  </a:lnTo>
                  <a:lnTo>
                    <a:pt x="73349" y="158825"/>
                  </a:lnTo>
                  <a:lnTo>
                    <a:pt x="68291" y="148950"/>
                  </a:lnTo>
                  <a:lnTo>
                    <a:pt x="59859" y="147304"/>
                  </a:lnTo>
                  <a:lnTo>
                    <a:pt x="21076" y="116033"/>
                  </a:lnTo>
                  <a:lnTo>
                    <a:pt x="16018" y="106158"/>
                  </a:lnTo>
                  <a:lnTo>
                    <a:pt x="12645" y="107804"/>
                  </a:lnTo>
                  <a:lnTo>
                    <a:pt x="4214" y="101220"/>
                  </a:lnTo>
                  <a:lnTo>
                    <a:pt x="4214" y="96282"/>
                  </a:lnTo>
                  <a:lnTo>
                    <a:pt x="7586" y="94637"/>
                  </a:lnTo>
                  <a:lnTo>
                    <a:pt x="7586" y="88053"/>
                  </a:lnTo>
                  <a:lnTo>
                    <a:pt x="27821" y="78178"/>
                  </a:lnTo>
                  <a:lnTo>
                    <a:pt x="21076" y="60074"/>
                  </a:lnTo>
                  <a:lnTo>
                    <a:pt x="46370" y="51844"/>
                  </a:lnTo>
                  <a:lnTo>
                    <a:pt x="68291" y="48552"/>
                  </a:lnTo>
                  <a:lnTo>
                    <a:pt x="78408" y="38677"/>
                  </a:lnTo>
                  <a:lnTo>
                    <a:pt x="91898" y="37031"/>
                  </a:lnTo>
                  <a:lnTo>
                    <a:pt x="96956" y="41969"/>
                  </a:lnTo>
                  <a:lnTo>
                    <a:pt x="105388" y="27156"/>
                  </a:lnTo>
                  <a:lnTo>
                    <a:pt x="123936" y="22219"/>
                  </a:lnTo>
                  <a:lnTo>
                    <a:pt x="132367" y="23865"/>
                  </a:lnTo>
                  <a:lnTo>
                    <a:pt x="140798" y="18927"/>
                  </a:lnTo>
                  <a:lnTo>
                    <a:pt x="140798" y="15635"/>
                  </a:lnTo>
                  <a:lnTo>
                    <a:pt x="147543" y="15635"/>
                  </a:lnTo>
                  <a:lnTo>
                    <a:pt x="149229" y="18927"/>
                  </a:lnTo>
                  <a:lnTo>
                    <a:pt x="154288" y="18927"/>
                  </a:lnTo>
                  <a:lnTo>
                    <a:pt x="150916" y="12343"/>
                  </a:lnTo>
                  <a:lnTo>
                    <a:pt x="154288" y="10698"/>
                  </a:lnTo>
                  <a:lnTo>
                    <a:pt x="15260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6" name="Hoeksche Waard">
              <a:extLst>
                <a:ext uri="{FF2B5EF4-FFF2-40B4-BE49-F238E27FC236}">
                  <a16:creationId xmlns:a16="http://schemas.microsoft.com/office/drawing/2014/main" id="{6FD56B39-9D04-4E50-97F5-363D5DF62413}"/>
                </a:ext>
              </a:extLst>
            </p:cNvPr>
            <p:cNvSpPr/>
            <p:nvPr/>
          </p:nvSpPr>
          <p:spPr>
            <a:xfrm>
              <a:off x="5007946" y="3940326"/>
              <a:ext cx="428060" cy="222897"/>
            </a:xfrm>
            <a:custGeom>
              <a:avLst/>
              <a:gdLst>
                <a:gd name="connsiteX0" fmla="*/ 351867 w 422240"/>
                <a:gd name="connsiteY0" fmla="*/ 228589 h 235345"/>
                <a:gd name="connsiteX1" fmla="*/ 359942 w 422240"/>
                <a:gd name="connsiteY1" fmla="*/ 228589 h 235345"/>
                <a:gd name="connsiteX2" fmla="*/ 329947 w 422240"/>
                <a:gd name="connsiteY2" fmla="*/ 235345 h 235345"/>
                <a:gd name="connsiteX3" fmla="*/ 271110 w 422240"/>
                <a:gd name="connsiteY3" fmla="*/ 212824 h 235345"/>
                <a:gd name="connsiteX4" fmla="*/ 274571 w 422240"/>
                <a:gd name="connsiteY4" fmla="*/ 213950 h 235345"/>
                <a:gd name="connsiteX5" fmla="*/ 274955 w 422240"/>
                <a:gd name="connsiteY5" fmla="*/ 214700 h 235345"/>
                <a:gd name="connsiteX6" fmla="*/ 141899 w 422240"/>
                <a:gd name="connsiteY6" fmla="*/ 202126 h 235345"/>
                <a:gd name="connsiteX7" fmla="*/ 143053 w 422240"/>
                <a:gd name="connsiteY7" fmla="*/ 202689 h 235345"/>
                <a:gd name="connsiteX8" fmla="*/ 141899 w 422240"/>
                <a:gd name="connsiteY8" fmla="*/ 206066 h 235345"/>
                <a:gd name="connsiteX9" fmla="*/ 226117 w 422240"/>
                <a:gd name="connsiteY9" fmla="*/ 198185 h 235345"/>
                <a:gd name="connsiteX10" fmla="*/ 228425 w 422240"/>
                <a:gd name="connsiteY10" fmla="*/ 198185 h 235345"/>
                <a:gd name="connsiteX11" fmla="*/ 228425 w 422240"/>
                <a:gd name="connsiteY11" fmla="*/ 200438 h 235345"/>
                <a:gd name="connsiteX12" fmla="*/ 229578 w 422240"/>
                <a:gd name="connsiteY12" fmla="*/ 198185 h 235345"/>
                <a:gd name="connsiteX13" fmla="*/ 233039 w 422240"/>
                <a:gd name="connsiteY13" fmla="*/ 199311 h 235345"/>
                <a:gd name="connsiteX14" fmla="*/ 233039 w 422240"/>
                <a:gd name="connsiteY14" fmla="*/ 201563 h 235345"/>
                <a:gd name="connsiteX15" fmla="*/ 230155 w 422240"/>
                <a:gd name="connsiteY15" fmla="*/ 201001 h 235345"/>
                <a:gd name="connsiteX16" fmla="*/ 227271 w 422240"/>
                <a:gd name="connsiteY16" fmla="*/ 200438 h 235345"/>
                <a:gd name="connsiteX17" fmla="*/ 107289 w 422240"/>
                <a:gd name="connsiteY17" fmla="*/ 197058 h 235345"/>
                <a:gd name="connsiteX18" fmla="*/ 108443 w 422240"/>
                <a:gd name="connsiteY18" fmla="*/ 198747 h 235345"/>
                <a:gd name="connsiteX19" fmla="*/ 109597 w 422240"/>
                <a:gd name="connsiteY19" fmla="*/ 202689 h 235345"/>
                <a:gd name="connsiteX20" fmla="*/ 117672 w 422240"/>
                <a:gd name="connsiteY20" fmla="*/ 189176 h 235345"/>
                <a:gd name="connsiteX21" fmla="*/ 109597 w 422240"/>
                <a:gd name="connsiteY21" fmla="*/ 193680 h 235345"/>
                <a:gd name="connsiteX22" fmla="*/ 114212 w 422240"/>
                <a:gd name="connsiteY22" fmla="*/ 192554 h 235345"/>
                <a:gd name="connsiteX23" fmla="*/ 110751 w 422240"/>
                <a:gd name="connsiteY23" fmla="*/ 193680 h 235345"/>
                <a:gd name="connsiteX24" fmla="*/ 113058 w 422240"/>
                <a:gd name="connsiteY24" fmla="*/ 194806 h 235345"/>
                <a:gd name="connsiteX25" fmla="*/ 109597 w 422240"/>
                <a:gd name="connsiteY25" fmla="*/ 199310 h 235345"/>
                <a:gd name="connsiteX26" fmla="*/ 108444 w 422240"/>
                <a:gd name="connsiteY26" fmla="*/ 198184 h 235345"/>
                <a:gd name="connsiteX27" fmla="*/ 109597 w 422240"/>
                <a:gd name="connsiteY27" fmla="*/ 200436 h 235345"/>
                <a:gd name="connsiteX28" fmla="*/ 108443 w 422240"/>
                <a:gd name="connsiteY28" fmla="*/ 198747 h 235345"/>
                <a:gd name="connsiteX29" fmla="*/ 107289 w 422240"/>
                <a:gd name="connsiteY29" fmla="*/ 194806 h 235345"/>
                <a:gd name="connsiteX30" fmla="*/ 117672 w 422240"/>
                <a:gd name="connsiteY30" fmla="*/ 189176 h 235345"/>
                <a:gd name="connsiteX31" fmla="*/ 141899 w 422240"/>
                <a:gd name="connsiteY31" fmla="*/ 201563 h 235345"/>
                <a:gd name="connsiteX32" fmla="*/ 141899 w 422240"/>
                <a:gd name="connsiteY32" fmla="*/ 202126 h 235345"/>
                <a:gd name="connsiteX33" fmla="*/ 138438 w 422240"/>
                <a:gd name="connsiteY33" fmla="*/ 200436 h 235345"/>
                <a:gd name="connsiteX34" fmla="*/ 131516 w 422240"/>
                <a:gd name="connsiteY34" fmla="*/ 201563 h 235345"/>
                <a:gd name="connsiteX35" fmla="*/ 136131 w 422240"/>
                <a:gd name="connsiteY35" fmla="*/ 199310 h 235345"/>
                <a:gd name="connsiteX36" fmla="*/ 111904 w 422240"/>
                <a:gd name="connsiteY36" fmla="*/ 180168 h 235345"/>
                <a:gd name="connsiteX37" fmla="*/ 114210 w 422240"/>
                <a:gd name="connsiteY37" fmla="*/ 180168 h 235345"/>
                <a:gd name="connsiteX38" fmla="*/ 111904 w 422240"/>
                <a:gd name="connsiteY38" fmla="*/ 181293 h 235345"/>
                <a:gd name="connsiteX39" fmla="*/ 111327 w 422240"/>
                <a:gd name="connsiteY39" fmla="*/ 180731 h 235345"/>
                <a:gd name="connsiteX40" fmla="*/ 114212 w 422240"/>
                <a:gd name="connsiteY40" fmla="*/ 180167 h 235345"/>
                <a:gd name="connsiteX41" fmla="*/ 114212 w 422240"/>
                <a:gd name="connsiteY41" fmla="*/ 180168 h 235345"/>
                <a:gd name="connsiteX42" fmla="*/ 114210 w 422240"/>
                <a:gd name="connsiteY42" fmla="*/ 180168 h 235345"/>
                <a:gd name="connsiteX43" fmla="*/ 289569 w 422240"/>
                <a:gd name="connsiteY43" fmla="*/ 165530 h 235345"/>
                <a:gd name="connsiteX44" fmla="*/ 293030 w 422240"/>
                <a:gd name="connsiteY44" fmla="*/ 181295 h 235345"/>
                <a:gd name="connsiteX45" fmla="*/ 309181 w 422240"/>
                <a:gd name="connsiteY45" fmla="*/ 192555 h 235345"/>
                <a:gd name="connsiteX46" fmla="*/ 302258 w 422240"/>
                <a:gd name="connsiteY46" fmla="*/ 200438 h 235345"/>
                <a:gd name="connsiteX47" fmla="*/ 302258 w 422240"/>
                <a:gd name="connsiteY47" fmla="*/ 202689 h 235345"/>
                <a:gd name="connsiteX48" fmla="*/ 320717 w 422240"/>
                <a:gd name="connsiteY48" fmla="*/ 216202 h 235345"/>
                <a:gd name="connsiteX49" fmla="*/ 320717 w 422240"/>
                <a:gd name="connsiteY49" fmla="*/ 216202 h 235345"/>
                <a:gd name="connsiteX50" fmla="*/ 302259 w 422240"/>
                <a:gd name="connsiteY50" fmla="*/ 202689 h 235345"/>
                <a:gd name="connsiteX51" fmla="*/ 302259 w 422240"/>
                <a:gd name="connsiteY51" fmla="*/ 200437 h 235345"/>
                <a:gd name="connsiteX52" fmla="*/ 309181 w 422240"/>
                <a:gd name="connsiteY52" fmla="*/ 192555 h 235345"/>
                <a:gd name="connsiteX53" fmla="*/ 293030 w 422240"/>
                <a:gd name="connsiteY53" fmla="*/ 181294 h 235345"/>
                <a:gd name="connsiteX54" fmla="*/ 302827 w 422240"/>
                <a:gd name="connsiteY54" fmla="*/ 159328 h 235345"/>
                <a:gd name="connsiteX55" fmla="*/ 303413 w 422240"/>
                <a:gd name="connsiteY55" fmla="*/ 159900 h 235345"/>
                <a:gd name="connsiteX56" fmla="*/ 303990 w 422240"/>
                <a:gd name="connsiteY56" fmla="*/ 159337 h 235345"/>
                <a:gd name="connsiteX57" fmla="*/ 303413 w 422240"/>
                <a:gd name="connsiteY57" fmla="*/ 159899 h 235345"/>
                <a:gd name="connsiteX58" fmla="*/ 299321 w 422240"/>
                <a:gd name="connsiteY58" fmla="*/ 158228 h 235345"/>
                <a:gd name="connsiteX59" fmla="*/ 294183 w 422240"/>
                <a:gd name="connsiteY59" fmla="*/ 159899 h 235345"/>
                <a:gd name="connsiteX60" fmla="*/ 291876 w 422240"/>
                <a:gd name="connsiteY60" fmla="*/ 161026 h 235345"/>
                <a:gd name="connsiteX61" fmla="*/ 290352 w 422240"/>
                <a:gd name="connsiteY61" fmla="*/ 164000 h 235345"/>
                <a:gd name="connsiteX62" fmla="*/ 291876 w 422240"/>
                <a:gd name="connsiteY62" fmla="*/ 161026 h 235345"/>
                <a:gd name="connsiteX63" fmla="*/ 294183 w 422240"/>
                <a:gd name="connsiteY63" fmla="*/ 159900 h 235345"/>
                <a:gd name="connsiteX64" fmla="*/ 34609 w 422240"/>
                <a:gd name="connsiteY64" fmla="*/ 147512 h 235345"/>
                <a:gd name="connsiteX65" fmla="*/ 35520 w 422240"/>
                <a:gd name="connsiteY65" fmla="*/ 147690 h 235345"/>
                <a:gd name="connsiteX66" fmla="*/ 38070 w 422240"/>
                <a:gd name="connsiteY66" fmla="*/ 149764 h 235345"/>
                <a:gd name="connsiteX67" fmla="*/ 381861 w 422240"/>
                <a:gd name="connsiteY67" fmla="*/ 144135 h 235345"/>
                <a:gd name="connsiteX68" fmla="*/ 381411 w 422240"/>
                <a:gd name="connsiteY68" fmla="*/ 145893 h 235345"/>
                <a:gd name="connsiteX69" fmla="*/ 381862 w 422240"/>
                <a:gd name="connsiteY69" fmla="*/ 144135 h 235345"/>
                <a:gd name="connsiteX70" fmla="*/ 290700 w 422240"/>
                <a:gd name="connsiteY70" fmla="*/ 141873 h 235345"/>
                <a:gd name="connsiteX71" fmla="*/ 290722 w 422240"/>
                <a:gd name="connsiteY71" fmla="*/ 141883 h 235345"/>
                <a:gd name="connsiteX72" fmla="*/ 299150 w 422240"/>
                <a:gd name="connsiteY72" fmla="*/ 150109 h 235345"/>
                <a:gd name="connsiteX73" fmla="*/ 290723 w 422240"/>
                <a:gd name="connsiteY73" fmla="*/ 141883 h 235345"/>
                <a:gd name="connsiteX74" fmla="*/ 36917 w 422240"/>
                <a:gd name="connsiteY74" fmla="*/ 135126 h 235345"/>
                <a:gd name="connsiteX75" fmla="*/ 51914 w 422240"/>
                <a:gd name="connsiteY75" fmla="*/ 137378 h 235345"/>
                <a:gd name="connsiteX76" fmla="*/ 49607 w 422240"/>
                <a:gd name="connsiteY76" fmla="*/ 138504 h 235345"/>
                <a:gd name="connsiteX77" fmla="*/ 53068 w 422240"/>
                <a:gd name="connsiteY77" fmla="*/ 137378 h 235345"/>
                <a:gd name="connsiteX78" fmla="*/ 69219 w 422240"/>
                <a:gd name="connsiteY78" fmla="*/ 141882 h 235345"/>
                <a:gd name="connsiteX79" fmla="*/ 68066 w 422240"/>
                <a:gd name="connsiteY79" fmla="*/ 144134 h 235345"/>
                <a:gd name="connsiteX80" fmla="*/ 70373 w 422240"/>
                <a:gd name="connsiteY80" fmla="*/ 141882 h 235345"/>
                <a:gd name="connsiteX81" fmla="*/ 86524 w 422240"/>
                <a:gd name="connsiteY81" fmla="*/ 146387 h 235345"/>
                <a:gd name="connsiteX82" fmla="*/ 98061 w 422240"/>
                <a:gd name="connsiteY82" fmla="*/ 152017 h 235345"/>
                <a:gd name="connsiteX83" fmla="*/ 96907 w 422240"/>
                <a:gd name="connsiteY83" fmla="*/ 154269 h 235345"/>
                <a:gd name="connsiteX84" fmla="*/ 99214 w 422240"/>
                <a:gd name="connsiteY84" fmla="*/ 152017 h 235345"/>
                <a:gd name="connsiteX85" fmla="*/ 113058 w 422240"/>
                <a:gd name="connsiteY85" fmla="*/ 159899 h 235345"/>
                <a:gd name="connsiteX86" fmla="*/ 130363 w 422240"/>
                <a:gd name="connsiteY86" fmla="*/ 164404 h 235345"/>
                <a:gd name="connsiteX87" fmla="*/ 133824 w 422240"/>
                <a:gd name="connsiteY87" fmla="*/ 167781 h 235345"/>
                <a:gd name="connsiteX88" fmla="*/ 133824 w 422240"/>
                <a:gd name="connsiteY88" fmla="*/ 172286 h 235345"/>
                <a:gd name="connsiteX89" fmla="*/ 125748 w 422240"/>
                <a:gd name="connsiteY89" fmla="*/ 174537 h 235345"/>
                <a:gd name="connsiteX90" fmla="*/ 114212 w 422240"/>
                <a:gd name="connsiteY90" fmla="*/ 180167 h 235345"/>
                <a:gd name="connsiteX91" fmla="*/ 114212 w 422240"/>
                <a:gd name="connsiteY91" fmla="*/ 177916 h 235345"/>
                <a:gd name="connsiteX92" fmla="*/ 111904 w 422240"/>
                <a:gd name="connsiteY92" fmla="*/ 180168 h 235345"/>
                <a:gd name="connsiteX93" fmla="*/ 110751 w 422240"/>
                <a:gd name="connsiteY93" fmla="*/ 180168 h 235345"/>
                <a:gd name="connsiteX94" fmla="*/ 111327 w 422240"/>
                <a:gd name="connsiteY94" fmla="*/ 180731 h 235345"/>
                <a:gd name="connsiteX95" fmla="*/ 110751 w 422240"/>
                <a:gd name="connsiteY95" fmla="*/ 181293 h 235345"/>
                <a:gd name="connsiteX96" fmla="*/ 106136 w 422240"/>
                <a:gd name="connsiteY96" fmla="*/ 182420 h 235345"/>
                <a:gd name="connsiteX97" fmla="*/ 92292 w 422240"/>
                <a:gd name="connsiteY97" fmla="*/ 180168 h 235345"/>
                <a:gd name="connsiteX98" fmla="*/ 87678 w 422240"/>
                <a:gd name="connsiteY98" fmla="*/ 176790 h 235345"/>
                <a:gd name="connsiteX99" fmla="*/ 89985 w 422240"/>
                <a:gd name="connsiteY99" fmla="*/ 180168 h 235345"/>
                <a:gd name="connsiteX100" fmla="*/ 85370 w 422240"/>
                <a:gd name="connsiteY100" fmla="*/ 179042 h 235345"/>
                <a:gd name="connsiteX101" fmla="*/ 78448 w 422240"/>
                <a:gd name="connsiteY101" fmla="*/ 175663 h 235345"/>
                <a:gd name="connsiteX102" fmla="*/ 80755 w 422240"/>
                <a:gd name="connsiteY102" fmla="*/ 173411 h 235345"/>
                <a:gd name="connsiteX103" fmla="*/ 77295 w 422240"/>
                <a:gd name="connsiteY103" fmla="*/ 171160 h 235345"/>
                <a:gd name="connsiteX104" fmla="*/ 79602 w 422240"/>
                <a:gd name="connsiteY104" fmla="*/ 173411 h 235345"/>
                <a:gd name="connsiteX105" fmla="*/ 74987 w 422240"/>
                <a:gd name="connsiteY105" fmla="*/ 175663 h 235345"/>
                <a:gd name="connsiteX106" fmla="*/ 63451 w 422240"/>
                <a:gd name="connsiteY106" fmla="*/ 167781 h 235345"/>
                <a:gd name="connsiteX107" fmla="*/ 68066 w 422240"/>
                <a:gd name="connsiteY107" fmla="*/ 162151 h 235345"/>
                <a:gd name="connsiteX108" fmla="*/ 63451 w 422240"/>
                <a:gd name="connsiteY108" fmla="*/ 166655 h 235345"/>
                <a:gd name="connsiteX109" fmla="*/ 49607 w 422240"/>
                <a:gd name="connsiteY109" fmla="*/ 156521 h 235345"/>
                <a:gd name="connsiteX110" fmla="*/ 53068 w 422240"/>
                <a:gd name="connsiteY110" fmla="*/ 152017 h 235345"/>
                <a:gd name="connsiteX111" fmla="*/ 49607 w 422240"/>
                <a:gd name="connsiteY111" fmla="*/ 155394 h 235345"/>
                <a:gd name="connsiteX112" fmla="*/ 46146 w 422240"/>
                <a:gd name="connsiteY112" fmla="*/ 153143 h 235345"/>
                <a:gd name="connsiteX113" fmla="*/ 40377 w 422240"/>
                <a:gd name="connsiteY113" fmla="*/ 149764 h 235345"/>
                <a:gd name="connsiteX114" fmla="*/ 43839 w 422240"/>
                <a:gd name="connsiteY114" fmla="*/ 146387 h 235345"/>
                <a:gd name="connsiteX115" fmla="*/ 40377 w 422240"/>
                <a:gd name="connsiteY115" fmla="*/ 148638 h 235345"/>
                <a:gd name="connsiteX116" fmla="*/ 35520 w 422240"/>
                <a:gd name="connsiteY116" fmla="*/ 147690 h 235345"/>
                <a:gd name="connsiteX117" fmla="*/ 31149 w 422240"/>
                <a:gd name="connsiteY117" fmla="*/ 144134 h 235345"/>
                <a:gd name="connsiteX118" fmla="*/ 31149 w 422240"/>
                <a:gd name="connsiteY118" fmla="*/ 139630 h 235345"/>
                <a:gd name="connsiteX119" fmla="*/ 270690 w 422240"/>
                <a:gd name="connsiteY119" fmla="*/ 131440 h 235345"/>
                <a:gd name="connsiteX120" fmla="*/ 271110 w 422240"/>
                <a:gd name="connsiteY120" fmla="*/ 132874 h 235345"/>
                <a:gd name="connsiteX121" fmla="*/ 271753 w 422240"/>
                <a:gd name="connsiteY121" fmla="*/ 133170 h 235345"/>
                <a:gd name="connsiteX122" fmla="*/ 31149 w 422240"/>
                <a:gd name="connsiteY122" fmla="*/ 118235 h 235345"/>
                <a:gd name="connsiteX123" fmla="*/ 32302 w 422240"/>
                <a:gd name="connsiteY123" fmla="*/ 120488 h 235345"/>
                <a:gd name="connsiteX124" fmla="*/ 31149 w 422240"/>
                <a:gd name="connsiteY124" fmla="*/ 120488 h 235345"/>
                <a:gd name="connsiteX125" fmla="*/ 267649 w 422240"/>
                <a:gd name="connsiteY125" fmla="*/ 109228 h 235345"/>
                <a:gd name="connsiteX126" fmla="*/ 267649 w 422240"/>
                <a:gd name="connsiteY126" fmla="*/ 109228 h 235345"/>
                <a:gd name="connsiteX127" fmla="*/ 271110 w 422240"/>
                <a:gd name="connsiteY127" fmla="*/ 110354 h 235345"/>
                <a:gd name="connsiteX128" fmla="*/ 268803 w 422240"/>
                <a:gd name="connsiteY128" fmla="*/ 124993 h 235345"/>
                <a:gd name="connsiteX129" fmla="*/ 269104 w 422240"/>
                <a:gd name="connsiteY129" fmla="*/ 126021 h 235345"/>
                <a:gd name="connsiteX130" fmla="*/ 271111 w 422240"/>
                <a:gd name="connsiteY130" fmla="*/ 110354 h 235345"/>
                <a:gd name="connsiteX131" fmla="*/ 304561 w 422240"/>
                <a:gd name="connsiteY131" fmla="*/ 88948 h 235345"/>
                <a:gd name="connsiteX132" fmla="*/ 304566 w 422240"/>
                <a:gd name="connsiteY132" fmla="*/ 88959 h 235345"/>
                <a:gd name="connsiteX133" fmla="*/ 308027 w 422240"/>
                <a:gd name="connsiteY133" fmla="*/ 90085 h 235345"/>
                <a:gd name="connsiteX134" fmla="*/ 312642 w 422240"/>
                <a:gd name="connsiteY134" fmla="*/ 94589 h 235345"/>
                <a:gd name="connsiteX135" fmla="*/ 324178 w 422240"/>
                <a:gd name="connsiteY135" fmla="*/ 95716 h 235345"/>
                <a:gd name="connsiteX136" fmla="*/ 333408 w 422240"/>
                <a:gd name="connsiteY136" fmla="*/ 105849 h 235345"/>
                <a:gd name="connsiteX137" fmla="*/ 358788 w 422240"/>
                <a:gd name="connsiteY137" fmla="*/ 109228 h 235345"/>
                <a:gd name="connsiteX138" fmla="*/ 359942 w 422240"/>
                <a:gd name="connsiteY138" fmla="*/ 123866 h 235345"/>
                <a:gd name="connsiteX139" fmla="*/ 402627 w 422240"/>
                <a:gd name="connsiteY139" fmla="*/ 128371 h 235345"/>
                <a:gd name="connsiteX140" fmla="*/ 402627 w 422240"/>
                <a:gd name="connsiteY140" fmla="*/ 128370 h 235345"/>
                <a:gd name="connsiteX141" fmla="*/ 359942 w 422240"/>
                <a:gd name="connsiteY141" fmla="*/ 123865 h 235345"/>
                <a:gd name="connsiteX142" fmla="*/ 358788 w 422240"/>
                <a:gd name="connsiteY142" fmla="*/ 109227 h 235345"/>
                <a:gd name="connsiteX143" fmla="*/ 333408 w 422240"/>
                <a:gd name="connsiteY143" fmla="*/ 105849 h 235345"/>
                <a:gd name="connsiteX144" fmla="*/ 324178 w 422240"/>
                <a:gd name="connsiteY144" fmla="*/ 95714 h 235345"/>
                <a:gd name="connsiteX145" fmla="*/ 312642 w 422240"/>
                <a:gd name="connsiteY145" fmla="*/ 94588 h 235345"/>
                <a:gd name="connsiteX146" fmla="*/ 308027 w 422240"/>
                <a:gd name="connsiteY146" fmla="*/ 90084 h 235345"/>
                <a:gd name="connsiteX147" fmla="*/ 304567 w 422240"/>
                <a:gd name="connsiteY147" fmla="*/ 88958 h 235345"/>
                <a:gd name="connsiteX148" fmla="*/ 175354 w 422240"/>
                <a:gd name="connsiteY148" fmla="*/ 86703 h 235345"/>
                <a:gd name="connsiteX149" fmla="*/ 175356 w 422240"/>
                <a:gd name="connsiteY149" fmla="*/ 86706 h 235345"/>
                <a:gd name="connsiteX150" fmla="*/ 186893 w 422240"/>
                <a:gd name="connsiteY150" fmla="*/ 91210 h 235345"/>
                <a:gd name="connsiteX151" fmla="*/ 190354 w 422240"/>
                <a:gd name="connsiteY151" fmla="*/ 95715 h 235345"/>
                <a:gd name="connsiteX152" fmla="*/ 190354 w 422240"/>
                <a:gd name="connsiteY152" fmla="*/ 95715 h 235345"/>
                <a:gd name="connsiteX153" fmla="*/ 186893 w 422240"/>
                <a:gd name="connsiteY153" fmla="*/ 91210 h 235345"/>
                <a:gd name="connsiteX154" fmla="*/ 175357 w 422240"/>
                <a:gd name="connsiteY154" fmla="*/ 86706 h 235345"/>
                <a:gd name="connsiteX155" fmla="*/ 206044 w 422240"/>
                <a:gd name="connsiteY155" fmla="*/ 84906 h 235345"/>
                <a:gd name="connsiteX156" fmla="*/ 205736 w 422240"/>
                <a:gd name="connsiteY156" fmla="*/ 85206 h 235345"/>
                <a:gd name="connsiteX157" fmla="*/ 206504 w 422240"/>
                <a:gd name="connsiteY157" fmla="*/ 86703 h 235345"/>
                <a:gd name="connsiteX158" fmla="*/ 249191 w 422240"/>
                <a:gd name="connsiteY158" fmla="*/ 81076 h 235345"/>
                <a:gd name="connsiteX159" fmla="*/ 219195 w 422240"/>
                <a:gd name="connsiteY159" fmla="*/ 92336 h 235345"/>
                <a:gd name="connsiteX160" fmla="*/ 206506 w 422240"/>
                <a:gd name="connsiteY160" fmla="*/ 86707 h 235345"/>
                <a:gd name="connsiteX161" fmla="*/ 219195 w 422240"/>
                <a:gd name="connsiteY161" fmla="*/ 92338 h 235345"/>
                <a:gd name="connsiteX162" fmla="*/ 249191 w 422240"/>
                <a:gd name="connsiteY162" fmla="*/ 81077 h 235345"/>
                <a:gd name="connsiteX163" fmla="*/ 250344 w 422240"/>
                <a:gd name="connsiteY163" fmla="*/ 86707 h 235345"/>
                <a:gd name="connsiteX164" fmla="*/ 252652 w 422240"/>
                <a:gd name="connsiteY164" fmla="*/ 92338 h 235345"/>
                <a:gd name="connsiteX165" fmla="*/ 258420 w 422240"/>
                <a:gd name="connsiteY165" fmla="*/ 100220 h 235345"/>
                <a:gd name="connsiteX166" fmla="*/ 267649 w 422240"/>
                <a:gd name="connsiteY166" fmla="*/ 100220 h 235345"/>
                <a:gd name="connsiteX167" fmla="*/ 267649 w 422240"/>
                <a:gd name="connsiteY167" fmla="*/ 100219 h 235345"/>
                <a:gd name="connsiteX168" fmla="*/ 271111 w 422240"/>
                <a:gd name="connsiteY168" fmla="*/ 99093 h 235345"/>
                <a:gd name="connsiteX169" fmla="*/ 271111 w 422240"/>
                <a:gd name="connsiteY169" fmla="*/ 92337 h 235345"/>
                <a:gd name="connsiteX170" fmla="*/ 280340 w 422240"/>
                <a:gd name="connsiteY170" fmla="*/ 93463 h 235345"/>
                <a:gd name="connsiteX171" fmla="*/ 287262 w 422240"/>
                <a:gd name="connsiteY171" fmla="*/ 88959 h 235345"/>
                <a:gd name="connsiteX172" fmla="*/ 288415 w 422240"/>
                <a:gd name="connsiteY172" fmla="*/ 84455 h 235345"/>
                <a:gd name="connsiteX173" fmla="*/ 301798 w 422240"/>
                <a:gd name="connsiteY173" fmla="*/ 84455 h 235345"/>
                <a:gd name="connsiteX174" fmla="*/ 301105 w 422240"/>
                <a:gd name="connsiteY174" fmla="*/ 83328 h 235345"/>
                <a:gd name="connsiteX175" fmla="*/ 288415 w 422240"/>
                <a:gd name="connsiteY175" fmla="*/ 84454 h 235345"/>
                <a:gd name="connsiteX176" fmla="*/ 287261 w 422240"/>
                <a:gd name="connsiteY176" fmla="*/ 88958 h 235345"/>
                <a:gd name="connsiteX177" fmla="*/ 280339 w 422240"/>
                <a:gd name="connsiteY177" fmla="*/ 93462 h 235345"/>
                <a:gd name="connsiteX178" fmla="*/ 271110 w 422240"/>
                <a:gd name="connsiteY178" fmla="*/ 92336 h 235345"/>
                <a:gd name="connsiteX179" fmla="*/ 271110 w 422240"/>
                <a:gd name="connsiteY179" fmla="*/ 99093 h 235345"/>
                <a:gd name="connsiteX180" fmla="*/ 258420 w 422240"/>
                <a:gd name="connsiteY180" fmla="*/ 100218 h 235345"/>
                <a:gd name="connsiteX181" fmla="*/ 250344 w 422240"/>
                <a:gd name="connsiteY181" fmla="*/ 86706 h 235345"/>
                <a:gd name="connsiteX182" fmla="*/ 163820 w 422240"/>
                <a:gd name="connsiteY182" fmla="*/ 79950 h 235345"/>
                <a:gd name="connsiteX183" fmla="*/ 163820 w 422240"/>
                <a:gd name="connsiteY183" fmla="*/ 79950 h 235345"/>
                <a:gd name="connsiteX184" fmla="*/ 173049 w 422240"/>
                <a:gd name="connsiteY184" fmla="*/ 81076 h 235345"/>
                <a:gd name="connsiteX185" fmla="*/ 173049 w 422240"/>
                <a:gd name="connsiteY185" fmla="*/ 81077 h 235345"/>
                <a:gd name="connsiteX186" fmla="*/ 173049 w 422240"/>
                <a:gd name="connsiteY186" fmla="*/ 81076 h 235345"/>
                <a:gd name="connsiteX187" fmla="*/ 209675 w 422240"/>
                <a:gd name="connsiteY187" fmla="*/ 71228 h 235345"/>
                <a:gd name="connsiteX188" fmla="*/ 205352 w 422240"/>
                <a:gd name="connsiteY188" fmla="*/ 78823 h 235345"/>
                <a:gd name="connsiteX189" fmla="*/ 205807 w 422240"/>
                <a:gd name="connsiteY189" fmla="*/ 81044 h 235345"/>
                <a:gd name="connsiteX190" fmla="*/ 212274 w 422240"/>
                <a:gd name="connsiteY190" fmla="*/ 43919 h 235345"/>
                <a:gd name="connsiteX191" fmla="*/ 211535 w 422240"/>
                <a:gd name="connsiteY191" fmla="*/ 59793 h 235345"/>
                <a:gd name="connsiteX192" fmla="*/ 213427 w 422240"/>
                <a:gd name="connsiteY192" fmla="*/ 55176 h 235345"/>
                <a:gd name="connsiteX193" fmla="*/ 235347 w 422240"/>
                <a:gd name="connsiteY193" fmla="*/ 41664 h 235345"/>
                <a:gd name="connsiteX194" fmla="*/ 230105 w 422240"/>
                <a:gd name="connsiteY194" fmla="*/ 42687 h 235345"/>
                <a:gd name="connsiteX195" fmla="*/ 235347 w 422240"/>
                <a:gd name="connsiteY195" fmla="*/ 41664 h 235345"/>
                <a:gd name="connsiteX196" fmla="*/ 169478 w 422240"/>
                <a:gd name="connsiteY196" fmla="*/ 40003 h 235345"/>
                <a:gd name="connsiteX197" fmla="*/ 168434 w 422240"/>
                <a:gd name="connsiteY197" fmla="*/ 56302 h 235345"/>
                <a:gd name="connsiteX198" fmla="*/ 162666 w 422240"/>
                <a:gd name="connsiteY198" fmla="*/ 57428 h 235345"/>
                <a:gd name="connsiteX199" fmla="*/ 158050 w 422240"/>
                <a:gd name="connsiteY199" fmla="*/ 81076 h 235345"/>
                <a:gd name="connsiteX200" fmla="*/ 162693 w 422240"/>
                <a:gd name="connsiteY200" fmla="*/ 80170 h 235345"/>
                <a:gd name="connsiteX201" fmla="*/ 158051 w 422240"/>
                <a:gd name="connsiteY201" fmla="*/ 81076 h 235345"/>
                <a:gd name="connsiteX202" fmla="*/ 162666 w 422240"/>
                <a:gd name="connsiteY202" fmla="*/ 57428 h 235345"/>
                <a:gd name="connsiteX203" fmla="*/ 168434 w 422240"/>
                <a:gd name="connsiteY203" fmla="*/ 57428 h 235345"/>
                <a:gd name="connsiteX204" fmla="*/ 169588 w 422240"/>
                <a:gd name="connsiteY204" fmla="*/ 40538 h 235345"/>
                <a:gd name="connsiteX205" fmla="*/ 162666 w 422240"/>
                <a:gd name="connsiteY205" fmla="*/ 23648 h 235345"/>
                <a:gd name="connsiteX206" fmla="*/ 162666 w 422240"/>
                <a:gd name="connsiteY206" fmla="*/ 29278 h 235345"/>
                <a:gd name="connsiteX207" fmla="*/ 168434 w 422240"/>
                <a:gd name="connsiteY207" fmla="*/ 34908 h 235345"/>
                <a:gd name="connsiteX208" fmla="*/ 168435 w 422240"/>
                <a:gd name="connsiteY208" fmla="*/ 34911 h 235345"/>
                <a:gd name="connsiteX209" fmla="*/ 168434 w 422240"/>
                <a:gd name="connsiteY209" fmla="*/ 34908 h 235345"/>
                <a:gd name="connsiteX210" fmla="*/ 162666 w 422240"/>
                <a:gd name="connsiteY210" fmla="*/ 29277 h 235345"/>
                <a:gd name="connsiteX211" fmla="*/ 162666 w 422240"/>
                <a:gd name="connsiteY211" fmla="*/ 23648 h 235345"/>
                <a:gd name="connsiteX212" fmla="*/ 215735 w 422240"/>
                <a:gd name="connsiteY212" fmla="*/ 0 h 235345"/>
                <a:gd name="connsiteX213" fmla="*/ 234194 w 422240"/>
                <a:gd name="connsiteY213" fmla="*/ 7883 h 235345"/>
                <a:gd name="connsiteX214" fmla="*/ 249191 w 422240"/>
                <a:gd name="connsiteY214" fmla="*/ 9008 h 235345"/>
                <a:gd name="connsiteX215" fmla="*/ 276878 w 422240"/>
                <a:gd name="connsiteY215" fmla="*/ 3378 h 235345"/>
                <a:gd name="connsiteX216" fmla="*/ 291876 w 422240"/>
                <a:gd name="connsiteY216" fmla="*/ 5631 h 235345"/>
                <a:gd name="connsiteX217" fmla="*/ 312642 w 422240"/>
                <a:gd name="connsiteY217" fmla="*/ 13513 h 235345"/>
                <a:gd name="connsiteX218" fmla="*/ 336869 w 422240"/>
                <a:gd name="connsiteY218" fmla="*/ 10135 h 235345"/>
                <a:gd name="connsiteX219" fmla="*/ 344944 w 422240"/>
                <a:gd name="connsiteY219" fmla="*/ 15765 h 235345"/>
                <a:gd name="connsiteX220" fmla="*/ 351866 w 422240"/>
                <a:gd name="connsiteY220" fmla="*/ 36034 h 235345"/>
                <a:gd name="connsiteX221" fmla="*/ 359942 w 422240"/>
                <a:gd name="connsiteY221" fmla="*/ 45042 h 235345"/>
                <a:gd name="connsiteX222" fmla="*/ 369171 w 422240"/>
                <a:gd name="connsiteY222" fmla="*/ 49547 h 235345"/>
                <a:gd name="connsiteX223" fmla="*/ 389937 w 422240"/>
                <a:gd name="connsiteY223" fmla="*/ 52924 h 235345"/>
                <a:gd name="connsiteX224" fmla="*/ 413010 w 422240"/>
                <a:gd name="connsiteY224" fmla="*/ 61933 h 235345"/>
                <a:gd name="connsiteX225" fmla="*/ 418778 w 422240"/>
                <a:gd name="connsiteY225" fmla="*/ 93462 h 235345"/>
                <a:gd name="connsiteX226" fmla="*/ 417625 w 422240"/>
                <a:gd name="connsiteY226" fmla="*/ 123865 h 235345"/>
                <a:gd name="connsiteX227" fmla="*/ 422240 w 422240"/>
                <a:gd name="connsiteY227" fmla="*/ 150890 h 235345"/>
                <a:gd name="connsiteX228" fmla="*/ 416471 w 422240"/>
                <a:gd name="connsiteY228" fmla="*/ 182420 h 235345"/>
                <a:gd name="connsiteX229" fmla="*/ 400320 w 422240"/>
                <a:gd name="connsiteY229" fmla="*/ 167781 h 235345"/>
                <a:gd name="connsiteX230" fmla="*/ 395705 w 422240"/>
                <a:gd name="connsiteY230" fmla="*/ 161025 h 235345"/>
                <a:gd name="connsiteX231" fmla="*/ 392244 w 422240"/>
                <a:gd name="connsiteY231" fmla="*/ 161025 h 235345"/>
                <a:gd name="connsiteX232" fmla="*/ 380708 w 422240"/>
                <a:gd name="connsiteY232" fmla="*/ 148638 h 235345"/>
                <a:gd name="connsiteX233" fmla="*/ 380708 w 422240"/>
                <a:gd name="connsiteY233" fmla="*/ 148639 h 235345"/>
                <a:gd name="connsiteX234" fmla="*/ 392244 w 422240"/>
                <a:gd name="connsiteY234" fmla="*/ 161026 h 235345"/>
                <a:gd name="connsiteX235" fmla="*/ 395705 w 422240"/>
                <a:gd name="connsiteY235" fmla="*/ 161026 h 235345"/>
                <a:gd name="connsiteX236" fmla="*/ 400320 w 422240"/>
                <a:gd name="connsiteY236" fmla="*/ 167782 h 235345"/>
                <a:gd name="connsiteX237" fmla="*/ 416471 w 422240"/>
                <a:gd name="connsiteY237" fmla="*/ 182420 h 235345"/>
                <a:gd name="connsiteX238" fmla="*/ 414164 w 422240"/>
                <a:gd name="connsiteY238" fmla="*/ 193681 h 235345"/>
                <a:gd name="connsiteX239" fmla="*/ 408396 w 422240"/>
                <a:gd name="connsiteY239" fmla="*/ 190303 h 235345"/>
                <a:gd name="connsiteX240" fmla="*/ 395705 w 422240"/>
                <a:gd name="connsiteY240" fmla="*/ 200437 h 235345"/>
                <a:gd name="connsiteX241" fmla="*/ 384169 w 422240"/>
                <a:gd name="connsiteY241" fmla="*/ 203816 h 235345"/>
                <a:gd name="connsiteX242" fmla="*/ 376093 w 422240"/>
                <a:gd name="connsiteY242" fmla="*/ 207193 h 235345"/>
                <a:gd name="connsiteX243" fmla="*/ 378401 w 422240"/>
                <a:gd name="connsiteY243" fmla="*/ 210572 h 235345"/>
                <a:gd name="connsiteX244" fmla="*/ 376093 w 422240"/>
                <a:gd name="connsiteY244" fmla="*/ 208319 h 235345"/>
                <a:gd name="connsiteX245" fmla="*/ 372632 w 422240"/>
                <a:gd name="connsiteY245" fmla="*/ 209446 h 235345"/>
                <a:gd name="connsiteX246" fmla="*/ 368018 w 422240"/>
                <a:gd name="connsiteY246" fmla="*/ 208319 h 235345"/>
                <a:gd name="connsiteX247" fmla="*/ 358788 w 422240"/>
                <a:gd name="connsiteY247" fmla="*/ 211698 h 235345"/>
                <a:gd name="connsiteX248" fmla="*/ 356481 w 422240"/>
                <a:gd name="connsiteY248" fmla="*/ 215076 h 235345"/>
                <a:gd name="connsiteX249" fmla="*/ 344944 w 422240"/>
                <a:gd name="connsiteY249" fmla="*/ 220706 h 235345"/>
                <a:gd name="connsiteX250" fmla="*/ 320717 w 422240"/>
                <a:gd name="connsiteY250" fmla="*/ 224084 h 235345"/>
                <a:gd name="connsiteX251" fmla="*/ 316103 w 422240"/>
                <a:gd name="connsiteY251" fmla="*/ 226336 h 235345"/>
                <a:gd name="connsiteX252" fmla="*/ 313796 w 422240"/>
                <a:gd name="connsiteY252" fmla="*/ 226336 h 235345"/>
                <a:gd name="connsiteX253" fmla="*/ 313796 w 422240"/>
                <a:gd name="connsiteY253" fmla="*/ 225211 h 235345"/>
                <a:gd name="connsiteX254" fmla="*/ 309181 w 422240"/>
                <a:gd name="connsiteY254" fmla="*/ 225211 h 235345"/>
                <a:gd name="connsiteX255" fmla="*/ 296490 w 422240"/>
                <a:gd name="connsiteY255" fmla="*/ 220706 h 235345"/>
                <a:gd name="connsiteX256" fmla="*/ 293030 w 422240"/>
                <a:gd name="connsiteY256" fmla="*/ 216202 h 235345"/>
                <a:gd name="connsiteX257" fmla="*/ 279186 w 422240"/>
                <a:gd name="connsiteY257" fmla="*/ 213950 h 235345"/>
                <a:gd name="connsiteX258" fmla="*/ 278032 w 422240"/>
                <a:gd name="connsiteY258" fmla="*/ 210571 h 235345"/>
                <a:gd name="connsiteX259" fmla="*/ 275724 w 422240"/>
                <a:gd name="connsiteY259" fmla="*/ 216202 h 235345"/>
                <a:gd name="connsiteX260" fmla="*/ 274955 w 422240"/>
                <a:gd name="connsiteY260" fmla="*/ 214700 h 235345"/>
                <a:gd name="connsiteX261" fmla="*/ 275724 w 422240"/>
                <a:gd name="connsiteY261" fmla="*/ 215076 h 235345"/>
                <a:gd name="connsiteX262" fmla="*/ 276878 w 422240"/>
                <a:gd name="connsiteY262" fmla="*/ 212824 h 235345"/>
                <a:gd name="connsiteX263" fmla="*/ 273417 w 422240"/>
                <a:gd name="connsiteY263" fmla="*/ 209445 h 235345"/>
                <a:gd name="connsiteX264" fmla="*/ 257266 w 422240"/>
                <a:gd name="connsiteY264" fmla="*/ 206068 h 235345"/>
                <a:gd name="connsiteX265" fmla="*/ 257266 w 422240"/>
                <a:gd name="connsiteY265" fmla="*/ 204941 h 235345"/>
                <a:gd name="connsiteX266" fmla="*/ 249191 w 422240"/>
                <a:gd name="connsiteY266" fmla="*/ 201563 h 235345"/>
                <a:gd name="connsiteX267" fmla="*/ 249191 w 422240"/>
                <a:gd name="connsiteY267" fmla="*/ 200438 h 235345"/>
                <a:gd name="connsiteX268" fmla="*/ 248037 w 422240"/>
                <a:gd name="connsiteY268" fmla="*/ 202689 h 235345"/>
                <a:gd name="connsiteX269" fmla="*/ 242269 w 422240"/>
                <a:gd name="connsiteY269" fmla="*/ 201563 h 235345"/>
                <a:gd name="connsiteX270" fmla="*/ 241115 w 422240"/>
                <a:gd name="connsiteY270" fmla="*/ 197059 h 235345"/>
                <a:gd name="connsiteX271" fmla="*/ 242269 w 422240"/>
                <a:gd name="connsiteY271" fmla="*/ 202689 h 235345"/>
                <a:gd name="connsiteX272" fmla="*/ 239961 w 422240"/>
                <a:gd name="connsiteY272" fmla="*/ 200438 h 235345"/>
                <a:gd name="connsiteX273" fmla="*/ 234193 w 422240"/>
                <a:gd name="connsiteY273" fmla="*/ 201563 h 235345"/>
                <a:gd name="connsiteX274" fmla="*/ 233039 w 422240"/>
                <a:gd name="connsiteY274" fmla="*/ 197059 h 235345"/>
                <a:gd name="connsiteX275" fmla="*/ 224964 w 422240"/>
                <a:gd name="connsiteY275" fmla="*/ 198185 h 235345"/>
                <a:gd name="connsiteX276" fmla="*/ 226117 w 422240"/>
                <a:gd name="connsiteY276" fmla="*/ 201563 h 235345"/>
                <a:gd name="connsiteX277" fmla="*/ 222657 w 422240"/>
                <a:gd name="connsiteY277" fmla="*/ 199311 h 235345"/>
                <a:gd name="connsiteX278" fmla="*/ 220349 w 422240"/>
                <a:gd name="connsiteY278" fmla="*/ 200438 h 235345"/>
                <a:gd name="connsiteX279" fmla="*/ 216888 w 422240"/>
                <a:gd name="connsiteY279" fmla="*/ 199311 h 235345"/>
                <a:gd name="connsiteX280" fmla="*/ 216888 w 422240"/>
                <a:gd name="connsiteY280" fmla="*/ 202689 h 235345"/>
                <a:gd name="connsiteX281" fmla="*/ 215734 w 422240"/>
                <a:gd name="connsiteY281" fmla="*/ 198185 h 235345"/>
                <a:gd name="connsiteX282" fmla="*/ 203044 w 422240"/>
                <a:gd name="connsiteY282" fmla="*/ 194807 h 235345"/>
                <a:gd name="connsiteX283" fmla="*/ 198430 w 422240"/>
                <a:gd name="connsiteY283" fmla="*/ 194807 h 235345"/>
                <a:gd name="connsiteX284" fmla="*/ 197276 w 422240"/>
                <a:gd name="connsiteY284" fmla="*/ 197059 h 235345"/>
                <a:gd name="connsiteX285" fmla="*/ 198430 w 422240"/>
                <a:gd name="connsiteY285" fmla="*/ 191429 h 235345"/>
                <a:gd name="connsiteX286" fmla="*/ 194968 w 422240"/>
                <a:gd name="connsiteY286" fmla="*/ 197059 h 235345"/>
                <a:gd name="connsiteX287" fmla="*/ 196123 w 422240"/>
                <a:gd name="connsiteY287" fmla="*/ 194807 h 235345"/>
                <a:gd name="connsiteX288" fmla="*/ 186893 w 422240"/>
                <a:gd name="connsiteY288" fmla="*/ 189177 h 235345"/>
                <a:gd name="connsiteX289" fmla="*/ 183432 w 422240"/>
                <a:gd name="connsiteY289" fmla="*/ 192555 h 235345"/>
                <a:gd name="connsiteX290" fmla="*/ 179971 w 422240"/>
                <a:gd name="connsiteY290" fmla="*/ 191429 h 235345"/>
                <a:gd name="connsiteX291" fmla="*/ 178817 w 422240"/>
                <a:gd name="connsiteY291" fmla="*/ 189177 h 235345"/>
                <a:gd name="connsiteX292" fmla="*/ 181125 w 422240"/>
                <a:gd name="connsiteY292" fmla="*/ 191429 h 235345"/>
                <a:gd name="connsiteX293" fmla="*/ 183432 w 422240"/>
                <a:gd name="connsiteY293" fmla="*/ 186925 h 235345"/>
                <a:gd name="connsiteX294" fmla="*/ 171896 w 422240"/>
                <a:gd name="connsiteY294" fmla="*/ 180169 h 235345"/>
                <a:gd name="connsiteX295" fmla="*/ 171896 w 422240"/>
                <a:gd name="connsiteY295" fmla="*/ 179042 h 235345"/>
                <a:gd name="connsiteX296" fmla="*/ 170742 w 422240"/>
                <a:gd name="connsiteY296" fmla="*/ 180169 h 235345"/>
                <a:gd name="connsiteX297" fmla="*/ 162666 w 422240"/>
                <a:gd name="connsiteY297" fmla="*/ 175665 h 235345"/>
                <a:gd name="connsiteX298" fmla="*/ 179971 w 422240"/>
                <a:gd name="connsiteY298" fmla="*/ 129497 h 235345"/>
                <a:gd name="connsiteX299" fmla="*/ 194968 w 422240"/>
                <a:gd name="connsiteY299" fmla="*/ 95715 h 235345"/>
                <a:gd name="connsiteX300" fmla="*/ 194969 w 422240"/>
                <a:gd name="connsiteY300" fmla="*/ 95715 h 235345"/>
                <a:gd name="connsiteX301" fmla="*/ 194968 w 422240"/>
                <a:gd name="connsiteY301" fmla="*/ 95715 h 235345"/>
                <a:gd name="connsiteX302" fmla="*/ 179971 w 422240"/>
                <a:gd name="connsiteY302" fmla="*/ 129496 h 235345"/>
                <a:gd name="connsiteX303" fmla="*/ 162666 w 422240"/>
                <a:gd name="connsiteY303" fmla="*/ 175663 h 235345"/>
                <a:gd name="connsiteX304" fmla="*/ 161512 w 422240"/>
                <a:gd name="connsiteY304" fmla="*/ 173411 h 235345"/>
                <a:gd name="connsiteX305" fmla="*/ 141900 w 422240"/>
                <a:gd name="connsiteY305" fmla="*/ 163277 h 235345"/>
                <a:gd name="connsiteX306" fmla="*/ 141900 w 422240"/>
                <a:gd name="connsiteY306" fmla="*/ 163277 h 235345"/>
                <a:gd name="connsiteX307" fmla="*/ 144207 w 422240"/>
                <a:gd name="connsiteY307" fmla="*/ 164404 h 235345"/>
                <a:gd name="connsiteX308" fmla="*/ 143053 w 422240"/>
                <a:gd name="connsiteY308" fmla="*/ 162151 h 235345"/>
                <a:gd name="connsiteX309" fmla="*/ 141900 w 422240"/>
                <a:gd name="connsiteY309" fmla="*/ 163277 h 235345"/>
                <a:gd name="connsiteX310" fmla="*/ 141899 w 422240"/>
                <a:gd name="connsiteY310" fmla="*/ 163277 h 235345"/>
                <a:gd name="connsiteX311" fmla="*/ 141900 w 422240"/>
                <a:gd name="connsiteY311" fmla="*/ 163277 h 235345"/>
                <a:gd name="connsiteX312" fmla="*/ 140746 w 422240"/>
                <a:gd name="connsiteY312" fmla="*/ 164404 h 235345"/>
                <a:gd name="connsiteX313" fmla="*/ 140746 w 422240"/>
                <a:gd name="connsiteY313" fmla="*/ 162151 h 235345"/>
                <a:gd name="connsiteX314" fmla="*/ 129209 w 422240"/>
                <a:gd name="connsiteY314" fmla="*/ 155394 h 235345"/>
                <a:gd name="connsiteX315" fmla="*/ 114212 w 422240"/>
                <a:gd name="connsiteY315" fmla="*/ 148638 h 235345"/>
                <a:gd name="connsiteX316" fmla="*/ 92292 w 422240"/>
                <a:gd name="connsiteY316" fmla="*/ 139630 h 235345"/>
                <a:gd name="connsiteX317" fmla="*/ 64604 w 422240"/>
                <a:gd name="connsiteY317" fmla="*/ 129496 h 235345"/>
                <a:gd name="connsiteX318" fmla="*/ 70373 w 422240"/>
                <a:gd name="connsiteY318" fmla="*/ 130622 h 235345"/>
                <a:gd name="connsiteX319" fmla="*/ 70373 w 422240"/>
                <a:gd name="connsiteY319" fmla="*/ 129496 h 235345"/>
                <a:gd name="connsiteX320" fmla="*/ 57683 w 422240"/>
                <a:gd name="connsiteY320" fmla="*/ 127244 h 235345"/>
                <a:gd name="connsiteX321" fmla="*/ 58836 w 422240"/>
                <a:gd name="connsiteY321" fmla="*/ 124992 h 235345"/>
                <a:gd name="connsiteX322" fmla="*/ 56529 w 422240"/>
                <a:gd name="connsiteY322" fmla="*/ 127244 h 235345"/>
                <a:gd name="connsiteX323" fmla="*/ 41532 w 422240"/>
                <a:gd name="connsiteY323" fmla="*/ 123865 h 235345"/>
                <a:gd name="connsiteX324" fmla="*/ 42685 w 422240"/>
                <a:gd name="connsiteY324" fmla="*/ 121614 h 235345"/>
                <a:gd name="connsiteX325" fmla="*/ 40377 w 422240"/>
                <a:gd name="connsiteY325" fmla="*/ 123865 h 235345"/>
                <a:gd name="connsiteX326" fmla="*/ 35763 w 422240"/>
                <a:gd name="connsiteY326" fmla="*/ 120488 h 235345"/>
                <a:gd name="connsiteX327" fmla="*/ 35763 w 422240"/>
                <a:gd name="connsiteY327" fmla="*/ 121614 h 235345"/>
                <a:gd name="connsiteX328" fmla="*/ 33456 w 422240"/>
                <a:gd name="connsiteY328" fmla="*/ 120488 h 235345"/>
                <a:gd name="connsiteX329" fmla="*/ 31149 w 422240"/>
                <a:gd name="connsiteY329" fmla="*/ 118235 h 235345"/>
                <a:gd name="connsiteX330" fmla="*/ 20766 w 422240"/>
                <a:gd name="connsiteY330" fmla="*/ 113731 h 235345"/>
                <a:gd name="connsiteX331" fmla="*/ 22872 w 422240"/>
                <a:gd name="connsiteY331" fmla="*/ 112556 h 235345"/>
                <a:gd name="connsiteX332" fmla="*/ 23073 w 422240"/>
                <a:gd name="connsiteY332" fmla="*/ 112605 h 235345"/>
                <a:gd name="connsiteX333" fmla="*/ 24806 w 422240"/>
                <a:gd name="connsiteY333" fmla="*/ 111477 h 235345"/>
                <a:gd name="connsiteX334" fmla="*/ 27580 w 422240"/>
                <a:gd name="connsiteY334" fmla="*/ 109931 h 235345"/>
                <a:gd name="connsiteX335" fmla="*/ 27688 w 422240"/>
                <a:gd name="connsiteY335" fmla="*/ 110353 h 235345"/>
                <a:gd name="connsiteX336" fmla="*/ 29072 w 422240"/>
                <a:gd name="connsiteY336" fmla="*/ 109678 h 235345"/>
                <a:gd name="connsiteX337" fmla="*/ 32302 w 422240"/>
                <a:gd name="connsiteY337" fmla="*/ 108101 h 235345"/>
                <a:gd name="connsiteX338" fmla="*/ 28841 w 422240"/>
                <a:gd name="connsiteY338" fmla="*/ 109227 h 235345"/>
                <a:gd name="connsiteX339" fmla="*/ 27580 w 422240"/>
                <a:gd name="connsiteY339" fmla="*/ 109931 h 235345"/>
                <a:gd name="connsiteX340" fmla="*/ 26534 w 422240"/>
                <a:gd name="connsiteY340" fmla="*/ 105849 h 235345"/>
                <a:gd name="connsiteX341" fmla="*/ 26534 w 422240"/>
                <a:gd name="connsiteY341" fmla="*/ 110353 h 235345"/>
                <a:gd name="connsiteX342" fmla="*/ 24806 w 422240"/>
                <a:gd name="connsiteY342" fmla="*/ 111477 h 235345"/>
                <a:gd name="connsiteX343" fmla="*/ 22872 w 422240"/>
                <a:gd name="connsiteY343" fmla="*/ 112556 h 235345"/>
                <a:gd name="connsiteX344" fmla="*/ 18458 w 422240"/>
                <a:gd name="connsiteY344" fmla="*/ 111479 h 235345"/>
                <a:gd name="connsiteX345" fmla="*/ 17305 w 422240"/>
                <a:gd name="connsiteY345" fmla="*/ 109227 h 235345"/>
                <a:gd name="connsiteX346" fmla="*/ 19612 w 422240"/>
                <a:gd name="connsiteY346" fmla="*/ 109227 h 235345"/>
                <a:gd name="connsiteX347" fmla="*/ 17305 w 422240"/>
                <a:gd name="connsiteY347" fmla="*/ 108101 h 235345"/>
                <a:gd name="connsiteX348" fmla="*/ 17305 w 422240"/>
                <a:gd name="connsiteY348" fmla="*/ 109227 h 235345"/>
                <a:gd name="connsiteX349" fmla="*/ 17305 w 422240"/>
                <a:gd name="connsiteY349" fmla="*/ 110353 h 235345"/>
                <a:gd name="connsiteX350" fmla="*/ 13843 w 422240"/>
                <a:gd name="connsiteY350" fmla="*/ 108101 h 235345"/>
                <a:gd name="connsiteX351" fmla="*/ 2307 w 422240"/>
                <a:gd name="connsiteY351" fmla="*/ 92336 h 235345"/>
                <a:gd name="connsiteX352" fmla="*/ 3461 w 422240"/>
                <a:gd name="connsiteY352" fmla="*/ 87833 h 235345"/>
                <a:gd name="connsiteX353" fmla="*/ 0 w 422240"/>
                <a:gd name="connsiteY353" fmla="*/ 87833 h 235345"/>
                <a:gd name="connsiteX354" fmla="*/ 2307 w 422240"/>
                <a:gd name="connsiteY354" fmla="*/ 86706 h 235345"/>
                <a:gd name="connsiteX355" fmla="*/ 4614 w 422240"/>
                <a:gd name="connsiteY355" fmla="*/ 87833 h 235345"/>
                <a:gd name="connsiteX356" fmla="*/ 4614 w 422240"/>
                <a:gd name="connsiteY356" fmla="*/ 88959 h 235345"/>
                <a:gd name="connsiteX357" fmla="*/ 11536 w 422240"/>
                <a:gd name="connsiteY357" fmla="*/ 91210 h 235345"/>
                <a:gd name="connsiteX358" fmla="*/ 12690 w 422240"/>
                <a:gd name="connsiteY358" fmla="*/ 97966 h 235345"/>
                <a:gd name="connsiteX359" fmla="*/ 11536 w 422240"/>
                <a:gd name="connsiteY359" fmla="*/ 100219 h 235345"/>
                <a:gd name="connsiteX360" fmla="*/ 12690 w 422240"/>
                <a:gd name="connsiteY360" fmla="*/ 99092 h 235345"/>
                <a:gd name="connsiteX361" fmla="*/ 13843 w 422240"/>
                <a:gd name="connsiteY361" fmla="*/ 104723 h 235345"/>
                <a:gd name="connsiteX362" fmla="*/ 14942 w 422240"/>
                <a:gd name="connsiteY362" fmla="*/ 104509 h 235345"/>
                <a:gd name="connsiteX363" fmla="*/ 14997 w 422240"/>
                <a:gd name="connsiteY363" fmla="*/ 104723 h 235345"/>
                <a:gd name="connsiteX364" fmla="*/ 19612 w 422240"/>
                <a:gd name="connsiteY364" fmla="*/ 103597 h 235345"/>
                <a:gd name="connsiteX365" fmla="*/ 14942 w 422240"/>
                <a:gd name="connsiteY365" fmla="*/ 104509 h 235345"/>
                <a:gd name="connsiteX366" fmla="*/ 13843 w 422240"/>
                <a:gd name="connsiteY366" fmla="*/ 100219 h 235345"/>
                <a:gd name="connsiteX367" fmla="*/ 14997 w 422240"/>
                <a:gd name="connsiteY367" fmla="*/ 100219 h 235345"/>
                <a:gd name="connsiteX368" fmla="*/ 12690 w 422240"/>
                <a:gd name="connsiteY368" fmla="*/ 99092 h 235345"/>
                <a:gd name="connsiteX369" fmla="*/ 16151 w 422240"/>
                <a:gd name="connsiteY369" fmla="*/ 95715 h 235345"/>
                <a:gd name="connsiteX370" fmla="*/ 16151 w 422240"/>
                <a:gd name="connsiteY370" fmla="*/ 97966 h 235345"/>
                <a:gd name="connsiteX371" fmla="*/ 20766 w 422240"/>
                <a:gd name="connsiteY371" fmla="*/ 99092 h 235345"/>
                <a:gd name="connsiteX372" fmla="*/ 18920 w 422240"/>
                <a:gd name="connsiteY372" fmla="*/ 96390 h 235345"/>
                <a:gd name="connsiteX373" fmla="*/ 19612 w 422240"/>
                <a:gd name="connsiteY373" fmla="*/ 95715 h 235345"/>
                <a:gd name="connsiteX374" fmla="*/ 18458 w 422240"/>
                <a:gd name="connsiteY374" fmla="*/ 95715 h 235345"/>
                <a:gd name="connsiteX375" fmla="*/ 18920 w 422240"/>
                <a:gd name="connsiteY375" fmla="*/ 96390 h 235345"/>
                <a:gd name="connsiteX376" fmla="*/ 17305 w 422240"/>
                <a:gd name="connsiteY376" fmla="*/ 97966 h 235345"/>
                <a:gd name="connsiteX377" fmla="*/ 16151 w 422240"/>
                <a:gd name="connsiteY377" fmla="*/ 94589 h 235345"/>
                <a:gd name="connsiteX378" fmla="*/ 12690 w 422240"/>
                <a:gd name="connsiteY378" fmla="*/ 96841 h 235345"/>
                <a:gd name="connsiteX379" fmla="*/ 12690 w 422240"/>
                <a:gd name="connsiteY379" fmla="*/ 90084 h 235345"/>
                <a:gd name="connsiteX380" fmla="*/ 14997 w 422240"/>
                <a:gd name="connsiteY380" fmla="*/ 88959 h 235345"/>
                <a:gd name="connsiteX381" fmla="*/ 17305 w 422240"/>
                <a:gd name="connsiteY381" fmla="*/ 92336 h 235345"/>
                <a:gd name="connsiteX382" fmla="*/ 16151 w 422240"/>
                <a:gd name="connsiteY382" fmla="*/ 88959 h 235345"/>
                <a:gd name="connsiteX383" fmla="*/ 21919 w 422240"/>
                <a:gd name="connsiteY383" fmla="*/ 84454 h 235345"/>
                <a:gd name="connsiteX384" fmla="*/ 23073 w 422240"/>
                <a:gd name="connsiteY384" fmla="*/ 85580 h 235345"/>
                <a:gd name="connsiteX385" fmla="*/ 21919 w 422240"/>
                <a:gd name="connsiteY385" fmla="*/ 86706 h 235345"/>
                <a:gd name="connsiteX386" fmla="*/ 24226 w 422240"/>
                <a:gd name="connsiteY386" fmla="*/ 90084 h 235345"/>
                <a:gd name="connsiteX387" fmla="*/ 23073 w 422240"/>
                <a:gd name="connsiteY387" fmla="*/ 86706 h 235345"/>
                <a:gd name="connsiteX388" fmla="*/ 24226 w 422240"/>
                <a:gd name="connsiteY388" fmla="*/ 84454 h 235345"/>
                <a:gd name="connsiteX389" fmla="*/ 19612 w 422240"/>
                <a:gd name="connsiteY389" fmla="*/ 82202 h 235345"/>
                <a:gd name="connsiteX390" fmla="*/ 39224 w 422240"/>
                <a:gd name="connsiteY390" fmla="*/ 51798 h 235345"/>
                <a:gd name="connsiteX391" fmla="*/ 47300 w 422240"/>
                <a:gd name="connsiteY391" fmla="*/ 50672 h 235345"/>
                <a:gd name="connsiteX392" fmla="*/ 71526 w 422240"/>
                <a:gd name="connsiteY392" fmla="*/ 55177 h 235345"/>
                <a:gd name="connsiteX393" fmla="*/ 83063 w 422240"/>
                <a:gd name="connsiteY393" fmla="*/ 43916 h 235345"/>
                <a:gd name="connsiteX394" fmla="*/ 108444 w 422240"/>
                <a:gd name="connsiteY394" fmla="*/ 38286 h 235345"/>
                <a:gd name="connsiteX395" fmla="*/ 116519 w 422240"/>
                <a:gd name="connsiteY395" fmla="*/ 32656 h 235345"/>
                <a:gd name="connsiteX396" fmla="*/ 133824 w 422240"/>
                <a:gd name="connsiteY396" fmla="*/ 28152 h 235345"/>
                <a:gd name="connsiteX397" fmla="*/ 148821 w 422240"/>
                <a:gd name="connsiteY397" fmla="*/ 32656 h 235345"/>
                <a:gd name="connsiteX398" fmla="*/ 162666 w 422240"/>
                <a:gd name="connsiteY398" fmla="*/ 20269 h 235345"/>
                <a:gd name="connsiteX399" fmla="*/ 164973 w 422240"/>
                <a:gd name="connsiteY399" fmla="*/ 23647 h 235345"/>
                <a:gd name="connsiteX400" fmla="*/ 164974 w 422240"/>
                <a:gd name="connsiteY400" fmla="*/ 23647 h 235345"/>
                <a:gd name="connsiteX401" fmla="*/ 162666 w 422240"/>
                <a:gd name="connsiteY401" fmla="*/ 20269 h 235345"/>
                <a:gd name="connsiteX402" fmla="*/ 178817 w 422240"/>
                <a:gd name="connsiteY402" fmla="*/ 9009 h 235345"/>
                <a:gd name="connsiteX403" fmla="*/ 203045 w 422240"/>
                <a:gd name="connsiteY403" fmla="*/ 11261 h 23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422240" h="235345">
                  <a:moveTo>
                    <a:pt x="351867" y="228589"/>
                  </a:moveTo>
                  <a:lnTo>
                    <a:pt x="359942" y="228589"/>
                  </a:lnTo>
                  <a:lnTo>
                    <a:pt x="329947" y="235345"/>
                  </a:lnTo>
                  <a:close/>
                  <a:moveTo>
                    <a:pt x="271110" y="212824"/>
                  </a:moveTo>
                  <a:lnTo>
                    <a:pt x="274571" y="213950"/>
                  </a:lnTo>
                  <a:lnTo>
                    <a:pt x="274955" y="214700"/>
                  </a:lnTo>
                  <a:close/>
                  <a:moveTo>
                    <a:pt x="141899" y="202126"/>
                  </a:moveTo>
                  <a:lnTo>
                    <a:pt x="143053" y="202689"/>
                  </a:lnTo>
                  <a:lnTo>
                    <a:pt x="141899" y="206066"/>
                  </a:lnTo>
                  <a:close/>
                  <a:moveTo>
                    <a:pt x="226117" y="198185"/>
                  </a:moveTo>
                  <a:lnTo>
                    <a:pt x="228425" y="198185"/>
                  </a:lnTo>
                  <a:lnTo>
                    <a:pt x="228425" y="200438"/>
                  </a:lnTo>
                  <a:lnTo>
                    <a:pt x="229578" y="198185"/>
                  </a:lnTo>
                  <a:lnTo>
                    <a:pt x="233039" y="199311"/>
                  </a:lnTo>
                  <a:lnTo>
                    <a:pt x="233039" y="201563"/>
                  </a:lnTo>
                  <a:lnTo>
                    <a:pt x="230155" y="201001"/>
                  </a:lnTo>
                  <a:lnTo>
                    <a:pt x="227271" y="200438"/>
                  </a:lnTo>
                  <a:close/>
                  <a:moveTo>
                    <a:pt x="107289" y="197058"/>
                  </a:moveTo>
                  <a:lnTo>
                    <a:pt x="108443" y="198747"/>
                  </a:lnTo>
                  <a:lnTo>
                    <a:pt x="109597" y="202689"/>
                  </a:lnTo>
                  <a:close/>
                  <a:moveTo>
                    <a:pt x="117672" y="189176"/>
                  </a:moveTo>
                  <a:lnTo>
                    <a:pt x="109597" y="193680"/>
                  </a:lnTo>
                  <a:lnTo>
                    <a:pt x="114212" y="192554"/>
                  </a:lnTo>
                  <a:lnTo>
                    <a:pt x="110751" y="193680"/>
                  </a:lnTo>
                  <a:lnTo>
                    <a:pt x="113058" y="194806"/>
                  </a:lnTo>
                  <a:lnTo>
                    <a:pt x="109597" y="199310"/>
                  </a:lnTo>
                  <a:lnTo>
                    <a:pt x="108444" y="198184"/>
                  </a:lnTo>
                  <a:lnTo>
                    <a:pt x="109597" y="200436"/>
                  </a:lnTo>
                  <a:lnTo>
                    <a:pt x="108443" y="198747"/>
                  </a:lnTo>
                  <a:lnTo>
                    <a:pt x="107289" y="194806"/>
                  </a:lnTo>
                  <a:close/>
                  <a:moveTo>
                    <a:pt x="117672" y="189176"/>
                  </a:moveTo>
                  <a:lnTo>
                    <a:pt x="141899" y="201563"/>
                  </a:lnTo>
                  <a:lnTo>
                    <a:pt x="141899" y="202126"/>
                  </a:lnTo>
                  <a:lnTo>
                    <a:pt x="138438" y="200436"/>
                  </a:lnTo>
                  <a:lnTo>
                    <a:pt x="131516" y="201563"/>
                  </a:lnTo>
                  <a:lnTo>
                    <a:pt x="136131" y="199310"/>
                  </a:lnTo>
                  <a:close/>
                  <a:moveTo>
                    <a:pt x="111904" y="180168"/>
                  </a:moveTo>
                  <a:lnTo>
                    <a:pt x="114210" y="180168"/>
                  </a:lnTo>
                  <a:lnTo>
                    <a:pt x="111904" y="181293"/>
                  </a:lnTo>
                  <a:lnTo>
                    <a:pt x="111327" y="180731"/>
                  </a:lnTo>
                  <a:close/>
                  <a:moveTo>
                    <a:pt x="114212" y="180167"/>
                  </a:moveTo>
                  <a:lnTo>
                    <a:pt x="114212" y="180168"/>
                  </a:lnTo>
                  <a:lnTo>
                    <a:pt x="114210" y="180168"/>
                  </a:lnTo>
                  <a:close/>
                  <a:moveTo>
                    <a:pt x="289569" y="165530"/>
                  </a:moveTo>
                  <a:lnTo>
                    <a:pt x="293030" y="181295"/>
                  </a:lnTo>
                  <a:lnTo>
                    <a:pt x="309181" y="192555"/>
                  </a:lnTo>
                  <a:lnTo>
                    <a:pt x="302258" y="200438"/>
                  </a:lnTo>
                  <a:lnTo>
                    <a:pt x="302258" y="202689"/>
                  </a:lnTo>
                  <a:lnTo>
                    <a:pt x="320717" y="216202"/>
                  </a:lnTo>
                  <a:lnTo>
                    <a:pt x="320717" y="216202"/>
                  </a:lnTo>
                  <a:lnTo>
                    <a:pt x="302259" y="202689"/>
                  </a:lnTo>
                  <a:lnTo>
                    <a:pt x="302259" y="200437"/>
                  </a:lnTo>
                  <a:lnTo>
                    <a:pt x="309181" y="192555"/>
                  </a:lnTo>
                  <a:lnTo>
                    <a:pt x="293030" y="181294"/>
                  </a:lnTo>
                  <a:close/>
                  <a:moveTo>
                    <a:pt x="302827" y="159328"/>
                  </a:moveTo>
                  <a:lnTo>
                    <a:pt x="303413" y="159900"/>
                  </a:lnTo>
                  <a:lnTo>
                    <a:pt x="303990" y="159337"/>
                  </a:lnTo>
                  <a:lnTo>
                    <a:pt x="303413" y="159899"/>
                  </a:lnTo>
                  <a:close/>
                  <a:moveTo>
                    <a:pt x="299321" y="158228"/>
                  </a:moveTo>
                  <a:lnTo>
                    <a:pt x="294183" y="159899"/>
                  </a:lnTo>
                  <a:lnTo>
                    <a:pt x="291876" y="161026"/>
                  </a:lnTo>
                  <a:lnTo>
                    <a:pt x="290352" y="164000"/>
                  </a:lnTo>
                  <a:lnTo>
                    <a:pt x="291876" y="161026"/>
                  </a:lnTo>
                  <a:lnTo>
                    <a:pt x="294183" y="159900"/>
                  </a:lnTo>
                  <a:close/>
                  <a:moveTo>
                    <a:pt x="34609" y="147512"/>
                  </a:moveTo>
                  <a:lnTo>
                    <a:pt x="35520" y="147690"/>
                  </a:lnTo>
                  <a:lnTo>
                    <a:pt x="38070" y="149764"/>
                  </a:lnTo>
                  <a:close/>
                  <a:moveTo>
                    <a:pt x="381861" y="144135"/>
                  </a:moveTo>
                  <a:lnTo>
                    <a:pt x="381411" y="145893"/>
                  </a:lnTo>
                  <a:lnTo>
                    <a:pt x="381862" y="144135"/>
                  </a:lnTo>
                  <a:close/>
                  <a:moveTo>
                    <a:pt x="290700" y="141873"/>
                  </a:moveTo>
                  <a:lnTo>
                    <a:pt x="290722" y="141883"/>
                  </a:lnTo>
                  <a:lnTo>
                    <a:pt x="299150" y="150109"/>
                  </a:lnTo>
                  <a:lnTo>
                    <a:pt x="290723" y="141883"/>
                  </a:lnTo>
                  <a:close/>
                  <a:moveTo>
                    <a:pt x="36917" y="135126"/>
                  </a:moveTo>
                  <a:lnTo>
                    <a:pt x="51914" y="137378"/>
                  </a:lnTo>
                  <a:lnTo>
                    <a:pt x="49607" y="138504"/>
                  </a:lnTo>
                  <a:lnTo>
                    <a:pt x="53068" y="137378"/>
                  </a:lnTo>
                  <a:lnTo>
                    <a:pt x="69219" y="141882"/>
                  </a:lnTo>
                  <a:lnTo>
                    <a:pt x="68066" y="144134"/>
                  </a:lnTo>
                  <a:lnTo>
                    <a:pt x="70373" y="141882"/>
                  </a:lnTo>
                  <a:lnTo>
                    <a:pt x="86524" y="146387"/>
                  </a:lnTo>
                  <a:lnTo>
                    <a:pt x="98061" y="152017"/>
                  </a:lnTo>
                  <a:lnTo>
                    <a:pt x="96907" y="154269"/>
                  </a:lnTo>
                  <a:lnTo>
                    <a:pt x="99214" y="152017"/>
                  </a:lnTo>
                  <a:lnTo>
                    <a:pt x="113058" y="159899"/>
                  </a:lnTo>
                  <a:lnTo>
                    <a:pt x="130363" y="164404"/>
                  </a:lnTo>
                  <a:lnTo>
                    <a:pt x="133824" y="167781"/>
                  </a:lnTo>
                  <a:lnTo>
                    <a:pt x="133824" y="172286"/>
                  </a:lnTo>
                  <a:lnTo>
                    <a:pt x="125748" y="174537"/>
                  </a:lnTo>
                  <a:lnTo>
                    <a:pt x="114212" y="180167"/>
                  </a:lnTo>
                  <a:lnTo>
                    <a:pt x="114212" y="177916"/>
                  </a:lnTo>
                  <a:lnTo>
                    <a:pt x="111904" y="180168"/>
                  </a:lnTo>
                  <a:lnTo>
                    <a:pt x="110751" y="180168"/>
                  </a:lnTo>
                  <a:lnTo>
                    <a:pt x="111327" y="180731"/>
                  </a:lnTo>
                  <a:lnTo>
                    <a:pt x="110751" y="181293"/>
                  </a:lnTo>
                  <a:lnTo>
                    <a:pt x="106136" y="182420"/>
                  </a:lnTo>
                  <a:lnTo>
                    <a:pt x="92292" y="180168"/>
                  </a:lnTo>
                  <a:lnTo>
                    <a:pt x="87678" y="176790"/>
                  </a:lnTo>
                  <a:lnTo>
                    <a:pt x="89985" y="180168"/>
                  </a:lnTo>
                  <a:lnTo>
                    <a:pt x="85370" y="179042"/>
                  </a:lnTo>
                  <a:lnTo>
                    <a:pt x="78448" y="175663"/>
                  </a:lnTo>
                  <a:lnTo>
                    <a:pt x="80755" y="173411"/>
                  </a:lnTo>
                  <a:lnTo>
                    <a:pt x="77295" y="171160"/>
                  </a:lnTo>
                  <a:lnTo>
                    <a:pt x="79602" y="173411"/>
                  </a:lnTo>
                  <a:lnTo>
                    <a:pt x="74987" y="175663"/>
                  </a:lnTo>
                  <a:lnTo>
                    <a:pt x="63451" y="167781"/>
                  </a:lnTo>
                  <a:lnTo>
                    <a:pt x="68066" y="162151"/>
                  </a:lnTo>
                  <a:lnTo>
                    <a:pt x="63451" y="166655"/>
                  </a:lnTo>
                  <a:lnTo>
                    <a:pt x="49607" y="156521"/>
                  </a:lnTo>
                  <a:lnTo>
                    <a:pt x="53068" y="152017"/>
                  </a:lnTo>
                  <a:lnTo>
                    <a:pt x="49607" y="155394"/>
                  </a:lnTo>
                  <a:lnTo>
                    <a:pt x="46146" y="153143"/>
                  </a:lnTo>
                  <a:lnTo>
                    <a:pt x="40377" y="149764"/>
                  </a:lnTo>
                  <a:lnTo>
                    <a:pt x="43839" y="146387"/>
                  </a:lnTo>
                  <a:lnTo>
                    <a:pt x="40377" y="148638"/>
                  </a:lnTo>
                  <a:lnTo>
                    <a:pt x="35520" y="147690"/>
                  </a:lnTo>
                  <a:lnTo>
                    <a:pt x="31149" y="144134"/>
                  </a:lnTo>
                  <a:lnTo>
                    <a:pt x="31149" y="139630"/>
                  </a:lnTo>
                  <a:close/>
                  <a:moveTo>
                    <a:pt x="270690" y="131440"/>
                  </a:moveTo>
                  <a:lnTo>
                    <a:pt x="271110" y="132874"/>
                  </a:lnTo>
                  <a:lnTo>
                    <a:pt x="271753" y="133170"/>
                  </a:lnTo>
                  <a:close/>
                  <a:moveTo>
                    <a:pt x="31149" y="118235"/>
                  </a:moveTo>
                  <a:lnTo>
                    <a:pt x="32302" y="120488"/>
                  </a:lnTo>
                  <a:lnTo>
                    <a:pt x="31149" y="120488"/>
                  </a:lnTo>
                  <a:close/>
                  <a:moveTo>
                    <a:pt x="267649" y="109228"/>
                  </a:moveTo>
                  <a:lnTo>
                    <a:pt x="267649" y="109228"/>
                  </a:lnTo>
                  <a:lnTo>
                    <a:pt x="271110" y="110354"/>
                  </a:lnTo>
                  <a:lnTo>
                    <a:pt x="268803" y="124993"/>
                  </a:lnTo>
                  <a:lnTo>
                    <a:pt x="269104" y="126021"/>
                  </a:lnTo>
                  <a:lnTo>
                    <a:pt x="271111" y="110354"/>
                  </a:lnTo>
                  <a:close/>
                  <a:moveTo>
                    <a:pt x="304561" y="88948"/>
                  </a:moveTo>
                  <a:lnTo>
                    <a:pt x="304566" y="88959"/>
                  </a:lnTo>
                  <a:lnTo>
                    <a:pt x="308027" y="90085"/>
                  </a:lnTo>
                  <a:lnTo>
                    <a:pt x="312642" y="94589"/>
                  </a:lnTo>
                  <a:lnTo>
                    <a:pt x="324178" y="95716"/>
                  </a:lnTo>
                  <a:lnTo>
                    <a:pt x="333408" y="105849"/>
                  </a:lnTo>
                  <a:lnTo>
                    <a:pt x="358788" y="109228"/>
                  </a:lnTo>
                  <a:lnTo>
                    <a:pt x="359942" y="123866"/>
                  </a:lnTo>
                  <a:lnTo>
                    <a:pt x="402627" y="128371"/>
                  </a:lnTo>
                  <a:lnTo>
                    <a:pt x="402627" y="128370"/>
                  </a:lnTo>
                  <a:lnTo>
                    <a:pt x="359942" y="123865"/>
                  </a:lnTo>
                  <a:lnTo>
                    <a:pt x="358788" y="109227"/>
                  </a:lnTo>
                  <a:lnTo>
                    <a:pt x="333408" y="105849"/>
                  </a:lnTo>
                  <a:lnTo>
                    <a:pt x="324178" y="95714"/>
                  </a:lnTo>
                  <a:lnTo>
                    <a:pt x="312642" y="94588"/>
                  </a:lnTo>
                  <a:lnTo>
                    <a:pt x="308027" y="90084"/>
                  </a:lnTo>
                  <a:lnTo>
                    <a:pt x="304567" y="88958"/>
                  </a:lnTo>
                  <a:close/>
                  <a:moveTo>
                    <a:pt x="175354" y="86703"/>
                  </a:moveTo>
                  <a:lnTo>
                    <a:pt x="175356" y="86706"/>
                  </a:lnTo>
                  <a:lnTo>
                    <a:pt x="186893" y="91210"/>
                  </a:lnTo>
                  <a:lnTo>
                    <a:pt x="190354" y="95715"/>
                  </a:lnTo>
                  <a:lnTo>
                    <a:pt x="190354" y="95715"/>
                  </a:lnTo>
                  <a:lnTo>
                    <a:pt x="186893" y="91210"/>
                  </a:lnTo>
                  <a:lnTo>
                    <a:pt x="175357" y="86706"/>
                  </a:lnTo>
                  <a:close/>
                  <a:moveTo>
                    <a:pt x="206044" y="84906"/>
                  </a:moveTo>
                  <a:lnTo>
                    <a:pt x="205736" y="85206"/>
                  </a:lnTo>
                  <a:lnTo>
                    <a:pt x="206504" y="86703"/>
                  </a:lnTo>
                  <a:close/>
                  <a:moveTo>
                    <a:pt x="249191" y="81076"/>
                  </a:moveTo>
                  <a:lnTo>
                    <a:pt x="219195" y="92336"/>
                  </a:lnTo>
                  <a:lnTo>
                    <a:pt x="206506" y="86707"/>
                  </a:lnTo>
                  <a:lnTo>
                    <a:pt x="219195" y="92338"/>
                  </a:lnTo>
                  <a:lnTo>
                    <a:pt x="249191" y="81077"/>
                  </a:lnTo>
                  <a:lnTo>
                    <a:pt x="250344" y="86707"/>
                  </a:lnTo>
                  <a:lnTo>
                    <a:pt x="252652" y="92338"/>
                  </a:lnTo>
                  <a:lnTo>
                    <a:pt x="258420" y="100220"/>
                  </a:lnTo>
                  <a:lnTo>
                    <a:pt x="267649" y="100220"/>
                  </a:lnTo>
                  <a:lnTo>
                    <a:pt x="267649" y="100219"/>
                  </a:lnTo>
                  <a:lnTo>
                    <a:pt x="271111" y="99093"/>
                  </a:lnTo>
                  <a:lnTo>
                    <a:pt x="271111" y="92337"/>
                  </a:lnTo>
                  <a:lnTo>
                    <a:pt x="280340" y="93463"/>
                  </a:lnTo>
                  <a:lnTo>
                    <a:pt x="287262" y="88959"/>
                  </a:lnTo>
                  <a:lnTo>
                    <a:pt x="288415" y="84455"/>
                  </a:lnTo>
                  <a:lnTo>
                    <a:pt x="301798" y="84455"/>
                  </a:lnTo>
                  <a:lnTo>
                    <a:pt x="301105" y="83328"/>
                  </a:lnTo>
                  <a:lnTo>
                    <a:pt x="288415" y="84454"/>
                  </a:lnTo>
                  <a:lnTo>
                    <a:pt x="287261" y="88958"/>
                  </a:lnTo>
                  <a:lnTo>
                    <a:pt x="280339" y="93462"/>
                  </a:lnTo>
                  <a:lnTo>
                    <a:pt x="271110" y="92336"/>
                  </a:lnTo>
                  <a:lnTo>
                    <a:pt x="271110" y="99093"/>
                  </a:lnTo>
                  <a:lnTo>
                    <a:pt x="258420" y="100218"/>
                  </a:lnTo>
                  <a:lnTo>
                    <a:pt x="250344" y="86706"/>
                  </a:lnTo>
                  <a:close/>
                  <a:moveTo>
                    <a:pt x="163820" y="79950"/>
                  </a:moveTo>
                  <a:lnTo>
                    <a:pt x="163820" y="79950"/>
                  </a:lnTo>
                  <a:lnTo>
                    <a:pt x="173049" y="81076"/>
                  </a:lnTo>
                  <a:lnTo>
                    <a:pt x="173049" y="81077"/>
                  </a:lnTo>
                  <a:lnTo>
                    <a:pt x="173049" y="81076"/>
                  </a:lnTo>
                  <a:close/>
                  <a:moveTo>
                    <a:pt x="209675" y="71228"/>
                  </a:moveTo>
                  <a:lnTo>
                    <a:pt x="205352" y="78823"/>
                  </a:lnTo>
                  <a:lnTo>
                    <a:pt x="205807" y="81044"/>
                  </a:lnTo>
                  <a:close/>
                  <a:moveTo>
                    <a:pt x="212274" y="43919"/>
                  </a:moveTo>
                  <a:lnTo>
                    <a:pt x="211535" y="59793"/>
                  </a:lnTo>
                  <a:lnTo>
                    <a:pt x="213427" y="55176"/>
                  </a:lnTo>
                  <a:close/>
                  <a:moveTo>
                    <a:pt x="235347" y="41664"/>
                  </a:moveTo>
                  <a:lnTo>
                    <a:pt x="230105" y="42687"/>
                  </a:lnTo>
                  <a:lnTo>
                    <a:pt x="235347" y="41664"/>
                  </a:lnTo>
                  <a:close/>
                  <a:moveTo>
                    <a:pt x="169478" y="40003"/>
                  </a:moveTo>
                  <a:lnTo>
                    <a:pt x="168434" y="56302"/>
                  </a:lnTo>
                  <a:lnTo>
                    <a:pt x="162666" y="57428"/>
                  </a:lnTo>
                  <a:lnTo>
                    <a:pt x="158050" y="81076"/>
                  </a:lnTo>
                  <a:lnTo>
                    <a:pt x="162693" y="80170"/>
                  </a:lnTo>
                  <a:lnTo>
                    <a:pt x="158051" y="81076"/>
                  </a:lnTo>
                  <a:lnTo>
                    <a:pt x="162666" y="57428"/>
                  </a:lnTo>
                  <a:lnTo>
                    <a:pt x="168434" y="57428"/>
                  </a:lnTo>
                  <a:lnTo>
                    <a:pt x="169588" y="40538"/>
                  </a:lnTo>
                  <a:close/>
                  <a:moveTo>
                    <a:pt x="162666" y="23648"/>
                  </a:moveTo>
                  <a:lnTo>
                    <a:pt x="162666" y="29278"/>
                  </a:lnTo>
                  <a:lnTo>
                    <a:pt x="168434" y="34908"/>
                  </a:lnTo>
                  <a:lnTo>
                    <a:pt x="168435" y="34911"/>
                  </a:lnTo>
                  <a:lnTo>
                    <a:pt x="168434" y="34908"/>
                  </a:lnTo>
                  <a:lnTo>
                    <a:pt x="162666" y="29277"/>
                  </a:lnTo>
                  <a:lnTo>
                    <a:pt x="162666" y="23648"/>
                  </a:lnTo>
                  <a:close/>
                  <a:moveTo>
                    <a:pt x="215735" y="0"/>
                  </a:moveTo>
                  <a:lnTo>
                    <a:pt x="234194" y="7883"/>
                  </a:lnTo>
                  <a:lnTo>
                    <a:pt x="249191" y="9008"/>
                  </a:lnTo>
                  <a:lnTo>
                    <a:pt x="276878" y="3378"/>
                  </a:lnTo>
                  <a:lnTo>
                    <a:pt x="291876" y="5631"/>
                  </a:lnTo>
                  <a:lnTo>
                    <a:pt x="312642" y="13513"/>
                  </a:lnTo>
                  <a:lnTo>
                    <a:pt x="336869" y="10135"/>
                  </a:lnTo>
                  <a:lnTo>
                    <a:pt x="344944" y="15765"/>
                  </a:lnTo>
                  <a:lnTo>
                    <a:pt x="351866" y="36034"/>
                  </a:lnTo>
                  <a:lnTo>
                    <a:pt x="359942" y="45042"/>
                  </a:lnTo>
                  <a:lnTo>
                    <a:pt x="369171" y="49547"/>
                  </a:lnTo>
                  <a:lnTo>
                    <a:pt x="389937" y="52924"/>
                  </a:lnTo>
                  <a:lnTo>
                    <a:pt x="413010" y="61933"/>
                  </a:lnTo>
                  <a:lnTo>
                    <a:pt x="418778" y="93462"/>
                  </a:lnTo>
                  <a:lnTo>
                    <a:pt x="417625" y="123865"/>
                  </a:lnTo>
                  <a:lnTo>
                    <a:pt x="422240" y="150890"/>
                  </a:lnTo>
                  <a:lnTo>
                    <a:pt x="416471" y="182420"/>
                  </a:lnTo>
                  <a:lnTo>
                    <a:pt x="400320" y="167781"/>
                  </a:lnTo>
                  <a:lnTo>
                    <a:pt x="395705" y="161025"/>
                  </a:lnTo>
                  <a:lnTo>
                    <a:pt x="392244" y="161025"/>
                  </a:lnTo>
                  <a:lnTo>
                    <a:pt x="380708" y="148638"/>
                  </a:lnTo>
                  <a:lnTo>
                    <a:pt x="380708" y="148639"/>
                  </a:lnTo>
                  <a:lnTo>
                    <a:pt x="392244" y="161026"/>
                  </a:lnTo>
                  <a:lnTo>
                    <a:pt x="395705" y="161026"/>
                  </a:lnTo>
                  <a:lnTo>
                    <a:pt x="400320" y="167782"/>
                  </a:lnTo>
                  <a:lnTo>
                    <a:pt x="416471" y="182420"/>
                  </a:lnTo>
                  <a:lnTo>
                    <a:pt x="414164" y="193681"/>
                  </a:lnTo>
                  <a:lnTo>
                    <a:pt x="408396" y="190303"/>
                  </a:lnTo>
                  <a:lnTo>
                    <a:pt x="395705" y="200437"/>
                  </a:lnTo>
                  <a:lnTo>
                    <a:pt x="384169" y="203816"/>
                  </a:lnTo>
                  <a:lnTo>
                    <a:pt x="376093" y="207193"/>
                  </a:lnTo>
                  <a:lnTo>
                    <a:pt x="378401" y="210572"/>
                  </a:lnTo>
                  <a:lnTo>
                    <a:pt x="376093" y="208319"/>
                  </a:lnTo>
                  <a:lnTo>
                    <a:pt x="372632" y="209446"/>
                  </a:lnTo>
                  <a:lnTo>
                    <a:pt x="368018" y="208319"/>
                  </a:lnTo>
                  <a:lnTo>
                    <a:pt x="358788" y="211698"/>
                  </a:lnTo>
                  <a:lnTo>
                    <a:pt x="356481" y="215076"/>
                  </a:lnTo>
                  <a:lnTo>
                    <a:pt x="344944" y="220706"/>
                  </a:lnTo>
                  <a:lnTo>
                    <a:pt x="320717" y="224084"/>
                  </a:lnTo>
                  <a:lnTo>
                    <a:pt x="316103" y="226336"/>
                  </a:lnTo>
                  <a:lnTo>
                    <a:pt x="313796" y="226336"/>
                  </a:lnTo>
                  <a:lnTo>
                    <a:pt x="313796" y="225211"/>
                  </a:lnTo>
                  <a:lnTo>
                    <a:pt x="309181" y="225211"/>
                  </a:lnTo>
                  <a:lnTo>
                    <a:pt x="296490" y="220706"/>
                  </a:lnTo>
                  <a:lnTo>
                    <a:pt x="293030" y="216202"/>
                  </a:lnTo>
                  <a:lnTo>
                    <a:pt x="279186" y="213950"/>
                  </a:lnTo>
                  <a:lnTo>
                    <a:pt x="278032" y="210571"/>
                  </a:lnTo>
                  <a:lnTo>
                    <a:pt x="275724" y="216202"/>
                  </a:lnTo>
                  <a:lnTo>
                    <a:pt x="274955" y="214700"/>
                  </a:lnTo>
                  <a:lnTo>
                    <a:pt x="275724" y="215076"/>
                  </a:lnTo>
                  <a:lnTo>
                    <a:pt x="276878" y="212824"/>
                  </a:lnTo>
                  <a:lnTo>
                    <a:pt x="273417" y="209445"/>
                  </a:lnTo>
                  <a:lnTo>
                    <a:pt x="257266" y="206068"/>
                  </a:lnTo>
                  <a:lnTo>
                    <a:pt x="257266" y="204941"/>
                  </a:lnTo>
                  <a:lnTo>
                    <a:pt x="249191" y="201563"/>
                  </a:lnTo>
                  <a:lnTo>
                    <a:pt x="249191" y="200438"/>
                  </a:lnTo>
                  <a:lnTo>
                    <a:pt x="248037" y="202689"/>
                  </a:lnTo>
                  <a:lnTo>
                    <a:pt x="242269" y="201563"/>
                  </a:lnTo>
                  <a:lnTo>
                    <a:pt x="241115" y="197059"/>
                  </a:lnTo>
                  <a:lnTo>
                    <a:pt x="242269" y="202689"/>
                  </a:lnTo>
                  <a:lnTo>
                    <a:pt x="239961" y="200438"/>
                  </a:lnTo>
                  <a:lnTo>
                    <a:pt x="234193" y="201563"/>
                  </a:lnTo>
                  <a:lnTo>
                    <a:pt x="233039" y="197059"/>
                  </a:lnTo>
                  <a:lnTo>
                    <a:pt x="224964" y="198185"/>
                  </a:lnTo>
                  <a:lnTo>
                    <a:pt x="226117" y="201563"/>
                  </a:lnTo>
                  <a:lnTo>
                    <a:pt x="222657" y="199311"/>
                  </a:lnTo>
                  <a:lnTo>
                    <a:pt x="220349" y="200438"/>
                  </a:lnTo>
                  <a:lnTo>
                    <a:pt x="216888" y="199311"/>
                  </a:lnTo>
                  <a:lnTo>
                    <a:pt x="216888" y="202689"/>
                  </a:lnTo>
                  <a:lnTo>
                    <a:pt x="215734" y="198185"/>
                  </a:lnTo>
                  <a:lnTo>
                    <a:pt x="203044" y="194807"/>
                  </a:lnTo>
                  <a:lnTo>
                    <a:pt x="198430" y="194807"/>
                  </a:lnTo>
                  <a:lnTo>
                    <a:pt x="197276" y="197059"/>
                  </a:lnTo>
                  <a:lnTo>
                    <a:pt x="198430" y="191429"/>
                  </a:lnTo>
                  <a:lnTo>
                    <a:pt x="194968" y="197059"/>
                  </a:lnTo>
                  <a:lnTo>
                    <a:pt x="196123" y="194807"/>
                  </a:lnTo>
                  <a:lnTo>
                    <a:pt x="186893" y="189177"/>
                  </a:lnTo>
                  <a:lnTo>
                    <a:pt x="183432" y="192555"/>
                  </a:lnTo>
                  <a:lnTo>
                    <a:pt x="179971" y="191429"/>
                  </a:lnTo>
                  <a:lnTo>
                    <a:pt x="178817" y="189177"/>
                  </a:lnTo>
                  <a:lnTo>
                    <a:pt x="181125" y="191429"/>
                  </a:lnTo>
                  <a:lnTo>
                    <a:pt x="183432" y="186925"/>
                  </a:lnTo>
                  <a:lnTo>
                    <a:pt x="171896" y="180169"/>
                  </a:lnTo>
                  <a:lnTo>
                    <a:pt x="171896" y="179042"/>
                  </a:lnTo>
                  <a:lnTo>
                    <a:pt x="170742" y="180169"/>
                  </a:lnTo>
                  <a:lnTo>
                    <a:pt x="162666" y="175665"/>
                  </a:lnTo>
                  <a:lnTo>
                    <a:pt x="179971" y="129497"/>
                  </a:lnTo>
                  <a:lnTo>
                    <a:pt x="194968" y="95715"/>
                  </a:lnTo>
                  <a:lnTo>
                    <a:pt x="194969" y="95715"/>
                  </a:lnTo>
                  <a:lnTo>
                    <a:pt x="194968" y="95715"/>
                  </a:lnTo>
                  <a:lnTo>
                    <a:pt x="179971" y="129496"/>
                  </a:lnTo>
                  <a:lnTo>
                    <a:pt x="162666" y="175663"/>
                  </a:lnTo>
                  <a:lnTo>
                    <a:pt x="161512" y="173411"/>
                  </a:lnTo>
                  <a:lnTo>
                    <a:pt x="141900" y="163277"/>
                  </a:lnTo>
                  <a:lnTo>
                    <a:pt x="141900" y="163277"/>
                  </a:lnTo>
                  <a:lnTo>
                    <a:pt x="144207" y="164404"/>
                  </a:lnTo>
                  <a:lnTo>
                    <a:pt x="143053" y="162151"/>
                  </a:lnTo>
                  <a:lnTo>
                    <a:pt x="141900" y="163277"/>
                  </a:lnTo>
                  <a:lnTo>
                    <a:pt x="141899" y="163277"/>
                  </a:lnTo>
                  <a:lnTo>
                    <a:pt x="141900" y="163277"/>
                  </a:lnTo>
                  <a:lnTo>
                    <a:pt x="140746" y="164404"/>
                  </a:lnTo>
                  <a:lnTo>
                    <a:pt x="140746" y="162151"/>
                  </a:lnTo>
                  <a:lnTo>
                    <a:pt x="129209" y="155394"/>
                  </a:lnTo>
                  <a:lnTo>
                    <a:pt x="114212" y="148638"/>
                  </a:lnTo>
                  <a:lnTo>
                    <a:pt x="92292" y="139630"/>
                  </a:lnTo>
                  <a:lnTo>
                    <a:pt x="64604" y="129496"/>
                  </a:lnTo>
                  <a:lnTo>
                    <a:pt x="70373" y="130622"/>
                  </a:lnTo>
                  <a:lnTo>
                    <a:pt x="70373" y="129496"/>
                  </a:lnTo>
                  <a:lnTo>
                    <a:pt x="57683" y="127244"/>
                  </a:lnTo>
                  <a:lnTo>
                    <a:pt x="58836" y="124992"/>
                  </a:lnTo>
                  <a:lnTo>
                    <a:pt x="56529" y="127244"/>
                  </a:lnTo>
                  <a:lnTo>
                    <a:pt x="41532" y="123865"/>
                  </a:lnTo>
                  <a:lnTo>
                    <a:pt x="42685" y="121614"/>
                  </a:lnTo>
                  <a:lnTo>
                    <a:pt x="40377" y="123865"/>
                  </a:lnTo>
                  <a:lnTo>
                    <a:pt x="35763" y="120488"/>
                  </a:lnTo>
                  <a:lnTo>
                    <a:pt x="35763" y="121614"/>
                  </a:lnTo>
                  <a:lnTo>
                    <a:pt x="33456" y="120488"/>
                  </a:lnTo>
                  <a:lnTo>
                    <a:pt x="31149" y="118235"/>
                  </a:lnTo>
                  <a:lnTo>
                    <a:pt x="20766" y="113731"/>
                  </a:lnTo>
                  <a:lnTo>
                    <a:pt x="22872" y="112556"/>
                  </a:lnTo>
                  <a:lnTo>
                    <a:pt x="23073" y="112605"/>
                  </a:lnTo>
                  <a:lnTo>
                    <a:pt x="24806" y="111477"/>
                  </a:lnTo>
                  <a:lnTo>
                    <a:pt x="27580" y="109931"/>
                  </a:lnTo>
                  <a:lnTo>
                    <a:pt x="27688" y="110353"/>
                  </a:lnTo>
                  <a:lnTo>
                    <a:pt x="29072" y="109678"/>
                  </a:lnTo>
                  <a:lnTo>
                    <a:pt x="32302" y="108101"/>
                  </a:lnTo>
                  <a:lnTo>
                    <a:pt x="28841" y="109227"/>
                  </a:lnTo>
                  <a:lnTo>
                    <a:pt x="27580" y="109931"/>
                  </a:lnTo>
                  <a:lnTo>
                    <a:pt x="26534" y="105849"/>
                  </a:lnTo>
                  <a:lnTo>
                    <a:pt x="26534" y="110353"/>
                  </a:lnTo>
                  <a:lnTo>
                    <a:pt x="24806" y="111477"/>
                  </a:lnTo>
                  <a:lnTo>
                    <a:pt x="22872" y="112556"/>
                  </a:lnTo>
                  <a:lnTo>
                    <a:pt x="18458" y="111479"/>
                  </a:lnTo>
                  <a:lnTo>
                    <a:pt x="17305" y="109227"/>
                  </a:lnTo>
                  <a:lnTo>
                    <a:pt x="19612" y="109227"/>
                  </a:lnTo>
                  <a:lnTo>
                    <a:pt x="17305" y="108101"/>
                  </a:lnTo>
                  <a:lnTo>
                    <a:pt x="17305" y="109227"/>
                  </a:lnTo>
                  <a:lnTo>
                    <a:pt x="17305" y="110353"/>
                  </a:lnTo>
                  <a:lnTo>
                    <a:pt x="13843" y="108101"/>
                  </a:lnTo>
                  <a:lnTo>
                    <a:pt x="2307" y="92336"/>
                  </a:lnTo>
                  <a:lnTo>
                    <a:pt x="3461" y="87833"/>
                  </a:lnTo>
                  <a:lnTo>
                    <a:pt x="0" y="87833"/>
                  </a:lnTo>
                  <a:lnTo>
                    <a:pt x="2307" y="86706"/>
                  </a:lnTo>
                  <a:lnTo>
                    <a:pt x="4614" y="87833"/>
                  </a:lnTo>
                  <a:lnTo>
                    <a:pt x="4614" y="88959"/>
                  </a:lnTo>
                  <a:lnTo>
                    <a:pt x="11536" y="91210"/>
                  </a:lnTo>
                  <a:lnTo>
                    <a:pt x="12690" y="97966"/>
                  </a:lnTo>
                  <a:lnTo>
                    <a:pt x="11536" y="100219"/>
                  </a:lnTo>
                  <a:lnTo>
                    <a:pt x="12690" y="99092"/>
                  </a:lnTo>
                  <a:lnTo>
                    <a:pt x="13843" y="104723"/>
                  </a:lnTo>
                  <a:lnTo>
                    <a:pt x="14942" y="104509"/>
                  </a:lnTo>
                  <a:lnTo>
                    <a:pt x="14997" y="104723"/>
                  </a:lnTo>
                  <a:lnTo>
                    <a:pt x="19612" y="103597"/>
                  </a:lnTo>
                  <a:lnTo>
                    <a:pt x="14942" y="104509"/>
                  </a:lnTo>
                  <a:lnTo>
                    <a:pt x="13843" y="100219"/>
                  </a:lnTo>
                  <a:lnTo>
                    <a:pt x="14997" y="100219"/>
                  </a:lnTo>
                  <a:lnTo>
                    <a:pt x="12690" y="99092"/>
                  </a:lnTo>
                  <a:lnTo>
                    <a:pt x="16151" y="95715"/>
                  </a:lnTo>
                  <a:lnTo>
                    <a:pt x="16151" y="97966"/>
                  </a:lnTo>
                  <a:lnTo>
                    <a:pt x="20766" y="99092"/>
                  </a:lnTo>
                  <a:lnTo>
                    <a:pt x="18920" y="96390"/>
                  </a:lnTo>
                  <a:lnTo>
                    <a:pt x="19612" y="95715"/>
                  </a:lnTo>
                  <a:lnTo>
                    <a:pt x="18458" y="95715"/>
                  </a:lnTo>
                  <a:lnTo>
                    <a:pt x="18920" y="96390"/>
                  </a:lnTo>
                  <a:lnTo>
                    <a:pt x="17305" y="97966"/>
                  </a:lnTo>
                  <a:lnTo>
                    <a:pt x="16151" y="94589"/>
                  </a:lnTo>
                  <a:lnTo>
                    <a:pt x="12690" y="96841"/>
                  </a:lnTo>
                  <a:lnTo>
                    <a:pt x="12690" y="90084"/>
                  </a:lnTo>
                  <a:lnTo>
                    <a:pt x="14997" y="88959"/>
                  </a:lnTo>
                  <a:lnTo>
                    <a:pt x="17305" y="92336"/>
                  </a:lnTo>
                  <a:lnTo>
                    <a:pt x="16151" y="88959"/>
                  </a:lnTo>
                  <a:lnTo>
                    <a:pt x="21919" y="84454"/>
                  </a:lnTo>
                  <a:lnTo>
                    <a:pt x="23073" y="85580"/>
                  </a:lnTo>
                  <a:lnTo>
                    <a:pt x="21919" y="86706"/>
                  </a:lnTo>
                  <a:lnTo>
                    <a:pt x="24226" y="90084"/>
                  </a:lnTo>
                  <a:lnTo>
                    <a:pt x="23073" y="86706"/>
                  </a:lnTo>
                  <a:lnTo>
                    <a:pt x="24226" y="84454"/>
                  </a:lnTo>
                  <a:lnTo>
                    <a:pt x="19612" y="82202"/>
                  </a:lnTo>
                  <a:lnTo>
                    <a:pt x="39224" y="51798"/>
                  </a:lnTo>
                  <a:lnTo>
                    <a:pt x="47300" y="50672"/>
                  </a:lnTo>
                  <a:lnTo>
                    <a:pt x="71526" y="55177"/>
                  </a:lnTo>
                  <a:lnTo>
                    <a:pt x="83063" y="43916"/>
                  </a:lnTo>
                  <a:lnTo>
                    <a:pt x="108444" y="38286"/>
                  </a:lnTo>
                  <a:lnTo>
                    <a:pt x="116519" y="32656"/>
                  </a:lnTo>
                  <a:lnTo>
                    <a:pt x="133824" y="28152"/>
                  </a:lnTo>
                  <a:lnTo>
                    <a:pt x="148821" y="32656"/>
                  </a:lnTo>
                  <a:lnTo>
                    <a:pt x="162666" y="20269"/>
                  </a:lnTo>
                  <a:lnTo>
                    <a:pt x="164973" y="23647"/>
                  </a:lnTo>
                  <a:lnTo>
                    <a:pt x="164974" y="23647"/>
                  </a:lnTo>
                  <a:lnTo>
                    <a:pt x="162666" y="20269"/>
                  </a:lnTo>
                  <a:lnTo>
                    <a:pt x="178817" y="9009"/>
                  </a:lnTo>
                  <a:lnTo>
                    <a:pt x="203045" y="11261"/>
                  </a:lnTo>
                  <a:close/>
                </a:path>
              </a:pathLst>
            </a:custGeom>
            <a:grpFill/>
            <a:ln w="9525" cap="flat" cmpd="sng">
              <a:no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chemeClr val="bg1">
                    <a:lumMod val="95000"/>
                  </a:schemeClr>
                </a:solidFill>
                <a:latin typeface="Corbel" panose="020B0503020204020204" pitchFamily="34" charset="0"/>
                <a:ea typeface="Arial"/>
                <a:cs typeface="Arial"/>
                <a:sym typeface="Arial"/>
              </a:endParaRPr>
            </a:p>
          </p:txBody>
        </p:sp>
        <p:sp>
          <p:nvSpPr>
            <p:cNvPr id="217" name="Mook en Middelaar">
              <a:extLst>
                <a:ext uri="{FF2B5EF4-FFF2-40B4-BE49-F238E27FC236}">
                  <a16:creationId xmlns:a16="http://schemas.microsoft.com/office/drawing/2014/main" id="{99D8A9D9-BA65-4A5F-8E75-8D443B4B23CB}"/>
                </a:ext>
              </a:extLst>
            </p:cNvPr>
            <p:cNvSpPr/>
            <p:nvPr/>
          </p:nvSpPr>
          <p:spPr>
            <a:xfrm>
              <a:off x="6733736" y="4036658"/>
              <a:ext cx="81854" cy="94480"/>
            </a:xfrm>
            <a:custGeom>
              <a:avLst/>
              <a:gdLst/>
              <a:ahLst/>
              <a:cxnLst/>
              <a:rect l="l" t="t" r="r" b="b"/>
              <a:pathLst>
                <a:path w="117081" h="148590" extrusionOk="0">
                  <a:moveTo>
                    <a:pt x="105388" y="86407"/>
                  </a:moveTo>
                  <a:lnTo>
                    <a:pt x="108760" y="91345"/>
                  </a:lnTo>
                  <a:lnTo>
                    <a:pt x="117191" y="92991"/>
                  </a:lnTo>
                  <a:lnTo>
                    <a:pt x="112132" y="97928"/>
                  </a:lnTo>
                  <a:lnTo>
                    <a:pt x="112132" y="111095"/>
                  </a:lnTo>
                  <a:lnTo>
                    <a:pt x="102015" y="129199"/>
                  </a:lnTo>
                  <a:lnTo>
                    <a:pt x="91898" y="140720"/>
                  </a:lnTo>
                  <a:lnTo>
                    <a:pt x="88526" y="150596"/>
                  </a:lnTo>
                  <a:lnTo>
                    <a:pt x="68291" y="148950"/>
                  </a:lnTo>
                  <a:lnTo>
                    <a:pt x="44684" y="135783"/>
                  </a:lnTo>
                  <a:lnTo>
                    <a:pt x="36253" y="125908"/>
                  </a:lnTo>
                  <a:lnTo>
                    <a:pt x="27821" y="73240"/>
                  </a:lnTo>
                  <a:lnTo>
                    <a:pt x="16018" y="63365"/>
                  </a:lnTo>
                  <a:lnTo>
                    <a:pt x="4214" y="55136"/>
                  </a:lnTo>
                  <a:lnTo>
                    <a:pt x="10959" y="41969"/>
                  </a:lnTo>
                  <a:lnTo>
                    <a:pt x="7587" y="25510"/>
                  </a:lnTo>
                  <a:lnTo>
                    <a:pt x="9273" y="12343"/>
                  </a:lnTo>
                  <a:lnTo>
                    <a:pt x="37939" y="4114"/>
                  </a:lnTo>
                  <a:lnTo>
                    <a:pt x="48056" y="5760"/>
                  </a:lnTo>
                  <a:lnTo>
                    <a:pt x="66605" y="35385"/>
                  </a:lnTo>
                  <a:lnTo>
                    <a:pt x="75036" y="43615"/>
                  </a:lnTo>
                  <a:lnTo>
                    <a:pt x="81780" y="66657"/>
                  </a:lnTo>
                  <a:lnTo>
                    <a:pt x="110446" y="76532"/>
                  </a:lnTo>
                  <a:lnTo>
                    <a:pt x="105388" y="8640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8" name="Beek">
              <a:extLst>
                <a:ext uri="{FF2B5EF4-FFF2-40B4-BE49-F238E27FC236}">
                  <a16:creationId xmlns:a16="http://schemas.microsoft.com/office/drawing/2014/main" id="{2CC5F3E5-D51D-43F3-9EC4-748A8FA2B514}"/>
                </a:ext>
              </a:extLst>
            </p:cNvPr>
            <p:cNvSpPr/>
            <p:nvPr/>
          </p:nvSpPr>
          <p:spPr>
            <a:xfrm>
              <a:off x="6622675" y="5359309"/>
              <a:ext cx="116659" cy="89893"/>
            </a:xfrm>
            <a:custGeom>
              <a:avLst/>
              <a:gdLst/>
              <a:ahLst/>
              <a:cxnLst/>
              <a:rect l="l" t="t" r="r" b="b"/>
              <a:pathLst>
                <a:path w="163914" h="137160" extrusionOk="0">
                  <a:moveTo>
                    <a:pt x="125622" y="23865"/>
                  </a:moveTo>
                  <a:lnTo>
                    <a:pt x="135740" y="25510"/>
                  </a:lnTo>
                  <a:lnTo>
                    <a:pt x="137426" y="15635"/>
                  </a:lnTo>
                  <a:lnTo>
                    <a:pt x="149230" y="28802"/>
                  </a:lnTo>
                  <a:lnTo>
                    <a:pt x="152602" y="28802"/>
                  </a:lnTo>
                  <a:lnTo>
                    <a:pt x="159347" y="25510"/>
                  </a:lnTo>
                  <a:lnTo>
                    <a:pt x="164406" y="30448"/>
                  </a:lnTo>
                  <a:lnTo>
                    <a:pt x="161033" y="50198"/>
                  </a:lnTo>
                  <a:lnTo>
                    <a:pt x="155974" y="65011"/>
                  </a:lnTo>
                  <a:lnTo>
                    <a:pt x="140798" y="89699"/>
                  </a:lnTo>
                  <a:lnTo>
                    <a:pt x="127309" y="88053"/>
                  </a:lnTo>
                  <a:lnTo>
                    <a:pt x="123936" y="91345"/>
                  </a:lnTo>
                  <a:lnTo>
                    <a:pt x="123936" y="96282"/>
                  </a:lnTo>
                  <a:lnTo>
                    <a:pt x="39625" y="111095"/>
                  </a:lnTo>
                  <a:lnTo>
                    <a:pt x="36252" y="111095"/>
                  </a:lnTo>
                  <a:lnTo>
                    <a:pt x="10959" y="140721"/>
                  </a:lnTo>
                  <a:lnTo>
                    <a:pt x="5900" y="139075"/>
                  </a:lnTo>
                  <a:lnTo>
                    <a:pt x="4214" y="135783"/>
                  </a:lnTo>
                  <a:lnTo>
                    <a:pt x="10959" y="122617"/>
                  </a:lnTo>
                  <a:lnTo>
                    <a:pt x="27821" y="94637"/>
                  </a:lnTo>
                  <a:lnTo>
                    <a:pt x="36252" y="74886"/>
                  </a:lnTo>
                  <a:lnTo>
                    <a:pt x="29507" y="69949"/>
                  </a:lnTo>
                  <a:lnTo>
                    <a:pt x="41311" y="58427"/>
                  </a:lnTo>
                  <a:lnTo>
                    <a:pt x="42997" y="43615"/>
                  </a:lnTo>
                  <a:lnTo>
                    <a:pt x="49742" y="33740"/>
                  </a:lnTo>
                  <a:lnTo>
                    <a:pt x="42997" y="32094"/>
                  </a:lnTo>
                  <a:lnTo>
                    <a:pt x="42997" y="28802"/>
                  </a:lnTo>
                  <a:lnTo>
                    <a:pt x="56487" y="22218"/>
                  </a:lnTo>
                  <a:lnTo>
                    <a:pt x="64918" y="12343"/>
                  </a:lnTo>
                  <a:lnTo>
                    <a:pt x="78408" y="23865"/>
                  </a:lnTo>
                  <a:lnTo>
                    <a:pt x="93584" y="4114"/>
                  </a:lnTo>
                  <a:lnTo>
                    <a:pt x="125622" y="2386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19" name="Langedijk">
              <a:extLst>
                <a:ext uri="{FF2B5EF4-FFF2-40B4-BE49-F238E27FC236}">
                  <a16:creationId xmlns:a16="http://schemas.microsoft.com/office/drawing/2014/main" id="{9AE7FE2F-C8FD-41DC-8032-711C9732CF68}"/>
                </a:ext>
              </a:extLst>
            </p:cNvPr>
            <p:cNvSpPr/>
            <p:nvPr/>
          </p:nvSpPr>
          <p:spPr>
            <a:xfrm>
              <a:off x="5549421" y="2502019"/>
              <a:ext cx="110022" cy="135259"/>
            </a:xfrm>
            <a:custGeom>
              <a:avLst/>
              <a:gdLst/>
              <a:ahLst/>
              <a:cxnLst/>
              <a:rect l="l" t="t" r="r" b="b"/>
              <a:pathLst>
                <a:path w="163914" h="205740" extrusionOk="0">
                  <a:moveTo>
                    <a:pt x="91898" y="30448"/>
                  </a:moveTo>
                  <a:lnTo>
                    <a:pt x="103701" y="32094"/>
                  </a:lnTo>
                  <a:lnTo>
                    <a:pt x="108760" y="30448"/>
                  </a:lnTo>
                  <a:lnTo>
                    <a:pt x="108760" y="33739"/>
                  </a:lnTo>
                  <a:lnTo>
                    <a:pt x="115505" y="41969"/>
                  </a:lnTo>
                  <a:lnTo>
                    <a:pt x="118877" y="43615"/>
                  </a:lnTo>
                  <a:lnTo>
                    <a:pt x="120564" y="46906"/>
                  </a:lnTo>
                  <a:lnTo>
                    <a:pt x="152602" y="38677"/>
                  </a:lnTo>
                  <a:lnTo>
                    <a:pt x="159347" y="40323"/>
                  </a:lnTo>
                  <a:lnTo>
                    <a:pt x="162719" y="48552"/>
                  </a:lnTo>
                  <a:lnTo>
                    <a:pt x="140798" y="58428"/>
                  </a:lnTo>
                  <a:lnTo>
                    <a:pt x="149229" y="76532"/>
                  </a:lnTo>
                  <a:lnTo>
                    <a:pt x="152602" y="102866"/>
                  </a:lnTo>
                  <a:lnTo>
                    <a:pt x="150916" y="142367"/>
                  </a:lnTo>
                  <a:lnTo>
                    <a:pt x="144171" y="147304"/>
                  </a:lnTo>
                  <a:lnTo>
                    <a:pt x="125622" y="145658"/>
                  </a:lnTo>
                  <a:lnTo>
                    <a:pt x="110446" y="167054"/>
                  </a:lnTo>
                  <a:lnTo>
                    <a:pt x="112132" y="176930"/>
                  </a:lnTo>
                  <a:lnTo>
                    <a:pt x="71663" y="204909"/>
                  </a:lnTo>
                  <a:lnTo>
                    <a:pt x="75036" y="195034"/>
                  </a:lnTo>
                  <a:lnTo>
                    <a:pt x="69977" y="193388"/>
                  </a:lnTo>
                  <a:lnTo>
                    <a:pt x="78408" y="167054"/>
                  </a:lnTo>
                  <a:lnTo>
                    <a:pt x="73349" y="163763"/>
                  </a:lnTo>
                  <a:lnTo>
                    <a:pt x="80094" y="147304"/>
                  </a:lnTo>
                  <a:lnTo>
                    <a:pt x="80094" y="137429"/>
                  </a:lnTo>
                  <a:lnTo>
                    <a:pt x="36252" y="122616"/>
                  </a:lnTo>
                  <a:lnTo>
                    <a:pt x="24449" y="125908"/>
                  </a:lnTo>
                  <a:lnTo>
                    <a:pt x="4214" y="101220"/>
                  </a:lnTo>
                  <a:lnTo>
                    <a:pt x="41311" y="86407"/>
                  </a:lnTo>
                  <a:lnTo>
                    <a:pt x="66604" y="83115"/>
                  </a:lnTo>
                  <a:lnTo>
                    <a:pt x="71663" y="33739"/>
                  </a:lnTo>
                  <a:lnTo>
                    <a:pt x="80094" y="4114"/>
                  </a:lnTo>
                  <a:lnTo>
                    <a:pt x="91898" y="13989"/>
                  </a:lnTo>
                  <a:lnTo>
                    <a:pt x="90212" y="27156"/>
                  </a:lnTo>
                  <a:lnTo>
                    <a:pt x="91898" y="3044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0" name="Zoetermeer">
              <a:extLst>
                <a:ext uri="{FF2B5EF4-FFF2-40B4-BE49-F238E27FC236}">
                  <a16:creationId xmlns:a16="http://schemas.microsoft.com/office/drawing/2014/main" id="{5ACE1139-9B62-4D24-90B0-5D53A7988471}"/>
                </a:ext>
              </a:extLst>
            </p:cNvPr>
            <p:cNvSpPr/>
            <p:nvPr/>
          </p:nvSpPr>
          <p:spPr>
            <a:xfrm>
              <a:off x="5198947" y="3523389"/>
              <a:ext cx="151901" cy="94480"/>
            </a:xfrm>
            <a:custGeom>
              <a:avLst/>
              <a:gdLst/>
              <a:ahLst/>
              <a:cxnLst/>
              <a:rect l="l" t="t" r="r" b="b"/>
              <a:pathLst>
                <a:path w="222455" h="148590" extrusionOk="0">
                  <a:moveTo>
                    <a:pt x="152602" y="13989"/>
                  </a:moveTo>
                  <a:lnTo>
                    <a:pt x="181268" y="35385"/>
                  </a:lnTo>
                  <a:lnTo>
                    <a:pt x="189699" y="43615"/>
                  </a:lnTo>
                  <a:lnTo>
                    <a:pt x="186326" y="53490"/>
                  </a:lnTo>
                  <a:lnTo>
                    <a:pt x="221737" y="83115"/>
                  </a:lnTo>
                  <a:lnTo>
                    <a:pt x="211620" y="94637"/>
                  </a:lnTo>
                  <a:lnTo>
                    <a:pt x="203189" y="111095"/>
                  </a:lnTo>
                  <a:lnTo>
                    <a:pt x="186326" y="109449"/>
                  </a:lnTo>
                  <a:lnTo>
                    <a:pt x="161033" y="130845"/>
                  </a:lnTo>
                  <a:lnTo>
                    <a:pt x="142485" y="152242"/>
                  </a:lnTo>
                  <a:lnTo>
                    <a:pt x="98643" y="153888"/>
                  </a:lnTo>
                  <a:lnTo>
                    <a:pt x="88525" y="130845"/>
                  </a:lnTo>
                  <a:lnTo>
                    <a:pt x="68291" y="135783"/>
                  </a:lnTo>
                  <a:lnTo>
                    <a:pt x="58173" y="109449"/>
                  </a:lnTo>
                  <a:lnTo>
                    <a:pt x="14332" y="102866"/>
                  </a:lnTo>
                  <a:lnTo>
                    <a:pt x="4214" y="89699"/>
                  </a:lnTo>
                  <a:lnTo>
                    <a:pt x="16018" y="89699"/>
                  </a:lnTo>
                  <a:lnTo>
                    <a:pt x="12645" y="78178"/>
                  </a:lnTo>
                  <a:lnTo>
                    <a:pt x="14332" y="74886"/>
                  </a:lnTo>
                  <a:lnTo>
                    <a:pt x="66604" y="38677"/>
                  </a:lnTo>
                  <a:lnTo>
                    <a:pt x="98643" y="32094"/>
                  </a:lnTo>
                  <a:lnTo>
                    <a:pt x="95270" y="22219"/>
                  </a:lnTo>
                  <a:lnTo>
                    <a:pt x="123936" y="17281"/>
                  </a:lnTo>
                  <a:lnTo>
                    <a:pt x="123936" y="12343"/>
                  </a:lnTo>
                  <a:lnTo>
                    <a:pt x="132367" y="17281"/>
                  </a:lnTo>
                  <a:lnTo>
                    <a:pt x="134053" y="15635"/>
                  </a:lnTo>
                  <a:lnTo>
                    <a:pt x="135740" y="7406"/>
                  </a:lnTo>
                  <a:lnTo>
                    <a:pt x="142485" y="4114"/>
                  </a:lnTo>
                  <a:lnTo>
                    <a:pt x="152602"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1" name="Amsterdam">
              <a:extLst>
                <a:ext uri="{FF2B5EF4-FFF2-40B4-BE49-F238E27FC236}">
                  <a16:creationId xmlns:a16="http://schemas.microsoft.com/office/drawing/2014/main" id="{C35EBA52-1047-47E8-A754-6005C524A464}"/>
                </a:ext>
              </a:extLst>
            </p:cNvPr>
            <p:cNvSpPr/>
            <p:nvPr/>
          </p:nvSpPr>
          <p:spPr>
            <a:xfrm>
              <a:off x="5544062" y="2981539"/>
              <a:ext cx="353677" cy="250575"/>
            </a:xfrm>
            <a:custGeom>
              <a:avLst/>
              <a:gdLst/>
              <a:ahLst/>
              <a:cxnLst/>
              <a:rect l="l" t="t" r="r" b="b"/>
              <a:pathLst>
                <a:path w="515159" h="377190" extrusionOk="0">
                  <a:moveTo>
                    <a:pt x="381929" y="247702"/>
                  </a:moveTo>
                  <a:lnTo>
                    <a:pt x="390360" y="249348"/>
                  </a:lnTo>
                  <a:lnTo>
                    <a:pt x="397105" y="255931"/>
                  </a:lnTo>
                  <a:lnTo>
                    <a:pt x="408908" y="280619"/>
                  </a:lnTo>
                  <a:lnTo>
                    <a:pt x="408908" y="288849"/>
                  </a:lnTo>
                  <a:lnTo>
                    <a:pt x="437574" y="264160"/>
                  </a:lnTo>
                  <a:lnTo>
                    <a:pt x="437574" y="267452"/>
                  </a:lnTo>
                  <a:lnTo>
                    <a:pt x="439260" y="267452"/>
                  </a:lnTo>
                  <a:lnTo>
                    <a:pt x="446005" y="316828"/>
                  </a:lnTo>
                  <a:lnTo>
                    <a:pt x="432515" y="313536"/>
                  </a:lnTo>
                  <a:lnTo>
                    <a:pt x="424084" y="318474"/>
                  </a:lnTo>
                  <a:lnTo>
                    <a:pt x="420711" y="326704"/>
                  </a:lnTo>
                  <a:lnTo>
                    <a:pt x="419025" y="326704"/>
                  </a:lnTo>
                  <a:lnTo>
                    <a:pt x="415653" y="339870"/>
                  </a:lnTo>
                  <a:lnTo>
                    <a:pt x="408908" y="349746"/>
                  </a:lnTo>
                  <a:lnTo>
                    <a:pt x="386987" y="346454"/>
                  </a:lnTo>
                  <a:lnTo>
                    <a:pt x="366752" y="362912"/>
                  </a:lnTo>
                  <a:lnTo>
                    <a:pt x="363380" y="371142"/>
                  </a:lnTo>
                  <a:lnTo>
                    <a:pt x="361694" y="367850"/>
                  </a:lnTo>
                  <a:lnTo>
                    <a:pt x="354949" y="371142"/>
                  </a:lnTo>
                  <a:lnTo>
                    <a:pt x="353263" y="374433"/>
                  </a:lnTo>
                  <a:lnTo>
                    <a:pt x="344832" y="374433"/>
                  </a:lnTo>
                  <a:lnTo>
                    <a:pt x="306048" y="302015"/>
                  </a:lnTo>
                  <a:lnTo>
                    <a:pt x="316166" y="292140"/>
                  </a:lnTo>
                  <a:lnTo>
                    <a:pt x="314479" y="288849"/>
                  </a:lnTo>
                  <a:lnTo>
                    <a:pt x="319538" y="285557"/>
                  </a:lnTo>
                  <a:lnTo>
                    <a:pt x="319538" y="282265"/>
                  </a:lnTo>
                  <a:lnTo>
                    <a:pt x="322911" y="275682"/>
                  </a:lnTo>
                  <a:lnTo>
                    <a:pt x="317852" y="265807"/>
                  </a:lnTo>
                  <a:lnTo>
                    <a:pt x="322911" y="260869"/>
                  </a:lnTo>
                  <a:lnTo>
                    <a:pt x="333028" y="254286"/>
                  </a:lnTo>
                  <a:lnTo>
                    <a:pt x="341459" y="267452"/>
                  </a:lnTo>
                  <a:lnTo>
                    <a:pt x="363380" y="255931"/>
                  </a:lnTo>
                  <a:lnTo>
                    <a:pt x="368439" y="259223"/>
                  </a:lnTo>
                  <a:lnTo>
                    <a:pt x="375184" y="249348"/>
                  </a:lnTo>
                  <a:lnTo>
                    <a:pt x="381929" y="247702"/>
                  </a:lnTo>
                  <a:close/>
                  <a:moveTo>
                    <a:pt x="393732" y="165409"/>
                  </a:moveTo>
                  <a:lnTo>
                    <a:pt x="398791" y="168700"/>
                  </a:lnTo>
                  <a:lnTo>
                    <a:pt x="392046" y="175284"/>
                  </a:lnTo>
                  <a:lnTo>
                    <a:pt x="392046" y="176930"/>
                  </a:lnTo>
                  <a:lnTo>
                    <a:pt x="383615" y="181867"/>
                  </a:lnTo>
                  <a:lnTo>
                    <a:pt x="380242" y="175284"/>
                  </a:lnTo>
                  <a:lnTo>
                    <a:pt x="378556" y="176930"/>
                  </a:lnTo>
                  <a:lnTo>
                    <a:pt x="375184" y="173638"/>
                  </a:lnTo>
                  <a:lnTo>
                    <a:pt x="380242" y="167055"/>
                  </a:lnTo>
                  <a:lnTo>
                    <a:pt x="383615" y="170346"/>
                  </a:lnTo>
                  <a:lnTo>
                    <a:pt x="388673" y="167055"/>
                  </a:lnTo>
                  <a:lnTo>
                    <a:pt x="385301" y="170346"/>
                  </a:lnTo>
                  <a:lnTo>
                    <a:pt x="390360" y="175284"/>
                  </a:lnTo>
                  <a:lnTo>
                    <a:pt x="393732" y="171992"/>
                  </a:lnTo>
                  <a:lnTo>
                    <a:pt x="388673" y="167055"/>
                  </a:lnTo>
                  <a:lnTo>
                    <a:pt x="390360" y="163763"/>
                  </a:lnTo>
                  <a:lnTo>
                    <a:pt x="393732" y="165409"/>
                  </a:lnTo>
                  <a:close/>
                  <a:moveTo>
                    <a:pt x="434202" y="150596"/>
                  </a:moveTo>
                  <a:lnTo>
                    <a:pt x="432515" y="147304"/>
                  </a:lnTo>
                  <a:lnTo>
                    <a:pt x="435888" y="147304"/>
                  </a:lnTo>
                  <a:lnTo>
                    <a:pt x="434202" y="150596"/>
                  </a:lnTo>
                  <a:close/>
                  <a:moveTo>
                    <a:pt x="446005" y="119324"/>
                  </a:moveTo>
                  <a:lnTo>
                    <a:pt x="435888" y="144013"/>
                  </a:lnTo>
                  <a:lnTo>
                    <a:pt x="435888" y="135783"/>
                  </a:lnTo>
                  <a:lnTo>
                    <a:pt x="437574" y="135783"/>
                  </a:lnTo>
                  <a:lnTo>
                    <a:pt x="440946" y="120971"/>
                  </a:lnTo>
                  <a:lnTo>
                    <a:pt x="444319" y="120971"/>
                  </a:lnTo>
                  <a:lnTo>
                    <a:pt x="449377" y="112741"/>
                  </a:lnTo>
                  <a:lnTo>
                    <a:pt x="446005" y="119324"/>
                  </a:lnTo>
                  <a:close/>
                  <a:moveTo>
                    <a:pt x="61546" y="12344"/>
                  </a:moveTo>
                  <a:lnTo>
                    <a:pt x="63232" y="10698"/>
                  </a:lnTo>
                  <a:lnTo>
                    <a:pt x="196444" y="40323"/>
                  </a:lnTo>
                  <a:lnTo>
                    <a:pt x="201502" y="30448"/>
                  </a:lnTo>
                  <a:lnTo>
                    <a:pt x="199816" y="20573"/>
                  </a:lnTo>
                  <a:lnTo>
                    <a:pt x="206561" y="7406"/>
                  </a:lnTo>
                  <a:lnTo>
                    <a:pt x="218365" y="7406"/>
                  </a:lnTo>
                  <a:lnTo>
                    <a:pt x="228482" y="17281"/>
                  </a:lnTo>
                  <a:lnTo>
                    <a:pt x="252089" y="18927"/>
                  </a:lnTo>
                  <a:lnTo>
                    <a:pt x="265579" y="23864"/>
                  </a:lnTo>
                  <a:lnTo>
                    <a:pt x="309421" y="53490"/>
                  </a:lnTo>
                  <a:lnTo>
                    <a:pt x="329656" y="46906"/>
                  </a:lnTo>
                  <a:lnTo>
                    <a:pt x="334714" y="28802"/>
                  </a:lnTo>
                  <a:lnTo>
                    <a:pt x="341459" y="28802"/>
                  </a:lnTo>
                  <a:lnTo>
                    <a:pt x="343145" y="23864"/>
                  </a:lnTo>
                  <a:lnTo>
                    <a:pt x="343145" y="27156"/>
                  </a:lnTo>
                  <a:lnTo>
                    <a:pt x="348204" y="28802"/>
                  </a:lnTo>
                  <a:lnTo>
                    <a:pt x="373497" y="25510"/>
                  </a:lnTo>
                  <a:lnTo>
                    <a:pt x="388673" y="17281"/>
                  </a:lnTo>
                  <a:lnTo>
                    <a:pt x="395418" y="25510"/>
                  </a:lnTo>
                  <a:lnTo>
                    <a:pt x="397105" y="25510"/>
                  </a:lnTo>
                  <a:lnTo>
                    <a:pt x="400477" y="18927"/>
                  </a:lnTo>
                  <a:lnTo>
                    <a:pt x="413967" y="20573"/>
                  </a:lnTo>
                  <a:lnTo>
                    <a:pt x="440946" y="35386"/>
                  </a:lnTo>
                  <a:lnTo>
                    <a:pt x="446005" y="30448"/>
                  </a:lnTo>
                  <a:lnTo>
                    <a:pt x="456123" y="35386"/>
                  </a:lnTo>
                  <a:lnTo>
                    <a:pt x="459495" y="43615"/>
                  </a:lnTo>
                  <a:lnTo>
                    <a:pt x="467926" y="37031"/>
                  </a:lnTo>
                  <a:lnTo>
                    <a:pt x="488161" y="45261"/>
                  </a:lnTo>
                  <a:lnTo>
                    <a:pt x="513454" y="40323"/>
                  </a:lnTo>
                  <a:lnTo>
                    <a:pt x="516827" y="41969"/>
                  </a:lnTo>
                  <a:lnTo>
                    <a:pt x="516827" y="45261"/>
                  </a:lnTo>
                  <a:lnTo>
                    <a:pt x="515140" y="50198"/>
                  </a:lnTo>
                  <a:lnTo>
                    <a:pt x="501650" y="45261"/>
                  </a:lnTo>
                  <a:lnTo>
                    <a:pt x="493219" y="50198"/>
                  </a:lnTo>
                  <a:lnTo>
                    <a:pt x="483102" y="65011"/>
                  </a:lnTo>
                  <a:lnTo>
                    <a:pt x="471298" y="69949"/>
                  </a:lnTo>
                  <a:lnTo>
                    <a:pt x="461181" y="79824"/>
                  </a:lnTo>
                  <a:lnTo>
                    <a:pt x="451064" y="109449"/>
                  </a:lnTo>
                  <a:lnTo>
                    <a:pt x="442632" y="114387"/>
                  </a:lnTo>
                  <a:lnTo>
                    <a:pt x="439260" y="119324"/>
                  </a:lnTo>
                  <a:lnTo>
                    <a:pt x="434202" y="119324"/>
                  </a:lnTo>
                  <a:lnTo>
                    <a:pt x="425770" y="122616"/>
                  </a:lnTo>
                  <a:lnTo>
                    <a:pt x="434202" y="120971"/>
                  </a:lnTo>
                  <a:lnTo>
                    <a:pt x="430829" y="122616"/>
                  </a:lnTo>
                  <a:lnTo>
                    <a:pt x="434202" y="127554"/>
                  </a:lnTo>
                  <a:lnTo>
                    <a:pt x="430829" y="140721"/>
                  </a:lnTo>
                  <a:lnTo>
                    <a:pt x="432515" y="145658"/>
                  </a:lnTo>
                  <a:lnTo>
                    <a:pt x="425770" y="147304"/>
                  </a:lnTo>
                  <a:lnTo>
                    <a:pt x="415653" y="142367"/>
                  </a:lnTo>
                  <a:lnTo>
                    <a:pt x="410594" y="132492"/>
                  </a:lnTo>
                  <a:lnTo>
                    <a:pt x="403850" y="134137"/>
                  </a:lnTo>
                  <a:lnTo>
                    <a:pt x="410594" y="130845"/>
                  </a:lnTo>
                  <a:lnTo>
                    <a:pt x="400477" y="135783"/>
                  </a:lnTo>
                  <a:lnTo>
                    <a:pt x="397105" y="135783"/>
                  </a:lnTo>
                  <a:lnTo>
                    <a:pt x="388673" y="144013"/>
                  </a:lnTo>
                  <a:lnTo>
                    <a:pt x="383615" y="145658"/>
                  </a:lnTo>
                  <a:lnTo>
                    <a:pt x="373497" y="130845"/>
                  </a:lnTo>
                  <a:lnTo>
                    <a:pt x="373497" y="139075"/>
                  </a:lnTo>
                  <a:lnTo>
                    <a:pt x="371811" y="129200"/>
                  </a:lnTo>
                  <a:lnTo>
                    <a:pt x="366752" y="130845"/>
                  </a:lnTo>
                  <a:lnTo>
                    <a:pt x="358321" y="120971"/>
                  </a:lnTo>
                  <a:lnTo>
                    <a:pt x="354949" y="125908"/>
                  </a:lnTo>
                  <a:lnTo>
                    <a:pt x="351577" y="124262"/>
                  </a:lnTo>
                  <a:lnTo>
                    <a:pt x="354949" y="125908"/>
                  </a:lnTo>
                  <a:lnTo>
                    <a:pt x="351577" y="127554"/>
                  </a:lnTo>
                  <a:lnTo>
                    <a:pt x="356635" y="129200"/>
                  </a:lnTo>
                  <a:lnTo>
                    <a:pt x="353263" y="130845"/>
                  </a:lnTo>
                  <a:lnTo>
                    <a:pt x="388673" y="158825"/>
                  </a:lnTo>
                  <a:lnTo>
                    <a:pt x="405536" y="162117"/>
                  </a:lnTo>
                  <a:lnTo>
                    <a:pt x="435888" y="158825"/>
                  </a:lnTo>
                  <a:lnTo>
                    <a:pt x="405536" y="162117"/>
                  </a:lnTo>
                  <a:lnTo>
                    <a:pt x="381929" y="155534"/>
                  </a:lnTo>
                  <a:lnTo>
                    <a:pt x="373497" y="157179"/>
                  </a:lnTo>
                  <a:lnTo>
                    <a:pt x="373497" y="158825"/>
                  </a:lnTo>
                  <a:lnTo>
                    <a:pt x="376870" y="163763"/>
                  </a:lnTo>
                  <a:lnTo>
                    <a:pt x="371811" y="165409"/>
                  </a:lnTo>
                  <a:lnTo>
                    <a:pt x="366752" y="163763"/>
                  </a:lnTo>
                  <a:lnTo>
                    <a:pt x="366752" y="157179"/>
                  </a:lnTo>
                  <a:lnTo>
                    <a:pt x="349890" y="157179"/>
                  </a:lnTo>
                  <a:lnTo>
                    <a:pt x="349890" y="158825"/>
                  </a:lnTo>
                  <a:lnTo>
                    <a:pt x="351577" y="160471"/>
                  </a:lnTo>
                  <a:lnTo>
                    <a:pt x="349890" y="163763"/>
                  </a:lnTo>
                  <a:lnTo>
                    <a:pt x="354949" y="163763"/>
                  </a:lnTo>
                  <a:lnTo>
                    <a:pt x="356635" y="165409"/>
                  </a:lnTo>
                  <a:lnTo>
                    <a:pt x="354949" y="168700"/>
                  </a:lnTo>
                  <a:lnTo>
                    <a:pt x="351577" y="165409"/>
                  </a:lnTo>
                  <a:lnTo>
                    <a:pt x="353263" y="168700"/>
                  </a:lnTo>
                  <a:lnTo>
                    <a:pt x="365066" y="175284"/>
                  </a:lnTo>
                  <a:lnTo>
                    <a:pt x="373497" y="176930"/>
                  </a:lnTo>
                  <a:lnTo>
                    <a:pt x="375184" y="185159"/>
                  </a:lnTo>
                  <a:lnTo>
                    <a:pt x="393732" y="181867"/>
                  </a:lnTo>
                  <a:lnTo>
                    <a:pt x="398791" y="185159"/>
                  </a:lnTo>
                  <a:lnTo>
                    <a:pt x="392046" y="178576"/>
                  </a:lnTo>
                  <a:lnTo>
                    <a:pt x="400477" y="173638"/>
                  </a:lnTo>
                  <a:lnTo>
                    <a:pt x="427457" y="195034"/>
                  </a:lnTo>
                  <a:lnTo>
                    <a:pt x="437574" y="190097"/>
                  </a:lnTo>
                  <a:lnTo>
                    <a:pt x="439260" y="191742"/>
                  </a:lnTo>
                  <a:lnTo>
                    <a:pt x="432515" y="196680"/>
                  </a:lnTo>
                  <a:lnTo>
                    <a:pt x="432515" y="199972"/>
                  </a:lnTo>
                  <a:lnTo>
                    <a:pt x="439260" y="201618"/>
                  </a:lnTo>
                  <a:lnTo>
                    <a:pt x="430829" y="219722"/>
                  </a:lnTo>
                  <a:lnTo>
                    <a:pt x="425770" y="221368"/>
                  </a:lnTo>
                  <a:lnTo>
                    <a:pt x="419025" y="219722"/>
                  </a:lnTo>
                  <a:lnTo>
                    <a:pt x="412281" y="223014"/>
                  </a:lnTo>
                  <a:lnTo>
                    <a:pt x="375184" y="190097"/>
                  </a:lnTo>
                  <a:lnTo>
                    <a:pt x="366752" y="186805"/>
                  </a:lnTo>
                  <a:lnTo>
                    <a:pt x="361694" y="190097"/>
                  </a:lnTo>
                  <a:lnTo>
                    <a:pt x="351577" y="209847"/>
                  </a:lnTo>
                  <a:lnTo>
                    <a:pt x="336400" y="229597"/>
                  </a:lnTo>
                  <a:lnTo>
                    <a:pt x="316166" y="239473"/>
                  </a:lnTo>
                  <a:lnTo>
                    <a:pt x="304362" y="234535"/>
                  </a:lnTo>
                  <a:lnTo>
                    <a:pt x="297617" y="236181"/>
                  </a:lnTo>
                  <a:lnTo>
                    <a:pt x="295931" y="242764"/>
                  </a:lnTo>
                  <a:lnTo>
                    <a:pt x="280755" y="247702"/>
                  </a:lnTo>
                  <a:lnTo>
                    <a:pt x="282441" y="262515"/>
                  </a:lnTo>
                  <a:lnTo>
                    <a:pt x="277383" y="265807"/>
                  </a:lnTo>
                  <a:lnTo>
                    <a:pt x="277383" y="269098"/>
                  </a:lnTo>
                  <a:lnTo>
                    <a:pt x="282441" y="272390"/>
                  </a:lnTo>
                  <a:lnTo>
                    <a:pt x="279069" y="277328"/>
                  </a:lnTo>
                  <a:lnTo>
                    <a:pt x="275696" y="277328"/>
                  </a:lnTo>
                  <a:lnTo>
                    <a:pt x="265579" y="270744"/>
                  </a:lnTo>
                  <a:lnTo>
                    <a:pt x="255462" y="267452"/>
                  </a:lnTo>
                  <a:lnTo>
                    <a:pt x="196444" y="269098"/>
                  </a:lnTo>
                  <a:lnTo>
                    <a:pt x="194758" y="247702"/>
                  </a:lnTo>
                  <a:lnTo>
                    <a:pt x="176209" y="247702"/>
                  </a:lnTo>
                  <a:lnTo>
                    <a:pt x="169464" y="250994"/>
                  </a:lnTo>
                  <a:lnTo>
                    <a:pt x="169464" y="255931"/>
                  </a:lnTo>
                  <a:lnTo>
                    <a:pt x="137426" y="259223"/>
                  </a:lnTo>
                  <a:lnTo>
                    <a:pt x="132367" y="254286"/>
                  </a:lnTo>
                  <a:lnTo>
                    <a:pt x="107074" y="236181"/>
                  </a:lnTo>
                  <a:lnTo>
                    <a:pt x="95270" y="219722"/>
                  </a:lnTo>
                  <a:lnTo>
                    <a:pt x="42997" y="185159"/>
                  </a:lnTo>
                  <a:lnTo>
                    <a:pt x="41311" y="178576"/>
                  </a:lnTo>
                  <a:lnTo>
                    <a:pt x="48056" y="145658"/>
                  </a:lnTo>
                  <a:lnTo>
                    <a:pt x="44684" y="132492"/>
                  </a:lnTo>
                  <a:lnTo>
                    <a:pt x="48056" y="129200"/>
                  </a:lnTo>
                  <a:lnTo>
                    <a:pt x="48056" y="86407"/>
                  </a:lnTo>
                  <a:lnTo>
                    <a:pt x="4214" y="76532"/>
                  </a:lnTo>
                  <a:lnTo>
                    <a:pt x="19390" y="4114"/>
                  </a:lnTo>
                  <a:lnTo>
                    <a:pt x="61546" y="1234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2" name="Meerssen">
              <a:extLst>
                <a:ext uri="{FF2B5EF4-FFF2-40B4-BE49-F238E27FC236}">
                  <a16:creationId xmlns:a16="http://schemas.microsoft.com/office/drawing/2014/main" id="{7722D22E-8DA5-4F77-9F51-8435D374DA3D}"/>
                </a:ext>
              </a:extLst>
            </p:cNvPr>
            <p:cNvSpPr/>
            <p:nvPr/>
          </p:nvSpPr>
          <p:spPr>
            <a:xfrm>
              <a:off x="6575865" y="5375097"/>
              <a:ext cx="92128" cy="125851"/>
            </a:xfrm>
            <a:custGeom>
              <a:avLst/>
              <a:gdLst/>
              <a:ahLst/>
              <a:cxnLst/>
              <a:rect l="l" t="t" r="r" b="b"/>
              <a:pathLst>
                <a:path w="140498" h="182880" extrusionOk="0">
                  <a:moveTo>
                    <a:pt x="56487" y="4114"/>
                  </a:moveTo>
                  <a:lnTo>
                    <a:pt x="59859" y="9052"/>
                  </a:lnTo>
                  <a:lnTo>
                    <a:pt x="59859" y="13989"/>
                  </a:lnTo>
                  <a:lnTo>
                    <a:pt x="63232" y="13989"/>
                  </a:lnTo>
                  <a:lnTo>
                    <a:pt x="59859" y="22218"/>
                  </a:lnTo>
                  <a:lnTo>
                    <a:pt x="68291" y="27156"/>
                  </a:lnTo>
                  <a:lnTo>
                    <a:pt x="71663" y="32094"/>
                  </a:lnTo>
                  <a:lnTo>
                    <a:pt x="73349" y="32094"/>
                  </a:lnTo>
                  <a:lnTo>
                    <a:pt x="75036" y="30448"/>
                  </a:lnTo>
                  <a:lnTo>
                    <a:pt x="102015" y="45260"/>
                  </a:lnTo>
                  <a:lnTo>
                    <a:pt x="93584" y="65011"/>
                  </a:lnTo>
                  <a:lnTo>
                    <a:pt x="76722" y="91345"/>
                  </a:lnTo>
                  <a:lnTo>
                    <a:pt x="69977" y="106157"/>
                  </a:lnTo>
                  <a:lnTo>
                    <a:pt x="71663" y="109449"/>
                  </a:lnTo>
                  <a:lnTo>
                    <a:pt x="76722" y="111095"/>
                  </a:lnTo>
                  <a:lnTo>
                    <a:pt x="102015" y="81470"/>
                  </a:lnTo>
                  <a:lnTo>
                    <a:pt x="105388" y="81470"/>
                  </a:lnTo>
                  <a:lnTo>
                    <a:pt x="144171" y="74886"/>
                  </a:lnTo>
                  <a:lnTo>
                    <a:pt x="142484" y="79824"/>
                  </a:lnTo>
                  <a:lnTo>
                    <a:pt x="142484" y="86407"/>
                  </a:lnTo>
                  <a:lnTo>
                    <a:pt x="135740" y="89699"/>
                  </a:lnTo>
                  <a:lnTo>
                    <a:pt x="144171" y="102866"/>
                  </a:lnTo>
                  <a:lnTo>
                    <a:pt x="139112" y="106157"/>
                  </a:lnTo>
                  <a:lnTo>
                    <a:pt x="144171" y="106157"/>
                  </a:lnTo>
                  <a:lnTo>
                    <a:pt x="147543" y="112741"/>
                  </a:lnTo>
                  <a:lnTo>
                    <a:pt x="144171" y="117679"/>
                  </a:lnTo>
                  <a:lnTo>
                    <a:pt x="142484" y="112741"/>
                  </a:lnTo>
                  <a:lnTo>
                    <a:pt x="135740" y="114387"/>
                  </a:lnTo>
                  <a:lnTo>
                    <a:pt x="137426" y="132492"/>
                  </a:lnTo>
                  <a:lnTo>
                    <a:pt x="140798" y="142367"/>
                  </a:lnTo>
                  <a:lnTo>
                    <a:pt x="139112" y="148950"/>
                  </a:lnTo>
                  <a:lnTo>
                    <a:pt x="125622" y="150596"/>
                  </a:lnTo>
                  <a:lnTo>
                    <a:pt x="123936" y="147304"/>
                  </a:lnTo>
                  <a:lnTo>
                    <a:pt x="117191" y="150596"/>
                  </a:lnTo>
                  <a:lnTo>
                    <a:pt x="107074" y="147304"/>
                  </a:lnTo>
                  <a:lnTo>
                    <a:pt x="98643" y="167054"/>
                  </a:lnTo>
                  <a:lnTo>
                    <a:pt x="100329" y="170346"/>
                  </a:lnTo>
                  <a:lnTo>
                    <a:pt x="98643" y="171992"/>
                  </a:lnTo>
                  <a:lnTo>
                    <a:pt x="102015" y="171992"/>
                  </a:lnTo>
                  <a:lnTo>
                    <a:pt x="98643" y="175284"/>
                  </a:lnTo>
                  <a:lnTo>
                    <a:pt x="90211" y="173638"/>
                  </a:lnTo>
                  <a:lnTo>
                    <a:pt x="85153" y="181867"/>
                  </a:lnTo>
                  <a:lnTo>
                    <a:pt x="86839" y="188451"/>
                  </a:lnTo>
                  <a:lnTo>
                    <a:pt x="78408" y="190096"/>
                  </a:lnTo>
                  <a:lnTo>
                    <a:pt x="71663" y="176929"/>
                  </a:lnTo>
                  <a:lnTo>
                    <a:pt x="58173" y="178576"/>
                  </a:lnTo>
                  <a:lnTo>
                    <a:pt x="56487" y="175284"/>
                  </a:lnTo>
                  <a:lnTo>
                    <a:pt x="51428" y="176929"/>
                  </a:lnTo>
                  <a:lnTo>
                    <a:pt x="51428" y="173638"/>
                  </a:lnTo>
                  <a:lnTo>
                    <a:pt x="37939" y="170346"/>
                  </a:lnTo>
                  <a:lnTo>
                    <a:pt x="41311" y="152242"/>
                  </a:lnTo>
                  <a:lnTo>
                    <a:pt x="26135" y="147304"/>
                  </a:lnTo>
                  <a:lnTo>
                    <a:pt x="24449" y="129199"/>
                  </a:lnTo>
                  <a:lnTo>
                    <a:pt x="21076" y="122616"/>
                  </a:lnTo>
                  <a:lnTo>
                    <a:pt x="12645" y="116033"/>
                  </a:lnTo>
                  <a:lnTo>
                    <a:pt x="16018" y="111095"/>
                  </a:lnTo>
                  <a:lnTo>
                    <a:pt x="4214" y="101220"/>
                  </a:lnTo>
                  <a:lnTo>
                    <a:pt x="5900" y="92991"/>
                  </a:lnTo>
                  <a:lnTo>
                    <a:pt x="10959" y="89699"/>
                  </a:lnTo>
                  <a:lnTo>
                    <a:pt x="7586" y="88053"/>
                  </a:lnTo>
                  <a:lnTo>
                    <a:pt x="16018" y="89699"/>
                  </a:lnTo>
                  <a:lnTo>
                    <a:pt x="26135" y="76532"/>
                  </a:lnTo>
                  <a:lnTo>
                    <a:pt x="26135" y="51844"/>
                  </a:lnTo>
                  <a:lnTo>
                    <a:pt x="34566" y="35385"/>
                  </a:lnTo>
                  <a:lnTo>
                    <a:pt x="48056" y="23864"/>
                  </a:lnTo>
                  <a:lnTo>
                    <a:pt x="564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3" name="Renswoude">
              <a:extLst>
                <a:ext uri="{FF2B5EF4-FFF2-40B4-BE49-F238E27FC236}">
                  <a16:creationId xmlns:a16="http://schemas.microsoft.com/office/drawing/2014/main" id="{39BC7706-98B7-4F91-A8C5-25219B03D753}"/>
                </a:ext>
              </a:extLst>
            </p:cNvPr>
            <p:cNvSpPr/>
            <p:nvPr/>
          </p:nvSpPr>
          <p:spPr>
            <a:xfrm>
              <a:off x="6339069" y="3505426"/>
              <a:ext cx="71954" cy="113471"/>
            </a:xfrm>
            <a:custGeom>
              <a:avLst/>
              <a:gdLst/>
              <a:ahLst/>
              <a:cxnLst/>
              <a:rect l="l" t="t" r="r" b="b"/>
              <a:pathLst>
                <a:path w="105373" h="160020" extrusionOk="0">
                  <a:moveTo>
                    <a:pt x="88525" y="4114"/>
                  </a:moveTo>
                  <a:lnTo>
                    <a:pt x="93584" y="17281"/>
                  </a:lnTo>
                  <a:lnTo>
                    <a:pt x="88525" y="25510"/>
                  </a:lnTo>
                  <a:lnTo>
                    <a:pt x="93584" y="28802"/>
                  </a:lnTo>
                  <a:lnTo>
                    <a:pt x="96957" y="37031"/>
                  </a:lnTo>
                  <a:lnTo>
                    <a:pt x="95270" y="50198"/>
                  </a:lnTo>
                  <a:lnTo>
                    <a:pt x="98643" y="48552"/>
                  </a:lnTo>
                  <a:lnTo>
                    <a:pt x="98643" y="51844"/>
                  </a:lnTo>
                  <a:lnTo>
                    <a:pt x="103701" y="55136"/>
                  </a:lnTo>
                  <a:lnTo>
                    <a:pt x="107074" y="69949"/>
                  </a:lnTo>
                  <a:lnTo>
                    <a:pt x="102015" y="86407"/>
                  </a:lnTo>
                  <a:lnTo>
                    <a:pt x="103701" y="92991"/>
                  </a:lnTo>
                  <a:lnTo>
                    <a:pt x="98643" y="137429"/>
                  </a:lnTo>
                  <a:lnTo>
                    <a:pt x="100329" y="137429"/>
                  </a:lnTo>
                  <a:lnTo>
                    <a:pt x="100329" y="140720"/>
                  </a:lnTo>
                  <a:lnTo>
                    <a:pt x="80094" y="139075"/>
                  </a:lnTo>
                  <a:lnTo>
                    <a:pt x="73349" y="155533"/>
                  </a:lnTo>
                  <a:lnTo>
                    <a:pt x="59860" y="163763"/>
                  </a:lnTo>
                  <a:lnTo>
                    <a:pt x="51428" y="158825"/>
                  </a:lnTo>
                  <a:lnTo>
                    <a:pt x="37939" y="145658"/>
                  </a:lnTo>
                  <a:lnTo>
                    <a:pt x="36253" y="127554"/>
                  </a:lnTo>
                  <a:lnTo>
                    <a:pt x="7587" y="120970"/>
                  </a:lnTo>
                  <a:lnTo>
                    <a:pt x="4214" y="86407"/>
                  </a:lnTo>
                  <a:lnTo>
                    <a:pt x="10959" y="86407"/>
                  </a:lnTo>
                  <a:lnTo>
                    <a:pt x="14332" y="81469"/>
                  </a:lnTo>
                  <a:lnTo>
                    <a:pt x="17704" y="81469"/>
                  </a:lnTo>
                  <a:lnTo>
                    <a:pt x="19390" y="73240"/>
                  </a:lnTo>
                  <a:lnTo>
                    <a:pt x="26135" y="73240"/>
                  </a:lnTo>
                  <a:lnTo>
                    <a:pt x="26135" y="68302"/>
                  </a:lnTo>
                  <a:lnTo>
                    <a:pt x="41311" y="66657"/>
                  </a:lnTo>
                  <a:lnTo>
                    <a:pt x="46370" y="71594"/>
                  </a:lnTo>
                  <a:lnTo>
                    <a:pt x="58173" y="61719"/>
                  </a:lnTo>
                  <a:lnTo>
                    <a:pt x="59860" y="56781"/>
                  </a:lnTo>
                  <a:lnTo>
                    <a:pt x="51428" y="53490"/>
                  </a:lnTo>
                  <a:lnTo>
                    <a:pt x="58173" y="41969"/>
                  </a:lnTo>
                  <a:lnTo>
                    <a:pt x="68291" y="45260"/>
                  </a:lnTo>
                  <a:lnTo>
                    <a:pt x="69977" y="35385"/>
                  </a:lnTo>
                  <a:lnTo>
                    <a:pt x="64918" y="33739"/>
                  </a:lnTo>
                  <a:lnTo>
                    <a:pt x="71663" y="22218"/>
                  </a:lnTo>
                  <a:lnTo>
                    <a:pt x="61546" y="17281"/>
                  </a:lnTo>
                  <a:lnTo>
                    <a:pt x="59860" y="12343"/>
                  </a:lnTo>
                  <a:lnTo>
                    <a:pt x="75036" y="7405"/>
                  </a:lnTo>
                  <a:lnTo>
                    <a:pt x="78408" y="12343"/>
                  </a:lnTo>
                  <a:lnTo>
                    <a:pt x="81780" y="10697"/>
                  </a:lnTo>
                  <a:lnTo>
                    <a:pt x="80094" y="5760"/>
                  </a:lnTo>
                  <a:lnTo>
                    <a:pt x="8852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4" name="Zundert">
              <a:extLst>
                <a:ext uri="{FF2B5EF4-FFF2-40B4-BE49-F238E27FC236}">
                  <a16:creationId xmlns:a16="http://schemas.microsoft.com/office/drawing/2014/main" id="{54A14F0F-235A-4294-979D-949FE66092A2}"/>
                </a:ext>
              </a:extLst>
            </p:cNvPr>
            <p:cNvSpPr/>
            <p:nvPr/>
          </p:nvSpPr>
          <p:spPr>
            <a:xfrm>
              <a:off x="5314801" y="4394807"/>
              <a:ext cx="238487" cy="212830"/>
            </a:xfrm>
            <a:custGeom>
              <a:avLst/>
              <a:gdLst/>
              <a:ahLst/>
              <a:cxnLst/>
              <a:rect l="l" t="t" r="r" b="b"/>
              <a:pathLst>
                <a:path w="339536" h="308610" extrusionOk="0">
                  <a:moveTo>
                    <a:pt x="300990" y="25510"/>
                  </a:moveTo>
                  <a:lnTo>
                    <a:pt x="312793" y="35385"/>
                  </a:lnTo>
                  <a:lnTo>
                    <a:pt x="302676" y="40323"/>
                  </a:lnTo>
                  <a:lnTo>
                    <a:pt x="307735" y="45261"/>
                  </a:lnTo>
                  <a:lnTo>
                    <a:pt x="312793" y="43615"/>
                  </a:lnTo>
                  <a:lnTo>
                    <a:pt x="316166" y="37031"/>
                  </a:lnTo>
                  <a:lnTo>
                    <a:pt x="327969" y="46906"/>
                  </a:lnTo>
                  <a:lnTo>
                    <a:pt x="327969" y="50198"/>
                  </a:lnTo>
                  <a:lnTo>
                    <a:pt x="333028" y="45261"/>
                  </a:lnTo>
                  <a:lnTo>
                    <a:pt x="333028" y="48552"/>
                  </a:lnTo>
                  <a:lnTo>
                    <a:pt x="329656" y="58427"/>
                  </a:lnTo>
                  <a:lnTo>
                    <a:pt x="334714" y="63365"/>
                  </a:lnTo>
                  <a:lnTo>
                    <a:pt x="336400" y="78178"/>
                  </a:lnTo>
                  <a:lnTo>
                    <a:pt x="329656" y="81470"/>
                  </a:lnTo>
                  <a:lnTo>
                    <a:pt x="336400" y="79824"/>
                  </a:lnTo>
                  <a:lnTo>
                    <a:pt x="334714" y="97928"/>
                  </a:lnTo>
                  <a:lnTo>
                    <a:pt x="333028" y="111095"/>
                  </a:lnTo>
                  <a:lnTo>
                    <a:pt x="326283" y="111095"/>
                  </a:lnTo>
                  <a:lnTo>
                    <a:pt x="331342" y="112741"/>
                  </a:lnTo>
                  <a:lnTo>
                    <a:pt x="319538" y="160471"/>
                  </a:lnTo>
                  <a:lnTo>
                    <a:pt x="312793" y="163763"/>
                  </a:lnTo>
                  <a:lnTo>
                    <a:pt x="299304" y="188451"/>
                  </a:lnTo>
                  <a:lnTo>
                    <a:pt x="290872" y="195034"/>
                  </a:lnTo>
                  <a:lnTo>
                    <a:pt x="292559" y="199972"/>
                  </a:lnTo>
                  <a:lnTo>
                    <a:pt x="272324" y="204909"/>
                  </a:lnTo>
                  <a:lnTo>
                    <a:pt x="272324" y="208201"/>
                  </a:lnTo>
                  <a:lnTo>
                    <a:pt x="255462" y="241118"/>
                  </a:lnTo>
                  <a:lnTo>
                    <a:pt x="245344" y="242764"/>
                  </a:lnTo>
                  <a:lnTo>
                    <a:pt x="214992" y="257577"/>
                  </a:lnTo>
                  <a:lnTo>
                    <a:pt x="218365" y="302015"/>
                  </a:lnTo>
                  <a:lnTo>
                    <a:pt x="198130" y="305307"/>
                  </a:lnTo>
                  <a:lnTo>
                    <a:pt x="191385" y="300369"/>
                  </a:lnTo>
                  <a:lnTo>
                    <a:pt x="182954" y="308599"/>
                  </a:lnTo>
                  <a:lnTo>
                    <a:pt x="174523" y="311890"/>
                  </a:lnTo>
                  <a:lnTo>
                    <a:pt x="157661" y="302015"/>
                  </a:lnTo>
                  <a:lnTo>
                    <a:pt x="71663" y="285557"/>
                  </a:lnTo>
                  <a:lnTo>
                    <a:pt x="10959" y="308599"/>
                  </a:lnTo>
                  <a:lnTo>
                    <a:pt x="4214" y="244410"/>
                  </a:lnTo>
                  <a:lnTo>
                    <a:pt x="44684" y="157179"/>
                  </a:lnTo>
                  <a:lnTo>
                    <a:pt x="69977" y="163763"/>
                  </a:lnTo>
                  <a:lnTo>
                    <a:pt x="75036" y="150596"/>
                  </a:lnTo>
                  <a:lnTo>
                    <a:pt x="73349" y="150596"/>
                  </a:lnTo>
                  <a:lnTo>
                    <a:pt x="76722" y="140721"/>
                  </a:lnTo>
                  <a:lnTo>
                    <a:pt x="88525" y="132492"/>
                  </a:lnTo>
                  <a:lnTo>
                    <a:pt x="96956" y="130845"/>
                  </a:lnTo>
                  <a:lnTo>
                    <a:pt x="81780" y="96282"/>
                  </a:lnTo>
                  <a:lnTo>
                    <a:pt x="130681" y="102866"/>
                  </a:lnTo>
                  <a:lnTo>
                    <a:pt x="137426" y="101220"/>
                  </a:lnTo>
                  <a:lnTo>
                    <a:pt x="139112" y="104512"/>
                  </a:lnTo>
                  <a:lnTo>
                    <a:pt x="140798" y="97928"/>
                  </a:lnTo>
                  <a:lnTo>
                    <a:pt x="145857" y="97928"/>
                  </a:lnTo>
                  <a:lnTo>
                    <a:pt x="144171" y="84761"/>
                  </a:lnTo>
                  <a:lnTo>
                    <a:pt x="154288" y="78178"/>
                  </a:lnTo>
                  <a:lnTo>
                    <a:pt x="152602" y="73240"/>
                  </a:lnTo>
                  <a:lnTo>
                    <a:pt x="155974" y="69949"/>
                  </a:lnTo>
                  <a:lnTo>
                    <a:pt x="172837" y="65011"/>
                  </a:lnTo>
                  <a:lnTo>
                    <a:pt x="172837" y="81470"/>
                  </a:lnTo>
                  <a:lnTo>
                    <a:pt x="181268" y="79824"/>
                  </a:lnTo>
                  <a:lnTo>
                    <a:pt x="194758" y="71595"/>
                  </a:lnTo>
                  <a:lnTo>
                    <a:pt x="198130" y="65011"/>
                  </a:lnTo>
                  <a:lnTo>
                    <a:pt x="204875" y="61719"/>
                  </a:lnTo>
                  <a:lnTo>
                    <a:pt x="238599" y="25510"/>
                  </a:lnTo>
                  <a:lnTo>
                    <a:pt x="258834" y="17281"/>
                  </a:lnTo>
                  <a:lnTo>
                    <a:pt x="275696" y="4114"/>
                  </a:lnTo>
                  <a:lnTo>
                    <a:pt x="300990" y="2551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5" name="Hengelo">
              <a:extLst>
                <a:ext uri="{FF2B5EF4-FFF2-40B4-BE49-F238E27FC236}">
                  <a16:creationId xmlns:a16="http://schemas.microsoft.com/office/drawing/2014/main" id="{B3B45485-B53F-4692-BD65-9BEDAA1B0E98}"/>
                </a:ext>
              </a:extLst>
            </p:cNvPr>
            <p:cNvSpPr/>
            <p:nvPr/>
          </p:nvSpPr>
          <p:spPr>
            <a:xfrm>
              <a:off x="7609656" y="3158981"/>
              <a:ext cx="152276" cy="203364"/>
            </a:xfrm>
            <a:custGeom>
              <a:avLst/>
              <a:gdLst/>
              <a:ahLst/>
              <a:cxnLst/>
              <a:rect l="l" t="t" r="r" b="b"/>
              <a:pathLst>
                <a:path w="234163" h="297180" extrusionOk="0">
                  <a:moveTo>
                    <a:pt x="161033" y="7406"/>
                  </a:moveTo>
                  <a:lnTo>
                    <a:pt x="162719" y="12343"/>
                  </a:lnTo>
                  <a:lnTo>
                    <a:pt x="167778" y="10698"/>
                  </a:lnTo>
                  <a:lnTo>
                    <a:pt x="184640" y="15635"/>
                  </a:lnTo>
                  <a:lnTo>
                    <a:pt x="188013" y="20573"/>
                  </a:lnTo>
                  <a:lnTo>
                    <a:pt x="177895" y="33740"/>
                  </a:lnTo>
                  <a:lnTo>
                    <a:pt x="179582" y="40323"/>
                  </a:lnTo>
                  <a:lnTo>
                    <a:pt x="191385" y="48552"/>
                  </a:lnTo>
                  <a:lnTo>
                    <a:pt x="220051" y="56782"/>
                  </a:lnTo>
                  <a:lnTo>
                    <a:pt x="230168" y="71594"/>
                  </a:lnTo>
                  <a:lnTo>
                    <a:pt x="226796" y="74886"/>
                  </a:lnTo>
                  <a:lnTo>
                    <a:pt x="228482" y="79824"/>
                  </a:lnTo>
                  <a:lnTo>
                    <a:pt x="220051" y="84761"/>
                  </a:lnTo>
                  <a:lnTo>
                    <a:pt x="221737" y="88053"/>
                  </a:lnTo>
                  <a:lnTo>
                    <a:pt x="211620" y="92991"/>
                  </a:lnTo>
                  <a:lnTo>
                    <a:pt x="208247" y="92991"/>
                  </a:lnTo>
                  <a:lnTo>
                    <a:pt x="198130" y="101220"/>
                  </a:lnTo>
                  <a:lnTo>
                    <a:pt x="216678" y="116033"/>
                  </a:lnTo>
                  <a:lnTo>
                    <a:pt x="216678" y="124262"/>
                  </a:lnTo>
                  <a:lnTo>
                    <a:pt x="211620" y="130845"/>
                  </a:lnTo>
                  <a:lnTo>
                    <a:pt x="216678" y="147304"/>
                  </a:lnTo>
                  <a:lnTo>
                    <a:pt x="193071" y="162117"/>
                  </a:lnTo>
                  <a:lnTo>
                    <a:pt x="181268" y="173638"/>
                  </a:lnTo>
                  <a:lnTo>
                    <a:pt x="172836" y="206555"/>
                  </a:lnTo>
                  <a:lnTo>
                    <a:pt x="113819" y="186805"/>
                  </a:lnTo>
                  <a:lnTo>
                    <a:pt x="100329" y="199972"/>
                  </a:lnTo>
                  <a:lnTo>
                    <a:pt x="105388" y="214785"/>
                  </a:lnTo>
                  <a:lnTo>
                    <a:pt x="86839" y="237827"/>
                  </a:lnTo>
                  <a:lnTo>
                    <a:pt x="91897" y="255931"/>
                  </a:lnTo>
                  <a:lnTo>
                    <a:pt x="102015" y="272390"/>
                  </a:lnTo>
                  <a:lnTo>
                    <a:pt x="103701" y="302015"/>
                  </a:lnTo>
                  <a:lnTo>
                    <a:pt x="21076" y="265806"/>
                  </a:lnTo>
                  <a:lnTo>
                    <a:pt x="4214" y="241118"/>
                  </a:lnTo>
                  <a:lnTo>
                    <a:pt x="5900" y="234535"/>
                  </a:lnTo>
                  <a:lnTo>
                    <a:pt x="19390" y="218076"/>
                  </a:lnTo>
                  <a:lnTo>
                    <a:pt x="26135" y="181867"/>
                  </a:lnTo>
                  <a:lnTo>
                    <a:pt x="27821" y="190097"/>
                  </a:lnTo>
                  <a:lnTo>
                    <a:pt x="32880" y="188451"/>
                  </a:lnTo>
                  <a:lnTo>
                    <a:pt x="31194" y="175284"/>
                  </a:lnTo>
                  <a:lnTo>
                    <a:pt x="27821" y="175284"/>
                  </a:lnTo>
                  <a:lnTo>
                    <a:pt x="29507" y="163763"/>
                  </a:lnTo>
                  <a:lnTo>
                    <a:pt x="36252" y="153888"/>
                  </a:lnTo>
                  <a:lnTo>
                    <a:pt x="73349" y="155533"/>
                  </a:lnTo>
                  <a:lnTo>
                    <a:pt x="80094" y="153888"/>
                  </a:lnTo>
                  <a:lnTo>
                    <a:pt x="71663" y="119324"/>
                  </a:lnTo>
                  <a:lnTo>
                    <a:pt x="73349" y="112741"/>
                  </a:lnTo>
                  <a:lnTo>
                    <a:pt x="71663" y="96282"/>
                  </a:lnTo>
                  <a:lnTo>
                    <a:pt x="63232" y="79824"/>
                  </a:lnTo>
                  <a:lnTo>
                    <a:pt x="75036" y="74886"/>
                  </a:lnTo>
                  <a:lnTo>
                    <a:pt x="78408" y="68303"/>
                  </a:lnTo>
                  <a:lnTo>
                    <a:pt x="93584" y="66657"/>
                  </a:lnTo>
                  <a:lnTo>
                    <a:pt x="100329" y="56782"/>
                  </a:lnTo>
                  <a:lnTo>
                    <a:pt x="103701" y="58427"/>
                  </a:lnTo>
                  <a:lnTo>
                    <a:pt x="112132" y="55136"/>
                  </a:lnTo>
                  <a:lnTo>
                    <a:pt x="127309" y="38677"/>
                  </a:lnTo>
                  <a:lnTo>
                    <a:pt x="137426" y="37031"/>
                  </a:lnTo>
                  <a:lnTo>
                    <a:pt x="130681" y="25510"/>
                  </a:lnTo>
                  <a:lnTo>
                    <a:pt x="144170" y="20573"/>
                  </a:lnTo>
                  <a:lnTo>
                    <a:pt x="150916" y="17281"/>
                  </a:lnTo>
                  <a:lnTo>
                    <a:pt x="150916" y="4114"/>
                  </a:lnTo>
                  <a:lnTo>
                    <a:pt x="161033" y="5760"/>
                  </a:lnTo>
                  <a:lnTo>
                    <a:pt x="161033"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6" name="Renkum">
              <a:extLst>
                <a:ext uri="{FF2B5EF4-FFF2-40B4-BE49-F238E27FC236}">
                  <a16:creationId xmlns:a16="http://schemas.microsoft.com/office/drawing/2014/main" id="{A233A048-DDD5-46CA-BC78-03728438A213}"/>
                </a:ext>
              </a:extLst>
            </p:cNvPr>
            <p:cNvSpPr/>
            <p:nvPr/>
          </p:nvSpPr>
          <p:spPr>
            <a:xfrm>
              <a:off x="6567050" y="3637705"/>
              <a:ext cx="176433" cy="108824"/>
            </a:xfrm>
            <a:custGeom>
              <a:avLst/>
              <a:gdLst/>
              <a:ahLst/>
              <a:cxnLst/>
              <a:rect l="l" t="t" r="r" b="b"/>
              <a:pathLst>
                <a:path w="245871" h="160020" extrusionOk="0">
                  <a:moveTo>
                    <a:pt x="155974" y="4114"/>
                  </a:moveTo>
                  <a:lnTo>
                    <a:pt x="149230" y="17281"/>
                  </a:lnTo>
                  <a:lnTo>
                    <a:pt x="147543" y="33740"/>
                  </a:lnTo>
                  <a:lnTo>
                    <a:pt x="140798" y="53490"/>
                  </a:lnTo>
                  <a:lnTo>
                    <a:pt x="176209" y="63365"/>
                  </a:lnTo>
                  <a:lnTo>
                    <a:pt x="208247" y="66657"/>
                  </a:lnTo>
                  <a:lnTo>
                    <a:pt x="221737" y="71595"/>
                  </a:lnTo>
                  <a:lnTo>
                    <a:pt x="233541" y="71595"/>
                  </a:lnTo>
                  <a:lnTo>
                    <a:pt x="231855" y="83116"/>
                  </a:lnTo>
                  <a:lnTo>
                    <a:pt x="235227" y="83116"/>
                  </a:lnTo>
                  <a:lnTo>
                    <a:pt x="231855" y="97928"/>
                  </a:lnTo>
                  <a:lnTo>
                    <a:pt x="236913" y="101220"/>
                  </a:lnTo>
                  <a:lnTo>
                    <a:pt x="238599" y="109449"/>
                  </a:lnTo>
                  <a:lnTo>
                    <a:pt x="233541" y="116033"/>
                  </a:lnTo>
                  <a:lnTo>
                    <a:pt x="236913" y="120971"/>
                  </a:lnTo>
                  <a:lnTo>
                    <a:pt x="245344" y="122616"/>
                  </a:lnTo>
                  <a:lnTo>
                    <a:pt x="238599" y="130845"/>
                  </a:lnTo>
                  <a:lnTo>
                    <a:pt x="225110" y="135783"/>
                  </a:lnTo>
                  <a:lnTo>
                    <a:pt x="196444" y="127554"/>
                  </a:lnTo>
                  <a:lnTo>
                    <a:pt x="174523" y="127554"/>
                  </a:lnTo>
                  <a:lnTo>
                    <a:pt x="161033" y="132491"/>
                  </a:lnTo>
                  <a:lnTo>
                    <a:pt x="115505" y="158825"/>
                  </a:lnTo>
                  <a:lnTo>
                    <a:pt x="107074" y="162117"/>
                  </a:lnTo>
                  <a:lnTo>
                    <a:pt x="90212" y="157179"/>
                  </a:lnTo>
                  <a:lnTo>
                    <a:pt x="51428" y="135783"/>
                  </a:lnTo>
                  <a:lnTo>
                    <a:pt x="31194" y="140721"/>
                  </a:lnTo>
                  <a:lnTo>
                    <a:pt x="17704" y="150596"/>
                  </a:lnTo>
                  <a:lnTo>
                    <a:pt x="14332" y="142367"/>
                  </a:lnTo>
                  <a:lnTo>
                    <a:pt x="4214" y="140721"/>
                  </a:lnTo>
                  <a:lnTo>
                    <a:pt x="16018" y="111095"/>
                  </a:lnTo>
                  <a:lnTo>
                    <a:pt x="9273" y="107803"/>
                  </a:lnTo>
                  <a:lnTo>
                    <a:pt x="21076" y="61719"/>
                  </a:lnTo>
                  <a:lnTo>
                    <a:pt x="32880" y="61719"/>
                  </a:lnTo>
                  <a:lnTo>
                    <a:pt x="37939" y="58427"/>
                  </a:lnTo>
                  <a:lnTo>
                    <a:pt x="34566" y="48552"/>
                  </a:lnTo>
                  <a:lnTo>
                    <a:pt x="42997" y="43615"/>
                  </a:lnTo>
                  <a:lnTo>
                    <a:pt x="41311" y="33740"/>
                  </a:lnTo>
                  <a:lnTo>
                    <a:pt x="51428" y="15635"/>
                  </a:lnTo>
                  <a:lnTo>
                    <a:pt x="64918" y="12343"/>
                  </a:lnTo>
                  <a:lnTo>
                    <a:pt x="110446" y="9052"/>
                  </a:lnTo>
                  <a:lnTo>
                    <a:pt x="132367" y="9052"/>
                  </a:lnTo>
                  <a:lnTo>
                    <a:pt x="140798" y="12343"/>
                  </a:lnTo>
                  <a:lnTo>
                    <a:pt x="139112" y="9052"/>
                  </a:lnTo>
                  <a:lnTo>
                    <a:pt x="15597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7" name="Haarlem">
              <a:extLst>
                <a:ext uri="{FF2B5EF4-FFF2-40B4-BE49-F238E27FC236}">
                  <a16:creationId xmlns:a16="http://schemas.microsoft.com/office/drawing/2014/main" id="{0FFAE4F1-C903-4090-841F-17CEB05D445F}"/>
                </a:ext>
              </a:extLst>
            </p:cNvPr>
            <p:cNvSpPr/>
            <p:nvPr/>
          </p:nvSpPr>
          <p:spPr>
            <a:xfrm>
              <a:off x="5403629" y="2984805"/>
              <a:ext cx="101653" cy="141750"/>
            </a:xfrm>
            <a:custGeom>
              <a:avLst/>
              <a:gdLst/>
              <a:ahLst/>
              <a:cxnLst/>
              <a:rect l="l" t="t" r="r" b="b"/>
              <a:pathLst>
                <a:path w="140498" h="217170" extrusionOk="0">
                  <a:moveTo>
                    <a:pt x="83467" y="4114"/>
                  </a:moveTo>
                  <a:lnTo>
                    <a:pt x="107074" y="12343"/>
                  </a:lnTo>
                  <a:lnTo>
                    <a:pt x="115505" y="18926"/>
                  </a:lnTo>
                  <a:lnTo>
                    <a:pt x="118877" y="27156"/>
                  </a:lnTo>
                  <a:lnTo>
                    <a:pt x="128995" y="25510"/>
                  </a:lnTo>
                  <a:lnTo>
                    <a:pt x="130681" y="40323"/>
                  </a:lnTo>
                  <a:lnTo>
                    <a:pt x="122250" y="48552"/>
                  </a:lnTo>
                  <a:lnTo>
                    <a:pt x="115505" y="50198"/>
                  </a:lnTo>
                  <a:lnTo>
                    <a:pt x="118877" y="56781"/>
                  </a:lnTo>
                  <a:lnTo>
                    <a:pt x="110446" y="63365"/>
                  </a:lnTo>
                  <a:lnTo>
                    <a:pt x="110446" y="69949"/>
                  </a:lnTo>
                  <a:lnTo>
                    <a:pt x="125622" y="74886"/>
                  </a:lnTo>
                  <a:lnTo>
                    <a:pt x="117191" y="88053"/>
                  </a:lnTo>
                  <a:lnTo>
                    <a:pt x="118877" y="94636"/>
                  </a:lnTo>
                  <a:lnTo>
                    <a:pt x="123936" y="97928"/>
                  </a:lnTo>
                  <a:lnTo>
                    <a:pt x="128995" y="96282"/>
                  </a:lnTo>
                  <a:lnTo>
                    <a:pt x="130681" y="101220"/>
                  </a:lnTo>
                  <a:lnTo>
                    <a:pt x="137426" y="102866"/>
                  </a:lnTo>
                  <a:lnTo>
                    <a:pt x="135740" y="114387"/>
                  </a:lnTo>
                  <a:lnTo>
                    <a:pt x="117191" y="132491"/>
                  </a:lnTo>
                  <a:lnTo>
                    <a:pt x="113819" y="140720"/>
                  </a:lnTo>
                  <a:lnTo>
                    <a:pt x="120564" y="178575"/>
                  </a:lnTo>
                  <a:lnTo>
                    <a:pt x="118877" y="186805"/>
                  </a:lnTo>
                  <a:lnTo>
                    <a:pt x="80094" y="216430"/>
                  </a:lnTo>
                  <a:lnTo>
                    <a:pt x="64918" y="219722"/>
                  </a:lnTo>
                  <a:lnTo>
                    <a:pt x="64918" y="193388"/>
                  </a:lnTo>
                  <a:lnTo>
                    <a:pt x="58173" y="178575"/>
                  </a:lnTo>
                  <a:lnTo>
                    <a:pt x="61546" y="170346"/>
                  </a:lnTo>
                  <a:lnTo>
                    <a:pt x="59860" y="165409"/>
                  </a:lnTo>
                  <a:lnTo>
                    <a:pt x="51428" y="167054"/>
                  </a:lnTo>
                  <a:lnTo>
                    <a:pt x="42997" y="163763"/>
                  </a:lnTo>
                  <a:lnTo>
                    <a:pt x="31194" y="165409"/>
                  </a:lnTo>
                  <a:lnTo>
                    <a:pt x="14331" y="160471"/>
                  </a:lnTo>
                  <a:lnTo>
                    <a:pt x="16018" y="150596"/>
                  </a:lnTo>
                  <a:lnTo>
                    <a:pt x="10959" y="150596"/>
                  </a:lnTo>
                  <a:lnTo>
                    <a:pt x="12645" y="140720"/>
                  </a:lnTo>
                  <a:lnTo>
                    <a:pt x="7587" y="139075"/>
                  </a:lnTo>
                  <a:lnTo>
                    <a:pt x="7587" y="127554"/>
                  </a:lnTo>
                  <a:lnTo>
                    <a:pt x="4214" y="125908"/>
                  </a:lnTo>
                  <a:lnTo>
                    <a:pt x="9273" y="109449"/>
                  </a:lnTo>
                  <a:lnTo>
                    <a:pt x="17704" y="107803"/>
                  </a:lnTo>
                  <a:lnTo>
                    <a:pt x="22763" y="96282"/>
                  </a:lnTo>
                  <a:lnTo>
                    <a:pt x="37939" y="101220"/>
                  </a:lnTo>
                  <a:lnTo>
                    <a:pt x="41311" y="91345"/>
                  </a:lnTo>
                  <a:lnTo>
                    <a:pt x="42997" y="79823"/>
                  </a:lnTo>
                  <a:lnTo>
                    <a:pt x="54801" y="43615"/>
                  </a:lnTo>
                  <a:lnTo>
                    <a:pt x="61546" y="46906"/>
                  </a:lnTo>
                  <a:lnTo>
                    <a:pt x="8346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8" name="Middelburg">
              <a:extLst>
                <a:ext uri="{FF2B5EF4-FFF2-40B4-BE49-F238E27FC236}">
                  <a16:creationId xmlns:a16="http://schemas.microsoft.com/office/drawing/2014/main" id="{8CE07918-6A38-49BB-8299-045678796C57}"/>
                </a:ext>
              </a:extLst>
            </p:cNvPr>
            <p:cNvSpPr/>
            <p:nvPr/>
          </p:nvSpPr>
          <p:spPr>
            <a:xfrm>
              <a:off x="4301067" y="4402157"/>
              <a:ext cx="181975" cy="103946"/>
            </a:xfrm>
            <a:custGeom>
              <a:avLst/>
              <a:gdLst/>
              <a:ahLst/>
              <a:cxnLst/>
              <a:rect l="l" t="t" r="r" b="b"/>
              <a:pathLst>
                <a:path w="269287" h="160020" extrusionOk="0">
                  <a:moveTo>
                    <a:pt x="198130" y="53490"/>
                  </a:moveTo>
                  <a:lnTo>
                    <a:pt x="203189" y="53490"/>
                  </a:lnTo>
                  <a:lnTo>
                    <a:pt x="209934" y="60074"/>
                  </a:lnTo>
                  <a:lnTo>
                    <a:pt x="201502" y="60074"/>
                  </a:lnTo>
                  <a:lnTo>
                    <a:pt x="198130" y="53490"/>
                  </a:lnTo>
                  <a:close/>
                  <a:moveTo>
                    <a:pt x="235227" y="40323"/>
                  </a:moveTo>
                  <a:lnTo>
                    <a:pt x="230168" y="38677"/>
                  </a:lnTo>
                  <a:lnTo>
                    <a:pt x="233541" y="37031"/>
                  </a:lnTo>
                  <a:lnTo>
                    <a:pt x="235227" y="40323"/>
                  </a:lnTo>
                  <a:close/>
                  <a:moveTo>
                    <a:pt x="238599" y="33740"/>
                  </a:moveTo>
                  <a:lnTo>
                    <a:pt x="238599" y="33740"/>
                  </a:lnTo>
                  <a:close/>
                  <a:moveTo>
                    <a:pt x="236913" y="32094"/>
                  </a:moveTo>
                  <a:lnTo>
                    <a:pt x="236913" y="33740"/>
                  </a:lnTo>
                  <a:lnTo>
                    <a:pt x="236913" y="32094"/>
                  </a:lnTo>
                  <a:lnTo>
                    <a:pt x="236913" y="32094"/>
                  </a:lnTo>
                  <a:close/>
                  <a:moveTo>
                    <a:pt x="236913" y="32094"/>
                  </a:moveTo>
                  <a:lnTo>
                    <a:pt x="236913" y="30448"/>
                  </a:lnTo>
                  <a:lnTo>
                    <a:pt x="236913" y="32094"/>
                  </a:lnTo>
                  <a:lnTo>
                    <a:pt x="236913" y="32094"/>
                  </a:lnTo>
                  <a:close/>
                  <a:moveTo>
                    <a:pt x="226796" y="30448"/>
                  </a:moveTo>
                  <a:lnTo>
                    <a:pt x="225110" y="28802"/>
                  </a:lnTo>
                  <a:lnTo>
                    <a:pt x="228482" y="25510"/>
                  </a:lnTo>
                  <a:lnTo>
                    <a:pt x="226796" y="30448"/>
                  </a:lnTo>
                  <a:close/>
                  <a:moveTo>
                    <a:pt x="221737" y="32094"/>
                  </a:moveTo>
                  <a:lnTo>
                    <a:pt x="225110" y="33740"/>
                  </a:lnTo>
                  <a:lnTo>
                    <a:pt x="221737" y="35385"/>
                  </a:lnTo>
                  <a:lnTo>
                    <a:pt x="218365" y="32094"/>
                  </a:lnTo>
                  <a:lnTo>
                    <a:pt x="225110" y="23864"/>
                  </a:lnTo>
                  <a:lnTo>
                    <a:pt x="221737" y="32094"/>
                  </a:lnTo>
                  <a:close/>
                  <a:moveTo>
                    <a:pt x="184640" y="25510"/>
                  </a:moveTo>
                  <a:lnTo>
                    <a:pt x="181268" y="23864"/>
                  </a:lnTo>
                  <a:lnTo>
                    <a:pt x="184640" y="17281"/>
                  </a:lnTo>
                  <a:lnTo>
                    <a:pt x="184640" y="25510"/>
                  </a:lnTo>
                  <a:close/>
                  <a:moveTo>
                    <a:pt x="63232" y="5760"/>
                  </a:moveTo>
                  <a:lnTo>
                    <a:pt x="69977" y="27156"/>
                  </a:lnTo>
                  <a:lnTo>
                    <a:pt x="95270" y="27156"/>
                  </a:lnTo>
                  <a:lnTo>
                    <a:pt x="96956" y="40323"/>
                  </a:lnTo>
                  <a:lnTo>
                    <a:pt x="107074" y="41969"/>
                  </a:lnTo>
                  <a:lnTo>
                    <a:pt x="130681" y="37031"/>
                  </a:lnTo>
                  <a:lnTo>
                    <a:pt x="134053" y="43615"/>
                  </a:lnTo>
                  <a:lnTo>
                    <a:pt x="167778" y="7406"/>
                  </a:lnTo>
                  <a:lnTo>
                    <a:pt x="179582" y="33740"/>
                  </a:lnTo>
                  <a:lnTo>
                    <a:pt x="177895" y="35385"/>
                  </a:lnTo>
                  <a:lnTo>
                    <a:pt x="198130" y="58427"/>
                  </a:lnTo>
                  <a:lnTo>
                    <a:pt x="199816" y="68303"/>
                  </a:lnTo>
                  <a:lnTo>
                    <a:pt x="201502" y="63365"/>
                  </a:lnTo>
                  <a:lnTo>
                    <a:pt x="206561" y="71595"/>
                  </a:lnTo>
                  <a:lnTo>
                    <a:pt x="201502" y="61719"/>
                  </a:lnTo>
                  <a:lnTo>
                    <a:pt x="230168" y="60074"/>
                  </a:lnTo>
                  <a:lnTo>
                    <a:pt x="223423" y="56782"/>
                  </a:lnTo>
                  <a:lnTo>
                    <a:pt x="209934" y="60074"/>
                  </a:lnTo>
                  <a:lnTo>
                    <a:pt x="204875" y="53490"/>
                  </a:lnTo>
                  <a:lnTo>
                    <a:pt x="204875" y="50198"/>
                  </a:lnTo>
                  <a:lnTo>
                    <a:pt x="214992" y="48552"/>
                  </a:lnTo>
                  <a:lnTo>
                    <a:pt x="228482" y="38677"/>
                  </a:lnTo>
                  <a:lnTo>
                    <a:pt x="236913" y="45261"/>
                  </a:lnTo>
                  <a:lnTo>
                    <a:pt x="233541" y="41969"/>
                  </a:lnTo>
                  <a:lnTo>
                    <a:pt x="238599" y="40323"/>
                  </a:lnTo>
                  <a:lnTo>
                    <a:pt x="233541" y="37031"/>
                  </a:lnTo>
                  <a:lnTo>
                    <a:pt x="241972" y="37031"/>
                  </a:lnTo>
                  <a:lnTo>
                    <a:pt x="240286" y="33740"/>
                  </a:lnTo>
                  <a:lnTo>
                    <a:pt x="268951" y="53490"/>
                  </a:lnTo>
                  <a:lnTo>
                    <a:pt x="267265" y="63365"/>
                  </a:lnTo>
                  <a:lnTo>
                    <a:pt x="213306" y="76532"/>
                  </a:lnTo>
                  <a:lnTo>
                    <a:pt x="213306" y="83116"/>
                  </a:lnTo>
                  <a:lnTo>
                    <a:pt x="204875" y="83116"/>
                  </a:lnTo>
                  <a:lnTo>
                    <a:pt x="194758" y="109449"/>
                  </a:lnTo>
                  <a:lnTo>
                    <a:pt x="194758" y="132492"/>
                  </a:lnTo>
                  <a:lnTo>
                    <a:pt x="199816" y="134137"/>
                  </a:lnTo>
                  <a:lnTo>
                    <a:pt x="182954" y="140721"/>
                  </a:lnTo>
                  <a:lnTo>
                    <a:pt x="142485" y="163763"/>
                  </a:lnTo>
                  <a:lnTo>
                    <a:pt x="130681" y="167055"/>
                  </a:lnTo>
                  <a:lnTo>
                    <a:pt x="117191" y="163763"/>
                  </a:lnTo>
                  <a:lnTo>
                    <a:pt x="85153" y="135783"/>
                  </a:lnTo>
                  <a:lnTo>
                    <a:pt x="73349" y="148950"/>
                  </a:lnTo>
                  <a:lnTo>
                    <a:pt x="68291" y="142367"/>
                  </a:lnTo>
                  <a:lnTo>
                    <a:pt x="53115" y="147304"/>
                  </a:lnTo>
                  <a:lnTo>
                    <a:pt x="42997" y="137429"/>
                  </a:lnTo>
                  <a:lnTo>
                    <a:pt x="39625" y="147304"/>
                  </a:lnTo>
                  <a:lnTo>
                    <a:pt x="36252" y="144013"/>
                  </a:lnTo>
                  <a:lnTo>
                    <a:pt x="26135" y="140721"/>
                  </a:lnTo>
                  <a:lnTo>
                    <a:pt x="24449" y="135783"/>
                  </a:lnTo>
                  <a:lnTo>
                    <a:pt x="21076" y="137429"/>
                  </a:lnTo>
                  <a:lnTo>
                    <a:pt x="17704" y="129200"/>
                  </a:lnTo>
                  <a:lnTo>
                    <a:pt x="14332" y="129200"/>
                  </a:lnTo>
                  <a:lnTo>
                    <a:pt x="9273" y="112741"/>
                  </a:lnTo>
                  <a:lnTo>
                    <a:pt x="17704" y="109449"/>
                  </a:lnTo>
                  <a:lnTo>
                    <a:pt x="17704" y="101220"/>
                  </a:lnTo>
                  <a:lnTo>
                    <a:pt x="12645" y="86407"/>
                  </a:lnTo>
                  <a:lnTo>
                    <a:pt x="7587" y="81470"/>
                  </a:lnTo>
                  <a:lnTo>
                    <a:pt x="7587" y="76532"/>
                  </a:lnTo>
                  <a:lnTo>
                    <a:pt x="4214" y="71595"/>
                  </a:lnTo>
                  <a:lnTo>
                    <a:pt x="16018" y="66657"/>
                  </a:lnTo>
                  <a:lnTo>
                    <a:pt x="9273" y="56782"/>
                  </a:lnTo>
                  <a:lnTo>
                    <a:pt x="16018" y="55136"/>
                  </a:lnTo>
                  <a:lnTo>
                    <a:pt x="17704" y="40323"/>
                  </a:lnTo>
                  <a:lnTo>
                    <a:pt x="37939" y="33740"/>
                  </a:lnTo>
                  <a:lnTo>
                    <a:pt x="34566" y="18927"/>
                  </a:lnTo>
                  <a:lnTo>
                    <a:pt x="29507" y="15635"/>
                  </a:lnTo>
                  <a:lnTo>
                    <a:pt x="27821" y="10698"/>
                  </a:lnTo>
                  <a:lnTo>
                    <a:pt x="48056" y="4114"/>
                  </a:lnTo>
                  <a:lnTo>
                    <a:pt x="49742" y="5760"/>
                  </a:lnTo>
                  <a:lnTo>
                    <a:pt x="64918" y="4114"/>
                  </a:lnTo>
                  <a:lnTo>
                    <a:pt x="63232"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29" name="Bernheze">
              <a:extLst>
                <a:ext uri="{FF2B5EF4-FFF2-40B4-BE49-F238E27FC236}">
                  <a16:creationId xmlns:a16="http://schemas.microsoft.com/office/drawing/2014/main" id="{37F97291-46F6-42EB-9049-F414EB5347E4}"/>
                </a:ext>
              </a:extLst>
            </p:cNvPr>
            <p:cNvSpPr/>
            <p:nvPr/>
          </p:nvSpPr>
          <p:spPr>
            <a:xfrm>
              <a:off x="6264226" y="4095993"/>
              <a:ext cx="193781" cy="184432"/>
            </a:xfrm>
            <a:custGeom>
              <a:avLst/>
              <a:gdLst/>
              <a:ahLst/>
              <a:cxnLst/>
              <a:rect l="l" t="t" r="r" b="b"/>
              <a:pathLst>
                <a:path w="280996" h="274320" extrusionOk="0">
                  <a:moveTo>
                    <a:pt x="174523" y="4114"/>
                  </a:moveTo>
                  <a:lnTo>
                    <a:pt x="199816" y="12343"/>
                  </a:lnTo>
                  <a:lnTo>
                    <a:pt x="214993" y="22218"/>
                  </a:lnTo>
                  <a:lnTo>
                    <a:pt x="231855" y="25510"/>
                  </a:lnTo>
                  <a:lnTo>
                    <a:pt x="247031" y="23864"/>
                  </a:lnTo>
                  <a:lnTo>
                    <a:pt x="258834" y="40323"/>
                  </a:lnTo>
                  <a:lnTo>
                    <a:pt x="275697" y="79823"/>
                  </a:lnTo>
                  <a:lnTo>
                    <a:pt x="274010" y="81470"/>
                  </a:lnTo>
                  <a:lnTo>
                    <a:pt x="275697" y="83115"/>
                  </a:lnTo>
                  <a:lnTo>
                    <a:pt x="268952" y="83115"/>
                  </a:lnTo>
                  <a:lnTo>
                    <a:pt x="277383" y="109449"/>
                  </a:lnTo>
                  <a:lnTo>
                    <a:pt x="274010" y="111095"/>
                  </a:lnTo>
                  <a:lnTo>
                    <a:pt x="270638" y="122616"/>
                  </a:lnTo>
                  <a:lnTo>
                    <a:pt x="255462" y="140720"/>
                  </a:lnTo>
                  <a:lnTo>
                    <a:pt x="240286" y="147304"/>
                  </a:lnTo>
                  <a:lnTo>
                    <a:pt x="240286" y="152242"/>
                  </a:lnTo>
                  <a:lnTo>
                    <a:pt x="235227" y="153887"/>
                  </a:lnTo>
                  <a:lnTo>
                    <a:pt x="235227" y="155533"/>
                  </a:lnTo>
                  <a:lnTo>
                    <a:pt x="218365" y="190096"/>
                  </a:lnTo>
                  <a:lnTo>
                    <a:pt x="218365" y="195034"/>
                  </a:lnTo>
                  <a:lnTo>
                    <a:pt x="221737" y="191742"/>
                  </a:lnTo>
                  <a:lnTo>
                    <a:pt x="221737" y="195034"/>
                  </a:lnTo>
                  <a:lnTo>
                    <a:pt x="225110" y="193388"/>
                  </a:lnTo>
                  <a:lnTo>
                    <a:pt x="226796" y="198326"/>
                  </a:lnTo>
                  <a:lnTo>
                    <a:pt x="228482" y="198326"/>
                  </a:lnTo>
                  <a:lnTo>
                    <a:pt x="231855" y="208201"/>
                  </a:lnTo>
                  <a:lnTo>
                    <a:pt x="226796" y="213138"/>
                  </a:lnTo>
                  <a:lnTo>
                    <a:pt x="230168" y="218076"/>
                  </a:lnTo>
                  <a:lnTo>
                    <a:pt x="223424" y="224660"/>
                  </a:lnTo>
                  <a:lnTo>
                    <a:pt x="188013" y="244410"/>
                  </a:lnTo>
                  <a:lnTo>
                    <a:pt x="188013" y="259223"/>
                  </a:lnTo>
                  <a:lnTo>
                    <a:pt x="174523" y="255931"/>
                  </a:lnTo>
                  <a:lnTo>
                    <a:pt x="171151" y="262514"/>
                  </a:lnTo>
                  <a:lnTo>
                    <a:pt x="162720" y="262514"/>
                  </a:lnTo>
                  <a:lnTo>
                    <a:pt x="161033" y="269098"/>
                  </a:lnTo>
                  <a:lnTo>
                    <a:pt x="149230" y="265806"/>
                  </a:lnTo>
                  <a:lnTo>
                    <a:pt x="130681" y="254285"/>
                  </a:lnTo>
                  <a:lnTo>
                    <a:pt x="130681" y="262514"/>
                  </a:lnTo>
                  <a:lnTo>
                    <a:pt x="118878" y="277327"/>
                  </a:lnTo>
                  <a:lnTo>
                    <a:pt x="73349" y="239472"/>
                  </a:lnTo>
                  <a:lnTo>
                    <a:pt x="4214" y="213138"/>
                  </a:lnTo>
                  <a:lnTo>
                    <a:pt x="12645" y="206555"/>
                  </a:lnTo>
                  <a:lnTo>
                    <a:pt x="19390" y="186805"/>
                  </a:lnTo>
                  <a:lnTo>
                    <a:pt x="37939" y="186805"/>
                  </a:lnTo>
                  <a:lnTo>
                    <a:pt x="44684" y="173638"/>
                  </a:lnTo>
                  <a:lnTo>
                    <a:pt x="59860" y="119324"/>
                  </a:lnTo>
                  <a:lnTo>
                    <a:pt x="61546" y="125908"/>
                  </a:lnTo>
                  <a:lnTo>
                    <a:pt x="76722" y="127554"/>
                  </a:lnTo>
                  <a:lnTo>
                    <a:pt x="75036" y="122616"/>
                  </a:lnTo>
                  <a:lnTo>
                    <a:pt x="78408" y="122616"/>
                  </a:lnTo>
                  <a:lnTo>
                    <a:pt x="88526" y="97928"/>
                  </a:lnTo>
                  <a:lnTo>
                    <a:pt x="96957" y="97928"/>
                  </a:lnTo>
                  <a:lnTo>
                    <a:pt x="110447" y="86407"/>
                  </a:lnTo>
                  <a:lnTo>
                    <a:pt x="120564" y="83115"/>
                  </a:lnTo>
                  <a:lnTo>
                    <a:pt x="122250" y="78178"/>
                  </a:lnTo>
                  <a:lnTo>
                    <a:pt x="120564" y="78178"/>
                  </a:lnTo>
                  <a:lnTo>
                    <a:pt x="118878" y="73240"/>
                  </a:lnTo>
                  <a:lnTo>
                    <a:pt x="103702" y="71594"/>
                  </a:lnTo>
                  <a:lnTo>
                    <a:pt x="103702" y="69949"/>
                  </a:lnTo>
                  <a:lnTo>
                    <a:pt x="98643" y="68302"/>
                  </a:lnTo>
                  <a:lnTo>
                    <a:pt x="90212" y="43615"/>
                  </a:lnTo>
                  <a:lnTo>
                    <a:pt x="91898" y="41969"/>
                  </a:lnTo>
                  <a:lnTo>
                    <a:pt x="83467" y="30448"/>
                  </a:lnTo>
                  <a:lnTo>
                    <a:pt x="134054" y="9052"/>
                  </a:lnTo>
                  <a:lnTo>
                    <a:pt x="135740" y="10697"/>
                  </a:lnTo>
                  <a:lnTo>
                    <a:pt x="162720" y="4114"/>
                  </a:lnTo>
                  <a:lnTo>
                    <a:pt x="17452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0" name="Brielle">
              <a:extLst>
                <a:ext uri="{FF2B5EF4-FFF2-40B4-BE49-F238E27FC236}">
                  <a16:creationId xmlns:a16="http://schemas.microsoft.com/office/drawing/2014/main" id="{C2E9C4E6-4719-4918-BBD4-14008536B841}"/>
                </a:ext>
              </a:extLst>
            </p:cNvPr>
            <p:cNvSpPr/>
            <p:nvPr/>
          </p:nvSpPr>
          <p:spPr>
            <a:xfrm>
              <a:off x="4907993" y="3778129"/>
              <a:ext cx="110022" cy="127698"/>
            </a:xfrm>
            <a:custGeom>
              <a:avLst/>
              <a:gdLst/>
              <a:ahLst/>
              <a:cxnLst/>
              <a:rect l="l" t="t" r="r" b="b"/>
              <a:pathLst>
                <a:path w="163914" h="194310" extrusionOk="0">
                  <a:moveTo>
                    <a:pt x="39625" y="12343"/>
                  </a:moveTo>
                  <a:lnTo>
                    <a:pt x="51428" y="22219"/>
                  </a:lnTo>
                  <a:lnTo>
                    <a:pt x="54801" y="33740"/>
                  </a:lnTo>
                  <a:lnTo>
                    <a:pt x="66604" y="37031"/>
                  </a:lnTo>
                  <a:lnTo>
                    <a:pt x="130681" y="88053"/>
                  </a:lnTo>
                  <a:lnTo>
                    <a:pt x="144171" y="111095"/>
                  </a:lnTo>
                  <a:lnTo>
                    <a:pt x="150916" y="135783"/>
                  </a:lnTo>
                  <a:lnTo>
                    <a:pt x="161033" y="147304"/>
                  </a:lnTo>
                  <a:lnTo>
                    <a:pt x="76722" y="201618"/>
                  </a:lnTo>
                  <a:lnTo>
                    <a:pt x="73349" y="201618"/>
                  </a:lnTo>
                  <a:lnTo>
                    <a:pt x="73349" y="193388"/>
                  </a:lnTo>
                  <a:lnTo>
                    <a:pt x="63232" y="188451"/>
                  </a:lnTo>
                  <a:lnTo>
                    <a:pt x="80094" y="170346"/>
                  </a:lnTo>
                  <a:lnTo>
                    <a:pt x="46370" y="157179"/>
                  </a:lnTo>
                  <a:lnTo>
                    <a:pt x="39625" y="158825"/>
                  </a:lnTo>
                  <a:lnTo>
                    <a:pt x="29508" y="137429"/>
                  </a:lnTo>
                  <a:lnTo>
                    <a:pt x="37939" y="132492"/>
                  </a:lnTo>
                  <a:lnTo>
                    <a:pt x="32880" y="124262"/>
                  </a:lnTo>
                  <a:lnTo>
                    <a:pt x="41311" y="119324"/>
                  </a:lnTo>
                  <a:lnTo>
                    <a:pt x="32880" y="111095"/>
                  </a:lnTo>
                  <a:lnTo>
                    <a:pt x="26135" y="94637"/>
                  </a:lnTo>
                  <a:lnTo>
                    <a:pt x="4214" y="63365"/>
                  </a:lnTo>
                  <a:lnTo>
                    <a:pt x="5900" y="50198"/>
                  </a:lnTo>
                  <a:lnTo>
                    <a:pt x="14331" y="43615"/>
                  </a:lnTo>
                  <a:lnTo>
                    <a:pt x="21076" y="46906"/>
                  </a:lnTo>
                  <a:lnTo>
                    <a:pt x="31194" y="25510"/>
                  </a:lnTo>
                  <a:lnTo>
                    <a:pt x="16018" y="13989"/>
                  </a:lnTo>
                  <a:lnTo>
                    <a:pt x="19390" y="4114"/>
                  </a:lnTo>
                  <a:lnTo>
                    <a:pt x="29508" y="10698"/>
                  </a:lnTo>
                  <a:lnTo>
                    <a:pt x="39625"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1" name="Achtkarspelen">
              <a:extLst>
                <a:ext uri="{FF2B5EF4-FFF2-40B4-BE49-F238E27FC236}">
                  <a16:creationId xmlns:a16="http://schemas.microsoft.com/office/drawing/2014/main" id="{9B097A57-1E1F-416D-A278-2AAFDE589C63}"/>
                </a:ext>
              </a:extLst>
            </p:cNvPr>
            <p:cNvSpPr/>
            <p:nvPr/>
          </p:nvSpPr>
          <p:spPr>
            <a:xfrm>
              <a:off x="6872304" y="1628697"/>
              <a:ext cx="221575" cy="212830"/>
            </a:xfrm>
            <a:custGeom>
              <a:avLst/>
              <a:gdLst/>
              <a:ahLst/>
              <a:cxnLst/>
              <a:rect l="l" t="t" r="r" b="b"/>
              <a:pathLst>
                <a:path w="316120" h="308610" extrusionOk="0">
                  <a:moveTo>
                    <a:pt x="262207" y="4114"/>
                  </a:moveTo>
                  <a:lnTo>
                    <a:pt x="295931" y="15635"/>
                  </a:lnTo>
                  <a:lnTo>
                    <a:pt x="299304" y="28802"/>
                  </a:lnTo>
                  <a:lnTo>
                    <a:pt x="307735" y="35385"/>
                  </a:lnTo>
                  <a:lnTo>
                    <a:pt x="319538" y="35385"/>
                  </a:lnTo>
                  <a:lnTo>
                    <a:pt x="319538" y="40323"/>
                  </a:lnTo>
                  <a:lnTo>
                    <a:pt x="322911" y="43615"/>
                  </a:lnTo>
                  <a:lnTo>
                    <a:pt x="322911" y="50198"/>
                  </a:lnTo>
                  <a:lnTo>
                    <a:pt x="316166" y="53490"/>
                  </a:lnTo>
                  <a:lnTo>
                    <a:pt x="319538" y="60073"/>
                  </a:lnTo>
                  <a:lnTo>
                    <a:pt x="317852" y="65011"/>
                  </a:lnTo>
                  <a:lnTo>
                    <a:pt x="312793" y="63365"/>
                  </a:lnTo>
                  <a:lnTo>
                    <a:pt x="299304" y="71594"/>
                  </a:lnTo>
                  <a:lnTo>
                    <a:pt x="306049" y="78178"/>
                  </a:lnTo>
                  <a:lnTo>
                    <a:pt x="309421" y="78178"/>
                  </a:lnTo>
                  <a:lnTo>
                    <a:pt x="309421" y="79824"/>
                  </a:lnTo>
                  <a:lnTo>
                    <a:pt x="295931" y="84761"/>
                  </a:lnTo>
                  <a:lnTo>
                    <a:pt x="294245" y="88053"/>
                  </a:lnTo>
                  <a:lnTo>
                    <a:pt x="297617" y="91345"/>
                  </a:lnTo>
                  <a:lnTo>
                    <a:pt x="294245" y="91345"/>
                  </a:lnTo>
                  <a:lnTo>
                    <a:pt x="297617" y="92991"/>
                  </a:lnTo>
                  <a:lnTo>
                    <a:pt x="299304" y="96282"/>
                  </a:lnTo>
                  <a:lnTo>
                    <a:pt x="302676" y="96282"/>
                  </a:lnTo>
                  <a:lnTo>
                    <a:pt x="309421" y="101220"/>
                  </a:lnTo>
                  <a:lnTo>
                    <a:pt x="309421" y="111095"/>
                  </a:lnTo>
                  <a:lnTo>
                    <a:pt x="317852" y="119324"/>
                  </a:lnTo>
                  <a:lnTo>
                    <a:pt x="317852" y="130845"/>
                  </a:lnTo>
                  <a:lnTo>
                    <a:pt x="309421" y="137429"/>
                  </a:lnTo>
                  <a:lnTo>
                    <a:pt x="309421" y="144012"/>
                  </a:lnTo>
                  <a:lnTo>
                    <a:pt x="300990" y="158825"/>
                  </a:lnTo>
                  <a:lnTo>
                    <a:pt x="294245" y="163763"/>
                  </a:lnTo>
                  <a:lnTo>
                    <a:pt x="287500" y="173638"/>
                  </a:lnTo>
                  <a:lnTo>
                    <a:pt x="279069" y="173638"/>
                  </a:lnTo>
                  <a:lnTo>
                    <a:pt x="272324" y="178576"/>
                  </a:lnTo>
                  <a:lnTo>
                    <a:pt x="272324" y="190096"/>
                  </a:lnTo>
                  <a:lnTo>
                    <a:pt x="262207" y="199972"/>
                  </a:lnTo>
                  <a:lnTo>
                    <a:pt x="247031" y="244410"/>
                  </a:lnTo>
                  <a:lnTo>
                    <a:pt x="240286" y="250993"/>
                  </a:lnTo>
                  <a:lnTo>
                    <a:pt x="240286" y="272390"/>
                  </a:lnTo>
                  <a:lnTo>
                    <a:pt x="203189" y="293786"/>
                  </a:lnTo>
                  <a:lnTo>
                    <a:pt x="196444" y="275681"/>
                  </a:lnTo>
                  <a:lnTo>
                    <a:pt x="157661" y="308599"/>
                  </a:lnTo>
                  <a:lnTo>
                    <a:pt x="154288" y="305307"/>
                  </a:lnTo>
                  <a:lnTo>
                    <a:pt x="154288" y="297078"/>
                  </a:lnTo>
                  <a:lnTo>
                    <a:pt x="144171" y="295432"/>
                  </a:lnTo>
                  <a:lnTo>
                    <a:pt x="139112" y="290494"/>
                  </a:lnTo>
                  <a:lnTo>
                    <a:pt x="134053" y="292140"/>
                  </a:lnTo>
                  <a:lnTo>
                    <a:pt x="147543" y="232889"/>
                  </a:lnTo>
                  <a:lnTo>
                    <a:pt x="139112" y="231243"/>
                  </a:lnTo>
                  <a:lnTo>
                    <a:pt x="139112" y="232889"/>
                  </a:lnTo>
                  <a:lnTo>
                    <a:pt x="132367" y="224660"/>
                  </a:lnTo>
                  <a:lnTo>
                    <a:pt x="123936" y="209847"/>
                  </a:lnTo>
                  <a:lnTo>
                    <a:pt x="100329" y="185159"/>
                  </a:lnTo>
                  <a:lnTo>
                    <a:pt x="91898" y="158825"/>
                  </a:lnTo>
                  <a:lnTo>
                    <a:pt x="100329" y="155533"/>
                  </a:lnTo>
                  <a:lnTo>
                    <a:pt x="98643" y="152242"/>
                  </a:lnTo>
                  <a:lnTo>
                    <a:pt x="93584" y="152242"/>
                  </a:lnTo>
                  <a:lnTo>
                    <a:pt x="93584" y="150596"/>
                  </a:lnTo>
                  <a:lnTo>
                    <a:pt x="96957" y="148950"/>
                  </a:lnTo>
                  <a:lnTo>
                    <a:pt x="95270" y="144012"/>
                  </a:lnTo>
                  <a:lnTo>
                    <a:pt x="96957" y="142367"/>
                  </a:lnTo>
                  <a:lnTo>
                    <a:pt x="103701" y="139075"/>
                  </a:lnTo>
                  <a:lnTo>
                    <a:pt x="16018" y="102866"/>
                  </a:lnTo>
                  <a:lnTo>
                    <a:pt x="4214" y="76532"/>
                  </a:lnTo>
                  <a:lnTo>
                    <a:pt x="9273" y="73240"/>
                  </a:lnTo>
                  <a:lnTo>
                    <a:pt x="16018" y="76532"/>
                  </a:lnTo>
                  <a:lnTo>
                    <a:pt x="17704" y="73240"/>
                  </a:lnTo>
                  <a:lnTo>
                    <a:pt x="32880" y="73240"/>
                  </a:lnTo>
                  <a:lnTo>
                    <a:pt x="85153" y="58427"/>
                  </a:lnTo>
                  <a:lnTo>
                    <a:pt x="128995" y="38677"/>
                  </a:lnTo>
                  <a:lnTo>
                    <a:pt x="139112" y="30448"/>
                  </a:lnTo>
                  <a:lnTo>
                    <a:pt x="149230" y="30448"/>
                  </a:lnTo>
                  <a:lnTo>
                    <a:pt x="184640" y="18927"/>
                  </a:lnTo>
                  <a:lnTo>
                    <a:pt x="189699" y="28802"/>
                  </a:lnTo>
                  <a:lnTo>
                    <a:pt x="193071" y="27156"/>
                  </a:lnTo>
                  <a:lnTo>
                    <a:pt x="194758" y="30448"/>
                  </a:lnTo>
                  <a:lnTo>
                    <a:pt x="209934" y="20573"/>
                  </a:lnTo>
                  <a:lnTo>
                    <a:pt x="213306" y="25510"/>
                  </a:lnTo>
                  <a:lnTo>
                    <a:pt x="218365" y="20573"/>
                  </a:lnTo>
                  <a:lnTo>
                    <a:pt x="223423" y="20573"/>
                  </a:lnTo>
                  <a:lnTo>
                    <a:pt x="228482" y="25510"/>
                  </a:lnTo>
                  <a:lnTo>
                    <a:pt x="236913" y="27156"/>
                  </a:lnTo>
                  <a:lnTo>
                    <a:pt x="240286" y="32094"/>
                  </a:lnTo>
                  <a:lnTo>
                    <a:pt x="243658" y="30448"/>
                  </a:lnTo>
                  <a:lnTo>
                    <a:pt x="243658" y="27156"/>
                  </a:lnTo>
                  <a:lnTo>
                    <a:pt x="257148" y="20573"/>
                  </a:lnTo>
                  <a:lnTo>
                    <a:pt x="250403" y="10697"/>
                  </a:lnTo>
                  <a:lnTo>
                    <a:pt x="255462" y="5760"/>
                  </a:lnTo>
                  <a:lnTo>
                    <a:pt x="257148" y="9052"/>
                  </a:lnTo>
                  <a:lnTo>
                    <a:pt x="26220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2" name="Wijk bij Duurstede">
              <a:extLst>
                <a:ext uri="{FF2B5EF4-FFF2-40B4-BE49-F238E27FC236}">
                  <a16:creationId xmlns:a16="http://schemas.microsoft.com/office/drawing/2014/main" id="{B97479D8-F929-4235-BF83-D67B234BEB7F}"/>
                </a:ext>
              </a:extLst>
            </p:cNvPr>
            <p:cNvSpPr/>
            <p:nvPr/>
          </p:nvSpPr>
          <p:spPr>
            <a:xfrm>
              <a:off x="6077297" y="3632533"/>
              <a:ext cx="181975" cy="118290"/>
            </a:xfrm>
            <a:custGeom>
              <a:avLst/>
              <a:gdLst/>
              <a:ahLst/>
              <a:cxnLst/>
              <a:rect l="l" t="t" r="r" b="b"/>
              <a:pathLst>
                <a:path w="269287" h="171450" extrusionOk="0">
                  <a:moveTo>
                    <a:pt x="154288" y="20573"/>
                  </a:moveTo>
                  <a:lnTo>
                    <a:pt x="161033" y="20573"/>
                  </a:lnTo>
                  <a:lnTo>
                    <a:pt x="169464" y="30448"/>
                  </a:lnTo>
                  <a:lnTo>
                    <a:pt x="216679" y="65011"/>
                  </a:lnTo>
                  <a:lnTo>
                    <a:pt x="243658" y="61719"/>
                  </a:lnTo>
                  <a:lnTo>
                    <a:pt x="268951" y="78178"/>
                  </a:lnTo>
                  <a:lnTo>
                    <a:pt x="243658" y="97928"/>
                  </a:lnTo>
                  <a:lnTo>
                    <a:pt x="211620" y="102866"/>
                  </a:lnTo>
                  <a:lnTo>
                    <a:pt x="226796" y="125908"/>
                  </a:lnTo>
                  <a:lnTo>
                    <a:pt x="236913" y="127554"/>
                  </a:lnTo>
                  <a:lnTo>
                    <a:pt x="236913" y="130845"/>
                  </a:lnTo>
                  <a:lnTo>
                    <a:pt x="233541" y="134137"/>
                  </a:lnTo>
                  <a:lnTo>
                    <a:pt x="233541" y="137429"/>
                  </a:lnTo>
                  <a:lnTo>
                    <a:pt x="231855" y="140720"/>
                  </a:lnTo>
                  <a:lnTo>
                    <a:pt x="214992" y="144012"/>
                  </a:lnTo>
                  <a:lnTo>
                    <a:pt x="189699" y="139075"/>
                  </a:lnTo>
                  <a:lnTo>
                    <a:pt x="176209" y="140720"/>
                  </a:lnTo>
                  <a:lnTo>
                    <a:pt x="164406" y="148950"/>
                  </a:lnTo>
                  <a:lnTo>
                    <a:pt x="145857" y="170346"/>
                  </a:lnTo>
                  <a:lnTo>
                    <a:pt x="125622" y="178575"/>
                  </a:lnTo>
                  <a:lnTo>
                    <a:pt x="115505" y="176930"/>
                  </a:lnTo>
                  <a:lnTo>
                    <a:pt x="93584" y="162117"/>
                  </a:lnTo>
                  <a:lnTo>
                    <a:pt x="49742" y="153888"/>
                  </a:lnTo>
                  <a:lnTo>
                    <a:pt x="26135" y="139075"/>
                  </a:lnTo>
                  <a:lnTo>
                    <a:pt x="41311" y="127554"/>
                  </a:lnTo>
                  <a:lnTo>
                    <a:pt x="48056" y="114387"/>
                  </a:lnTo>
                  <a:lnTo>
                    <a:pt x="22763" y="102866"/>
                  </a:lnTo>
                  <a:lnTo>
                    <a:pt x="21076" y="88053"/>
                  </a:lnTo>
                  <a:lnTo>
                    <a:pt x="26135" y="84761"/>
                  </a:lnTo>
                  <a:lnTo>
                    <a:pt x="9273" y="78178"/>
                  </a:lnTo>
                  <a:lnTo>
                    <a:pt x="4214" y="73240"/>
                  </a:lnTo>
                  <a:lnTo>
                    <a:pt x="31194" y="66657"/>
                  </a:lnTo>
                  <a:lnTo>
                    <a:pt x="37939" y="61719"/>
                  </a:lnTo>
                  <a:lnTo>
                    <a:pt x="41311" y="61719"/>
                  </a:lnTo>
                  <a:lnTo>
                    <a:pt x="42997" y="71594"/>
                  </a:lnTo>
                  <a:lnTo>
                    <a:pt x="49742" y="74886"/>
                  </a:lnTo>
                  <a:lnTo>
                    <a:pt x="53115" y="73240"/>
                  </a:lnTo>
                  <a:lnTo>
                    <a:pt x="58174" y="68302"/>
                  </a:lnTo>
                  <a:lnTo>
                    <a:pt x="54801" y="55136"/>
                  </a:lnTo>
                  <a:lnTo>
                    <a:pt x="61546" y="48552"/>
                  </a:lnTo>
                  <a:lnTo>
                    <a:pt x="59860" y="46906"/>
                  </a:lnTo>
                  <a:lnTo>
                    <a:pt x="61546" y="43615"/>
                  </a:lnTo>
                  <a:lnTo>
                    <a:pt x="75036" y="45260"/>
                  </a:lnTo>
                  <a:lnTo>
                    <a:pt x="78408" y="48552"/>
                  </a:lnTo>
                  <a:lnTo>
                    <a:pt x="115505" y="4114"/>
                  </a:lnTo>
                  <a:lnTo>
                    <a:pt x="128995" y="13989"/>
                  </a:lnTo>
                  <a:lnTo>
                    <a:pt x="154288"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3" name="Urk">
              <a:extLst>
                <a:ext uri="{FF2B5EF4-FFF2-40B4-BE49-F238E27FC236}">
                  <a16:creationId xmlns:a16="http://schemas.microsoft.com/office/drawing/2014/main" id="{A0820C7E-A2C9-42A5-99C3-CF0FF89EF394}"/>
                </a:ext>
              </a:extLst>
            </p:cNvPr>
            <p:cNvSpPr/>
            <p:nvPr/>
          </p:nvSpPr>
          <p:spPr>
            <a:xfrm>
              <a:off x="6442655" y="2582584"/>
              <a:ext cx="60148" cy="52090"/>
            </a:xfrm>
            <a:custGeom>
              <a:avLst/>
              <a:gdLst/>
              <a:ahLst/>
              <a:cxnLst/>
              <a:rect l="l" t="t" r="r" b="b"/>
              <a:pathLst>
                <a:path w="93665" h="80010" extrusionOk="0">
                  <a:moveTo>
                    <a:pt x="81780" y="4114"/>
                  </a:moveTo>
                  <a:lnTo>
                    <a:pt x="78408" y="15635"/>
                  </a:lnTo>
                  <a:lnTo>
                    <a:pt x="100329" y="43615"/>
                  </a:lnTo>
                  <a:lnTo>
                    <a:pt x="80094" y="56782"/>
                  </a:lnTo>
                  <a:lnTo>
                    <a:pt x="91898" y="71595"/>
                  </a:lnTo>
                  <a:lnTo>
                    <a:pt x="90211" y="83116"/>
                  </a:lnTo>
                  <a:lnTo>
                    <a:pt x="49742" y="83116"/>
                  </a:lnTo>
                  <a:lnTo>
                    <a:pt x="41311" y="79824"/>
                  </a:lnTo>
                  <a:lnTo>
                    <a:pt x="39625" y="81470"/>
                  </a:lnTo>
                  <a:lnTo>
                    <a:pt x="19390" y="66657"/>
                  </a:lnTo>
                  <a:lnTo>
                    <a:pt x="21076" y="65011"/>
                  </a:lnTo>
                  <a:lnTo>
                    <a:pt x="14331" y="65011"/>
                  </a:lnTo>
                  <a:lnTo>
                    <a:pt x="21076" y="63365"/>
                  </a:lnTo>
                  <a:lnTo>
                    <a:pt x="19390" y="58428"/>
                  </a:lnTo>
                  <a:lnTo>
                    <a:pt x="12645" y="61719"/>
                  </a:lnTo>
                  <a:lnTo>
                    <a:pt x="14331" y="58428"/>
                  </a:lnTo>
                  <a:lnTo>
                    <a:pt x="10959" y="58428"/>
                  </a:lnTo>
                  <a:lnTo>
                    <a:pt x="14331" y="56782"/>
                  </a:lnTo>
                  <a:lnTo>
                    <a:pt x="5900" y="56782"/>
                  </a:lnTo>
                  <a:lnTo>
                    <a:pt x="9273" y="58428"/>
                  </a:lnTo>
                  <a:lnTo>
                    <a:pt x="12645" y="66657"/>
                  </a:lnTo>
                  <a:lnTo>
                    <a:pt x="9273" y="60074"/>
                  </a:lnTo>
                  <a:lnTo>
                    <a:pt x="4214" y="56782"/>
                  </a:lnTo>
                  <a:lnTo>
                    <a:pt x="5900" y="50198"/>
                  </a:lnTo>
                  <a:lnTo>
                    <a:pt x="5900" y="18927"/>
                  </a:lnTo>
                  <a:lnTo>
                    <a:pt x="10959" y="18927"/>
                  </a:lnTo>
                  <a:lnTo>
                    <a:pt x="27821" y="5760"/>
                  </a:lnTo>
                  <a:lnTo>
                    <a:pt x="31194" y="9052"/>
                  </a:lnTo>
                  <a:lnTo>
                    <a:pt x="54801" y="4114"/>
                  </a:lnTo>
                  <a:lnTo>
                    <a:pt x="8178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4" name="Gennep">
              <a:extLst>
                <a:ext uri="{FF2B5EF4-FFF2-40B4-BE49-F238E27FC236}">
                  <a16:creationId xmlns:a16="http://schemas.microsoft.com/office/drawing/2014/main" id="{06861603-7DAE-4FED-B94D-C71E5642D0F9}"/>
                </a:ext>
              </a:extLst>
            </p:cNvPr>
            <p:cNvSpPr/>
            <p:nvPr/>
          </p:nvSpPr>
          <p:spPr>
            <a:xfrm>
              <a:off x="6797021" y="4076942"/>
              <a:ext cx="132102" cy="175026"/>
            </a:xfrm>
            <a:custGeom>
              <a:avLst/>
              <a:gdLst/>
              <a:ahLst/>
              <a:cxnLst/>
              <a:rect l="l" t="t" r="r" b="b"/>
              <a:pathLst>
                <a:path w="199038" h="251460" extrusionOk="0">
                  <a:moveTo>
                    <a:pt x="54801" y="12343"/>
                  </a:moveTo>
                  <a:lnTo>
                    <a:pt x="59859" y="28802"/>
                  </a:lnTo>
                  <a:lnTo>
                    <a:pt x="86839" y="25510"/>
                  </a:lnTo>
                  <a:lnTo>
                    <a:pt x="118877" y="27156"/>
                  </a:lnTo>
                  <a:lnTo>
                    <a:pt x="134053" y="38677"/>
                  </a:lnTo>
                  <a:lnTo>
                    <a:pt x="174523" y="58427"/>
                  </a:lnTo>
                  <a:lnTo>
                    <a:pt x="177895" y="61719"/>
                  </a:lnTo>
                  <a:lnTo>
                    <a:pt x="179581" y="68302"/>
                  </a:lnTo>
                  <a:lnTo>
                    <a:pt x="182954" y="68302"/>
                  </a:lnTo>
                  <a:lnTo>
                    <a:pt x="182954" y="76532"/>
                  </a:lnTo>
                  <a:lnTo>
                    <a:pt x="188013" y="76532"/>
                  </a:lnTo>
                  <a:lnTo>
                    <a:pt x="186326" y="71594"/>
                  </a:lnTo>
                  <a:lnTo>
                    <a:pt x="198130" y="78178"/>
                  </a:lnTo>
                  <a:lnTo>
                    <a:pt x="193071" y="88053"/>
                  </a:lnTo>
                  <a:lnTo>
                    <a:pt x="176209" y="88053"/>
                  </a:lnTo>
                  <a:lnTo>
                    <a:pt x="172836" y="91345"/>
                  </a:lnTo>
                  <a:lnTo>
                    <a:pt x="169464" y="97928"/>
                  </a:lnTo>
                  <a:lnTo>
                    <a:pt x="171150" y="117678"/>
                  </a:lnTo>
                  <a:lnTo>
                    <a:pt x="176209" y="127554"/>
                  </a:lnTo>
                  <a:lnTo>
                    <a:pt x="177895" y="139075"/>
                  </a:lnTo>
                  <a:lnTo>
                    <a:pt x="172836" y="144012"/>
                  </a:lnTo>
                  <a:lnTo>
                    <a:pt x="179581" y="155533"/>
                  </a:lnTo>
                  <a:lnTo>
                    <a:pt x="176209" y="160471"/>
                  </a:lnTo>
                  <a:lnTo>
                    <a:pt x="174523" y="171992"/>
                  </a:lnTo>
                  <a:lnTo>
                    <a:pt x="177895" y="176929"/>
                  </a:lnTo>
                  <a:lnTo>
                    <a:pt x="166092" y="193388"/>
                  </a:lnTo>
                  <a:lnTo>
                    <a:pt x="177895" y="208201"/>
                  </a:lnTo>
                  <a:lnTo>
                    <a:pt x="167778" y="216430"/>
                  </a:lnTo>
                  <a:lnTo>
                    <a:pt x="152602" y="211493"/>
                  </a:lnTo>
                  <a:lnTo>
                    <a:pt x="150915" y="216430"/>
                  </a:lnTo>
                  <a:lnTo>
                    <a:pt x="140798" y="226305"/>
                  </a:lnTo>
                  <a:lnTo>
                    <a:pt x="132367" y="229597"/>
                  </a:lnTo>
                  <a:lnTo>
                    <a:pt x="132367" y="227951"/>
                  </a:lnTo>
                  <a:lnTo>
                    <a:pt x="93584" y="255931"/>
                  </a:lnTo>
                  <a:lnTo>
                    <a:pt x="80094" y="242764"/>
                  </a:lnTo>
                  <a:lnTo>
                    <a:pt x="75036" y="229597"/>
                  </a:lnTo>
                  <a:lnTo>
                    <a:pt x="75036" y="175284"/>
                  </a:lnTo>
                  <a:lnTo>
                    <a:pt x="61546" y="122616"/>
                  </a:lnTo>
                  <a:lnTo>
                    <a:pt x="59859" y="97928"/>
                  </a:lnTo>
                  <a:lnTo>
                    <a:pt x="53115" y="91345"/>
                  </a:lnTo>
                  <a:lnTo>
                    <a:pt x="41311" y="86407"/>
                  </a:lnTo>
                  <a:lnTo>
                    <a:pt x="4214" y="78178"/>
                  </a:lnTo>
                  <a:lnTo>
                    <a:pt x="7586" y="68302"/>
                  </a:lnTo>
                  <a:lnTo>
                    <a:pt x="17704" y="56781"/>
                  </a:lnTo>
                  <a:lnTo>
                    <a:pt x="27821" y="38677"/>
                  </a:lnTo>
                  <a:lnTo>
                    <a:pt x="27821" y="25510"/>
                  </a:lnTo>
                  <a:lnTo>
                    <a:pt x="32880" y="20573"/>
                  </a:lnTo>
                  <a:lnTo>
                    <a:pt x="42997" y="18926"/>
                  </a:lnTo>
                  <a:lnTo>
                    <a:pt x="54801" y="12343"/>
                  </a:lnTo>
                  <a:lnTo>
                    <a:pt x="56487" y="4114"/>
                  </a:lnTo>
                  <a:lnTo>
                    <a:pt x="54801"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5" name="Kampen">
              <a:extLst>
                <a:ext uri="{FF2B5EF4-FFF2-40B4-BE49-F238E27FC236}">
                  <a16:creationId xmlns:a16="http://schemas.microsoft.com/office/drawing/2014/main" id="{5EC6C4F2-96AE-4406-B419-B7D8A28CCC5C}"/>
                </a:ext>
              </a:extLst>
            </p:cNvPr>
            <p:cNvSpPr/>
            <p:nvPr/>
          </p:nvSpPr>
          <p:spPr>
            <a:xfrm>
              <a:off x="6633790" y="2672111"/>
              <a:ext cx="268561" cy="239204"/>
            </a:xfrm>
            <a:custGeom>
              <a:avLst/>
              <a:gdLst/>
              <a:ahLst/>
              <a:cxnLst/>
              <a:rect l="l" t="t" r="r" b="b"/>
              <a:pathLst>
                <a:path w="386369" h="365760" extrusionOk="0">
                  <a:moveTo>
                    <a:pt x="134053" y="252639"/>
                  </a:moveTo>
                  <a:lnTo>
                    <a:pt x="132367" y="246056"/>
                  </a:lnTo>
                  <a:lnTo>
                    <a:pt x="134053" y="249348"/>
                  </a:lnTo>
                  <a:lnTo>
                    <a:pt x="134053" y="252639"/>
                  </a:lnTo>
                  <a:close/>
                  <a:moveTo>
                    <a:pt x="96957" y="150596"/>
                  </a:moveTo>
                  <a:lnTo>
                    <a:pt x="93584" y="148950"/>
                  </a:lnTo>
                  <a:lnTo>
                    <a:pt x="96957" y="145658"/>
                  </a:lnTo>
                  <a:lnTo>
                    <a:pt x="96957" y="150596"/>
                  </a:lnTo>
                  <a:close/>
                  <a:moveTo>
                    <a:pt x="90212" y="142367"/>
                  </a:moveTo>
                  <a:lnTo>
                    <a:pt x="91898" y="145658"/>
                  </a:lnTo>
                  <a:lnTo>
                    <a:pt x="88526" y="147304"/>
                  </a:lnTo>
                  <a:lnTo>
                    <a:pt x="88526" y="144012"/>
                  </a:lnTo>
                  <a:lnTo>
                    <a:pt x="90212" y="142367"/>
                  </a:lnTo>
                  <a:close/>
                  <a:moveTo>
                    <a:pt x="81781" y="134137"/>
                  </a:moveTo>
                  <a:lnTo>
                    <a:pt x="88526" y="135783"/>
                  </a:lnTo>
                  <a:lnTo>
                    <a:pt x="91898" y="132491"/>
                  </a:lnTo>
                  <a:lnTo>
                    <a:pt x="91898" y="135783"/>
                  </a:lnTo>
                  <a:lnTo>
                    <a:pt x="88526" y="137429"/>
                  </a:lnTo>
                  <a:lnTo>
                    <a:pt x="80094" y="134137"/>
                  </a:lnTo>
                  <a:lnTo>
                    <a:pt x="83467" y="120970"/>
                  </a:lnTo>
                  <a:lnTo>
                    <a:pt x="81781" y="134137"/>
                  </a:lnTo>
                  <a:close/>
                  <a:moveTo>
                    <a:pt x="80094" y="119324"/>
                  </a:moveTo>
                  <a:lnTo>
                    <a:pt x="80094" y="125908"/>
                  </a:lnTo>
                  <a:lnTo>
                    <a:pt x="75036" y="132491"/>
                  </a:lnTo>
                  <a:lnTo>
                    <a:pt x="73349" y="125908"/>
                  </a:lnTo>
                  <a:lnTo>
                    <a:pt x="76722" y="129200"/>
                  </a:lnTo>
                  <a:lnTo>
                    <a:pt x="78408" y="119324"/>
                  </a:lnTo>
                  <a:lnTo>
                    <a:pt x="80094" y="119324"/>
                  </a:lnTo>
                  <a:close/>
                  <a:moveTo>
                    <a:pt x="61546" y="112741"/>
                  </a:moveTo>
                  <a:lnTo>
                    <a:pt x="66605" y="120970"/>
                  </a:lnTo>
                  <a:lnTo>
                    <a:pt x="73349" y="124262"/>
                  </a:lnTo>
                  <a:lnTo>
                    <a:pt x="66605" y="120970"/>
                  </a:lnTo>
                  <a:lnTo>
                    <a:pt x="59860" y="112741"/>
                  </a:lnTo>
                  <a:lnTo>
                    <a:pt x="61546" y="111095"/>
                  </a:lnTo>
                  <a:lnTo>
                    <a:pt x="61546" y="112741"/>
                  </a:lnTo>
                  <a:close/>
                  <a:moveTo>
                    <a:pt x="32880" y="84761"/>
                  </a:moveTo>
                  <a:lnTo>
                    <a:pt x="37939" y="89699"/>
                  </a:lnTo>
                  <a:lnTo>
                    <a:pt x="19390" y="84761"/>
                  </a:lnTo>
                  <a:lnTo>
                    <a:pt x="24449" y="91345"/>
                  </a:lnTo>
                  <a:lnTo>
                    <a:pt x="24449" y="96282"/>
                  </a:lnTo>
                  <a:lnTo>
                    <a:pt x="16018" y="84761"/>
                  </a:lnTo>
                  <a:lnTo>
                    <a:pt x="17704" y="81470"/>
                  </a:lnTo>
                  <a:lnTo>
                    <a:pt x="24449" y="84761"/>
                  </a:lnTo>
                  <a:lnTo>
                    <a:pt x="29508" y="81470"/>
                  </a:lnTo>
                  <a:lnTo>
                    <a:pt x="32880" y="84761"/>
                  </a:lnTo>
                  <a:close/>
                  <a:moveTo>
                    <a:pt x="48056" y="74886"/>
                  </a:moveTo>
                  <a:lnTo>
                    <a:pt x="54801" y="79824"/>
                  </a:lnTo>
                  <a:lnTo>
                    <a:pt x="48056" y="78178"/>
                  </a:lnTo>
                  <a:lnTo>
                    <a:pt x="48056" y="81470"/>
                  </a:lnTo>
                  <a:lnTo>
                    <a:pt x="42997" y="74886"/>
                  </a:lnTo>
                  <a:lnTo>
                    <a:pt x="41311" y="83115"/>
                  </a:lnTo>
                  <a:lnTo>
                    <a:pt x="48056" y="83115"/>
                  </a:lnTo>
                  <a:lnTo>
                    <a:pt x="48056" y="88053"/>
                  </a:lnTo>
                  <a:lnTo>
                    <a:pt x="53115" y="88053"/>
                  </a:lnTo>
                  <a:lnTo>
                    <a:pt x="56487" y="81470"/>
                  </a:lnTo>
                  <a:lnTo>
                    <a:pt x="64918" y="86407"/>
                  </a:lnTo>
                  <a:lnTo>
                    <a:pt x="58174" y="84761"/>
                  </a:lnTo>
                  <a:lnTo>
                    <a:pt x="63232" y="86407"/>
                  </a:lnTo>
                  <a:lnTo>
                    <a:pt x="56487" y="86407"/>
                  </a:lnTo>
                  <a:lnTo>
                    <a:pt x="53115" y="88053"/>
                  </a:lnTo>
                  <a:lnTo>
                    <a:pt x="56487" y="89699"/>
                  </a:lnTo>
                  <a:lnTo>
                    <a:pt x="49742" y="92991"/>
                  </a:lnTo>
                  <a:lnTo>
                    <a:pt x="42997" y="86407"/>
                  </a:lnTo>
                  <a:lnTo>
                    <a:pt x="39625" y="76532"/>
                  </a:lnTo>
                  <a:lnTo>
                    <a:pt x="41311" y="71594"/>
                  </a:lnTo>
                  <a:lnTo>
                    <a:pt x="48056" y="74886"/>
                  </a:lnTo>
                  <a:close/>
                  <a:moveTo>
                    <a:pt x="68291" y="60073"/>
                  </a:moveTo>
                  <a:lnTo>
                    <a:pt x="68291" y="63365"/>
                  </a:lnTo>
                  <a:lnTo>
                    <a:pt x="71663" y="65011"/>
                  </a:lnTo>
                  <a:lnTo>
                    <a:pt x="76722" y="73240"/>
                  </a:lnTo>
                  <a:lnTo>
                    <a:pt x="76722" y="65011"/>
                  </a:lnTo>
                  <a:lnTo>
                    <a:pt x="76722" y="73240"/>
                  </a:lnTo>
                  <a:lnTo>
                    <a:pt x="81781" y="81470"/>
                  </a:lnTo>
                  <a:lnTo>
                    <a:pt x="71663" y="79824"/>
                  </a:lnTo>
                  <a:lnTo>
                    <a:pt x="69977" y="68303"/>
                  </a:lnTo>
                  <a:lnTo>
                    <a:pt x="63232" y="56782"/>
                  </a:lnTo>
                  <a:lnTo>
                    <a:pt x="64918" y="53490"/>
                  </a:lnTo>
                  <a:lnTo>
                    <a:pt x="68291" y="60073"/>
                  </a:lnTo>
                  <a:close/>
                  <a:moveTo>
                    <a:pt x="66605" y="48552"/>
                  </a:moveTo>
                  <a:lnTo>
                    <a:pt x="76722" y="61719"/>
                  </a:lnTo>
                  <a:lnTo>
                    <a:pt x="73349" y="63365"/>
                  </a:lnTo>
                  <a:lnTo>
                    <a:pt x="75036" y="63365"/>
                  </a:lnTo>
                  <a:lnTo>
                    <a:pt x="69977" y="61719"/>
                  </a:lnTo>
                  <a:lnTo>
                    <a:pt x="66605" y="48552"/>
                  </a:lnTo>
                  <a:lnTo>
                    <a:pt x="63232" y="53490"/>
                  </a:lnTo>
                  <a:lnTo>
                    <a:pt x="63232" y="48552"/>
                  </a:lnTo>
                  <a:lnTo>
                    <a:pt x="66605" y="48552"/>
                  </a:lnTo>
                  <a:close/>
                  <a:moveTo>
                    <a:pt x="54801" y="48552"/>
                  </a:moveTo>
                  <a:lnTo>
                    <a:pt x="59860" y="53490"/>
                  </a:lnTo>
                  <a:lnTo>
                    <a:pt x="53115" y="48552"/>
                  </a:lnTo>
                  <a:lnTo>
                    <a:pt x="58174" y="68303"/>
                  </a:lnTo>
                  <a:lnTo>
                    <a:pt x="64918" y="69949"/>
                  </a:lnTo>
                  <a:lnTo>
                    <a:pt x="61546" y="63365"/>
                  </a:lnTo>
                  <a:lnTo>
                    <a:pt x="61546" y="55136"/>
                  </a:lnTo>
                  <a:lnTo>
                    <a:pt x="61546" y="63365"/>
                  </a:lnTo>
                  <a:lnTo>
                    <a:pt x="68291" y="76532"/>
                  </a:lnTo>
                  <a:lnTo>
                    <a:pt x="59860" y="69949"/>
                  </a:lnTo>
                  <a:lnTo>
                    <a:pt x="53115" y="69949"/>
                  </a:lnTo>
                  <a:lnTo>
                    <a:pt x="41311" y="58427"/>
                  </a:lnTo>
                  <a:lnTo>
                    <a:pt x="42997" y="51844"/>
                  </a:lnTo>
                  <a:lnTo>
                    <a:pt x="49742" y="48552"/>
                  </a:lnTo>
                  <a:lnTo>
                    <a:pt x="54801" y="48552"/>
                  </a:lnTo>
                  <a:close/>
                  <a:moveTo>
                    <a:pt x="88526" y="48552"/>
                  </a:moveTo>
                  <a:lnTo>
                    <a:pt x="90212" y="51844"/>
                  </a:lnTo>
                  <a:lnTo>
                    <a:pt x="85153" y="53490"/>
                  </a:lnTo>
                  <a:lnTo>
                    <a:pt x="81781" y="53490"/>
                  </a:lnTo>
                  <a:lnTo>
                    <a:pt x="86839" y="51844"/>
                  </a:lnTo>
                  <a:lnTo>
                    <a:pt x="88526" y="48552"/>
                  </a:lnTo>
                  <a:lnTo>
                    <a:pt x="81781" y="50198"/>
                  </a:lnTo>
                  <a:lnTo>
                    <a:pt x="80094" y="56782"/>
                  </a:lnTo>
                  <a:lnTo>
                    <a:pt x="78408" y="51844"/>
                  </a:lnTo>
                  <a:lnTo>
                    <a:pt x="75036" y="51844"/>
                  </a:lnTo>
                  <a:lnTo>
                    <a:pt x="78408" y="61719"/>
                  </a:lnTo>
                  <a:lnTo>
                    <a:pt x="80094" y="60073"/>
                  </a:lnTo>
                  <a:lnTo>
                    <a:pt x="78408" y="61719"/>
                  </a:lnTo>
                  <a:lnTo>
                    <a:pt x="69977" y="48552"/>
                  </a:lnTo>
                  <a:lnTo>
                    <a:pt x="88526" y="48552"/>
                  </a:lnTo>
                  <a:close/>
                  <a:moveTo>
                    <a:pt x="316166" y="4114"/>
                  </a:moveTo>
                  <a:lnTo>
                    <a:pt x="326283" y="10697"/>
                  </a:lnTo>
                  <a:lnTo>
                    <a:pt x="326283" y="30448"/>
                  </a:lnTo>
                  <a:lnTo>
                    <a:pt x="309421" y="51844"/>
                  </a:lnTo>
                  <a:lnTo>
                    <a:pt x="295931" y="79824"/>
                  </a:lnTo>
                  <a:lnTo>
                    <a:pt x="314480" y="117679"/>
                  </a:lnTo>
                  <a:lnTo>
                    <a:pt x="358322" y="96282"/>
                  </a:lnTo>
                  <a:lnTo>
                    <a:pt x="390360" y="160471"/>
                  </a:lnTo>
                  <a:lnTo>
                    <a:pt x="346518" y="183513"/>
                  </a:lnTo>
                  <a:lnTo>
                    <a:pt x="351577" y="196680"/>
                  </a:lnTo>
                  <a:lnTo>
                    <a:pt x="386987" y="213139"/>
                  </a:lnTo>
                  <a:lnTo>
                    <a:pt x="386987" y="239473"/>
                  </a:lnTo>
                  <a:lnTo>
                    <a:pt x="378556" y="241118"/>
                  </a:lnTo>
                  <a:lnTo>
                    <a:pt x="376870" y="239473"/>
                  </a:lnTo>
                  <a:lnTo>
                    <a:pt x="368439" y="242764"/>
                  </a:lnTo>
                  <a:lnTo>
                    <a:pt x="363380" y="255931"/>
                  </a:lnTo>
                  <a:lnTo>
                    <a:pt x="366753" y="267452"/>
                  </a:lnTo>
                  <a:lnTo>
                    <a:pt x="383615" y="282265"/>
                  </a:lnTo>
                  <a:lnTo>
                    <a:pt x="375184" y="292140"/>
                  </a:lnTo>
                  <a:lnTo>
                    <a:pt x="370125" y="293786"/>
                  </a:lnTo>
                  <a:lnTo>
                    <a:pt x="360008" y="290494"/>
                  </a:lnTo>
                  <a:lnTo>
                    <a:pt x="351577" y="295432"/>
                  </a:lnTo>
                  <a:lnTo>
                    <a:pt x="289186" y="362912"/>
                  </a:lnTo>
                  <a:lnTo>
                    <a:pt x="279069" y="344808"/>
                  </a:lnTo>
                  <a:lnTo>
                    <a:pt x="270638" y="343162"/>
                  </a:lnTo>
                  <a:lnTo>
                    <a:pt x="262207" y="348099"/>
                  </a:lnTo>
                  <a:lnTo>
                    <a:pt x="247031" y="362912"/>
                  </a:lnTo>
                  <a:lnTo>
                    <a:pt x="243658" y="361266"/>
                  </a:lnTo>
                  <a:lnTo>
                    <a:pt x="230168" y="367850"/>
                  </a:lnTo>
                  <a:lnTo>
                    <a:pt x="206561" y="311890"/>
                  </a:lnTo>
                  <a:lnTo>
                    <a:pt x="171151" y="265806"/>
                  </a:lnTo>
                  <a:lnTo>
                    <a:pt x="157661" y="254285"/>
                  </a:lnTo>
                  <a:lnTo>
                    <a:pt x="154288" y="252639"/>
                  </a:lnTo>
                  <a:lnTo>
                    <a:pt x="139112" y="260869"/>
                  </a:lnTo>
                  <a:lnTo>
                    <a:pt x="139112" y="257577"/>
                  </a:lnTo>
                  <a:lnTo>
                    <a:pt x="134053" y="254285"/>
                  </a:lnTo>
                  <a:lnTo>
                    <a:pt x="135740" y="249348"/>
                  </a:lnTo>
                  <a:lnTo>
                    <a:pt x="132367" y="241118"/>
                  </a:lnTo>
                  <a:lnTo>
                    <a:pt x="135740" y="239473"/>
                  </a:lnTo>
                  <a:lnTo>
                    <a:pt x="132367" y="237827"/>
                  </a:lnTo>
                  <a:lnTo>
                    <a:pt x="134053" y="229597"/>
                  </a:lnTo>
                  <a:lnTo>
                    <a:pt x="130681" y="219722"/>
                  </a:lnTo>
                  <a:lnTo>
                    <a:pt x="132367" y="216430"/>
                  </a:lnTo>
                  <a:lnTo>
                    <a:pt x="128995" y="216430"/>
                  </a:lnTo>
                  <a:lnTo>
                    <a:pt x="134053" y="214785"/>
                  </a:lnTo>
                  <a:lnTo>
                    <a:pt x="130681" y="214785"/>
                  </a:lnTo>
                  <a:lnTo>
                    <a:pt x="128995" y="204909"/>
                  </a:lnTo>
                  <a:lnTo>
                    <a:pt x="125622" y="201618"/>
                  </a:lnTo>
                  <a:lnTo>
                    <a:pt x="123936" y="195034"/>
                  </a:lnTo>
                  <a:lnTo>
                    <a:pt x="127309" y="196680"/>
                  </a:lnTo>
                  <a:lnTo>
                    <a:pt x="123936" y="183513"/>
                  </a:lnTo>
                  <a:lnTo>
                    <a:pt x="125622" y="178576"/>
                  </a:lnTo>
                  <a:lnTo>
                    <a:pt x="120564" y="181867"/>
                  </a:lnTo>
                  <a:lnTo>
                    <a:pt x="115505" y="167054"/>
                  </a:lnTo>
                  <a:lnTo>
                    <a:pt x="110447" y="165409"/>
                  </a:lnTo>
                  <a:lnTo>
                    <a:pt x="112133" y="163763"/>
                  </a:lnTo>
                  <a:lnTo>
                    <a:pt x="102015" y="155533"/>
                  </a:lnTo>
                  <a:lnTo>
                    <a:pt x="98643" y="139075"/>
                  </a:lnTo>
                  <a:lnTo>
                    <a:pt x="91898" y="125908"/>
                  </a:lnTo>
                  <a:lnTo>
                    <a:pt x="76722" y="114387"/>
                  </a:lnTo>
                  <a:lnTo>
                    <a:pt x="66605" y="114387"/>
                  </a:lnTo>
                  <a:lnTo>
                    <a:pt x="59860" y="107803"/>
                  </a:lnTo>
                  <a:lnTo>
                    <a:pt x="4214" y="106158"/>
                  </a:lnTo>
                  <a:lnTo>
                    <a:pt x="98643" y="109449"/>
                  </a:lnTo>
                  <a:lnTo>
                    <a:pt x="98643" y="107803"/>
                  </a:lnTo>
                  <a:lnTo>
                    <a:pt x="83467" y="104512"/>
                  </a:lnTo>
                  <a:lnTo>
                    <a:pt x="5901" y="104512"/>
                  </a:lnTo>
                  <a:lnTo>
                    <a:pt x="5901" y="94636"/>
                  </a:lnTo>
                  <a:lnTo>
                    <a:pt x="7587" y="94636"/>
                  </a:lnTo>
                  <a:lnTo>
                    <a:pt x="9273" y="101220"/>
                  </a:lnTo>
                  <a:lnTo>
                    <a:pt x="19390" y="104512"/>
                  </a:lnTo>
                  <a:lnTo>
                    <a:pt x="48056" y="104512"/>
                  </a:lnTo>
                  <a:lnTo>
                    <a:pt x="53115" y="102866"/>
                  </a:lnTo>
                  <a:lnTo>
                    <a:pt x="61546" y="92991"/>
                  </a:lnTo>
                  <a:lnTo>
                    <a:pt x="68291" y="91345"/>
                  </a:lnTo>
                  <a:lnTo>
                    <a:pt x="68291" y="94636"/>
                  </a:lnTo>
                  <a:lnTo>
                    <a:pt x="59860" y="97928"/>
                  </a:lnTo>
                  <a:lnTo>
                    <a:pt x="59860" y="101220"/>
                  </a:lnTo>
                  <a:lnTo>
                    <a:pt x="64918" y="102866"/>
                  </a:lnTo>
                  <a:lnTo>
                    <a:pt x="69977" y="97928"/>
                  </a:lnTo>
                  <a:lnTo>
                    <a:pt x="80094" y="96282"/>
                  </a:lnTo>
                  <a:lnTo>
                    <a:pt x="81781" y="99574"/>
                  </a:lnTo>
                  <a:lnTo>
                    <a:pt x="83467" y="97928"/>
                  </a:lnTo>
                  <a:lnTo>
                    <a:pt x="88526" y="99574"/>
                  </a:lnTo>
                  <a:lnTo>
                    <a:pt x="86839" y="102866"/>
                  </a:lnTo>
                  <a:lnTo>
                    <a:pt x="88526" y="99574"/>
                  </a:lnTo>
                  <a:lnTo>
                    <a:pt x="98643" y="107803"/>
                  </a:lnTo>
                  <a:lnTo>
                    <a:pt x="100329" y="104512"/>
                  </a:lnTo>
                  <a:lnTo>
                    <a:pt x="91898" y="96282"/>
                  </a:lnTo>
                  <a:lnTo>
                    <a:pt x="88526" y="91345"/>
                  </a:lnTo>
                  <a:lnTo>
                    <a:pt x="90212" y="89699"/>
                  </a:lnTo>
                  <a:lnTo>
                    <a:pt x="86839" y="89699"/>
                  </a:lnTo>
                  <a:lnTo>
                    <a:pt x="85153" y="86407"/>
                  </a:lnTo>
                  <a:lnTo>
                    <a:pt x="86839" y="86407"/>
                  </a:lnTo>
                  <a:lnTo>
                    <a:pt x="86839" y="83115"/>
                  </a:lnTo>
                  <a:lnTo>
                    <a:pt x="91898" y="74886"/>
                  </a:lnTo>
                  <a:lnTo>
                    <a:pt x="91898" y="71594"/>
                  </a:lnTo>
                  <a:lnTo>
                    <a:pt x="86839" y="69949"/>
                  </a:lnTo>
                  <a:lnTo>
                    <a:pt x="86839" y="65011"/>
                  </a:lnTo>
                  <a:lnTo>
                    <a:pt x="88526" y="60073"/>
                  </a:lnTo>
                  <a:lnTo>
                    <a:pt x="90212" y="60073"/>
                  </a:lnTo>
                  <a:lnTo>
                    <a:pt x="93584" y="50198"/>
                  </a:lnTo>
                  <a:lnTo>
                    <a:pt x="96957" y="51844"/>
                  </a:lnTo>
                  <a:lnTo>
                    <a:pt x="95270" y="48552"/>
                  </a:lnTo>
                  <a:lnTo>
                    <a:pt x="100329" y="46906"/>
                  </a:lnTo>
                  <a:lnTo>
                    <a:pt x="100329" y="48552"/>
                  </a:lnTo>
                  <a:lnTo>
                    <a:pt x="98643" y="46906"/>
                  </a:lnTo>
                  <a:lnTo>
                    <a:pt x="98643" y="40323"/>
                  </a:lnTo>
                  <a:lnTo>
                    <a:pt x="186326" y="20573"/>
                  </a:lnTo>
                  <a:lnTo>
                    <a:pt x="198130" y="20573"/>
                  </a:lnTo>
                  <a:lnTo>
                    <a:pt x="194758" y="23864"/>
                  </a:lnTo>
                  <a:lnTo>
                    <a:pt x="198130" y="27156"/>
                  </a:lnTo>
                  <a:lnTo>
                    <a:pt x="194758" y="27156"/>
                  </a:lnTo>
                  <a:lnTo>
                    <a:pt x="196444" y="30448"/>
                  </a:lnTo>
                  <a:lnTo>
                    <a:pt x="199816" y="25510"/>
                  </a:lnTo>
                  <a:lnTo>
                    <a:pt x="199816" y="28802"/>
                  </a:lnTo>
                  <a:lnTo>
                    <a:pt x="204875" y="27156"/>
                  </a:lnTo>
                  <a:lnTo>
                    <a:pt x="214992" y="33739"/>
                  </a:lnTo>
                  <a:lnTo>
                    <a:pt x="221737" y="32094"/>
                  </a:lnTo>
                  <a:lnTo>
                    <a:pt x="221737" y="37031"/>
                  </a:lnTo>
                  <a:lnTo>
                    <a:pt x="221737" y="30448"/>
                  </a:lnTo>
                  <a:lnTo>
                    <a:pt x="236913" y="32094"/>
                  </a:lnTo>
                  <a:lnTo>
                    <a:pt x="238599" y="28802"/>
                  </a:lnTo>
                  <a:lnTo>
                    <a:pt x="247031" y="27156"/>
                  </a:lnTo>
                  <a:lnTo>
                    <a:pt x="250403" y="20573"/>
                  </a:lnTo>
                  <a:lnTo>
                    <a:pt x="270638" y="12343"/>
                  </a:lnTo>
                  <a:lnTo>
                    <a:pt x="275697" y="4114"/>
                  </a:lnTo>
                  <a:lnTo>
                    <a:pt x="306049" y="10697"/>
                  </a:lnTo>
                  <a:lnTo>
                    <a:pt x="306049" y="9052"/>
                  </a:lnTo>
                  <a:lnTo>
                    <a:pt x="309421" y="9052"/>
                  </a:lnTo>
                  <a:lnTo>
                    <a:pt x="300990" y="7406"/>
                  </a:lnTo>
                  <a:lnTo>
                    <a:pt x="314480" y="7406"/>
                  </a:lnTo>
                  <a:lnTo>
                    <a:pt x="311107" y="5760"/>
                  </a:lnTo>
                  <a:lnTo>
                    <a:pt x="31616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6" name="Maastricht">
              <a:extLst>
                <a:ext uri="{FF2B5EF4-FFF2-40B4-BE49-F238E27FC236}">
                  <a16:creationId xmlns:a16="http://schemas.microsoft.com/office/drawing/2014/main" id="{E066D58C-DF55-4808-972A-6E4572DF45BD}"/>
                </a:ext>
              </a:extLst>
            </p:cNvPr>
            <p:cNvSpPr/>
            <p:nvPr/>
          </p:nvSpPr>
          <p:spPr>
            <a:xfrm>
              <a:off x="6497568" y="5427082"/>
              <a:ext cx="132102" cy="174967"/>
            </a:xfrm>
            <a:custGeom>
              <a:avLst/>
              <a:gdLst/>
              <a:ahLst/>
              <a:cxnLst/>
              <a:rect l="l" t="t" r="r" b="b"/>
              <a:pathLst>
                <a:path w="199038" h="262890" extrusionOk="0">
                  <a:moveTo>
                    <a:pt x="125622" y="13989"/>
                  </a:moveTo>
                  <a:lnTo>
                    <a:pt x="120564" y="17281"/>
                  </a:lnTo>
                  <a:lnTo>
                    <a:pt x="118878" y="27156"/>
                  </a:lnTo>
                  <a:lnTo>
                    <a:pt x="130681" y="35385"/>
                  </a:lnTo>
                  <a:lnTo>
                    <a:pt x="127309" y="40323"/>
                  </a:lnTo>
                  <a:lnTo>
                    <a:pt x="135740" y="46906"/>
                  </a:lnTo>
                  <a:lnTo>
                    <a:pt x="139112" y="53490"/>
                  </a:lnTo>
                  <a:lnTo>
                    <a:pt x="140799" y="71595"/>
                  </a:lnTo>
                  <a:lnTo>
                    <a:pt x="155974" y="76532"/>
                  </a:lnTo>
                  <a:lnTo>
                    <a:pt x="152602" y="94637"/>
                  </a:lnTo>
                  <a:lnTo>
                    <a:pt x="166092" y="97928"/>
                  </a:lnTo>
                  <a:lnTo>
                    <a:pt x="166092" y="101220"/>
                  </a:lnTo>
                  <a:lnTo>
                    <a:pt x="171151" y="99574"/>
                  </a:lnTo>
                  <a:lnTo>
                    <a:pt x="172837" y="102866"/>
                  </a:lnTo>
                  <a:lnTo>
                    <a:pt x="186326" y="101220"/>
                  </a:lnTo>
                  <a:lnTo>
                    <a:pt x="193072" y="114387"/>
                  </a:lnTo>
                  <a:lnTo>
                    <a:pt x="198130" y="114387"/>
                  </a:lnTo>
                  <a:lnTo>
                    <a:pt x="198130" y="119324"/>
                  </a:lnTo>
                  <a:lnTo>
                    <a:pt x="177895" y="135783"/>
                  </a:lnTo>
                  <a:lnTo>
                    <a:pt x="189699" y="140721"/>
                  </a:lnTo>
                  <a:lnTo>
                    <a:pt x="189699" y="165409"/>
                  </a:lnTo>
                  <a:lnTo>
                    <a:pt x="186326" y="173638"/>
                  </a:lnTo>
                  <a:lnTo>
                    <a:pt x="164405" y="176929"/>
                  </a:lnTo>
                  <a:lnTo>
                    <a:pt x="164405" y="180221"/>
                  </a:lnTo>
                  <a:lnTo>
                    <a:pt x="162719" y="181867"/>
                  </a:lnTo>
                  <a:lnTo>
                    <a:pt x="172837" y="183513"/>
                  </a:lnTo>
                  <a:lnTo>
                    <a:pt x="172837" y="188451"/>
                  </a:lnTo>
                  <a:lnTo>
                    <a:pt x="171151" y="188451"/>
                  </a:lnTo>
                  <a:lnTo>
                    <a:pt x="172837" y="201618"/>
                  </a:lnTo>
                  <a:lnTo>
                    <a:pt x="172837" y="208201"/>
                  </a:lnTo>
                  <a:lnTo>
                    <a:pt x="171151" y="206555"/>
                  </a:lnTo>
                  <a:lnTo>
                    <a:pt x="171151" y="219722"/>
                  </a:lnTo>
                  <a:lnTo>
                    <a:pt x="169464" y="218076"/>
                  </a:lnTo>
                  <a:lnTo>
                    <a:pt x="167778" y="223013"/>
                  </a:lnTo>
                  <a:lnTo>
                    <a:pt x="145857" y="231243"/>
                  </a:lnTo>
                  <a:lnTo>
                    <a:pt x="140799" y="237826"/>
                  </a:lnTo>
                  <a:lnTo>
                    <a:pt x="127309" y="239473"/>
                  </a:lnTo>
                  <a:lnTo>
                    <a:pt x="127309" y="265806"/>
                  </a:lnTo>
                  <a:lnTo>
                    <a:pt x="113819" y="262515"/>
                  </a:lnTo>
                  <a:lnTo>
                    <a:pt x="115505" y="254285"/>
                  </a:lnTo>
                  <a:lnTo>
                    <a:pt x="95270" y="254285"/>
                  </a:lnTo>
                  <a:lnTo>
                    <a:pt x="88526" y="249348"/>
                  </a:lnTo>
                  <a:lnTo>
                    <a:pt x="90212" y="246056"/>
                  </a:lnTo>
                  <a:lnTo>
                    <a:pt x="83467" y="246056"/>
                  </a:lnTo>
                  <a:lnTo>
                    <a:pt x="76722" y="242764"/>
                  </a:lnTo>
                  <a:lnTo>
                    <a:pt x="69977" y="246056"/>
                  </a:lnTo>
                  <a:lnTo>
                    <a:pt x="66605" y="234535"/>
                  </a:lnTo>
                  <a:lnTo>
                    <a:pt x="58174" y="236181"/>
                  </a:lnTo>
                  <a:lnTo>
                    <a:pt x="53115" y="231243"/>
                  </a:lnTo>
                  <a:lnTo>
                    <a:pt x="49742" y="234535"/>
                  </a:lnTo>
                  <a:lnTo>
                    <a:pt x="27821" y="226306"/>
                  </a:lnTo>
                  <a:lnTo>
                    <a:pt x="31194" y="216430"/>
                  </a:lnTo>
                  <a:lnTo>
                    <a:pt x="24449" y="208201"/>
                  </a:lnTo>
                  <a:lnTo>
                    <a:pt x="19390" y="209847"/>
                  </a:lnTo>
                  <a:lnTo>
                    <a:pt x="24449" y="198326"/>
                  </a:lnTo>
                  <a:lnTo>
                    <a:pt x="21076" y="193388"/>
                  </a:lnTo>
                  <a:lnTo>
                    <a:pt x="19390" y="195034"/>
                  </a:lnTo>
                  <a:lnTo>
                    <a:pt x="17704" y="188451"/>
                  </a:lnTo>
                  <a:lnTo>
                    <a:pt x="12645" y="183513"/>
                  </a:lnTo>
                  <a:lnTo>
                    <a:pt x="14332" y="180221"/>
                  </a:lnTo>
                  <a:lnTo>
                    <a:pt x="9273" y="176929"/>
                  </a:lnTo>
                  <a:lnTo>
                    <a:pt x="9273" y="170346"/>
                  </a:lnTo>
                  <a:lnTo>
                    <a:pt x="4214" y="160471"/>
                  </a:lnTo>
                  <a:lnTo>
                    <a:pt x="7587" y="160471"/>
                  </a:lnTo>
                  <a:lnTo>
                    <a:pt x="5901" y="155534"/>
                  </a:lnTo>
                  <a:lnTo>
                    <a:pt x="10959" y="153887"/>
                  </a:lnTo>
                  <a:lnTo>
                    <a:pt x="5901" y="145658"/>
                  </a:lnTo>
                  <a:lnTo>
                    <a:pt x="10959" y="137429"/>
                  </a:lnTo>
                  <a:lnTo>
                    <a:pt x="9273" y="135783"/>
                  </a:lnTo>
                  <a:lnTo>
                    <a:pt x="12645" y="132492"/>
                  </a:lnTo>
                  <a:lnTo>
                    <a:pt x="9273" y="132492"/>
                  </a:lnTo>
                  <a:lnTo>
                    <a:pt x="12645" y="122616"/>
                  </a:lnTo>
                  <a:lnTo>
                    <a:pt x="9273" y="119324"/>
                  </a:lnTo>
                  <a:lnTo>
                    <a:pt x="21076" y="109449"/>
                  </a:lnTo>
                  <a:lnTo>
                    <a:pt x="12645" y="102866"/>
                  </a:lnTo>
                  <a:lnTo>
                    <a:pt x="22763" y="92990"/>
                  </a:lnTo>
                  <a:lnTo>
                    <a:pt x="26135" y="96282"/>
                  </a:lnTo>
                  <a:lnTo>
                    <a:pt x="31194" y="89699"/>
                  </a:lnTo>
                  <a:lnTo>
                    <a:pt x="34566" y="91345"/>
                  </a:lnTo>
                  <a:lnTo>
                    <a:pt x="39625" y="84761"/>
                  </a:lnTo>
                  <a:lnTo>
                    <a:pt x="51428" y="76532"/>
                  </a:lnTo>
                  <a:lnTo>
                    <a:pt x="66605" y="79824"/>
                  </a:lnTo>
                  <a:lnTo>
                    <a:pt x="66605" y="73240"/>
                  </a:lnTo>
                  <a:lnTo>
                    <a:pt x="71663" y="61719"/>
                  </a:lnTo>
                  <a:lnTo>
                    <a:pt x="86839" y="48552"/>
                  </a:lnTo>
                  <a:lnTo>
                    <a:pt x="93584" y="38677"/>
                  </a:lnTo>
                  <a:lnTo>
                    <a:pt x="95270" y="27156"/>
                  </a:lnTo>
                  <a:lnTo>
                    <a:pt x="93584" y="13989"/>
                  </a:lnTo>
                  <a:lnTo>
                    <a:pt x="98643" y="7405"/>
                  </a:lnTo>
                  <a:lnTo>
                    <a:pt x="112133" y="4114"/>
                  </a:lnTo>
                  <a:lnTo>
                    <a:pt x="125622"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7" name="Heemskerk">
              <a:extLst>
                <a:ext uri="{FF2B5EF4-FFF2-40B4-BE49-F238E27FC236}">
                  <a16:creationId xmlns:a16="http://schemas.microsoft.com/office/drawing/2014/main" id="{946A059F-4DDF-41CD-85A6-A3060BFDC8FB}"/>
                </a:ext>
              </a:extLst>
            </p:cNvPr>
            <p:cNvSpPr/>
            <p:nvPr/>
          </p:nvSpPr>
          <p:spPr>
            <a:xfrm>
              <a:off x="5400887" y="2822061"/>
              <a:ext cx="132102" cy="75608"/>
            </a:xfrm>
            <a:custGeom>
              <a:avLst/>
              <a:gdLst/>
              <a:ahLst/>
              <a:cxnLst/>
              <a:rect l="l" t="t" r="r" b="b"/>
              <a:pathLst>
                <a:path w="199038" h="114300" extrusionOk="0">
                  <a:moveTo>
                    <a:pt x="125622" y="7406"/>
                  </a:moveTo>
                  <a:lnTo>
                    <a:pt x="169464" y="17281"/>
                  </a:lnTo>
                  <a:lnTo>
                    <a:pt x="161033" y="37031"/>
                  </a:lnTo>
                  <a:lnTo>
                    <a:pt x="164405" y="56782"/>
                  </a:lnTo>
                  <a:lnTo>
                    <a:pt x="167778" y="58427"/>
                  </a:lnTo>
                  <a:lnTo>
                    <a:pt x="166092" y="63365"/>
                  </a:lnTo>
                  <a:lnTo>
                    <a:pt x="181268" y="61719"/>
                  </a:lnTo>
                  <a:lnTo>
                    <a:pt x="184640" y="56782"/>
                  </a:lnTo>
                  <a:lnTo>
                    <a:pt x="188013" y="58427"/>
                  </a:lnTo>
                  <a:lnTo>
                    <a:pt x="186326" y="66657"/>
                  </a:lnTo>
                  <a:lnTo>
                    <a:pt x="184640" y="66657"/>
                  </a:lnTo>
                  <a:lnTo>
                    <a:pt x="179582" y="74886"/>
                  </a:lnTo>
                  <a:lnTo>
                    <a:pt x="182954" y="81470"/>
                  </a:lnTo>
                  <a:lnTo>
                    <a:pt x="193071" y="89699"/>
                  </a:lnTo>
                  <a:lnTo>
                    <a:pt x="204875" y="94636"/>
                  </a:lnTo>
                  <a:lnTo>
                    <a:pt x="194758" y="99574"/>
                  </a:lnTo>
                  <a:lnTo>
                    <a:pt x="186326" y="109449"/>
                  </a:lnTo>
                  <a:lnTo>
                    <a:pt x="186326" y="114387"/>
                  </a:lnTo>
                  <a:lnTo>
                    <a:pt x="174523" y="106158"/>
                  </a:lnTo>
                  <a:lnTo>
                    <a:pt x="171150" y="112741"/>
                  </a:lnTo>
                  <a:lnTo>
                    <a:pt x="167778" y="112741"/>
                  </a:lnTo>
                  <a:lnTo>
                    <a:pt x="166092" y="102866"/>
                  </a:lnTo>
                  <a:lnTo>
                    <a:pt x="159347" y="104512"/>
                  </a:lnTo>
                  <a:lnTo>
                    <a:pt x="154288" y="99574"/>
                  </a:lnTo>
                  <a:lnTo>
                    <a:pt x="154288" y="101220"/>
                  </a:lnTo>
                  <a:lnTo>
                    <a:pt x="140798" y="97928"/>
                  </a:lnTo>
                  <a:lnTo>
                    <a:pt x="123936" y="76532"/>
                  </a:lnTo>
                  <a:lnTo>
                    <a:pt x="107074" y="86407"/>
                  </a:lnTo>
                  <a:lnTo>
                    <a:pt x="91898" y="81470"/>
                  </a:lnTo>
                  <a:lnTo>
                    <a:pt x="76722" y="81470"/>
                  </a:lnTo>
                  <a:lnTo>
                    <a:pt x="41311" y="88053"/>
                  </a:lnTo>
                  <a:lnTo>
                    <a:pt x="34566" y="92991"/>
                  </a:lnTo>
                  <a:lnTo>
                    <a:pt x="29507" y="94636"/>
                  </a:lnTo>
                  <a:lnTo>
                    <a:pt x="21076" y="89699"/>
                  </a:lnTo>
                  <a:lnTo>
                    <a:pt x="22763" y="86407"/>
                  </a:lnTo>
                  <a:lnTo>
                    <a:pt x="21076" y="88053"/>
                  </a:lnTo>
                  <a:lnTo>
                    <a:pt x="17704" y="84761"/>
                  </a:lnTo>
                  <a:lnTo>
                    <a:pt x="10959" y="84761"/>
                  </a:lnTo>
                  <a:lnTo>
                    <a:pt x="4214" y="83115"/>
                  </a:lnTo>
                  <a:lnTo>
                    <a:pt x="22763" y="5760"/>
                  </a:lnTo>
                  <a:lnTo>
                    <a:pt x="105388" y="7406"/>
                  </a:lnTo>
                  <a:lnTo>
                    <a:pt x="115505" y="4114"/>
                  </a:lnTo>
                  <a:lnTo>
                    <a:pt x="125622"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8" name="Oirschot">
              <a:extLst>
                <a:ext uri="{FF2B5EF4-FFF2-40B4-BE49-F238E27FC236}">
                  <a16:creationId xmlns:a16="http://schemas.microsoft.com/office/drawing/2014/main" id="{1F9A6448-5F9B-4068-9E84-3B7400BB954E}"/>
                </a:ext>
              </a:extLst>
            </p:cNvPr>
            <p:cNvSpPr/>
            <p:nvPr/>
          </p:nvSpPr>
          <p:spPr>
            <a:xfrm>
              <a:off x="6010429" y="4393719"/>
              <a:ext cx="228214" cy="212830"/>
            </a:xfrm>
            <a:custGeom>
              <a:avLst/>
              <a:gdLst/>
              <a:ahLst/>
              <a:cxnLst/>
              <a:rect l="l" t="t" r="r" b="b"/>
              <a:pathLst>
                <a:path w="316120" h="308610" extrusionOk="0">
                  <a:moveTo>
                    <a:pt x="157661" y="10697"/>
                  </a:moveTo>
                  <a:lnTo>
                    <a:pt x="186327" y="20573"/>
                  </a:lnTo>
                  <a:lnTo>
                    <a:pt x="213306" y="7405"/>
                  </a:lnTo>
                  <a:lnTo>
                    <a:pt x="225110" y="7405"/>
                  </a:lnTo>
                  <a:lnTo>
                    <a:pt x="231855" y="18926"/>
                  </a:lnTo>
                  <a:lnTo>
                    <a:pt x="240286" y="22218"/>
                  </a:lnTo>
                  <a:lnTo>
                    <a:pt x="262207" y="23864"/>
                  </a:lnTo>
                  <a:lnTo>
                    <a:pt x="279069" y="55136"/>
                  </a:lnTo>
                  <a:lnTo>
                    <a:pt x="275697" y="58427"/>
                  </a:lnTo>
                  <a:lnTo>
                    <a:pt x="258834" y="61719"/>
                  </a:lnTo>
                  <a:lnTo>
                    <a:pt x="257148" y="68302"/>
                  </a:lnTo>
                  <a:lnTo>
                    <a:pt x="257148" y="81470"/>
                  </a:lnTo>
                  <a:lnTo>
                    <a:pt x="253776" y="83115"/>
                  </a:lnTo>
                  <a:lnTo>
                    <a:pt x="250403" y="89699"/>
                  </a:lnTo>
                  <a:lnTo>
                    <a:pt x="253776" y="116033"/>
                  </a:lnTo>
                  <a:lnTo>
                    <a:pt x="255462" y="116033"/>
                  </a:lnTo>
                  <a:lnTo>
                    <a:pt x="260520" y="140720"/>
                  </a:lnTo>
                  <a:lnTo>
                    <a:pt x="268952" y="148950"/>
                  </a:lnTo>
                  <a:lnTo>
                    <a:pt x="306049" y="163763"/>
                  </a:lnTo>
                  <a:lnTo>
                    <a:pt x="312793" y="160471"/>
                  </a:lnTo>
                  <a:lnTo>
                    <a:pt x="312793" y="201617"/>
                  </a:lnTo>
                  <a:lnTo>
                    <a:pt x="295931" y="218076"/>
                  </a:lnTo>
                  <a:lnTo>
                    <a:pt x="263893" y="211493"/>
                  </a:lnTo>
                  <a:lnTo>
                    <a:pt x="260520" y="221368"/>
                  </a:lnTo>
                  <a:lnTo>
                    <a:pt x="225110" y="206555"/>
                  </a:lnTo>
                  <a:lnTo>
                    <a:pt x="226796" y="213138"/>
                  </a:lnTo>
                  <a:lnTo>
                    <a:pt x="223424" y="214784"/>
                  </a:lnTo>
                  <a:lnTo>
                    <a:pt x="226796" y="221368"/>
                  </a:lnTo>
                  <a:lnTo>
                    <a:pt x="221737" y="221368"/>
                  </a:lnTo>
                  <a:lnTo>
                    <a:pt x="220051" y="218076"/>
                  </a:lnTo>
                  <a:lnTo>
                    <a:pt x="213306" y="218076"/>
                  </a:lnTo>
                  <a:lnTo>
                    <a:pt x="213306" y="221368"/>
                  </a:lnTo>
                  <a:lnTo>
                    <a:pt x="204875" y="226306"/>
                  </a:lnTo>
                  <a:lnTo>
                    <a:pt x="196444" y="224660"/>
                  </a:lnTo>
                  <a:lnTo>
                    <a:pt x="177895" y="229597"/>
                  </a:lnTo>
                  <a:lnTo>
                    <a:pt x="169464" y="244410"/>
                  </a:lnTo>
                  <a:lnTo>
                    <a:pt x="164406" y="239472"/>
                  </a:lnTo>
                  <a:lnTo>
                    <a:pt x="150916" y="241118"/>
                  </a:lnTo>
                  <a:lnTo>
                    <a:pt x="140799" y="250993"/>
                  </a:lnTo>
                  <a:lnTo>
                    <a:pt x="118878" y="254285"/>
                  </a:lnTo>
                  <a:lnTo>
                    <a:pt x="93584" y="262514"/>
                  </a:lnTo>
                  <a:lnTo>
                    <a:pt x="100329" y="280619"/>
                  </a:lnTo>
                  <a:lnTo>
                    <a:pt x="80094" y="290494"/>
                  </a:lnTo>
                  <a:lnTo>
                    <a:pt x="76722" y="303661"/>
                  </a:lnTo>
                  <a:lnTo>
                    <a:pt x="64918" y="310245"/>
                  </a:lnTo>
                  <a:lnTo>
                    <a:pt x="54801" y="311890"/>
                  </a:lnTo>
                  <a:lnTo>
                    <a:pt x="54801" y="305307"/>
                  </a:lnTo>
                  <a:lnTo>
                    <a:pt x="46370" y="298723"/>
                  </a:lnTo>
                  <a:lnTo>
                    <a:pt x="42997" y="290494"/>
                  </a:lnTo>
                  <a:lnTo>
                    <a:pt x="34566" y="290494"/>
                  </a:lnTo>
                  <a:lnTo>
                    <a:pt x="32880" y="283911"/>
                  </a:lnTo>
                  <a:lnTo>
                    <a:pt x="12645" y="297078"/>
                  </a:lnTo>
                  <a:lnTo>
                    <a:pt x="4214" y="298723"/>
                  </a:lnTo>
                  <a:lnTo>
                    <a:pt x="34566" y="213138"/>
                  </a:lnTo>
                  <a:lnTo>
                    <a:pt x="51428" y="196680"/>
                  </a:lnTo>
                  <a:lnTo>
                    <a:pt x="58173" y="157179"/>
                  </a:lnTo>
                  <a:lnTo>
                    <a:pt x="66605" y="153888"/>
                  </a:lnTo>
                  <a:lnTo>
                    <a:pt x="63232" y="134137"/>
                  </a:lnTo>
                  <a:lnTo>
                    <a:pt x="91898" y="134137"/>
                  </a:lnTo>
                  <a:lnTo>
                    <a:pt x="93584" y="116033"/>
                  </a:lnTo>
                  <a:lnTo>
                    <a:pt x="98643" y="116033"/>
                  </a:lnTo>
                  <a:lnTo>
                    <a:pt x="98643" y="107803"/>
                  </a:lnTo>
                  <a:lnTo>
                    <a:pt x="75036" y="97928"/>
                  </a:lnTo>
                  <a:lnTo>
                    <a:pt x="69977" y="109449"/>
                  </a:lnTo>
                  <a:lnTo>
                    <a:pt x="59860" y="112741"/>
                  </a:lnTo>
                  <a:lnTo>
                    <a:pt x="56487" y="89699"/>
                  </a:lnTo>
                  <a:lnTo>
                    <a:pt x="66605" y="79823"/>
                  </a:lnTo>
                  <a:lnTo>
                    <a:pt x="73349" y="56781"/>
                  </a:lnTo>
                  <a:lnTo>
                    <a:pt x="86839" y="68302"/>
                  </a:lnTo>
                  <a:lnTo>
                    <a:pt x="95270" y="55136"/>
                  </a:lnTo>
                  <a:lnTo>
                    <a:pt x="102015" y="33739"/>
                  </a:lnTo>
                  <a:lnTo>
                    <a:pt x="113819" y="32094"/>
                  </a:lnTo>
                  <a:lnTo>
                    <a:pt x="117191" y="23864"/>
                  </a:lnTo>
                  <a:lnTo>
                    <a:pt x="123936" y="27156"/>
                  </a:lnTo>
                  <a:lnTo>
                    <a:pt x="127309" y="18926"/>
                  </a:lnTo>
                  <a:lnTo>
                    <a:pt x="137426" y="22218"/>
                  </a:lnTo>
                  <a:lnTo>
                    <a:pt x="139112" y="13989"/>
                  </a:lnTo>
                  <a:lnTo>
                    <a:pt x="130681" y="10697"/>
                  </a:lnTo>
                  <a:lnTo>
                    <a:pt x="132367" y="4114"/>
                  </a:lnTo>
                  <a:lnTo>
                    <a:pt x="157661"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39" name="Waalwijk">
              <a:extLst>
                <a:ext uri="{FF2B5EF4-FFF2-40B4-BE49-F238E27FC236}">
                  <a16:creationId xmlns:a16="http://schemas.microsoft.com/office/drawing/2014/main" id="{7C485F7D-CF61-42E4-A818-542BF6FEFE8C}"/>
                </a:ext>
              </a:extLst>
            </p:cNvPr>
            <p:cNvSpPr/>
            <p:nvPr/>
          </p:nvSpPr>
          <p:spPr>
            <a:xfrm>
              <a:off x="5731743" y="4118313"/>
              <a:ext cx="202151" cy="118290"/>
            </a:xfrm>
            <a:custGeom>
              <a:avLst/>
              <a:gdLst/>
              <a:ahLst/>
              <a:cxnLst/>
              <a:rect l="l" t="t" r="r" b="b"/>
              <a:pathLst>
                <a:path w="304412" h="171450" extrusionOk="0">
                  <a:moveTo>
                    <a:pt x="174523" y="33740"/>
                  </a:moveTo>
                  <a:lnTo>
                    <a:pt x="203189" y="33740"/>
                  </a:lnTo>
                  <a:lnTo>
                    <a:pt x="221737" y="28802"/>
                  </a:lnTo>
                  <a:lnTo>
                    <a:pt x="255462" y="5760"/>
                  </a:lnTo>
                  <a:lnTo>
                    <a:pt x="258834" y="10698"/>
                  </a:lnTo>
                  <a:lnTo>
                    <a:pt x="279069" y="17281"/>
                  </a:lnTo>
                  <a:lnTo>
                    <a:pt x="285814" y="28802"/>
                  </a:lnTo>
                  <a:lnTo>
                    <a:pt x="294245" y="35385"/>
                  </a:lnTo>
                  <a:lnTo>
                    <a:pt x="300990" y="51844"/>
                  </a:lnTo>
                  <a:lnTo>
                    <a:pt x="287500" y="55136"/>
                  </a:lnTo>
                  <a:lnTo>
                    <a:pt x="292559" y="116033"/>
                  </a:lnTo>
                  <a:lnTo>
                    <a:pt x="285814" y="116033"/>
                  </a:lnTo>
                  <a:lnTo>
                    <a:pt x="274010" y="122616"/>
                  </a:lnTo>
                  <a:lnTo>
                    <a:pt x="267265" y="120970"/>
                  </a:lnTo>
                  <a:lnTo>
                    <a:pt x="252089" y="129199"/>
                  </a:lnTo>
                  <a:lnTo>
                    <a:pt x="221737" y="129199"/>
                  </a:lnTo>
                  <a:lnTo>
                    <a:pt x="223424" y="137429"/>
                  </a:lnTo>
                  <a:lnTo>
                    <a:pt x="218365" y="137429"/>
                  </a:lnTo>
                  <a:lnTo>
                    <a:pt x="218365" y="152242"/>
                  </a:lnTo>
                  <a:lnTo>
                    <a:pt x="206561" y="152242"/>
                  </a:lnTo>
                  <a:lnTo>
                    <a:pt x="201503" y="152242"/>
                  </a:lnTo>
                  <a:lnTo>
                    <a:pt x="201503" y="148950"/>
                  </a:lnTo>
                  <a:lnTo>
                    <a:pt x="198130" y="150596"/>
                  </a:lnTo>
                  <a:lnTo>
                    <a:pt x="117191" y="117678"/>
                  </a:lnTo>
                  <a:lnTo>
                    <a:pt x="108760" y="168700"/>
                  </a:lnTo>
                  <a:lnTo>
                    <a:pt x="64918" y="176930"/>
                  </a:lnTo>
                  <a:lnTo>
                    <a:pt x="64918" y="162117"/>
                  </a:lnTo>
                  <a:lnTo>
                    <a:pt x="56487" y="127554"/>
                  </a:lnTo>
                  <a:lnTo>
                    <a:pt x="42997" y="109449"/>
                  </a:lnTo>
                  <a:lnTo>
                    <a:pt x="26135" y="116033"/>
                  </a:lnTo>
                  <a:lnTo>
                    <a:pt x="4214" y="10698"/>
                  </a:lnTo>
                  <a:lnTo>
                    <a:pt x="34566" y="4114"/>
                  </a:lnTo>
                  <a:lnTo>
                    <a:pt x="63232" y="4114"/>
                  </a:lnTo>
                  <a:lnTo>
                    <a:pt x="91898" y="10698"/>
                  </a:lnTo>
                  <a:lnTo>
                    <a:pt x="142485" y="28802"/>
                  </a:lnTo>
                  <a:lnTo>
                    <a:pt x="174523" y="3374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0" name="Noordoostpolder">
              <a:extLst>
                <a:ext uri="{FF2B5EF4-FFF2-40B4-BE49-F238E27FC236}">
                  <a16:creationId xmlns:a16="http://schemas.microsoft.com/office/drawing/2014/main" id="{E72F80AD-2665-48CB-AF08-29334153BFDB}"/>
                </a:ext>
              </a:extLst>
            </p:cNvPr>
            <p:cNvSpPr/>
            <p:nvPr/>
          </p:nvSpPr>
          <p:spPr>
            <a:xfrm>
              <a:off x="6443806" y="2323490"/>
              <a:ext cx="440637" cy="376368"/>
            </a:xfrm>
            <a:custGeom>
              <a:avLst/>
              <a:gdLst/>
              <a:ahLst/>
              <a:cxnLst/>
              <a:rect l="l" t="t" r="r" b="b"/>
              <a:pathLst>
                <a:path w="643949" h="571500" extrusionOk="0">
                  <a:moveTo>
                    <a:pt x="366753" y="573583"/>
                  </a:moveTo>
                  <a:lnTo>
                    <a:pt x="366753" y="573583"/>
                  </a:lnTo>
                  <a:close/>
                  <a:moveTo>
                    <a:pt x="378556" y="566999"/>
                  </a:moveTo>
                  <a:lnTo>
                    <a:pt x="376870" y="566999"/>
                  </a:lnTo>
                  <a:lnTo>
                    <a:pt x="378556" y="566999"/>
                  </a:lnTo>
                  <a:close/>
                  <a:moveTo>
                    <a:pt x="397105" y="555478"/>
                  </a:moveTo>
                  <a:lnTo>
                    <a:pt x="376870" y="562062"/>
                  </a:lnTo>
                  <a:lnTo>
                    <a:pt x="376870" y="563708"/>
                  </a:lnTo>
                  <a:lnTo>
                    <a:pt x="375184" y="562062"/>
                  </a:lnTo>
                  <a:lnTo>
                    <a:pt x="365066" y="565353"/>
                  </a:lnTo>
                  <a:lnTo>
                    <a:pt x="253776" y="565353"/>
                  </a:lnTo>
                  <a:lnTo>
                    <a:pt x="247030" y="568645"/>
                  </a:lnTo>
                  <a:lnTo>
                    <a:pt x="253776" y="565353"/>
                  </a:lnTo>
                  <a:lnTo>
                    <a:pt x="365066" y="563708"/>
                  </a:lnTo>
                  <a:lnTo>
                    <a:pt x="397105" y="555478"/>
                  </a:lnTo>
                  <a:close/>
                  <a:moveTo>
                    <a:pt x="464553" y="547249"/>
                  </a:moveTo>
                  <a:lnTo>
                    <a:pt x="462867" y="547249"/>
                  </a:lnTo>
                  <a:lnTo>
                    <a:pt x="464553" y="547249"/>
                  </a:lnTo>
                  <a:lnTo>
                    <a:pt x="464553" y="547249"/>
                  </a:lnTo>
                  <a:close/>
                  <a:moveTo>
                    <a:pt x="447691" y="545603"/>
                  </a:moveTo>
                  <a:lnTo>
                    <a:pt x="456122" y="543957"/>
                  </a:lnTo>
                  <a:lnTo>
                    <a:pt x="461181" y="548895"/>
                  </a:lnTo>
                  <a:lnTo>
                    <a:pt x="380242" y="565353"/>
                  </a:lnTo>
                  <a:lnTo>
                    <a:pt x="415653" y="553832"/>
                  </a:lnTo>
                  <a:lnTo>
                    <a:pt x="420712" y="553832"/>
                  </a:lnTo>
                  <a:lnTo>
                    <a:pt x="427457" y="550541"/>
                  </a:lnTo>
                  <a:lnTo>
                    <a:pt x="444319" y="545603"/>
                  </a:lnTo>
                  <a:lnTo>
                    <a:pt x="447691" y="542311"/>
                  </a:lnTo>
                  <a:lnTo>
                    <a:pt x="449378" y="543957"/>
                  </a:lnTo>
                  <a:lnTo>
                    <a:pt x="447691" y="545603"/>
                  </a:lnTo>
                  <a:close/>
                  <a:moveTo>
                    <a:pt x="634862" y="494581"/>
                  </a:moveTo>
                  <a:lnTo>
                    <a:pt x="636549" y="494581"/>
                  </a:lnTo>
                  <a:lnTo>
                    <a:pt x="628117" y="491290"/>
                  </a:lnTo>
                  <a:lnTo>
                    <a:pt x="634862" y="494581"/>
                  </a:lnTo>
                  <a:close/>
                  <a:moveTo>
                    <a:pt x="639921" y="483060"/>
                  </a:moveTo>
                  <a:lnTo>
                    <a:pt x="641607" y="484706"/>
                  </a:lnTo>
                  <a:lnTo>
                    <a:pt x="639921" y="484706"/>
                  </a:lnTo>
                  <a:lnTo>
                    <a:pt x="639921" y="483060"/>
                  </a:lnTo>
                  <a:close/>
                  <a:moveTo>
                    <a:pt x="639921" y="479769"/>
                  </a:moveTo>
                  <a:lnTo>
                    <a:pt x="639921" y="483060"/>
                  </a:lnTo>
                  <a:lnTo>
                    <a:pt x="638235" y="481414"/>
                  </a:lnTo>
                  <a:lnTo>
                    <a:pt x="639921" y="479769"/>
                  </a:lnTo>
                  <a:close/>
                  <a:moveTo>
                    <a:pt x="634862" y="476477"/>
                  </a:moveTo>
                  <a:lnTo>
                    <a:pt x="638235" y="478123"/>
                  </a:lnTo>
                  <a:lnTo>
                    <a:pt x="634862" y="481414"/>
                  </a:lnTo>
                  <a:lnTo>
                    <a:pt x="634862" y="476477"/>
                  </a:lnTo>
                  <a:close/>
                  <a:moveTo>
                    <a:pt x="634862" y="474831"/>
                  </a:moveTo>
                  <a:lnTo>
                    <a:pt x="634862" y="476477"/>
                  </a:lnTo>
                  <a:lnTo>
                    <a:pt x="633176" y="474831"/>
                  </a:lnTo>
                  <a:lnTo>
                    <a:pt x="634862" y="474831"/>
                  </a:lnTo>
                  <a:close/>
                  <a:moveTo>
                    <a:pt x="633176" y="473185"/>
                  </a:moveTo>
                  <a:lnTo>
                    <a:pt x="633176" y="473185"/>
                  </a:lnTo>
                  <a:close/>
                  <a:moveTo>
                    <a:pt x="621372" y="473185"/>
                  </a:moveTo>
                  <a:lnTo>
                    <a:pt x="631490" y="476477"/>
                  </a:lnTo>
                  <a:lnTo>
                    <a:pt x="634862" y="481414"/>
                  </a:lnTo>
                  <a:lnTo>
                    <a:pt x="633176" y="486352"/>
                  </a:lnTo>
                  <a:lnTo>
                    <a:pt x="629804" y="487998"/>
                  </a:lnTo>
                  <a:lnTo>
                    <a:pt x="614627" y="479769"/>
                  </a:lnTo>
                  <a:lnTo>
                    <a:pt x="616314" y="474831"/>
                  </a:lnTo>
                  <a:lnTo>
                    <a:pt x="621372" y="473185"/>
                  </a:lnTo>
                  <a:close/>
                  <a:moveTo>
                    <a:pt x="631490" y="471539"/>
                  </a:moveTo>
                  <a:lnTo>
                    <a:pt x="629804" y="469893"/>
                  </a:lnTo>
                  <a:lnTo>
                    <a:pt x="631490" y="471539"/>
                  </a:lnTo>
                  <a:close/>
                  <a:moveTo>
                    <a:pt x="628117" y="468247"/>
                  </a:moveTo>
                  <a:lnTo>
                    <a:pt x="629804" y="468247"/>
                  </a:lnTo>
                  <a:lnTo>
                    <a:pt x="628117" y="468247"/>
                  </a:lnTo>
                  <a:lnTo>
                    <a:pt x="628117" y="468247"/>
                  </a:lnTo>
                  <a:close/>
                  <a:moveTo>
                    <a:pt x="626431" y="464956"/>
                  </a:moveTo>
                  <a:lnTo>
                    <a:pt x="626431" y="466602"/>
                  </a:lnTo>
                  <a:lnTo>
                    <a:pt x="626431" y="464956"/>
                  </a:lnTo>
                  <a:close/>
                  <a:moveTo>
                    <a:pt x="624745" y="464956"/>
                  </a:moveTo>
                  <a:lnTo>
                    <a:pt x="626431" y="464956"/>
                  </a:lnTo>
                  <a:lnTo>
                    <a:pt x="624745" y="464956"/>
                  </a:lnTo>
                  <a:lnTo>
                    <a:pt x="624745" y="464956"/>
                  </a:lnTo>
                  <a:close/>
                  <a:moveTo>
                    <a:pt x="616314" y="458372"/>
                  </a:moveTo>
                  <a:lnTo>
                    <a:pt x="619686" y="461664"/>
                  </a:lnTo>
                  <a:lnTo>
                    <a:pt x="612941" y="458372"/>
                  </a:lnTo>
                  <a:lnTo>
                    <a:pt x="616314" y="458372"/>
                  </a:lnTo>
                  <a:close/>
                  <a:moveTo>
                    <a:pt x="611255" y="456727"/>
                  </a:moveTo>
                  <a:lnTo>
                    <a:pt x="609569" y="456727"/>
                  </a:lnTo>
                  <a:lnTo>
                    <a:pt x="611255" y="456727"/>
                  </a:lnTo>
                  <a:close/>
                  <a:moveTo>
                    <a:pt x="604510" y="455081"/>
                  </a:moveTo>
                  <a:lnTo>
                    <a:pt x="602824" y="455081"/>
                  </a:lnTo>
                  <a:lnTo>
                    <a:pt x="604510" y="455081"/>
                  </a:lnTo>
                  <a:close/>
                  <a:moveTo>
                    <a:pt x="601138" y="455081"/>
                  </a:moveTo>
                  <a:lnTo>
                    <a:pt x="601138" y="455081"/>
                  </a:lnTo>
                  <a:close/>
                  <a:moveTo>
                    <a:pt x="599451" y="455081"/>
                  </a:moveTo>
                  <a:lnTo>
                    <a:pt x="597765" y="453435"/>
                  </a:lnTo>
                  <a:lnTo>
                    <a:pt x="599451" y="455081"/>
                  </a:lnTo>
                  <a:close/>
                  <a:moveTo>
                    <a:pt x="594393" y="453435"/>
                  </a:moveTo>
                  <a:lnTo>
                    <a:pt x="592706" y="451789"/>
                  </a:lnTo>
                  <a:lnTo>
                    <a:pt x="596079" y="453435"/>
                  </a:lnTo>
                  <a:lnTo>
                    <a:pt x="594393" y="453435"/>
                  </a:lnTo>
                  <a:close/>
                  <a:moveTo>
                    <a:pt x="245344" y="22219"/>
                  </a:moveTo>
                  <a:lnTo>
                    <a:pt x="289186" y="66657"/>
                  </a:lnTo>
                  <a:lnTo>
                    <a:pt x="297617" y="101220"/>
                  </a:lnTo>
                  <a:lnTo>
                    <a:pt x="306049" y="92991"/>
                  </a:lnTo>
                  <a:lnTo>
                    <a:pt x="322911" y="122616"/>
                  </a:lnTo>
                  <a:lnTo>
                    <a:pt x="341459" y="139075"/>
                  </a:lnTo>
                  <a:lnTo>
                    <a:pt x="341459" y="145658"/>
                  </a:lnTo>
                  <a:lnTo>
                    <a:pt x="368439" y="144012"/>
                  </a:lnTo>
                  <a:lnTo>
                    <a:pt x="378556" y="147304"/>
                  </a:lnTo>
                  <a:lnTo>
                    <a:pt x="388674" y="145658"/>
                  </a:lnTo>
                  <a:lnTo>
                    <a:pt x="403849" y="152242"/>
                  </a:lnTo>
                  <a:lnTo>
                    <a:pt x="434201" y="173638"/>
                  </a:lnTo>
                  <a:lnTo>
                    <a:pt x="440946" y="183513"/>
                  </a:lnTo>
                  <a:lnTo>
                    <a:pt x="456122" y="193388"/>
                  </a:lnTo>
                  <a:lnTo>
                    <a:pt x="457808" y="198326"/>
                  </a:lnTo>
                  <a:lnTo>
                    <a:pt x="464553" y="201618"/>
                  </a:lnTo>
                  <a:lnTo>
                    <a:pt x="472985" y="201618"/>
                  </a:lnTo>
                  <a:lnTo>
                    <a:pt x="498278" y="227951"/>
                  </a:lnTo>
                  <a:lnTo>
                    <a:pt x="518513" y="277327"/>
                  </a:lnTo>
                  <a:lnTo>
                    <a:pt x="528630" y="313536"/>
                  </a:lnTo>
                  <a:lnTo>
                    <a:pt x="542120" y="320120"/>
                  </a:lnTo>
                  <a:lnTo>
                    <a:pt x="548865" y="331641"/>
                  </a:lnTo>
                  <a:lnTo>
                    <a:pt x="547178" y="339870"/>
                  </a:lnTo>
                  <a:lnTo>
                    <a:pt x="553924" y="339870"/>
                  </a:lnTo>
                  <a:lnTo>
                    <a:pt x="562354" y="353037"/>
                  </a:lnTo>
                  <a:lnTo>
                    <a:pt x="564041" y="364558"/>
                  </a:lnTo>
                  <a:lnTo>
                    <a:pt x="558982" y="372788"/>
                  </a:lnTo>
                  <a:lnTo>
                    <a:pt x="553924" y="372788"/>
                  </a:lnTo>
                  <a:lnTo>
                    <a:pt x="545492" y="384308"/>
                  </a:lnTo>
                  <a:lnTo>
                    <a:pt x="540433" y="384308"/>
                  </a:lnTo>
                  <a:lnTo>
                    <a:pt x="532003" y="390892"/>
                  </a:lnTo>
                  <a:lnTo>
                    <a:pt x="516826" y="408996"/>
                  </a:lnTo>
                  <a:lnTo>
                    <a:pt x="515140" y="418872"/>
                  </a:lnTo>
                  <a:lnTo>
                    <a:pt x="518513" y="423809"/>
                  </a:lnTo>
                  <a:lnTo>
                    <a:pt x="525258" y="425455"/>
                  </a:lnTo>
                  <a:lnTo>
                    <a:pt x="525258" y="420518"/>
                  </a:lnTo>
                  <a:lnTo>
                    <a:pt x="528630" y="420518"/>
                  </a:lnTo>
                  <a:lnTo>
                    <a:pt x="547178" y="427101"/>
                  </a:lnTo>
                  <a:lnTo>
                    <a:pt x="565727" y="430393"/>
                  </a:lnTo>
                  <a:lnTo>
                    <a:pt x="592706" y="451789"/>
                  </a:lnTo>
                  <a:lnTo>
                    <a:pt x="587648" y="450143"/>
                  </a:lnTo>
                  <a:lnTo>
                    <a:pt x="592706" y="456727"/>
                  </a:lnTo>
                  <a:lnTo>
                    <a:pt x="562354" y="496227"/>
                  </a:lnTo>
                  <a:lnTo>
                    <a:pt x="365066" y="562062"/>
                  </a:lnTo>
                  <a:lnTo>
                    <a:pt x="241972" y="562062"/>
                  </a:lnTo>
                  <a:lnTo>
                    <a:pt x="235227" y="563708"/>
                  </a:lnTo>
                  <a:lnTo>
                    <a:pt x="233541" y="565353"/>
                  </a:lnTo>
                  <a:lnTo>
                    <a:pt x="240286" y="565353"/>
                  </a:lnTo>
                  <a:lnTo>
                    <a:pt x="243658" y="571937"/>
                  </a:lnTo>
                  <a:lnTo>
                    <a:pt x="248716" y="571937"/>
                  </a:lnTo>
                  <a:lnTo>
                    <a:pt x="245344" y="573583"/>
                  </a:lnTo>
                  <a:lnTo>
                    <a:pt x="241972" y="571937"/>
                  </a:lnTo>
                  <a:lnTo>
                    <a:pt x="240286" y="566999"/>
                  </a:lnTo>
                  <a:lnTo>
                    <a:pt x="231855" y="566999"/>
                  </a:lnTo>
                  <a:lnTo>
                    <a:pt x="231855" y="563708"/>
                  </a:lnTo>
                  <a:lnTo>
                    <a:pt x="228482" y="563708"/>
                  </a:lnTo>
                  <a:lnTo>
                    <a:pt x="228482" y="565353"/>
                  </a:lnTo>
                  <a:lnTo>
                    <a:pt x="225110" y="562062"/>
                  </a:lnTo>
                  <a:lnTo>
                    <a:pt x="110446" y="562062"/>
                  </a:lnTo>
                  <a:lnTo>
                    <a:pt x="90212" y="555478"/>
                  </a:lnTo>
                  <a:lnTo>
                    <a:pt x="93584" y="553832"/>
                  </a:lnTo>
                  <a:lnTo>
                    <a:pt x="37939" y="471539"/>
                  </a:lnTo>
                  <a:lnTo>
                    <a:pt x="39625" y="469893"/>
                  </a:lnTo>
                  <a:lnTo>
                    <a:pt x="48056" y="473185"/>
                  </a:lnTo>
                  <a:lnTo>
                    <a:pt x="88525" y="473185"/>
                  </a:lnTo>
                  <a:lnTo>
                    <a:pt x="90212" y="461664"/>
                  </a:lnTo>
                  <a:lnTo>
                    <a:pt x="78408" y="446851"/>
                  </a:lnTo>
                  <a:lnTo>
                    <a:pt x="98643" y="433685"/>
                  </a:lnTo>
                  <a:lnTo>
                    <a:pt x="76722" y="405705"/>
                  </a:lnTo>
                  <a:lnTo>
                    <a:pt x="80094" y="394184"/>
                  </a:lnTo>
                  <a:lnTo>
                    <a:pt x="53115" y="394184"/>
                  </a:lnTo>
                  <a:lnTo>
                    <a:pt x="29507" y="399121"/>
                  </a:lnTo>
                  <a:lnTo>
                    <a:pt x="26135" y="395830"/>
                  </a:lnTo>
                  <a:lnTo>
                    <a:pt x="9273" y="408996"/>
                  </a:lnTo>
                  <a:lnTo>
                    <a:pt x="4214" y="408996"/>
                  </a:lnTo>
                  <a:lnTo>
                    <a:pt x="7587" y="195034"/>
                  </a:lnTo>
                  <a:lnTo>
                    <a:pt x="108760" y="37031"/>
                  </a:lnTo>
                  <a:lnTo>
                    <a:pt x="117191" y="33740"/>
                  </a:lnTo>
                  <a:lnTo>
                    <a:pt x="167778" y="27156"/>
                  </a:lnTo>
                  <a:lnTo>
                    <a:pt x="167778" y="23864"/>
                  </a:lnTo>
                  <a:lnTo>
                    <a:pt x="169464" y="27156"/>
                  </a:lnTo>
                  <a:lnTo>
                    <a:pt x="177895" y="27156"/>
                  </a:lnTo>
                  <a:lnTo>
                    <a:pt x="182954" y="17281"/>
                  </a:lnTo>
                  <a:lnTo>
                    <a:pt x="198130" y="23864"/>
                  </a:lnTo>
                  <a:lnTo>
                    <a:pt x="206561" y="28802"/>
                  </a:lnTo>
                  <a:lnTo>
                    <a:pt x="199816" y="4114"/>
                  </a:lnTo>
                  <a:lnTo>
                    <a:pt x="236913" y="13989"/>
                  </a:lnTo>
                  <a:lnTo>
                    <a:pt x="245344" y="222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1" name="Landerd">
              <a:extLst>
                <a:ext uri="{FF2B5EF4-FFF2-40B4-BE49-F238E27FC236}">
                  <a16:creationId xmlns:a16="http://schemas.microsoft.com/office/drawing/2014/main" id="{0E306D91-93E4-4351-BD9A-45F8DCC30605}"/>
                </a:ext>
              </a:extLst>
            </p:cNvPr>
            <p:cNvSpPr/>
            <p:nvPr/>
          </p:nvSpPr>
          <p:spPr>
            <a:xfrm>
              <a:off x="6429236" y="4048363"/>
              <a:ext cx="172076" cy="193898"/>
            </a:xfrm>
            <a:custGeom>
              <a:avLst/>
              <a:gdLst/>
              <a:ahLst/>
              <a:cxnLst/>
              <a:rect l="l" t="t" r="r" b="b"/>
              <a:pathLst>
                <a:path w="257579" h="285750" extrusionOk="0">
                  <a:moveTo>
                    <a:pt x="161033" y="18927"/>
                  </a:moveTo>
                  <a:lnTo>
                    <a:pt x="171150" y="25510"/>
                  </a:lnTo>
                  <a:lnTo>
                    <a:pt x="179582" y="25510"/>
                  </a:lnTo>
                  <a:lnTo>
                    <a:pt x="184640" y="35386"/>
                  </a:lnTo>
                  <a:lnTo>
                    <a:pt x="196443" y="35386"/>
                  </a:lnTo>
                  <a:lnTo>
                    <a:pt x="193071" y="46906"/>
                  </a:lnTo>
                  <a:lnTo>
                    <a:pt x="198130" y="46906"/>
                  </a:lnTo>
                  <a:lnTo>
                    <a:pt x="194757" y="66657"/>
                  </a:lnTo>
                  <a:lnTo>
                    <a:pt x="191385" y="76532"/>
                  </a:lnTo>
                  <a:lnTo>
                    <a:pt x="204875" y="79824"/>
                  </a:lnTo>
                  <a:lnTo>
                    <a:pt x="203189" y="91345"/>
                  </a:lnTo>
                  <a:lnTo>
                    <a:pt x="221737" y="89699"/>
                  </a:lnTo>
                  <a:lnTo>
                    <a:pt x="221737" y="94637"/>
                  </a:lnTo>
                  <a:lnTo>
                    <a:pt x="208247" y="99574"/>
                  </a:lnTo>
                  <a:lnTo>
                    <a:pt x="213306" y="104512"/>
                  </a:lnTo>
                  <a:lnTo>
                    <a:pt x="208247" y="106158"/>
                  </a:lnTo>
                  <a:lnTo>
                    <a:pt x="201502" y="116033"/>
                  </a:lnTo>
                  <a:lnTo>
                    <a:pt x="193071" y="140721"/>
                  </a:lnTo>
                  <a:lnTo>
                    <a:pt x="247030" y="223014"/>
                  </a:lnTo>
                  <a:lnTo>
                    <a:pt x="260520" y="288849"/>
                  </a:lnTo>
                  <a:lnTo>
                    <a:pt x="247030" y="283911"/>
                  </a:lnTo>
                  <a:lnTo>
                    <a:pt x="245344" y="270744"/>
                  </a:lnTo>
                  <a:lnTo>
                    <a:pt x="240286" y="270744"/>
                  </a:lnTo>
                  <a:lnTo>
                    <a:pt x="240286" y="267452"/>
                  </a:lnTo>
                  <a:lnTo>
                    <a:pt x="250403" y="262515"/>
                  </a:lnTo>
                  <a:lnTo>
                    <a:pt x="241972" y="231243"/>
                  </a:lnTo>
                  <a:lnTo>
                    <a:pt x="161033" y="254286"/>
                  </a:lnTo>
                  <a:lnTo>
                    <a:pt x="152602" y="250994"/>
                  </a:lnTo>
                  <a:lnTo>
                    <a:pt x="75036" y="171992"/>
                  </a:lnTo>
                  <a:lnTo>
                    <a:pt x="76722" y="160471"/>
                  </a:lnTo>
                  <a:lnTo>
                    <a:pt x="36252" y="165409"/>
                  </a:lnTo>
                  <a:lnTo>
                    <a:pt x="32880" y="150596"/>
                  </a:lnTo>
                  <a:lnTo>
                    <a:pt x="39625" y="152242"/>
                  </a:lnTo>
                  <a:lnTo>
                    <a:pt x="37939" y="150596"/>
                  </a:lnTo>
                  <a:lnTo>
                    <a:pt x="39625" y="148950"/>
                  </a:lnTo>
                  <a:lnTo>
                    <a:pt x="22763" y="109449"/>
                  </a:lnTo>
                  <a:lnTo>
                    <a:pt x="10959" y="92991"/>
                  </a:lnTo>
                  <a:lnTo>
                    <a:pt x="12645" y="89699"/>
                  </a:lnTo>
                  <a:lnTo>
                    <a:pt x="9273" y="89699"/>
                  </a:lnTo>
                  <a:lnTo>
                    <a:pt x="5900" y="83116"/>
                  </a:lnTo>
                  <a:lnTo>
                    <a:pt x="4214" y="61720"/>
                  </a:lnTo>
                  <a:lnTo>
                    <a:pt x="34566" y="55136"/>
                  </a:lnTo>
                  <a:lnTo>
                    <a:pt x="36252" y="46906"/>
                  </a:lnTo>
                  <a:lnTo>
                    <a:pt x="63232" y="33740"/>
                  </a:lnTo>
                  <a:lnTo>
                    <a:pt x="64918" y="37031"/>
                  </a:lnTo>
                  <a:lnTo>
                    <a:pt x="93584" y="28802"/>
                  </a:lnTo>
                  <a:lnTo>
                    <a:pt x="95270" y="28802"/>
                  </a:lnTo>
                  <a:lnTo>
                    <a:pt x="91898" y="22219"/>
                  </a:lnTo>
                  <a:lnTo>
                    <a:pt x="108760" y="17281"/>
                  </a:lnTo>
                  <a:lnTo>
                    <a:pt x="113819" y="13989"/>
                  </a:lnTo>
                  <a:lnTo>
                    <a:pt x="132367" y="35386"/>
                  </a:lnTo>
                  <a:lnTo>
                    <a:pt x="142484" y="43615"/>
                  </a:lnTo>
                  <a:lnTo>
                    <a:pt x="147543" y="17281"/>
                  </a:lnTo>
                  <a:lnTo>
                    <a:pt x="152602" y="5760"/>
                  </a:lnTo>
                  <a:lnTo>
                    <a:pt x="154288" y="4114"/>
                  </a:lnTo>
                  <a:lnTo>
                    <a:pt x="161033"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2" name="Emmen">
              <a:extLst>
                <a:ext uri="{FF2B5EF4-FFF2-40B4-BE49-F238E27FC236}">
                  <a16:creationId xmlns:a16="http://schemas.microsoft.com/office/drawing/2014/main" id="{6E83A73F-24BB-4128-A236-945DFF9D78B5}"/>
                </a:ext>
              </a:extLst>
            </p:cNvPr>
            <p:cNvSpPr/>
            <p:nvPr/>
          </p:nvSpPr>
          <p:spPr>
            <a:xfrm>
              <a:off x="7721344" y="2261160"/>
              <a:ext cx="297224" cy="385834"/>
            </a:xfrm>
            <a:custGeom>
              <a:avLst/>
              <a:gdLst/>
              <a:ahLst/>
              <a:cxnLst/>
              <a:rect l="l" t="t" r="r" b="b"/>
              <a:pathLst>
                <a:path w="398077" h="582930" extrusionOk="0">
                  <a:moveTo>
                    <a:pt x="319538" y="13989"/>
                  </a:moveTo>
                  <a:lnTo>
                    <a:pt x="322911" y="22218"/>
                  </a:lnTo>
                  <a:lnTo>
                    <a:pt x="327969" y="20573"/>
                  </a:lnTo>
                  <a:lnTo>
                    <a:pt x="353262" y="55136"/>
                  </a:lnTo>
                  <a:lnTo>
                    <a:pt x="356635" y="55136"/>
                  </a:lnTo>
                  <a:lnTo>
                    <a:pt x="361694" y="63365"/>
                  </a:lnTo>
                  <a:lnTo>
                    <a:pt x="373497" y="58427"/>
                  </a:lnTo>
                  <a:lnTo>
                    <a:pt x="366753" y="69949"/>
                  </a:lnTo>
                  <a:lnTo>
                    <a:pt x="366753" y="86407"/>
                  </a:lnTo>
                  <a:lnTo>
                    <a:pt x="398791" y="86407"/>
                  </a:lnTo>
                  <a:lnTo>
                    <a:pt x="368438" y="153888"/>
                  </a:lnTo>
                  <a:lnTo>
                    <a:pt x="353262" y="558770"/>
                  </a:lnTo>
                  <a:lnTo>
                    <a:pt x="333028" y="583458"/>
                  </a:lnTo>
                  <a:lnTo>
                    <a:pt x="329655" y="585104"/>
                  </a:lnTo>
                  <a:lnTo>
                    <a:pt x="324597" y="580166"/>
                  </a:lnTo>
                  <a:lnTo>
                    <a:pt x="314480" y="580166"/>
                  </a:lnTo>
                  <a:lnTo>
                    <a:pt x="289186" y="575228"/>
                  </a:lnTo>
                  <a:lnTo>
                    <a:pt x="280755" y="571937"/>
                  </a:lnTo>
                  <a:lnTo>
                    <a:pt x="272324" y="563708"/>
                  </a:lnTo>
                  <a:lnTo>
                    <a:pt x="258834" y="565353"/>
                  </a:lnTo>
                  <a:lnTo>
                    <a:pt x="233541" y="553832"/>
                  </a:lnTo>
                  <a:lnTo>
                    <a:pt x="221737" y="565353"/>
                  </a:lnTo>
                  <a:lnTo>
                    <a:pt x="208247" y="565353"/>
                  </a:lnTo>
                  <a:lnTo>
                    <a:pt x="199816" y="571937"/>
                  </a:lnTo>
                  <a:lnTo>
                    <a:pt x="188012" y="571937"/>
                  </a:lnTo>
                  <a:lnTo>
                    <a:pt x="177895" y="575228"/>
                  </a:lnTo>
                  <a:lnTo>
                    <a:pt x="162719" y="570291"/>
                  </a:lnTo>
                  <a:lnTo>
                    <a:pt x="147543" y="570291"/>
                  </a:lnTo>
                  <a:lnTo>
                    <a:pt x="142484" y="566999"/>
                  </a:lnTo>
                  <a:lnTo>
                    <a:pt x="140798" y="555478"/>
                  </a:lnTo>
                  <a:lnTo>
                    <a:pt x="123936" y="550541"/>
                  </a:lnTo>
                  <a:lnTo>
                    <a:pt x="115505" y="543957"/>
                  </a:lnTo>
                  <a:lnTo>
                    <a:pt x="88525" y="547249"/>
                  </a:lnTo>
                  <a:lnTo>
                    <a:pt x="78408" y="540665"/>
                  </a:lnTo>
                  <a:lnTo>
                    <a:pt x="61546" y="548895"/>
                  </a:lnTo>
                  <a:lnTo>
                    <a:pt x="41311" y="430393"/>
                  </a:lnTo>
                  <a:lnTo>
                    <a:pt x="27821" y="428747"/>
                  </a:lnTo>
                  <a:lnTo>
                    <a:pt x="9273" y="366204"/>
                  </a:lnTo>
                  <a:lnTo>
                    <a:pt x="7586" y="366204"/>
                  </a:lnTo>
                  <a:lnTo>
                    <a:pt x="4214" y="354683"/>
                  </a:lnTo>
                  <a:lnTo>
                    <a:pt x="21076" y="344808"/>
                  </a:lnTo>
                  <a:lnTo>
                    <a:pt x="10959" y="326703"/>
                  </a:lnTo>
                  <a:lnTo>
                    <a:pt x="14331" y="313536"/>
                  </a:lnTo>
                  <a:lnTo>
                    <a:pt x="21076" y="305307"/>
                  </a:lnTo>
                  <a:lnTo>
                    <a:pt x="21076" y="293786"/>
                  </a:lnTo>
                  <a:lnTo>
                    <a:pt x="16018" y="293786"/>
                  </a:lnTo>
                  <a:lnTo>
                    <a:pt x="22763" y="280619"/>
                  </a:lnTo>
                  <a:lnTo>
                    <a:pt x="14331" y="274035"/>
                  </a:lnTo>
                  <a:lnTo>
                    <a:pt x="9273" y="267452"/>
                  </a:lnTo>
                  <a:lnTo>
                    <a:pt x="14331" y="255931"/>
                  </a:lnTo>
                  <a:lnTo>
                    <a:pt x="9273" y="241118"/>
                  </a:lnTo>
                  <a:lnTo>
                    <a:pt x="34566" y="176930"/>
                  </a:lnTo>
                  <a:lnTo>
                    <a:pt x="44684" y="158825"/>
                  </a:lnTo>
                  <a:lnTo>
                    <a:pt x="58173" y="147304"/>
                  </a:lnTo>
                  <a:lnTo>
                    <a:pt x="63232" y="139075"/>
                  </a:lnTo>
                  <a:lnTo>
                    <a:pt x="85153" y="127554"/>
                  </a:lnTo>
                  <a:lnTo>
                    <a:pt x="122249" y="101220"/>
                  </a:lnTo>
                  <a:lnTo>
                    <a:pt x="182954" y="65011"/>
                  </a:lnTo>
                  <a:lnTo>
                    <a:pt x="184640" y="60073"/>
                  </a:lnTo>
                  <a:lnTo>
                    <a:pt x="186326" y="60073"/>
                  </a:lnTo>
                  <a:lnTo>
                    <a:pt x="184640" y="56782"/>
                  </a:lnTo>
                  <a:lnTo>
                    <a:pt x="186326" y="50198"/>
                  </a:lnTo>
                  <a:lnTo>
                    <a:pt x="194757" y="33739"/>
                  </a:lnTo>
                  <a:lnTo>
                    <a:pt x="199816" y="27156"/>
                  </a:lnTo>
                  <a:lnTo>
                    <a:pt x="204875" y="25510"/>
                  </a:lnTo>
                  <a:lnTo>
                    <a:pt x="208247" y="28802"/>
                  </a:lnTo>
                  <a:lnTo>
                    <a:pt x="268951" y="5760"/>
                  </a:lnTo>
                  <a:lnTo>
                    <a:pt x="317852" y="4114"/>
                  </a:lnTo>
                  <a:lnTo>
                    <a:pt x="319538"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3" name="Elburg">
              <a:extLst>
                <a:ext uri="{FF2B5EF4-FFF2-40B4-BE49-F238E27FC236}">
                  <a16:creationId xmlns:a16="http://schemas.microsoft.com/office/drawing/2014/main" id="{732614EF-4328-4DB9-AB72-EB7F80B2B8A0}"/>
                </a:ext>
              </a:extLst>
            </p:cNvPr>
            <p:cNvSpPr/>
            <p:nvPr/>
          </p:nvSpPr>
          <p:spPr>
            <a:xfrm>
              <a:off x="6610407" y="2918415"/>
              <a:ext cx="186333" cy="184432"/>
            </a:xfrm>
            <a:custGeom>
              <a:avLst/>
              <a:gdLst/>
              <a:ahLst/>
              <a:cxnLst/>
              <a:rect l="l" t="t" r="r" b="b"/>
              <a:pathLst>
                <a:path w="257579" h="274320" extrusionOk="0">
                  <a:moveTo>
                    <a:pt x="105388" y="48552"/>
                  </a:moveTo>
                  <a:lnTo>
                    <a:pt x="105388" y="50198"/>
                  </a:lnTo>
                  <a:lnTo>
                    <a:pt x="103701" y="48552"/>
                  </a:lnTo>
                  <a:lnTo>
                    <a:pt x="105388" y="48552"/>
                  </a:lnTo>
                  <a:close/>
                  <a:moveTo>
                    <a:pt x="132367" y="4114"/>
                  </a:moveTo>
                  <a:lnTo>
                    <a:pt x="161033" y="25510"/>
                  </a:lnTo>
                  <a:lnTo>
                    <a:pt x="166092" y="23864"/>
                  </a:lnTo>
                  <a:lnTo>
                    <a:pt x="164405" y="27156"/>
                  </a:lnTo>
                  <a:lnTo>
                    <a:pt x="176209" y="35385"/>
                  </a:lnTo>
                  <a:lnTo>
                    <a:pt x="177895" y="40323"/>
                  </a:lnTo>
                  <a:lnTo>
                    <a:pt x="181268" y="40323"/>
                  </a:lnTo>
                  <a:lnTo>
                    <a:pt x="181268" y="43615"/>
                  </a:lnTo>
                  <a:lnTo>
                    <a:pt x="186326" y="45261"/>
                  </a:lnTo>
                  <a:lnTo>
                    <a:pt x="176209" y="58427"/>
                  </a:lnTo>
                  <a:lnTo>
                    <a:pt x="181268" y="60074"/>
                  </a:lnTo>
                  <a:lnTo>
                    <a:pt x="172836" y="66657"/>
                  </a:lnTo>
                  <a:lnTo>
                    <a:pt x="220051" y="125908"/>
                  </a:lnTo>
                  <a:lnTo>
                    <a:pt x="245344" y="142367"/>
                  </a:lnTo>
                  <a:lnTo>
                    <a:pt x="230168" y="153888"/>
                  </a:lnTo>
                  <a:lnTo>
                    <a:pt x="257148" y="195034"/>
                  </a:lnTo>
                  <a:lnTo>
                    <a:pt x="238599" y="206555"/>
                  </a:lnTo>
                  <a:lnTo>
                    <a:pt x="184640" y="275682"/>
                  </a:lnTo>
                  <a:lnTo>
                    <a:pt x="177895" y="267452"/>
                  </a:lnTo>
                  <a:lnTo>
                    <a:pt x="167778" y="272390"/>
                  </a:lnTo>
                  <a:lnTo>
                    <a:pt x="102015" y="196680"/>
                  </a:lnTo>
                  <a:lnTo>
                    <a:pt x="100329" y="181867"/>
                  </a:lnTo>
                  <a:lnTo>
                    <a:pt x="96956" y="181867"/>
                  </a:lnTo>
                  <a:lnTo>
                    <a:pt x="95270" y="170346"/>
                  </a:lnTo>
                  <a:lnTo>
                    <a:pt x="88525" y="173638"/>
                  </a:lnTo>
                  <a:lnTo>
                    <a:pt x="86839" y="168700"/>
                  </a:lnTo>
                  <a:lnTo>
                    <a:pt x="56487" y="181867"/>
                  </a:lnTo>
                  <a:lnTo>
                    <a:pt x="51428" y="175284"/>
                  </a:lnTo>
                  <a:lnTo>
                    <a:pt x="42997" y="176930"/>
                  </a:lnTo>
                  <a:lnTo>
                    <a:pt x="26135" y="186805"/>
                  </a:lnTo>
                  <a:lnTo>
                    <a:pt x="22763" y="178575"/>
                  </a:lnTo>
                  <a:lnTo>
                    <a:pt x="16018" y="178575"/>
                  </a:lnTo>
                  <a:lnTo>
                    <a:pt x="4214" y="158825"/>
                  </a:lnTo>
                  <a:lnTo>
                    <a:pt x="27821" y="142367"/>
                  </a:lnTo>
                  <a:lnTo>
                    <a:pt x="41311" y="127554"/>
                  </a:lnTo>
                  <a:lnTo>
                    <a:pt x="44683" y="129200"/>
                  </a:lnTo>
                  <a:lnTo>
                    <a:pt x="42997" y="127554"/>
                  </a:lnTo>
                  <a:lnTo>
                    <a:pt x="53115" y="120970"/>
                  </a:lnTo>
                  <a:lnTo>
                    <a:pt x="64918" y="107803"/>
                  </a:lnTo>
                  <a:lnTo>
                    <a:pt x="76722" y="99574"/>
                  </a:lnTo>
                  <a:lnTo>
                    <a:pt x="95270" y="76532"/>
                  </a:lnTo>
                  <a:lnTo>
                    <a:pt x="102015" y="63365"/>
                  </a:lnTo>
                  <a:lnTo>
                    <a:pt x="98643" y="60074"/>
                  </a:lnTo>
                  <a:lnTo>
                    <a:pt x="100329" y="58427"/>
                  </a:lnTo>
                  <a:lnTo>
                    <a:pt x="103701" y="60074"/>
                  </a:lnTo>
                  <a:lnTo>
                    <a:pt x="105388" y="55136"/>
                  </a:lnTo>
                  <a:lnTo>
                    <a:pt x="102015" y="56782"/>
                  </a:lnTo>
                  <a:lnTo>
                    <a:pt x="103701" y="51844"/>
                  </a:lnTo>
                  <a:lnTo>
                    <a:pt x="105388" y="51844"/>
                  </a:lnTo>
                  <a:lnTo>
                    <a:pt x="105388" y="53490"/>
                  </a:lnTo>
                  <a:lnTo>
                    <a:pt x="107074" y="51844"/>
                  </a:lnTo>
                  <a:lnTo>
                    <a:pt x="100329" y="43615"/>
                  </a:lnTo>
                  <a:lnTo>
                    <a:pt x="95270" y="40323"/>
                  </a:lnTo>
                  <a:lnTo>
                    <a:pt x="96956" y="35385"/>
                  </a:lnTo>
                  <a:lnTo>
                    <a:pt x="98643" y="35385"/>
                  </a:lnTo>
                  <a:lnTo>
                    <a:pt x="115505" y="53490"/>
                  </a:lnTo>
                  <a:lnTo>
                    <a:pt x="115505" y="50198"/>
                  </a:lnTo>
                  <a:lnTo>
                    <a:pt x="98643" y="33740"/>
                  </a:lnTo>
                  <a:lnTo>
                    <a:pt x="98643" y="30448"/>
                  </a:lnTo>
                  <a:lnTo>
                    <a:pt x="110446" y="7406"/>
                  </a:lnTo>
                  <a:lnTo>
                    <a:pt x="112132" y="9052"/>
                  </a:lnTo>
                  <a:lnTo>
                    <a:pt x="107074" y="17281"/>
                  </a:lnTo>
                  <a:lnTo>
                    <a:pt x="108760" y="20573"/>
                  </a:lnTo>
                  <a:lnTo>
                    <a:pt x="107074" y="17281"/>
                  </a:lnTo>
                  <a:lnTo>
                    <a:pt x="103701" y="23864"/>
                  </a:lnTo>
                  <a:lnTo>
                    <a:pt x="103701" y="32094"/>
                  </a:lnTo>
                  <a:lnTo>
                    <a:pt x="108760" y="32094"/>
                  </a:lnTo>
                  <a:lnTo>
                    <a:pt x="110446" y="35385"/>
                  </a:lnTo>
                  <a:lnTo>
                    <a:pt x="115505" y="32094"/>
                  </a:lnTo>
                  <a:lnTo>
                    <a:pt x="123936" y="13989"/>
                  </a:lnTo>
                  <a:lnTo>
                    <a:pt x="128995" y="13989"/>
                  </a:lnTo>
                  <a:lnTo>
                    <a:pt x="13236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4" name="Etten-Leur">
              <a:extLst>
                <a:ext uri="{FF2B5EF4-FFF2-40B4-BE49-F238E27FC236}">
                  <a16:creationId xmlns:a16="http://schemas.microsoft.com/office/drawing/2014/main" id="{1890126F-9A5D-44A8-9DF8-B381253977E3}"/>
                </a:ext>
              </a:extLst>
            </p:cNvPr>
            <p:cNvSpPr/>
            <p:nvPr/>
          </p:nvSpPr>
          <p:spPr>
            <a:xfrm>
              <a:off x="5383260" y="4257649"/>
              <a:ext cx="111927" cy="193899"/>
            </a:xfrm>
            <a:custGeom>
              <a:avLst/>
              <a:gdLst/>
              <a:ahLst/>
              <a:cxnLst/>
              <a:rect l="l" t="t" r="r" b="b"/>
              <a:pathLst>
                <a:path w="163914" h="285750" extrusionOk="0">
                  <a:moveTo>
                    <a:pt x="117191" y="28802"/>
                  </a:moveTo>
                  <a:lnTo>
                    <a:pt x="112133" y="37031"/>
                  </a:lnTo>
                  <a:lnTo>
                    <a:pt x="110446" y="38677"/>
                  </a:lnTo>
                  <a:lnTo>
                    <a:pt x="110446" y="43615"/>
                  </a:lnTo>
                  <a:lnTo>
                    <a:pt x="112133" y="56782"/>
                  </a:lnTo>
                  <a:lnTo>
                    <a:pt x="113819" y="58427"/>
                  </a:lnTo>
                  <a:lnTo>
                    <a:pt x="113819" y="65011"/>
                  </a:lnTo>
                  <a:lnTo>
                    <a:pt x="118878" y="66657"/>
                  </a:lnTo>
                  <a:lnTo>
                    <a:pt x="118878" y="78178"/>
                  </a:lnTo>
                  <a:lnTo>
                    <a:pt x="135740" y="79824"/>
                  </a:lnTo>
                  <a:lnTo>
                    <a:pt x="135740" y="88053"/>
                  </a:lnTo>
                  <a:lnTo>
                    <a:pt x="145857" y="91345"/>
                  </a:lnTo>
                  <a:lnTo>
                    <a:pt x="162719" y="165409"/>
                  </a:lnTo>
                  <a:lnTo>
                    <a:pt x="164406" y="221368"/>
                  </a:lnTo>
                  <a:lnTo>
                    <a:pt x="142485" y="231243"/>
                  </a:lnTo>
                  <a:lnTo>
                    <a:pt x="108760" y="267452"/>
                  </a:lnTo>
                  <a:lnTo>
                    <a:pt x="102015" y="270744"/>
                  </a:lnTo>
                  <a:lnTo>
                    <a:pt x="98643" y="277328"/>
                  </a:lnTo>
                  <a:lnTo>
                    <a:pt x="85153" y="285557"/>
                  </a:lnTo>
                  <a:lnTo>
                    <a:pt x="76722" y="287203"/>
                  </a:lnTo>
                  <a:lnTo>
                    <a:pt x="80094" y="224660"/>
                  </a:lnTo>
                  <a:lnTo>
                    <a:pt x="73349" y="226306"/>
                  </a:lnTo>
                  <a:lnTo>
                    <a:pt x="66605" y="223014"/>
                  </a:lnTo>
                  <a:lnTo>
                    <a:pt x="64918" y="214785"/>
                  </a:lnTo>
                  <a:lnTo>
                    <a:pt x="63232" y="216431"/>
                  </a:lnTo>
                  <a:lnTo>
                    <a:pt x="59860" y="213139"/>
                  </a:lnTo>
                  <a:lnTo>
                    <a:pt x="58173" y="214785"/>
                  </a:lnTo>
                  <a:lnTo>
                    <a:pt x="56487" y="203264"/>
                  </a:lnTo>
                  <a:lnTo>
                    <a:pt x="32880" y="198326"/>
                  </a:lnTo>
                  <a:lnTo>
                    <a:pt x="21077" y="186805"/>
                  </a:lnTo>
                  <a:lnTo>
                    <a:pt x="5901" y="183513"/>
                  </a:lnTo>
                  <a:lnTo>
                    <a:pt x="5901" y="180221"/>
                  </a:lnTo>
                  <a:lnTo>
                    <a:pt x="4214" y="168700"/>
                  </a:lnTo>
                  <a:lnTo>
                    <a:pt x="10959" y="167055"/>
                  </a:lnTo>
                  <a:lnTo>
                    <a:pt x="10959" y="165409"/>
                  </a:lnTo>
                  <a:lnTo>
                    <a:pt x="17704" y="124262"/>
                  </a:lnTo>
                  <a:lnTo>
                    <a:pt x="14332" y="111095"/>
                  </a:lnTo>
                  <a:lnTo>
                    <a:pt x="36253" y="79824"/>
                  </a:lnTo>
                  <a:lnTo>
                    <a:pt x="41311" y="68303"/>
                  </a:lnTo>
                  <a:lnTo>
                    <a:pt x="36253" y="65011"/>
                  </a:lnTo>
                  <a:lnTo>
                    <a:pt x="36253" y="58427"/>
                  </a:lnTo>
                  <a:lnTo>
                    <a:pt x="34566" y="51844"/>
                  </a:lnTo>
                  <a:lnTo>
                    <a:pt x="26135" y="45261"/>
                  </a:lnTo>
                  <a:lnTo>
                    <a:pt x="26135" y="35385"/>
                  </a:lnTo>
                  <a:lnTo>
                    <a:pt x="22763" y="27156"/>
                  </a:lnTo>
                  <a:lnTo>
                    <a:pt x="29508" y="20573"/>
                  </a:lnTo>
                  <a:lnTo>
                    <a:pt x="39625" y="18927"/>
                  </a:lnTo>
                  <a:lnTo>
                    <a:pt x="56487" y="28802"/>
                  </a:lnTo>
                  <a:lnTo>
                    <a:pt x="64918" y="30448"/>
                  </a:lnTo>
                  <a:lnTo>
                    <a:pt x="73349" y="25510"/>
                  </a:lnTo>
                  <a:lnTo>
                    <a:pt x="78408" y="17281"/>
                  </a:lnTo>
                  <a:lnTo>
                    <a:pt x="85153" y="10698"/>
                  </a:lnTo>
                  <a:lnTo>
                    <a:pt x="113819" y="4114"/>
                  </a:lnTo>
                  <a:lnTo>
                    <a:pt x="120564" y="5760"/>
                  </a:lnTo>
                  <a:lnTo>
                    <a:pt x="120564" y="13989"/>
                  </a:lnTo>
                  <a:lnTo>
                    <a:pt x="117191" y="13989"/>
                  </a:lnTo>
                  <a:lnTo>
                    <a:pt x="120564" y="18927"/>
                  </a:lnTo>
                  <a:lnTo>
                    <a:pt x="117191" y="288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5" name="Noord-Beveland">
              <a:extLst>
                <a:ext uri="{FF2B5EF4-FFF2-40B4-BE49-F238E27FC236}">
                  <a16:creationId xmlns:a16="http://schemas.microsoft.com/office/drawing/2014/main" id="{7B8B1C08-2D88-428D-BAF5-9B86E7E639A8}"/>
                </a:ext>
              </a:extLst>
            </p:cNvPr>
            <p:cNvSpPr/>
            <p:nvPr/>
          </p:nvSpPr>
          <p:spPr>
            <a:xfrm>
              <a:off x="4369398" y="4291399"/>
              <a:ext cx="273729" cy="137224"/>
            </a:xfrm>
            <a:custGeom>
              <a:avLst/>
              <a:gdLst/>
              <a:ahLst/>
              <a:cxnLst/>
              <a:rect l="l" t="t" r="r" b="b"/>
              <a:pathLst>
                <a:path w="398077" h="194310" extrusionOk="0">
                  <a:moveTo>
                    <a:pt x="351576" y="153888"/>
                  </a:moveTo>
                  <a:lnTo>
                    <a:pt x="354949" y="153888"/>
                  </a:lnTo>
                  <a:lnTo>
                    <a:pt x="351576" y="155533"/>
                  </a:lnTo>
                  <a:lnTo>
                    <a:pt x="353263" y="158825"/>
                  </a:lnTo>
                  <a:lnTo>
                    <a:pt x="344832" y="155533"/>
                  </a:lnTo>
                  <a:lnTo>
                    <a:pt x="351576" y="153888"/>
                  </a:lnTo>
                  <a:close/>
                  <a:moveTo>
                    <a:pt x="241972" y="153888"/>
                  </a:moveTo>
                  <a:lnTo>
                    <a:pt x="238599" y="153888"/>
                  </a:lnTo>
                  <a:lnTo>
                    <a:pt x="236913" y="152242"/>
                  </a:lnTo>
                  <a:lnTo>
                    <a:pt x="241972" y="153888"/>
                  </a:lnTo>
                  <a:close/>
                  <a:moveTo>
                    <a:pt x="233541" y="150596"/>
                  </a:moveTo>
                  <a:lnTo>
                    <a:pt x="228482" y="147304"/>
                  </a:lnTo>
                  <a:lnTo>
                    <a:pt x="230168" y="147304"/>
                  </a:lnTo>
                  <a:lnTo>
                    <a:pt x="233541" y="150596"/>
                  </a:lnTo>
                  <a:close/>
                  <a:moveTo>
                    <a:pt x="218365" y="137429"/>
                  </a:moveTo>
                  <a:lnTo>
                    <a:pt x="216679" y="140720"/>
                  </a:lnTo>
                  <a:lnTo>
                    <a:pt x="206561" y="132491"/>
                  </a:lnTo>
                  <a:lnTo>
                    <a:pt x="218365" y="137429"/>
                  </a:lnTo>
                  <a:close/>
                  <a:moveTo>
                    <a:pt x="252089" y="4114"/>
                  </a:moveTo>
                  <a:lnTo>
                    <a:pt x="272324" y="4114"/>
                  </a:lnTo>
                  <a:lnTo>
                    <a:pt x="285814" y="10697"/>
                  </a:lnTo>
                  <a:lnTo>
                    <a:pt x="306048" y="4114"/>
                  </a:lnTo>
                  <a:lnTo>
                    <a:pt x="312793" y="5760"/>
                  </a:lnTo>
                  <a:lnTo>
                    <a:pt x="312793" y="4114"/>
                  </a:lnTo>
                  <a:lnTo>
                    <a:pt x="316166" y="9052"/>
                  </a:lnTo>
                  <a:lnTo>
                    <a:pt x="331342" y="9052"/>
                  </a:lnTo>
                  <a:lnTo>
                    <a:pt x="319538" y="10697"/>
                  </a:lnTo>
                  <a:lnTo>
                    <a:pt x="317852" y="13989"/>
                  </a:lnTo>
                  <a:lnTo>
                    <a:pt x="331342" y="12343"/>
                  </a:lnTo>
                  <a:lnTo>
                    <a:pt x="331342" y="9052"/>
                  </a:lnTo>
                  <a:lnTo>
                    <a:pt x="333028" y="13989"/>
                  </a:lnTo>
                  <a:lnTo>
                    <a:pt x="348204" y="18927"/>
                  </a:lnTo>
                  <a:lnTo>
                    <a:pt x="358321" y="28802"/>
                  </a:lnTo>
                  <a:lnTo>
                    <a:pt x="361694" y="25510"/>
                  </a:lnTo>
                  <a:lnTo>
                    <a:pt x="358321" y="28802"/>
                  </a:lnTo>
                  <a:lnTo>
                    <a:pt x="366753" y="37031"/>
                  </a:lnTo>
                  <a:lnTo>
                    <a:pt x="365066" y="37031"/>
                  </a:lnTo>
                  <a:lnTo>
                    <a:pt x="378556" y="68302"/>
                  </a:lnTo>
                  <a:lnTo>
                    <a:pt x="388673" y="81470"/>
                  </a:lnTo>
                  <a:lnTo>
                    <a:pt x="392046" y="76532"/>
                  </a:lnTo>
                  <a:lnTo>
                    <a:pt x="393732" y="79823"/>
                  </a:lnTo>
                  <a:lnTo>
                    <a:pt x="397105" y="79823"/>
                  </a:lnTo>
                  <a:lnTo>
                    <a:pt x="393732" y="79823"/>
                  </a:lnTo>
                  <a:lnTo>
                    <a:pt x="397105" y="81470"/>
                  </a:lnTo>
                  <a:lnTo>
                    <a:pt x="388673" y="84761"/>
                  </a:lnTo>
                  <a:lnTo>
                    <a:pt x="388673" y="86407"/>
                  </a:lnTo>
                  <a:lnTo>
                    <a:pt x="395418" y="84761"/>
                  </a:lnTo>
                  <a:lnTo>
                    <a:pt x="395418" y="88053"/>
                  </a:lnTo>
                  <a:lnTo>
                    <a:pt x="393732" y="86407"/>
                  </a:lnTo>
                  <a:lnTo>
                    <a:pt x="395418" y="97928"/>
                  </a:lnTo>
                  <a:lnTo>
                    <a:pt x="397105" y="101220"/>
                  </a:lnTo>
                  <a:lnTo>
                    <a:pt x="400477" y="99574"/>
                  </a:lnTo>
                  <a:lnTo>
                    <a:pt x="397105" y="101220"/>
                  </a:lnTo>
                  <a:lnTo>
                    <a:pt x="400477" y="107803"/>
                  </a:lnTo>
                  <a:lnTo>
                    <a:pt x="403849" y="106157"/>
                  </a:lnTo>
                  <a:lnTo>
                    <a:pt x="403849" y="107803"/>
                  </a:lnTo>
                  <a:lnTo>
                    <a:pt x="400477" y="116033"/>
                  </a:lnTo>
                  <a:lnTo>
                    <a:pt x="393732" y="120970"/>
                  </a:lnTo>
                  <a:lnTo>
                    <a:pt x="381929" y="122616"/>
                  </a:lnTo>
                  <a:lnTo>
                    <a:pt x="383615" y="127554"/>
                  </a:lnTo>
                  <a:lnTo>
                    <a:pt x="380242" y="122616"/>
                  </a:lnTo>
                  <a:lnTo>
                    <a:pt x="361694" y="127554"/>
                  </a:lnTo>
                  <a:lnTo>
                    <a:pt x="360008" y="134137"/>
                  </a:lnTo>
                  <a:lnTo>
                    <a:pt x="349890" y="147304"/>
                  </a:lnTo>
                  <a:lnTo>
                    <a:pt x="351576" y="152242"/>
                  </a:lnTo>
                  <a:lnTo>
                    <a:pt x="360008" y="153888"/>
                  </a:lnTo>
                  <a:lnTo>
                    <a:pt x="344832" y="153888"/>
                  </a:lnTo>
                  <a:lnTo>
                    <a:pt x="333028" y="152242"/>
                  </a:lnTo>
                  <a:lnTo>
                    <a:pt x="319538" y="139075"/>
                  </a:lnTo>
                  <a:lnTo>
                    <a:pt x="319538" y="135783"/>
                  </a:lnTo>
                  <a:lnTo>
                    <a:pt x="306048" y="124262"/>
                  </a:lnTo>
                  <a:lnTo>
                    <a:pt x="280755" y="125908"/>
                  </a:lnTo>
                  <a:lnTo>
                    <a:pt x="274010" y="129199"/>
                  </a:lnTo>
                  <a:lnTo>
                    <a:pt x="270638" y="134137"/>
                  </a:lnTo>
                  <a:lnTo>
                    <a:pt x="267265" y="127554"/>
                  </a:lnTo>
                  <a:lnTo>
                    <a:pt x="263893" y="127554"/>
                  </a:lnTo>
                  <a:lnTo>
                    <a:pt x="267265" y="135783"/>
                  </a:lnTo>
                  <a:lnTo>
                    <a:pt x="262207" y="130845"/>
                  </a:lnTo>
                  <a:lnTo>
                    <a:pt x="262207" y="125908"/>
                  </a:lnTo>
                  <a:lnTo>
                    <a:pt x="258834" y="125908"/>
                  </a:lnTo>
                  <a:lnTo>
                    <a:pt x="265579" y="139075"/>
                  </a:lnTo>
                  <a:lnTo>
                    <a:pt x="255462" y="142367"/>
                  </a:lnTo>
                  <a:lnTo>
                    <a:pt x="228482" y="135783"/>
                  </a:lnTo>
                  <a:lnTo>
                    <a:pt x="213306" y="125908"/>
                  </a:lnTo>
                  <a:lnTo>
                    <a:pt x="189699" y="124262"/>
                  </a:lnTo>
                  <a:lnTo>
                    <a:pt x="152602" y="142367"/>
                  </a:lnTo>
                  <a:lnTo>
                    <a:pt x="139112" y="157179"/>
                  </a:lnTo>
                  <a:lnTo>
                    <a:pt x="117191" y="170346"/>
                  </a:lnTo>
                  <a:lnTo>
                    <a:pt x="103701" y="190096"/>
                  </a:lnTo>
                  <a:lnTo>
                    <a:pt x="96957" y="191742"/>
                  </a:lnTo>
                  <a:lnTo>
                    <a:pt x="95270" y="186805"/>
                  </a:lnTo>
                  <a:lnTo>
                    <a:pt x="93584" y="196680"/>
                  </a:lnTo>
                  <a:lnTo>
                    <a:pt x="95270" y="186805"/>
                  </a:lnTo>
                  <a:lnTo>
                    <a:pt x="91898" y="170346"/>
                  </a:lnTo>
                  <a:lnTo>
                    <a:pt x="96957" y="157179"/>
                  </a:lnTo>
                  <a:lnTo>
                    <a:pt x="102015" y="160471"/>
                  </a:lnTo>
                  <a:lnTo>
                    <a:pt x="102015" y="165409"/>
                  </a:lnTo>
                  <a:lnTo>
                    <a:pt x="107074" y="168700"/>
                  </a:lnTo>
                  <a:lnTo>
                    <a:pt x="93584" y="142367"/>
                  </a:lnTo>
                  <a:lnTo>
                    <a:pt x="98643" y="139075"/>
                  </a:lnTo>
                  <a:lnTo>
                    <a:pt x="93584" y="140720"/>
                  </a:lnTo>
                  <a:lnTo>
                    <a:pt x="78408" y="119324"/>
                  </a:lnTo>
                  <a:lnTo>
                    <a:pt x="83467" y="114387"/>
                  </a:lnTo>
                  <a:lnTo>
                    <a:pt x="98643" y="94636"/>
                  </a:lnTo>
                  <a:lnTo>
                    <a:pt x="90212" y="101220"/>
                  </a:lnTo>
                  <a:lnTo>
                    <a:pt x="83467" y="114387"/>
                  </a:lnTo>
                  <a:lnTo>
                    <a:pt x="83467" y="112741"/>
                  </a:lnTo>
                  <a:lnTo>
                    <a:pt x="78408" y="117678"/>
                  </a:lnTo>
                  <a:lnTo>
                    <a:pt x="71663" y="114387"/>
                  </a:lnTo>
                  <a:lnTo>
                    <a:pt x="63232" y="109449"/>
                  </a:lnTo>
                  <a:lnTo>
                    <a:pt x="51429" y="96282"/>
                  </a:lnTo>
                  <a:lnTo>
                    <a:pt x="36253" y="86407"/>
                  </a:lnTo>
                  <a:lnTo>
                    <a:pt x="32880" y="88053"/>
                  </a:lnTo>
                  <a:lnTo>
                    <a:pt x="24449" y="84761"/>
                  </a:lnTo>
                  <a:lnTo>
                    <a:pt x="19390" y="73240"/>
                  </a:lnTo>
                  <a:lnTo>
                    <a:pt x="19390" y="61719"/>
                  </a:lnTo>
                  <a:lnTo>
                    <a:pt x="10959" y="46906"/>
                  </a:lnTo>
                  <a:lnTo>
                    <a:pt x="16018" y="38677"/>
                  </a:lnTo>
                  <a:lnTo>
                    <a:pt x="4214" y="40323"/>
                  </a:lnTo>
                  <a:lnTo>
                    <a:pt x="4214" y="35385"/>
                  </a:lnTo>
                  <a:lnTo>
                    <a:pt x="24449" y="32094"/>
                  </a:lnTo>
                  <a:lnTo>
                    <a:pt x="73349" y="10697"/>
                  </a:lnTo>
                  <a:lnTo>
                    <a:pt x="78408" y="12343"/>
                  </a:lnTo>
                  <a:lnTo>
                    <a:pt x="73349" y="13989"/>
                  </a:lnTo>
                  <a:lnTo>
                    <a:pt x="75036" y="18927"/>
                  </a:lnTo>
                  <a:lnTo>
                    <a:pt x="80094" y="17281"/>
                  </a:lnTo>
                  <a:lnTo>
                    <a:pt x="81781" y="10697"/>
                  </a:lnTo>
                  <a:lnTo>
                    <a:pt x="83467" y="17281"/>
                  </a:lnTo>
                  <a:lnTo>
                    <a:pt x="85153" y="18927"/>
                  </a:lnTo>
                  <a:lnTo>
                    <a:pt x="98643" y="13989"/>
                  </a:lnTo>
                  <a:lnTo>
                    <a:pt x="98643" y="17281"/>
                  </a:lnTo>
                  <a:lnTo>
                    <a:pt x="112133" y="25510"/>
                  </a:lnTo>
                  <a:lnTo>
                    <a:pt x="128995" y="23864"/>
                  </a:lnTo>
                  <a:lnTo>
                    <a:pt x="127309" y="27156"/>
                  </a:lnTo>
                  <a:lnTo>
                    <a:pt x="118878" y="27156"/>
                  </a:lnTo>
                  <a:lnTo>
                    <a:pt x="120564" y="33739"/>
                  </a:lnTo>
                  <a:lnTo>
                    <a:pt x="130681" y="33739"/>
                  </a:lnTo>
                  <a:lnTo>
                    <a:pt x="127309" y="27156"/>
                  </a:lnTo>
                  <a:lnTo>
                    <a:pt x="134054" y="35385"/>
                  </a:lnTo>
                  <a:lnTo>
                    <a:pt x="144171" y="32094"/>
                  </a:lnTo>
                  <a:lnTo>
                    <a:pt x="155974" y="25510"/>
                  </a:lnTo>
                  <a:lnTo>
                    <a:pt x="162719" y="28802"/>
                  </a:lnTo>
                  <a:lnTo>
                    <a:pt x="167778" y="22218"/>
                  </a:lnTo>
                  <a:lnTo>
                    <a:pt x="177895" y="22218"/>
                  </a:lnTo>
                  <a:lnTo>
                    <a:pt x="177895" y="17281"/>
                  </a:lnTo>
                  <a:lnTo>
                    <a:pt x="179582" y="22218"/>
                  </a:lnTo>
                  <a:lnTo>
                    <a:pt x="189699" y="22218"/>
                  </a:lnTo>
                  <a:lnTo>
                    <a:pt x="193071" y="15635"/>
                  </a:lnTo>
                  <a:lnTo>
                    <a:pt x="213306" y="22218"/>
                  </a:lnTo>
                  <a:lnTo>
                    <a:pt x="223423" y="10697"/>
                  </a:lnTo>
                  <a:lnTo>
                    <a:pt x="243658" y="10697"/>
                  </a:lnTo>
                  <a:lnTo>
                    <a:pt x="248717" y="5760"/>
                  </a:lnTo>
                  <a:lnTo>
                    <a:pt x="247031" y="10697"/>
                  </a:lnTo>
                  <a:lnTo>
                    <a:pt x="252089" y="10697"/>
                  </a:lnTo>
                  <a:lnTo>
                    <a:pt x="250403" y="7405"/>
                  </a:lnTo>
                  <a:lnTo>
                    <a:pt x="253775" y="9052"/>
                  </a:lnTo>
                  <a:lnTo>
                    <a:pt x="257148" y="4114"/>
                  </a:lnTo>
                  <a:lnTo>
                    <a:pt x="253775" y="9052"/>
                  </a:lnTo>
                  <a:lnTo>
                    <a:pt x="248717" y="7405"/>
                  </a:lnTo>
                  <a:lnTo>
                    <a:pt x="25208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6" name="Neder-Betuwe">
              <a:extLst>
                <a:ext uri="{FF2B5EF4-FFF2-40B4-BE49-F238E27FC236}">
                  <a16:creationId xmlns:a16="http://schemas.microsoft.com/office/drawing/2014/main" id="{E14BC83E-D5AC-459C-8302-383B9961079B}"/>
                </a:ext>
              </a:extLst>
            </p:cNvPr>
            <p:cNvSpPr/>
            <p:nvPr/>
          </p:nvSpPr>
          <p:spPr>
            <a:xfrm>
              <a:off x="6293410" y="3755810"/>
              <a:ext cx="273729" cy="106919"/>
            </a:xfrm>
            <a:custGeom>
              <a:avLst/>
              <a:gdLst/>
              <a:ahLst/>
              <a:cxnLst/>
              <a:rect l="l" t="t" r="r" b="b"/>
              <a:pathLst>
                <a:path w="398077" h="160020" extrusionOk="0">
                  <a:moveTo>
                    <a:pt x="321224" y="5760"/>
                  </a:moveTo>
                  <a:lnTo>
                    <a:pt x="329656" y="5760"/>
                  </a:lnTo>
                  <a:lnTo>
                    <a:pt x="312793" y="22218"/>
                  </a:lnTo>
                  <a:lnTo>
                    <a:pt x="307735" y="17281"/>
                  </a:lnTo>
                  <a:lnTo>
                    <a:pt x="306049" y="18927"/>
                  </a:lnTo>
                  <a:lnTo>
                    <a:pt x="299304" y="35385"/>
                  </a:lnTo>
                  <a:lnTo>
                    <a:pt x="300990" y="37031"/>
                  </a:lnTo>
                  <a:lnTo>
                    <a:pt x="311107" y="30448"/>
                  </a:lnTo>
                  <a:lnTo>
                    <a:pt x="312793" y="33740"/>
                  </a:lnTo>
                  <a:lnTo>
                    <a:pt x="322911" y="28802"/>
                  </a:lnTo>
                  <a:lnTo>
                    <a:pt x="326283" y="35385"/>
                  </a:lnTo>
                  <a:lnTo>
                    <a:pt x="329656" y="33740"/>
                  </a:lnTo>
                  <a:lnTo>
                    <a:pt x="333028" y="40323"/>
                  </a:lnTo>
                  <a:lnTo>
                    <a:pt x="319538" y="45260"/>
                  </a:lnTo>
                  <a:lnTo>
                    <a:pt x="321224" y="61719"/>
                  </a:lnTo>
                  <a:lnTo>
                    <a:pt x="338087" y="60073"/>
                  </a:lnTo>
                  <a:lnTo>
                    <a:pt x="365066" y="48552"/>
                  </a:lnTo>
                  <a:lnTo>
                    <a:pt x="371811" y="50198"/>
                  </a:lnTo>
                  <a:lnTo>
                    <a:pt x="376870" y="58427"/>
                  </a:lnTo>
                  <a:lnTo>
                    <a:pt x="366753" y="55136"/>
                  </a:lnTo>
                  <a:lnTo>
                    <a:pt x="358322" y="61719"/>
                  </a:lnTo>
                  <a:lnTo>
                    <a:pt x="348204" y="63365"/>
                  </a:lnTo>
                  <a:lnTo>
                    <a:pt x="344832" y="71594"/>
                  </a:lnTo>
                  <a:lnTo>
                    <a:pt x="348204" y="74886"/>
                  </a:lnTo>
                  <a:lnTo>
                    <a:pt x="344832" y="78178"/>
                  </a:lnTo>
                  <a:lnTo>
                    <a:pt x="346518" y="79824"/>
                  </a:lnTo>
                  <a:lnTo>
                    <a:pt x="344832" y="83115"/>
                  </a:lnTo>
                  <a:lnTo>
                    <a:pt x="353263" y="89699"/>
                  </a:lnTo>
                  <a:lnTo>
                    <a:pt x="373497" y="81470"/>
                  </a:lnTo>
                  <a:lnTo>
                    <a:pt x="376870" y="83115"/>
                  </a:lnTo>
                  <a:lnTo>
                    <a:pt x="370125" y="89699"/>
                  </a:lnTo>
                  <a:lnTo>
                    <a:pt x="381929" y="99574"/>
                  </a:lnTo>
                  <a:lnTo>
                    <a:pt x="392046" y="114387"/>
                  </a:lnTo>
                  <a:lnTo>
                    <a:pt x="390360" y="124262"/>
                  </a:lnTo>
                  <a:lnTo>
                    <a:pt x="395418" y="130845"/>
                  </a:lnTo>
                  <a:lnTo>
                    <a:pt x="392046" y="139075"/>
                  </a:lnTo>
                  <a:lnTo>
                    <a:pt x="398791" y="140720"/>
                  </a:lnTo>
                  <a:lnTo>
                    <a:pt x="392046" y="150596"/>
                  </a:lnTo>
                  <a:lnTo>
                    <a:pt x="370125" y="144012"/>
                  </a:lnTo>
                  <a:lnTo>
                    <a:pt x="331342" y="144012"/>
                  </a:lnTo>
                  <a:lnTo>
                    <a:pt x="282441" y="135783"/>
                  </a:lnTo>
                  <a:lnTo>
                    <a:pt x="228482" y="135783"/>
                  </a:lnTo>
                  <a:lnTo>
                    <a:pt x="179582" y="130845"/>
                  </a:lnTo>
                  <a:lnTo>
                    <a:pt x="149230" y="135783"/>
                  </a:lnTo>
                  <a:lnTo>
                    <a:pt x="113819" y="152242"/>
                  </a:lnTo>
                  <a:lnTo>
                    <a:pt x="90212" y="158825"/>
                  </a:lnTo>
                  <a:lnTo>
                    <a:pt x="21076" y="160471"/>
                  </a:lnTo>
                  <a:lnTo>
                    <a:pt x="7587" y="124262"/>
                  </a:lnTo>
                  <a:lnTo>
                    <a:pt x="34566" y="116033"/>
                  </a:lnTo>
                  <a:lnTo>
                    <a:pt x="32880" y="106157"/>
                  </a:lnTo>
                  <a:lnTo>
                    <a:pt x="31194" y="107803"/>
                  </a:lnTo>
                  <a:lnTo>
                    <a:pt x="26135" y="97928"/>
                  </a:lnTo>
                  <a:lnTo>
                    <a:pt x="29507" y="86407"/>
                  </a:lnTo>
                  <a:lnTo>
                    <a:pt x="17704" y="83115"/>
                  </a:lnTo>
                  <a:lnTo>
                    <a:pt x="5901" y="84761"/>
                  </a:lnTo>
                  <a:lnTo>
                    <a:pt x="4214" y="79824"/>
                  </a:lnTo>
                  <a:lnTo>
                    <a:pt x="12645" y="79824"/>
                  </a:lnTo>
                  <a:lnTo>
                    <a:pt x="14332" y="76532"/>
                  </a:lnTo>
                  <a:lnTo>
                    <a:pt x="22763" y="76532"/>
                  </a:lnTo>
                  <a:lnTo>
                    <a:pt x="39625" y="84761"/>
                  </a:lnTo>
                  <a:lnTo>
                    <a:pt x="46370" y="79824"/>
                  </a:lnTo>
                  <a:lnTo>
                    <a:pt x="58174" y="79824"/>
                  </a:lnTo>
                  <a:lnTo>
                    <a:pt x="56487" y="76532"/>
                  </a:lnTo>
                  <a:lnTo>
                    <a:pt x="61546" y="74886"/>
                  </a:lnTo>
                  <a:lnTo>
                    <a:pt x="63232" y="76532"/>
                  </a:lnTo>
                  <a:lnTo>
                    <a:pt x="58174" y="79824"/>
                  </a:lnTo>
                  <a:lnTo>
                    <a:pt x="59860" y="84761"/>
                  </a:lnTo>
                  <a:lnTo>
                    <a:pt x="56487" y="83115"/>
                  </a:lnTo>
                  <a:lnTo>
                    <a:pt x="54801" y="89699"/>
                  </a:lnTo>
                  <a:lnTo>
                    <a:pt x="59860" y="89699"/>
                  </a:lnTo>
                  <a:lnTo>
                    <a:pt x="66605" y="89699"/>
                  </a:lnTo>
                  <a:lnTo>
                    <a:pt x="73349" y="78178"/>
                  </a:lnTo>
                  <a:lnTo>
                    <a:pt x="78408" y="79824"/>
                  </a:lnTo>
                  <a:lnTo>
                    <a:pt x="83467" y="76532"/>
                  </a:lnTo>
                  <a:lnTo>
                    <a:pt x="95270" y="83115"/>
                  </a:lnTo>
                  <a:lnTo>
                    <a:pt x="149230" y="81470"/>
                  </a:lnTo>
                  <a:lnTo>
                    <a:pt x="155974" y="91345"/>
                  </a:lnTo>
                  <a:lnTo>
                    <a:pt x="162719" y="88053"/>
                  </a:lnTo>
                  <a:lnTo>
                    <a:pt x="159347" y="79824"/>
                  </a:lnTo>
                  <a:lnTo>
                    <a:pt x="159347" y="51844"/>
                  </a:lnTo>
                  <a:lnTo>
                    <a:pt x="150916" y="51844"/>
                  </a:lnTo>
                  <a:lnTo>
                    <a:pt x="137426" y="45260"/>
                  </a:lnTo>
                  <a:lnTo>
                    <a:pt x="127309" y="28802"/>
                  </a:lnTo>
                  <a:lnTo>
                    <a:pt x="150916" y="32094"/>
                  </a:lnTo>
                  <a:lnTo>
                    <a:pt x="169464" y="28802"/>
                  </a:lnTo>
                  <a:lnTo>
                    <a:pt x="177895" y="33740"/>
                  </a:lnTo>
                  <a:lnTo>
                    <a:pt x="186326" y="33740"/>
                  </a:lnTo>
                  <a:lnTo>
                    <a:pt x="204875" y="20573"/>
                  </a:lnTo>
                  <a:lnTo>
                    <a:pt x="208247" y="12343"/>
                  </a:lnTo>
                  <a:lnTo>
                    <a:pt x="238599" y="30448"/>
                  </a:lnTo>
                  <a:lnTo>
                    <a:pt x="258834" y="33740"/>
                  </a:lnTo>
                  <a:lnTo>
                    <a:pt x="258834" y="37031"/>
                  </a:lnTo>
                  <a:lnTo>
                    <a:pt x="263893" y="38677"/>
                  </a:lnTo>
                  <a:lnTo>
                    <a:pt x="274010" y="45260"/>
                  </a:lnTo>
                  <a:lnTo>
                    <a:pt x="280755" y="46906"/>
                  </a:lnTo>
                  <a:lnTo>
                    <a:pt x="289186" y="41969"/>
                  </a:lnTo>
                  <a:lnTo>
                    <a:pt x="297617" y="27156"/>
                  </a:lnTo>
                  <a:lnTo>
                    <a:pt x="297617" y="22218"/>
                  </a:lnTo>
                  <a:lnTo>
                    <a:pt x="304362" y="13989"/>
                  </a:lnTo>
                  <a:lnTo>
                    <a:pt x="295931" y="7406"/>
                  </a:lnTo>
                  <a:lnTo>
                    <a:pt x="304362" y="4114"/>
                  </a:lnTo>
                  <a:lnTo>
                    <a:pt x="321224"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7" name="Lisse">
              <a:extLst>
                <a:ext uri="{FF2B5EF4-FFF2-40B4-BE49-F238E27FC236}">
                  <a16:creationId xmlns:a16="http://schemas.microsoft.com/office/drawing/2014/main" id="{0C0350C8-69A4-4DDB-998F-B5EC16B7E858}"/>
                </a:ext>
              </a:extLst>
            </p:cNvPr>
            <p:cNvSpPr/>
            <p:nvPr/>
          </p:nvSpPr>
          <p:spPr>
            <a:xfrm>
              <a:off x="5313650" y="3215049"/>
              <a:ext cx="68958" cy="108824"/>
            </a:xfrm>
            <a:custGeom>
              <a:avLst/>
              <a:gdLst/>
              <a:ahLst/>
              <a:cxnLst/>
              <a:rect l="l" t="t" r="r" b="b"/>
              <a:pathLst>
                <a:path w="93665" h="160020" extrusionOk="0">
                  <a:moveTo>
                    <a:pt x="61546" y="12343"/>
                  </a:moveTo>
                  <a:lnTo>
                    <a:pt x="93584" y="41969"/>
                  </a:lnTo>
                  <a:lnTo>
                    <a:pt x="86839" y="50198"/>
                  </a:lnTo>
                  <a:lnTo>
                    <a:pt x="88525" y="69949"/>
                  </a:lnTo>
                  <a:lnTo>
                    <a:pt x="78408" y="129199"/>
                  </a:lnTo>
                  <a:lnTo>
                    <a:pt x="64918" y="137429"/>
                  </a:lnTo>
                  <a:lnTo>
                    <a:pt x="59860" y="147304"/>
                  </a:lnTo>
                  <a:lnTo>
                    <a:pt x="64918" y="158825"/>
                  </a:lnTo>
                  <a:lnTo>
                    <a:pt x="41311" y="140720"/>
                  </a:lnTo>
                  <a:lnTo>
                    <a:pt x="21076" y="127554"/>
                  </a:lnTo>
                  <a:lnTo>
                    <a:pt x="27821" y="120970"/>
                  </a:lnTo>
                  <a:lnTo>
                    <a:pt x="24449" y="117678"/>
                  </a:lnTo>
                  <a:lnTo>
                    <a:pt x="27821" y="112741"/>
                  </a:lnTo>
                  <a:lnTo>
                    <a:pt x="19390" y="106157"/>
                  </a:lnTo>
                  <a:lnTo>
                    <a:pt x="22763" y="97928"/>
                  </a:lnTo>
                  <a:lnTo>
                    <a:pt x="4214" y="79823"/>
                  </a:lnTo>
                  <a:lnTo>
                    <a:pt x="32880" y="37031"/>
                  </a:lnTo>
                  <a:lnTo>
                    <a:pt x="29508" y="33739"/>
                  </a:lnTo>
                  <a:lnTo>
                    <a:pt x="37939" y="22218"/>
                  </a:lnTo>
                  <a:lnTo>
                    <a:pt x="39625" y="23864"/>
                  </a:lnTo>
                  <a:lnTo>
                    <a:pt x="48056" y="4114"/>
                  </a:lnTo>
                  <a:lnTo>
                    <a:pt x="61546"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8" name="Soest">
              <a:extLst>
                <a:ext uri="{FF2B5EF4-FFF2-40B4-BE49-F238E27FC236}">
                  <a16:creationId xmlns:a16="http://schemas.microsoft.com/office/drawing/2014/main" id="{8D2822AA-99D9-480E-985C-1A8790BF7ADB}"/>
                </a:ext>
              </a:extLst>
            </p:cNvPr>
            <p:cNvSpPr/>
            <p:nvPr/>
          </p:nvSpPr>
          <p:spPr>
            <a:xfrm>
              <a:off x="6078450" y="3352208"/>
              <a:ext cx="110022" cy="154190"/>
            </a:xfrm>
            <a:custGeom>
              <a:avLst/>
              <a:gdLst/>
              <a:ahLst/>
              <a:cxnLst/>
              <a:rect l="l" t="t" r="r" b="b"/>
              <a:pathLst>
                <a:path w="163914" h="228600" extrusionOk="0">
                  <a:moveTo>
                    <a:pt x="105388" y="4114"/>
                  </a:moveTo>
                  <a:lnTo>
                    <a:pt x="107074" y="5760"/>
                  </a:lnTo>
                  <a:lnTo>
                    <a:pt x="110446" y="4114"/>
                  </a:lnTo>
                  <a:lnTo>
                    <a:pt x="113819" y="5760"/>
                  </a:lnTo>
                  <a:lnTo>
                    <a:pt x="105388" y="27156"/>
                  </a:lnTo>
                  <a:lnTo>
                    <a:pt x="107074" y="35385"/>
                  </a:lnTo>
                  <a:lnTo>
                    <a:pt x="123936" y="38677"/>
                  </a:lnTo>
                  <a:lnTo>
                    <a:pt x="128995" y="43615"/>
                  </a:lnTo>
                  <a:lnTo>
                    <a:pt x="127309" y="56782"/>
                  </a:lnTo>
                  <a:lnTo>
                    <a:pt x="147543" y="56782"/>
                  </a:lnTo>
                  <a:lnTo>
                    <a:pt x="152602" y="66657"/>
                  </a:lnTo>
                  <a:lnTo>
                    <a:pt x="167778" y="73240"/>
                  </a:lnTo>
                  <a:lnTo>
                    <a:pt x="167778" y="78178"/>
                  </a:lnTo>
                  <a:lnTo>
                    <a:pt x="162719" y="79824"/>
                  </a:lnTo>
                  <a:lnTo>
                    <a:pt x="164405" y="84761"/>
                  </a:lnTo>
                  <a:lnTo>
                    <a:pt x="157661" y="111095"/>
                  </a:lnTo>
                  <a:lnTo>
                    <a:pt x="150916" y="111095"/>
                  </a:lnTo>
                  <a:lnTo>
                    <a:pt x="145857" y="145658"/>
                  </a:lnTo>
                  <a:lnTo>
                    <a:pt x="139112" y="165409"/>
                  </a:lnTo>
                  <a:lnTo>
                    <a:pt x="142484" y="180221"/>
                  </a:lnTo>
                  <a:lnTo>
                    <a:pt x="139112" y="191742"/>
                  </a:lnTo>
                  <a:lnTo>
                    <a:pt x="100329" y="231243"/>
                  </a:lnTo>
                  <a:lnTo>
                    <a:pt x="78408" y="221368"/>
                  </a:lnTo>
                  <a:lnTo>
                    <a:pt x="63232" y="226306"/>
                  </a:lnTo>
                  <a:lnTo>
                    <a:pt x="48056" y="190097"/>
                  </a:lnTo>
                  <a:lnTo>
                    <a:pt x="36252" y="195034"/>
                  </a:lnTo>
                  <a:lnTo>
                    <a:pt x="24449" y="167055"/>
                  </a:lnTo>
                  <a:lnTo>
                    <a:pt x="26135" y="150596"/>
                  </a:lnTo>
                  <a:lnTo>
                    <a:pt x="22763" y="135783"/>
                  </a:lnTo>
                  <a:lnTo>
                    <a:pt x="4214" y="86407"/>
                  </a:lnTo>
                  <a:lnTo>
                    <a:pt x="10959" y="76532"/>
                  </a:lnTo>
                  <a:lnTo>
                    <a:pt x="41311" y="45261"/>
                  </a:lnTo>
                  <a:lnTo>
                    <a:pt x="96956" y="13989"/>
                  </a:lnTo>
                  <a:lnTo>
                    <a:pt x="10538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49" name="Loppersum">
              <a:extLst>
                <a:ext uri="{FF2B5EF4-FFF2-40B4-BE49-F238E27FC236}">
                  <a16:creationId xmlns:a16="http://schemas.microsoft.com/office/drawing/2014/main" id="{C78AD3B8-867A-4116-9C3C-C5E5A60AD7F6}"/>
                </a:ext>
              </a:extLst>
            </p:cNvPr>
            <p:cNvSpPr/>
            <p:nvPr/>
          </p:nvSpPr>
          <p:spPr>
            <a:xfrm>
              <a:off x="7456957" y="1400357"/>
              <a:ext cx="251648" cy="203306"/>
            </a:xfrm>
            <a:custGeom>
              <a:avLst/>
              <a:gdLst/>
              <a:ahLst/>
              <a:cxnLst/>
              <a:rect l="l" t="t" r="r" b="b"/>
              <a:pathLst>
                <a:path w="362953" h="308610" extrusionOk="0">
                  <a:moveTo>
                    <a:pt x="284127" y="10697"/>
                  </a:moveTo>
                  <a:lnTo>
                    <a:pt x="290872" y="10697"/>
                  </a:lnTo>
                  <a:lnTo>
                    <a:pt x="297617" y="20573"/>
                  </a:lnTo>
                  <a:lnTo>
                    <a:pt x="274010" y="35385"/>
                  </a:lnTo>
                  <a:lnTo>
                    <a:pt x="280755" y="48552"/>
                  </a:lnTo>
                  <a:lnTo>
                    <a:pt x="306048" y="88053"/>
                  </a:lnTo>
                  <a:lnTo>
                    <a:pt x="302676" y="89699"/>
                  </a:lnTo>
                  <a:lnTo>
                    <a:pt x="307734" y="96282"/>
                  </a:lnTo>
                  <a:lnTo>
                    <a:pt x="306048" y="97928"/>
                  </a:lnTo>
                  <a:lnTo>
                    <a:pt x="314479" y="106157"/>
                  </a:lnTo>
                  <a:lnTo>
                    <a:pt x="311107" y="111095"/>
                  </a:lnTo>
                  <a:lnTo>
                    <a:pt x="327969" y="125908"/>
                  </a:lnTo>
                  <a:lnTo>
                    <a:pt x="334714" y="120970"/>
                  </a:lnTo>
                  <a:lnTo>
                    <a:pt x="338086" y="125908"/>
                  </a:lnTo>
                  <a:lnTo>
                    <a:pt x="343145" y="124262"/>
                  </a:lnTo>
                  <a:lnTo>
                    <a:pt x="348204" y="129200"/>
                  </a:lnTo>
                  <a:lnTo>
                    <a:pt x="349890" y="135783"/>
                  </a:lnTo>
                  <a:lnTo>
                    <a:pt x="346518" y="150596"/>
                  </a:lnTo>
                  <a:lnTo>
                    <a:pt x="348204" y="157179"/>
                  </a:lnTo>
                  <a:lnTo>
                    <a:pt x="356635" y="155533"/>
                  </a:lnTo>
                  <a:lnTo>
                    <a:pt x="358321" y="162117"/>
                  </a:lnTo>
                  <a:lnTo>
                    <a:pt x="361693" y="160471"/>
                  </a:lnTo>
                  <a:lnTo>
                    <a:pt x="361693" y="181867"/>
                  </a:lnTo>
                  <a:lnTo>
                    <a:pt x="370125" y="196680"/>
                  </a:lnTo>
                  <a:lnTo>
                    <a:pt x="363380" y="204909"/>
                  </a:lnTo>
                  <a:lnTo>
                    <a:pt x="346518" y="203263"/>
                  </a:lnTo>
                  <a:lnTo>
                    <a:pt x="334714" y="206555"/>
                  </a:lnTo>
                  <a:lnTo>
                    <a:pt x="331341" y="211493"/>
                  </a:lnTo>
                  <a:lnTo>
                    <a:pt x="327969" y="209847"/>
                  </a:lnTo>
                  <a:lnTo>
                    <a:pt x="327969" y="206555"/>
                  </a:lnTo>
                  <a:lnTo>
                    <a:pt x="322911" y="208201"/>
                  </a:lnTo>
                  <a:lnTo>
                    <a:pt x="322911" y="213139"/>
                  </a:lnTo>
                  <a:lnTo>
                    <a:pt x="319538" y="213139"/>
                  </a:lnTo>
                  <a:lnTo>
                    <a:pt x="321224" y="219722"/>
                  </a:lnTo>
                  <a:lnTo>
                    <a:pt x="317852" y="221368"/>
                  </a:lnTo>
                  <a:lnTo>
                    <a:pt x="321224" y="229597"/>
                  </a:lnTo>
                  <a:lnTo>
                    <a:pt x="317852" y="232889"/>
                  </a:lnTo>
                  <a:lnTo>
                    <a:pt x="329655" y="255931"/>
                  </a:lnTo>
                  <a:lnTo>
                    <a:pt x="324597" y="259223"/>
                  </a:lnTo>
                  <a:lnTo>
                    <a:pt x="334714" y="275681"/>
                  </a:lnTo>
                  <a:lnTo>
                    <a:pt x="274010" y="311890"/>
                  </a:lnTo>
                  <a:lnTo>
                    <a:pt x="268951" y="303661"/>
                  </a:lnTo>
                  <a:lnTo>
                    <a:pt x="272324" y="302015"/>
                  </a:lnTo>
                  <a:lnTo>
                    <a:pt x="268951" y="293786"/>
                  </a:lnTo>
                  <a:lnTo>
                    <a:pt x="272324" y="292140"/>
                  </a:lnTo>
                  <a:lnTo>
                    <a:pt x="260520" y="277327"/>
                  </a:lnTo>
                  <a:lnTo>
                    <a:pt x="255461" y="283911"/>
                  </a:lnTo>
                  <a:lnTo>
                    <a:pt x="247030" y="272390"/>
                  </a:lnTo>
                  <a:lnTo>
                    <a:pt x="243658" y="275681"/>
                  </a:lnTo>
                  <a:lnTo>
                    <a:pt x="231854" y="255931"/>
                  </a:lnTo>
                  <a:lnTo>
                    <a:pt x="236913" y="249348"/>
                  </a:lnTo>
                  <a:lnTo>
                    <a:pt x="235227" y="244410"/>
                  </a:lnTo>
                  <a:lnTo>
                    <a:pt x="228482" y="246056"/>
                  </a:lnTo>
                  <a:lnTo>
                    <a:pt x="220051" y="241118"/>
                  </a:lnTo>
                  <a:lnTo>
                    <a:pt x="214992" y="244410"/>
                  </a:lnTo>
                  <a:lnTo>
                    <a:pt x="208247" y="260869"/>
                  </a:lnTo>
                  <a:lnTo>
                    <a:pt x="204875" y="260869"/>
                  </a:lnTo>
                  <a:lnTo>
                    <a:pt x="177895" y="249348"/>
                  </a:lnTo>
                  <a:lnTo>
                    <a:pt x="174522" y="255931"/>
                  </a:lnTo>
                  <a:lnTo>
                    <a:pt x="172836" y="255931"/>
                  </a:lnTo>
                  <a:lnTo>
                    <a:pt x="149229" y="280619"/>
                  </a:lnTo>
                  <a:lnTo>
                    <a:pt x="135740" y="267452"/>
                  </a:lnTo>
                  <a:lnTo>
                    <a:pt x="125622" y="262515"/>
                  </a:lnTo>
                  <a:lnTo>
                    <a:pt x="91897" y="252639"/>
                  </a:lnTo>
                  <a:lnTo>
                    <a:pt x="80094" y="255931"/>
                  </a:lnTo>
                  <a:lnTo>
                    <a:pt x="71663" y="239472"/>
                  </a:lnTo>
                  <a:lnTo>
                    <a:pt x="46370" y="241118"/>
                  </a:lnTo>
                  <a:lnTo>
                    <a:pt x="34566" y="219722"/>
                  </a:lnTo>
                  <a:lnTo>
                    <a:pt x="36252" y="214785"/>
                  </a:lnTo>
                  <a:lnTo>
                    <a:pt x="31194" y="203263"/>
                  </a:lnTo>
                  <a:lnTo>
                    <a:pt x="17704" y="204909"/>
                  </a:lnTo>
                  <a:lnTo>
                    <a:pt x="12645" y="190097"/>
                  </a:lnTo>
                  <a:lnTo>
                    <a:pt x="4214" y="190097"/>
                  </a:lnTo>
                  <a:lnTo>
                    <a:pt x="22763" y="185159"/>
                  </a:lnTo>
                  <a:lnTo>
                    <a:pt x="22763" y="176930"/>
                  </a:lnTo>
                  <a:lnTo>
                    <a:pt x="17704" y="178575"/>
                  </a:lnTo>
                  <a:lnTo>
                    <a:pt x="9273" y="162117"/>
                  </a:lnTo>
                  <a:lnTo>
                    <a:pt x="19390" y="155533"/>
                  </a:lnTo>
                  <a:lnTo>
                    <a:pt x="22763" y="155533"/>
                  </a:lnTo>
                  <a:lnTo>
                    <a:pt x="24449" y="158825"/>
                  </a:lnTo>
                  <a:lnTo>
                    <a:pt x="41311" y="158825"/>
                  </a:lnTo>
                  <a:lnTo>
                    <a:pt x="42997" y="155533"/>
                  </a:lnTo>
                  <a:lnTo>
                    <a:pt x="53115" y="153888"/>
                  </a:lnTo>
                  <a:lnTo>
                    <a:pt x="56487" y="147304"/>
                  </a:lnTo>
                  <a:lnTo>
                    <a:pt x="53115" y="129200"/>
                  </a:lnTo>
                  <a:lnTo>
                    <a:pt x="64918" y="124262"/>
                  </a:lnTo>
                  <a:lnTo>
                    <a:pt x="68290" y="129200"/>
                  </a:lnTo>
                  <a:lnTo>
                    <a:pt x="66604" y="124262"/>
                  </a:lnTo>
                  <a:lnTo>
                    <a:pt x="76722" y="122616"/>
                  </a:lnTo>
                  <a:lnTo>
                    <a:pt x="76722" y="117679"/>
                  </a:lnTo>
                  <a:lnTo>
                    <a:pt x="80094" y="114387"/>
                  </a:lnTo>
                  <a:lnTo>
                    <a:pt x="83467" y="119324"/>
                  </a:lnTo>
                  <a:lnTo>
                    <a:pt x="91897" y="119324"/>
                  </a:lnTo>
                  <a:lnTo>
                    <a:pt x="95270" y="116033"/>
                  </a:lnTo>
                  <a:lnTo>
                    <a:pt x="98642" y="116033"/>
                  </a:lnTo>
                  <a:lnTo>
                    <a:pt x="98642" y="114387"/>
                  </a:lnTo>
                  <a:lnTo>
                    <a:pt x="102015" y="116033"/>
                  </a:lnTo>
                  <a:lnTo>
                    <a:pt x="108760" y="112741"/>
                  </a:lnTo>
                  <a:lnTo>
                    <a:pt x="118877" y="117679"/>
                  </a:lnTo>
                  <a:lnTo>
                    <a:pt x="123936" y="116033"/>
                  </a:lnTo>
                  <a:lnTo>
                    <a:pt x="127309" y="112741"/>
                  </a:lnTo>
                  <a:lnTo>
                    <a:pt x="134053" y="116033"/>
                  </a:lnTo>
                  <a:lnTo>
                    <a:pt x="139112" y="112741"/>
                  </a:lnTo>
                  <a:lnTo>
                    <a:pt x="149229" y="116033"/>
                  </a:lnTo>
                  <a:lnTo>
                    <a:pt x="157661" y="122616"/>
                  </a:lnTo>
                  <a:lnTo>
                    <a:pt x="164405" y="112741"/>
                  </a:lnTo>
                  <a:lnTo>
                    <a:pt x="174522" y="106157"/>
                  </a:lnTo>
                  <a:lnTo>
                    <a:pt x="204875" y="76532"/>
                  </a:lnTo>
                  <a:lnTo>
                    <a:pt x="233540" y="41969"/>
                  </a:lnTo>
                  <a:lnTo>
                    <a:pt x="263893" y="22218"/>
                  </a:lnTo>
                  <a:lnTo>
                    <a:pt x="275696" y="4114"/>
                  </a:lnTo>
                  <a:lnTo>
                    <a:pt x="282441" y="4114"/>
                  </a:lnTo>
                  <a:lnTo>
                    <a:pt x="284127"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0" name="Houten">
              <a:extLst>
                <a:ext uri="{FF2B5EF4-FFF2-40B4-BE49-F238E27FC236}">
                  <a16:creationId xmlns:a16="http://schemas.microsoft.com/office/drawing/2014/main" id="{300FE45E-ECF4-4FF9-90E8-3771A747A6C2}"/>
                </a:ext>
              </a:extLst>
            </p:cNvPr>
            <p:cNvSpPr/>
            <p:nvPr/>
          </p:nvSpPr>
          <p:spPr>
            <a:xfrm>
              <a:off x="5940947" y="3582724"/>
              <a:ext cx="166535" cy="165560"/>
            </a:xfrm>
            <a:custGeom>
              <a:avLst/>
              <a:gdLst/>
              <a:ahLst/>
              <a:cxnLst/>
              <a:rect l="l" t="t" r="r" b="b"/>
              <a:pathLst>
                <a:path w="234163" h="240030" extrusionOk="0">
                  <a:moveTo>
                    <a:pt x="56487" y="4114"/>
                  </a:moveTo>
                  <a:lnTo>
                    <a:pt x="68290" y="32094"/>
                  </a:lnTo>
                  <a:lnTo>
                    <a:pt x="95270" y="28802"/>
                  </a:lnTo>
                  <a:lnTo>
                    <a:pt x="113819" y="37031"/>
                  </a:lnTo>
                  <a:lnTo>
                    <a:pt x="112132" y="51844"/>
                  </a:lnTo>
                  <a:lnTo>
                    <a:pt x="115505" y="58427"/>
                  </a:lnTo>
                  <a:lnTo>
                    <a:pt x="120563" y="53490"/>
                  </a:lnTo>
                  <a:lnTo>
                    <a:pt x="128995" y="65011"/>
                  </a:lnTo>
                  <a:lnTo>
                    <a:pt x="125622" y="79824"/>
                  </a:lnTo>
                  <a:lnTo>
                    <a:pt x="132367" y="92991"/>
                  </a:lnTo>
                  <a:lnTo>
                    <a:pt x="130681" y="99574"/>
                  </a:lnTo>
                  <a:lnTo>
                    <a:pt x="155974" y="104512"/>
                  </a:lnTo>
                  <a:lnTo>
                    <a:pt x="172836" y="114387"/>
                  </a:lnTo>
                  <a:lnTo>
                    <a:pt x="196443" y="150596"/>
                  </a:lnTo>
                  <a:lnTo>
                    <a:pt x="213306" y="157179"/>
                  </a:lnTo>
                  <a:lnTo>
                    <a:pt x="208247" y="160471"/>
                  </a:lnTo>
                  <a:lnTo>
                    <a:pt x="209934" y="175284"/>
                  </a:lnTo>
                  <a:lnTo>
                    <a:pt x="235227" y="186805"/>
                  </a:lnTo>
                  <a:lnTo>
                    <a:pt x="228482" y="199972"/>
                  </a:lnTo>
                  <a:lnTo>
                    <a:pt x="213306" y="211493"/>
                  </a:lnTo>
                  <a:lnTo>
                    <a:pt x="196443" y="195034"/>
                  </a:lnTo>
                  <a:lnTo>
                    <a:pt x="181268" y="193388"/>
                  </a:lnTo>
                  <a:lnTo>
                    <a:pt x="172836" y="199972"/>
                  </a:lnTo>
                  <a:lnTo>
                    <a:pt x="155974" y="231243"/>
                  </a:lnTo>
                  <a:lnTo>
                    <a:pt x="147543" y="236181"/>
                  </a:lnTo>
                  <a:lnTo>
                    <a:pt x="135740" y="239472"/>
                  </a:lnTo>
                  <a:lnTo>
                    <a:pt x="117191" y="234535"/>
                  </a:lnTo>
                  <a:lnTo>
                    <a:pt x="90211" y="216430"/>
                  </a:lnTo>
                  <a:lnTo>
                    <a:pt x="58173" y="209847"/>
                  </a:lnTo>
                  <a:lnTo>
                    <a:pt x="48056" y="201617"/>
                  </a:lnTo>
                  <a:lnTo>
                    <a:pt x="42997" y="193388"/>
                  </a:lnTo>
                  <a:lnTo>
                    <a:pt x="34566" y="155533"/>
                  </a:lnTo>
                  <a:lnTo>
                    <a:pt x="26135" y="148950"/>
                  </a:lnTo>
                  <a:lnTo>
                    <a:pt x="4214" y="140720"/>
                  </a:lnTo>
                  <a:lnTo>
                    <a:pt x="17704" y="81470"/>
                  </a:lnTo>
                  <a:lnTo>
                    <a:pt x="21076" y="81470"/>
                  </a:lnTo>
                  <a:lnTo>
                    <a:pt x="7586" y="68303"/>
                  </a:lnTo>
                  <a:lnTo>
                    <a:pt x="19390" y="20573"/>
                  </a:lnTo>
                  <a:lnTo>
                    <a:pt x="12645" y="20573"/>
                  </a:lnTo>
                  <a:lnTo>
                    <a:pt x="16018" y="9052"/>
                  </a:lnTo>
                  <a:lnTo>
                    <a:pt x="44684" y="13989"/>
                  </a:lnTo>
                  <a:lnTo>
                    <a:pt x="564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1" name="Velsen">
              <a:extLst>
                <a:ext uri="{FF2B5EF4-FFF2-40B4-BE49-F238E27FC236}">
                  <a16:creationId xmlns:a16="http://schemas.microsoft.com/office/drawing/2014/main" id="{BCDBB218-F528-435D-A850-91DDC9A91C59}"/>
                </a:ext>
              </a:extLst>
            </p:cNvPr>
            <p:cNvSpPr/>
            <p:nvPr/>
          </p:nvSpPr>
          <p:spPr>
            <a:xfrm>
              <a:off x="5332868" y="2887657"/>
              <a:ext cx="208413" cy="125793"/>
            </a:xfrm>
            <a:custGeom>
              <a:avLst/>
              <a:gdLst/>
              <a:ahLst/>
              <a:cxnLst/>
              <a:rect l="l" t="t" r="r" b="b"/>
              <a:pathLst>
                <a:path w="292704" h="194310" extrusionOk="0">
                  <a:moveTo>
                    <a:pt x="73349" y="65011"/>
                  </a:moveTo>
                  <a:lnTo>
                    <a:pt x="66604" y="65011"/>
                  </a:lnTo>
                  <a:lnTo>
                    <a:pt x="68291" y="61719"/>
                  </a:lnTo>
                  <a:lnTo>
                    <a:pt x="73349" y="60074"/>
                  </a:lnTo>
                  <a:lnTo>
                    <a:pt x="73349" y="65011"/>
                  </a:lnTo>
                  <a:close/>
                  <a:moveTo>
                    <a:pt x="112133" y="18927"/>
                  </a:moveTo>
                  <a:lnTo>
                    <a:pt x="113819" y="23864"/>
                  </a:lnTo>
                  <a:lnTo>
                    <a:pt x="127309" y="17281"/>
                  </a:lnTo>
                  <a:lnTo>
                    <a:pt x="135740" y="18927"/>
                  </a:lnTo>
                  <a:lnTo>
                    <a:pt x="179581" y="30448"/>
                  </a:lnTo>
                  <a:lnTo>
                    <a:pt x="177895" y="33740"/>
                  </a:lnTo>
                  <a:lnTo>
                    <a:pt x="181268" y="35385"/>
                  </a:lnTo>
                  <a:lnTo>
                    <a:pt x="188013" y="33740"/>
                  </a:lnTo>
                  <a:lnTo>
                    <a:pt x="209934" y="55136"/>
                  </a:lnTo>
                  <a:lnTo>
                    <a:pt x="199816" y="71595"/>
                  </a:lnTo>
                  <a:lnTo>
                    <a:pt x="272324" y="132492"/>
                  </a:lnTo>
                  <a:lnTo>
                    <a:pt x="290872" y="140721"/>
                  </a:lnTo>
                  <a:lnTo>
                    <a:pt x="274010" y="153888"/>
                  </a:lnTo>
                  <a:lnTo>
                    <a:pt x="258834" y="160471"/>
                  </a:lnTo>
                  <a:lnTo>
                    <a:pt x="230168" y="188451"/>
                  </a:lnTo>
                  <a:lnTo>
                    <a:pt x="228482" y="173638"/>
                  </a:lnTo>
                  <a:lnTo>
                    <a:pt x="218365" y="175284"/>
                  </a:lnTo>
                  <a:lnTo>
                    <a:pt x="214992" y="167054"/>
                  </a:lnTo>
                  <a:lnTo>
                    <a:pt x="206561" y="160471"/>
                  </a:lnTo>
                  <a:lnTo>
                    <a:pt x="182954" y="152242"/>
                  </a:lnTo>
                  <a:lnTo>
                    <a:pt x="161033" y="195034"/>
                  </a:lnTo>
                  <a:lnTo>
                    <a:pt x="147543" y="190096"/>
                  </a:lnTo>
                  <a:lnTo>
                    <a:pt x="149229" y="181867"/>
                  </a:lnTo>
                  <a:lnTo>
                    <a:pt x="145857" y="180221"/>
                  </a:lnTo>
                  <a:lnTo>
                    <a:pt x="145857" y="170346"/>
                  </a:lnTo>
                  <a:lnTo>
                    <a:pt x="140798" y="167054"/>
                  </a:lnTo>
                  <a:lnTo>
                    <a:pt x="144171" y="163763"/>
                  </a:lnTo>
                  <a:lnTo>
                    <a:pt x="139112" y="160471"/>
                  </a:lnTo>
                  <a:lnTo>
                    <a:pt x="134053" y="160471"/>
                  </a:lnTo>
                  <a:lnTo>
                    <a:pt x="88525" y="135783"/>
                  </a:lnTo>
                  <a:lnTo>
                    <a:pt x="46370" y="127554"/>
                  </a:lnTo>
                  <a:lnTo>
                    <a:pt x="48056" y="109449"/>
                  </a:lnTo>
                  <a:lnTo>
                    <a:pt x="39625" y="74886"/>
                  </a:lnTo>
                  <a:lnTo>
                    <a:pt x="36252" y="71595"/>
                  </a:lnTo>
                  <a:lnTo>
                    <a:pt x="12645" y="78178"/>
                  </a:lnTo>
                  <a:lnTo>
                    <a:pt x="5900" y="71595"/>
                  </a:lnTo>
                  <a:lnTo>
                    <a:pt x="4214" y="65011"/>
                  </a:lnTo>
                  <a:lnTo>
                    <a:pt x="7587" y="73240"/>
                  </a:lnTo>
                  <a:lnTo>
                    <a:pt x="14331" y="78178"/>
                  </a:lnTo>
                  <a:lnTo>
                    <a:pt x="39625" y="68303"/>
                  </a:lnTo>
                  <a:lnTo>
                    <a:pt x="44684" y="71595"/>
                  </a:lnTo>
                  <a:lnTo>
                    <a:pt x="42997" y="73240"/>
                  </a:lnTo>
                  <a:lnTo>
                    <a:pt x="46370" y="81470"/>
                  </a:lnTo>
                  <a:lnTo>
                    <a:pt x="54801" y="79824"/>
                  </a:lnTo>
                  <a:lnTo>
                    <a:pt x="54801" y="76532"/>
                  </a:lnTo>
                  <a:lnTo>
                    <a:pt x="46370" y="73240"/>
                  </a:lnTo>
                  <a:lnTo>
                    <a:pt x="49742" y="74886"/>
                  </a:lnTo>
                  <a:lnTo>
                    <a:pt x="53115" y="69949"/>
                  </a:lnTo>
                  <a:lnTo>
                    <a:pt x="51428" y="68303"/>
                  </a:lnTo>
                  <a:lnTo>
                    <a:pt x="59860" y="68303"/>
                  </a:lnTo>
                  <a:lnTo>
                    <a:pt x="58173" y="74886"/>
                  </a:lnTo>
                  <a:lnTo>
                    <a:pt x="59860" y="76532"/>
                  </a:lnTo>
                  <a:lnTo>
                    <a:pt x="63232" y="69949"/>
                  </a:lnTo>
                  <a:lnTo>
                    <a:pt x="75036" y="68303"/>
                  </a:lnTo>
                  <a:lnTo>
                    <a:pt x="71663" y="69949"/>
                  </a:lnTo>
                  <a:lnTo>
                    <a:pt x="76722" y="76532"/>
                  </a:lnTo>
                  <a:lnTo>
                    <a:pt x="73349" y="78178"/>
                  </a:lnTo>
                  <a:lnTo>
                    <a:pt x="76722" y="76532"/>
                  </a:lnTo>
                  <a:lnTo>
                    <a:pt x="73349" y="79824"/>
                  </a:lnTo>
                  <a:lnTo>
                    <a:pt x="76722" y="78178"/>
                  </a:lnTo>
                  <a:lnTo>
                    <a:pt x="86839" y="83116"/>
                  </a:lnTo>
                  <a:lnTo>
                    <a:pt x="86839" y="81470"/>
                  </a:lnTo>
                  <a:lnTo>
                    <a:pt x="80094" y="76532"/>
                  </a:lnTo>
                  <a:lnTo>
                    <a:pt x="76722" y="71595"/>
                  </a:lnTo>
                  <a:lnTo>
                    <a:pt x="78408" y="68303"/>
                  </a:lnTo>
                  <a:lnTo>
                    <a:pt x="100329" y="79824"/>
                  </a:lnTo>
                  <a:lnTo>
                    <a:pt x="98643" y="78178"/>
                  </a:lnTo>
                  <a:lnTo>
                    <a:pt x="100329" y="78178"/>
                  </a:lnTo>
                  <a:lnTo>
                    <a:pt x="80094" y="66657"/>
                  </a:lnTo>
                  <a:lnTo>
                    <a:pt x="91898" y="66657"/>
                  </a:lnTo>
                  <a:lnTo>
                    <a:pt x="91898" y="63365"/>
                  </a:lnTo>
                  <a:lnTo>
                    <a:pt x="86839" y="63365"/>
                  </a:lnTo>
                  <a:lnTo>
                    <a:pt x="90212" y="63365"/>
                  </a:lnTo>
                  <a:lnTo>
                    <a:pt x="102015" y="61719"/>
                  </a:lnTo>
                  <a:lnTo>
                    <a:pt x="102015" y="60074"/>
                  </a:lnTo>
                  <a:lnTo>
                    <a:pt x="93584" y="60074"/>
                  </a:lnTo>
                  <a:lnTo>
                    <a:pt x="95270" y="56782"/>
                  </a:lnTo>
                  <a:lnTo>
                    <a:pt x="113819" y="58427"/>
                  </a:lnTo>
                  <a:lnTo>
                    <a:pt x="115505" y="55136"/>
                  </a:lnTo>
                  <a:lnTo>
                    <a:pt x="95270" y="51844"/>
                  </a:lnTo>
                  <a:lnTo>
                    <a:pt x="108760" y="51844"/>
                  </a:lnTo>
                  <a:lnTo>
                    <a:pt x="107074" y="48552"/>
                  </a:lnTo>
                  <a:lnTo>
                    <a:pt x="108760" y="46906"/>
                  </a:lnTo>
                  <a:lnTo>
                    <a:pt x="102015" y="48552"/>
                  </a:lnTo>
                  <a:lnTo>
                    <a:pt x="98643" y="46906"/>
                  </a:lnTo>
                  <a:lnTo>
                    <a:pt x="102015" y="46906"/>
                  </a:lnTo>
                  <a:lnTo>
                    <a:pt x="120564" y="45261"/>
                  </a:lnTo>
                  <a:lnTo>
                    <a:pt x="120564" y="43615"/>
                  </a:lnTo>
                  <a:lnTo>
                    <a:pt x="107074" y="40323"/>
                  </a:lnTo>
                  <a:lnTo>
                    <a:pt x="100329" y="41969"/>
                  </a:lnTo>
                  <a:lnTo>
                    <a:pt x="83467" y="45261"/>
                  </a:lnTo>
                  <a:lnTo>
                    <a:pt x="75036" y="51844"/>
                  </a:lnTo>
                  <a:lnTo>
                    <a:pt x="58173" y="55136"/>
                  </a:lnTo>
                  <a:lnTo>
                    <a:pt x="42997" y="55136"/>
                  </a:lnTo>
                  <a:lnTo>
                    <a:pt x="37939" y="58427"/>
                  </a:lnTo>
                  <a:lnTo>
                    <a:pt x="41311" y="55136"/>
                  </a:lnTo>
                  <a:lnTo>
                    <a:pt x="29508" y="51844"/>
                  </a:lnTo>
                  <a:lnTo>
                    <a:pt x="19390" y="55136"/>
                  </a:lnTo>
                  <a:lnTo>
                    <a:pt x="27821" y="51844"/>
                  </a:lnTo>
                  <a:lnTo>
                    <a:pt x="54801" y="55136"/>
                  </a:lnTo>
                  <a:lnTo>
                    <a:pt x="81780" y="4114"/>
                  </a:lnTo>
                  <a:lnTo>
                    <a:pt x="102015" y="12343"/>
                  </a:lnTo>
                  <a:lnTo>
                    <a:pt x="112133"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2" name="Oosterhout">
              <a:extLst>
                <a:ext uri="{FF2B5EF4-FFF2-40B4-BE49-F238E27FC236}">
                  <a16:creationId xmlns:a16="http://schemas.microsoft.com/office/drawing/2014/main" id="{16746E76-1D8E-4C5F-A2AC-16DBBD80AF1E}"/>
                </a:ext>
              </a:extLst>
            </p:cNvPr>
            <p:cNvSpPr/>
            <p:nvPr/>
          </p:nvSpPr>
          <p:spPr>
            <a:xfrm>
              <a:off x="5588569" y="4181730"/>
              <a:ext cx="152276" cy="174967"/>
            </a:xfrm>
            <a:custGeom>
              <a:avLst/>
              <a:gdLst/>
              <a:ahLst/>
              <a:cxnLst/>
              <a:rect l="l" t="t" r="r" b="b"/>
              <a:pathLst>
                <a:path w="234163" h="262890" extrusionOk="0">
                  <a:moveTo>
                    <a:pt x="130681" y="27156"/>
                  </a:moveTo>
                  <a:lnTo>
                    <a:pt x="150916" y="32094"/>
                  </a:lnTo>
                  <a:lnTo>
                    <a:pt x="157661" y="38678"/>
                  </a:lnTo>
                  <a:lnTo>
                    <a:pt x="157661" y="33740"/>
                  </a:lnTo>
                  <a:lnTo>
                    <a:pt x="186326" y="33740"/>
                  </a:lnTo>
                  <a:lnTo>
                    <a:pt x="208247" y="28802"/>
                  </a:lnTo>
                  <a:lnTo>
                    <a:pt x="209934" y="32094"/>
                  </a:lnTo>
                  <a:lnTo>
                    <a:pt x="214992" y="32094"/>
                  </a:lnTo>
                  <a:lnTo>
                    <a:pt x="223424" y="35386"/>
                  </a:lnTo>
                  <a:lnTo>
                    <a:pt x="228482" y="46907"/>
                  </a:lnTo>
                  <a:lnTo>
                    <a:pt x="235227" y="51844"/>
                  </a:lnTo>
                  <a:lnTo>
                    <a:pt x="235227" y="60074"/>
                  </a:lnTo>
                  <a:lnTo>
                    <a:pt x="240286" y="74886"/>
                  </a:lnTo>
                  <a:lnTo>
                    <a:pt x="236913" y="78178"/>
                  </a:lnTo>
                  <a:lnTo>
                    <a:pt x="238599" y="91345"/>
                  </a:lnTo>
                  <a:lnTo>
                    <a:pt x="206561" y="132492"/>
                  </a:lnTo>
                  <a:lnTo>
                    <a:pt x="203189" y="142367"/>
                  </a:lnTo>
                  <a:lnTo>
                    <a:pt x="204875" y="148950"/>
                  </a:lnTo>
                  <a:lnTo>
                    <a:pt x="193071" y="153888"/>
                  </a:lnTo>
                  <a:lnTo>
                    <a:pt x="211620" y="158825"/>
                  </a:lnTo>
                  <a:lnTo>
                    <a:pt x="208247" y="165409"/>
                  </a:lnTo>
                  <a:lnTo>
                    <a:pt x="203189" y="168701"/>
                  </a:lnTo>
                  <a:lnTo>
                    <a:pt x="204875" y="170346"/>
                  </a:lnTo>
                  <a:lnTo>
                    <a:pt x="204875" y="175284"/>
                  </a:lnTo>
                  <a:lnTo>
                    <a:pt x="213306" y="193389"/>
                  </a:lnTo>
                  <a:lnTo>
                    <a:pt x="214992" y="209847"/>
                  </a:lnTo>
                  <a:lnTo>
                    <a:pt x="211620" y="213139"/>
                  </a:lnTo>
                  <a:lnTo>
                    <a:pt x="204875" y="213139"/>
                  </a:lnTo>
                  <a:lnTo>
                    <a:pt x="208247" y="218076"/>
                  </a:lnTo>
                  <a:lnTo>
                    <a:pt x="137426" y="259223"/>
                  </a:lnTo>
                  <a:lnTo>
                    <a:pt x="139112" y="264160"/>
                  </a:lnTo>
                  <a:lnTo>
                    <a:pt x="115505" y="262515"/>
                  </a:lnTo>
                  <a:lnTo>
                    <a:pt x="107074" y="257577"/>
                  </a:lnTo>
                  <a:lnTo>
                    <a:pt x="98643" y="246056"/>
                  </a:lnTo>
                  <a:lnTo>
                    <a:pt x="96957" y="221368"/>
                  </a:lnTo>
                  <a:lnTo>
                    <a:pt x="85153" y="218076"/>
                  </a:lnTo>
                  <a:lnTo>
                    <a:pt x="93584" y="206555"/>
                  </a:lnTo>
                  <a:lnTo>
                    <a:pt x="100329" y="203264"/>
                  </a:lnTo>
                  <a:lnTo>
                    <a:pt x="93584" y="190097"/>
                  </a:lnTo>
                  <a:lnTo>
                    <a:pt x="98643" y="171992"/>
                  </a:lnTo>
                  <a:lnTo>
                    <a:pt x="76722" y="152242"/>
                  </a:lnTo>
                  <a:lnTo>
                    <a:pt x="73349" y="147304"/>
                  </a:lnTo>
                  <a:lnTo>
                    <a:pt x="66604" y="145659"/>
                  </a:lnTo>
                  <a:lnTo>
                    <a:pt x="61546" y="135783"/>
                  </a:lnTo>
                  <a:lnTo>
                    <a:pt x="51428" y="132492"/>
                  </a:lnTo>
                  <a:lnTo>
                    <a:pt x="16018" y="129200"/>
                  </a:lnTo>
                  <a:lnTo>
                    <a:pt x="17704" y="125908"/>
                  </a:lnTo>
                  <a:lnTo>
                    <a:pt x="14332" y="122617"/>
                  </a:lnTo>
                  <a:lnTo>
                    <a:pt x="27821" y="112741"/>
                  </a:lnTo>
                  <a:lnTo>
                    <a:pt x="27821" y="111095"/>
                  </a:lnTo>
                  <a:lnTo>
                    <a:pt x="24449" y="111095"/>
                  </a:lnTo>
                  <a:lnTo>
                    <a:pt x="4214" y="56782"/>
                  </a:lnTo>
                  <a:lnTo>
                    <a:pt x="27821" y="45261"/>
                  </a:lnTo>
                  <a:lnTo>
                    <a:pt x="100329" y="20573"/>
                  </a:lnTo>
                  <a:lnTo>
                    <a:pt x="102015" y="4114"/>
                  </a:lnTo>
                  <a:lnTo>
                    <a:pt x="122250" y="15635"/>
                  </a:lnTo>
                  <a:lnTo>
                    <a:pt x="120564" y="18927"/>
                  </a:lnTo>
                  <a:lnTo>
                    <a:pt x="130681" y="2715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3" name="Harlingen">
              <a:extLst>
                <a:ext uri="{FF2B5EF4-FFF2-40B4-BE49-F238E27FC236}">
                  <a16:creationId xmlns:a16="http://schemas.microsoft.com/office/drawing/2014/main" id="{D93A43D9-9CF6-4CBB-8FE0-BADDD1BBF473}"/>
                </a:ext>
              </a:extLst>
            </p:cNvPr>
            <p:cNvSpPr/>
            <p:nvPr/>
          </p:nvSpPr>
          <p:spPr>
            <a:xfrm>
              <a:off x="6165560" y="1732920"/>
              <a:ext cx="172076" cy="220333"/>
            </a:xfrm>
            <a:custGeom>
              <a:avLst/>
              <a:gdLst/>
              <a:ahLst/>
              <a:cxnLst/>
              <a:rect l="l" t="t" r="r" b="b"/>
              <a:pathLst>
                <a:path w="257579" h="331470" extrusionOk="0">
                  <a:moveTo>
                    <a:pt x="24449" y="323412"/>
                  </a:moveTo>
                  <a:lnTo>
                    <a:pt x="24449" y="325057"/>
                  </a:lnTo>
                  <a:lnTo>
                    <a:pt x="24449" y="323412"/>
                  </a:lnTo>
                  <a:close/>
                  <a:moveTo>
                    <a:pt x="24449" y="323412"/>
                  </a:moveTo>
                  <a:lnTo>
                    <a:pt x="24449" y="323412"/>
                  </a:lnTo>
                  <a:close/>
                  <a:moveTo>
                    <a:pt x="24449" y="323412"/>
                  </a:moveTo>
                  <a:lnTo>
                    <a:pt x="21076" y="323412"/>
                  </a:lnTo>
                  <a:lnTo>
                    <a:pt x="24449" y="323412"/>
                  </a:lnTo>
                  <a:close/>
                  <a:moveTo>
                    <a:pt x="4214" y="320120"/>
                  </a:moveTo>
                  <a:lnTo>
                    <a:pt x="5900" y="329995"/>
                  </a:lnTo>
                  <a:lnTo>
                    <a:pt x="4214" y="318474"/>
                  </a:lnTo>
                  <a:lnTo>
                    <a:pt x="4214" y="320120"/>
                  </a:lnTo>
                  <a:close/>
                  <a:moveTo>
                    <a:pt x="17704" y="316828"/>
                  </a:moveTo>
                  <a:lnTo>
                    <a:pt x="17704" y="316828"/>
                  </a:lnTo>
                  <a:close/>
                  <a:moveTo>
                    <a:pt x="17704" y="316828"/>
                  </a:moveTo>
                  <a:lnTo>
                    <a:pt x="21076" y="318474"/>
                  </a:lnTo>
                  <a:lnTo>
                    <a:pt x="17704" y="316828"/>
                  </a:lnTo>
                  <a:close/>
                  <a:moveTo>
                    <a:pt x="135740" y="144012"/>
                  </a:moveTo>
                  <a:lnTo>
                    <a:pt x="134053" y="144012"/>
                  </a:lnTo>
                  <a:lnTo>
                    <a:pt x="135740" y="144012"/>
                  </a:lnTo>
                  <a:close/>
                  <a:moveTo>
                    <a:pt x="90212" y="71594"/>
                  </a:moveTo>
                  <a:lnTo>
                    <a:pt x="27821" y="48552"/>
                  </a:lnTo>
                  <a:lnTo>
                    <a:pt x="56487" y="58428"/>
                  </a:lnTo>
                  <a:lnTo>
                    <a:pt x="90212" y="71594"/>
                  </a:lnTo>
                  <a:close/>
                  <a:moveTo>
                    <a:pt x="204875" y="27156"/>
                  </a:moveTo>
                  <a:lnTo>
                    <a:pt x="209934" y="23864"/>
                  </a:lnTo>
                  <a:lnTo>
                    <a:pt x="211620" y="27156"/>
                  </a:lnTo>
                  <a:lnTo>
                    <a:pt x="218365" y="28802"/>
                  </a:lnTo>
                  <a:lnTo>
                    <a:pt x="252089" y="25510"/>
                  </a:lnTo>
                  <a:lnTo>
                    <a:pt x="252089" y="41969"/>
                  </a:lnTo>
                  <a:lnTo>
                    <a:pt x="248717" y="41969"/>
                  </a:lnTo>
                  <a:lnTo>
                    <a:pt x="245344" y="48552"/>
                  </a:lnTo>
                  <a:lnTo>
                    <a:pt x="236913" y="83116"/>
                  </a:lnTo>
                  <a:lnTo>
                    <a:pt x="236913" y="84761"/>
                  </a:lnTo>
                  <a:lnTo>
                    <a:pt x="262207" y="79824"/>
                  </a:lnTo>
                  <a:lnTo>
                    <a:pt x="257148" y="92991"/>
                  </a:lnTo>
                  <a:lnTo>
                    <a:pt x="250403" y="94637"/>
                  </a:lnTo>
                  <a:lnTo>
                    <a:pt x="248717" y="99574"/>
                  </a:lnTo>
                  <a:lnTo>
                    <a:pt x="245344" y="101220"/>
                  </a:lnTo>
                  <a:lnTo>
                    <a:pt x="243658" y="109449"/>
                  </a:lnTo>
                  <a:lnTo>
                    <a:pt x="247030" y="111095"/>
                  </a:lnTo>
                  <a:lnTo>
                    <a:pt x="241972" y="125908"/>
                  </a:lnTo>
                  <a:lnTo>
                    <a:pt x="236913" y="130845"/>
                  </a:lnTo>
                  <a:lnTo>
                    <a:pt x="231855" y="147304"/>
                  </a:lnTo>
                  <a:lnTo>
                    <a:pt x="230168" y="145658"/>
                  </a:lnTo>
                  <a:lnTo>
                    <a:pt x="220051" y="163763"/>
                  </a:lnTo>
                  <a:lnTo>
                    <a:pt x="209934" y="160471"/>
                  </a:lnTo>
                  <a:lnTo>
                    <a:pt x="211620" y="153888"/>
                  </a:lnTo>
                  <a:lnTo>
                    <a:pt x="199816" y="153888"/>
                  </a:lnTo>
                  <a:lnTo>
                    <a:pt x="194757" y="148950"/>
                  </a:lnTo>
                  <a:lnTo>
                    <a:pt x="184640" y="145658"/>
                  </a:lnTo>
                  <a:lnTo>
                    <a:pt x="182954" y="148950"/>
                  </a:lnTo>
                  <a:lnTo>
                    <a:pt x="171151" y="140721"/>
                  </a:lnTo>
                  <a:lnTo>
                    <a:pt x="171151" y="139075"/>
                  </a:lnTo>
                  <a:lnTo>
                    <a:pt x="150916" y="139075"/>
                  </a:lnTo>
                  <a:lnTo>
                    <a:pt x="144171" y="145658"/>
                  </a:lnTo>
                  <a:lnTo>
                    <a:pt x="137426" y="140721"/>
                  </a:lnTo>
                  <a:lnTo>
                    <a:pt x="135740" y="144012"/>
                  </a:lnTo>
                  <a:lnTo>
                    <a:pt x="135740" y="132491"/>
                  </a:lnTo>
                  <a:lnTo>
                    <a:pt x="142484" y="112741"/>
                  </a:lnTo>
                  <a:lnTo>
                    <a:pt x="140798" y="102866"/>
                  </a:lnTo>
                  <a:lnTo>
                    <a:pt x="125622" y="91345"/>
                  </a:lnTo>
                  <a:lnTo>
                    <a:pt x="122250" y="84761"/>
                  </a:lnTo>
                  <a:lnTo>
                    <a:pt x="125622" y="91345"/>
                  </a:lnTo>
                  <a:lnTo>
                    <a:pt x="128995" y="91345"/>
                  </a:lnTo>
                  <a:lnTo>
                    <a:pt x="134053" y="99574"/>
                  </a:lnTo>
                  <a:lnTo>
                    <a:pt x="140798" y="101220"/>
                  </a:lnTo>
                  <a:lnTo>
                    <a:pt x="132367" y="88053"/>
                  </a:lnTo>
                  <a:lnTo>
                    <a:pt x="135740" y="91345"/>
                  </a:lnTo>
                  <a:lnTo>
                    <a:pt x="135740" y="84761"/>
                  </a:lnTo>
                  <a:lnTo>
                    <a:pt x="147543" y="78178"/>
                  </a:lnTo>
                  <a:lnTo>
                    <a:pt x="140798" y="78178"/>
                  </a:lnTo>
                  <a:lnTo>
                    <a:pt x="140798" y="76532"/>
                  </a:lnTo>
                  <a:lnTo>
                    <a:pt x="145857" y="74886"/>
                  </a:lnTo>
                  <a:lnTo>
                    <a:pt x="147543" y="69949"/>
                  </a:lnTo>
                  <a:lnTo>
                    <a:pt x="162719" y="61719"/>
                  </a:lnTo>
                  <a:lnTo>
                    <a:pt x="171151" y="53490"/>
                  </a:lnTo>
                  <a:lnTo>
                    <a:pt x="176209" y="41969"/>
                  </a:lnTo>
                  <a:lnTo>
                    <a:pt x="171151" y="38677"/>
                  </a:lnTo>
                  <a:lnTo>
                    <a:pt x="166092" y="45261"/>
                  </a:lnTo>
                  <a:lnTo>
                    <a:pt x="169464" y="48552"/>
                  </a:lnTo>
                  <a:lnTo>
                    <a:pt x="169464" y="50198"/>
                  </a:lnTo>
                  <a:lnTo>
                    <a:pt x="162719" y="53490"/>
                  </a:lnTo>
                  <a:lnTo>
                    <a:pt x="159347" y="61719"/>
                  </a:lnTo>
                  <a:lnTo>
                    <a:pt x="139112" y="69949"/>
                  </a:lnTo>
                  <a:lnTo>
                    <a:pt x="135740" y="79824"/>
                  </a:lnTo>
                  <a:lnTo>
                    <a:pt x="130681" y="86407"/>
                  </a:lnTo>
                  <a:lnTo>
                    <a:pt x="127309" y="88053"/>
                  </a:lnTo>
                  <a:lnTo>
                    <a:pt x="128995" y="86407"/>
                  </a:lnTo>
                  <a:lnTo>
                    <a:pt x="125622" y="83116"/>
                  </a:lnTo>
                  <a:lnTo>
                    <a:pt x="130681" y="86407"/>
                  </a:lnTo>
                  <a:lnTo>
                    <a:pt x="134053" y="79824"/>
                  </a:lnTo>
                  <a:lnTo>
                    <a:pt x="137426" y="69949"/>
                  </a:lnTo>
                  <a:lnTo>
                    <a:pt x="150916" y="63365"/>
                  </a:lnTo>
                  <a:lnTo>
                    <a:pt x="174523" y="4114"/>
                  </a:lnTo>
                  <a:lnTo>
                    <a:pt x="201503" y="20573"/>
                  </a:lnTo>
                  <a:lnTo>
                    <a:pt x="204875" y="2715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4" name="Barendrecht">
              <a:extLst>
                <a:ext uri="{FF2B5EF4-FFF2-40B4-BE49-F238E27FC236}">
                  <a16:creationId xmlns:a16="http://schemas.microsoft.com/office/drawing/2014/main" id="{551FD31B-BA2A-4D4F-A293-BBF1128CDA36}"/>
                </a:ext>
              </a:extLst>
            </p:cNvPr>
            <p:cNvSpPr/>
            <p:nvPr/>
          </p:nvSpPr>
          <p:spPr>
            <a:xfrm>
              <a:off x="5269896" y="3876093"/>
              <a:ext cx="90223" cy="73703"/>
            </a:xfrm>
            <a:custGeom>
              <a:avLst/>
              <a:gdLst/>
              <a:ahLst/>
              <a:cxnLst/>
              <a:rect l="l" t="t" r="r" b="b"/>
              <a:pathLst>
                <a:path w="140498" h="114300" extrusionOk="0">
                  <a:moveTo>
                    <a:pt x="112132" y="4114"/>
                  </a:moveTo>
                  <a:lnTo>
                    <a:pt x="134053" y="53490"/>
                  </a:lnTo>
                  <a:lnTo>
                    <a:pt x="135740" y="56782"/>
                  </a:lnTo>
                  <a:lnTo>
                    <a:pt x="142485" y="56782"/>
                  </a:lnTo>
                  <a:lnTo>
                    <a:pt x="144171" y="65011"/>
                  </a:lnTo>
                  <a:lnTo>
                    <a:pt x="140798" y="74886"/>
                  </a:lnTo>
                  <a:lnTo>
                    <a:pt x="127309" y="89699"/>
                  </a:lnTo>
                  <a:lnTo>
                    <a:pt x="117191" y="111095"/>
                  </a:lnTo>
                  <a:lnTo>
                    <a:pt x="105388" y="106158"/>
                  </a:lnTo>
                  <a:lnTo>
                    <a:pt x="73349" y="111095"/>
                  </a:lnTo>
                  <a:lnTo>
                    <a:pt x="37939" y="97928"/>
                  </a:lnTo>
                  <a:lnTo>
                    <a:pt x="17704" y="96282"/>
                  </a:lnTo>
                  <a:lnTo>
                    <a:pt x="19390" y="83116"/>
                  </a:lnTo>
                  <a:lnTo>
                    <a:pt x="22763" y="81470"/>
                  </a:lnTo>
                  <a:lnTo>
                    <a:pt x="19390" y="74886"/>
                  </a:lnTo>
                  <a:lnTo>
                    <a:pt x="19390" y="68303"/>
                  </a:lnTo>
                  <a:lnTo>
                    <a:pt x="16018" y="65011"/>
                  </a:lnTo>
                  <a:lnTo>
                    <a:pt x="19390" y="58427"/>
                  </a:lnTo>
                  <a:lnTo>
                    <a:pt x="5900" y="48552"/>
                  </a:lnTo>
                  <a:lnTo>
                    <a:pt x="7587" y="40323"/>
                  </a:lnTo>
                  <a:lnTo>
                    <a:pt x="4214" y="38677"/>
                  </a:lnTo>
                  <a:lnTo>
                    <a:pt x="4214" y="23864"/>
                  </a:lnTo>
                  <a:lnTo>
                    <a:pt x="26135" y="15635"/>
                  </a:lnTo>
                  <a:lnTo>
                    <a:pt x="75036" y="13989"/>
                  </a:lnTo>
                  <a:lnTo>
                    <a:pt x="85153" y="17281"/>
                  </a:lnTo>
                  <a:lnTo>
                    <a:pt x="100329" y="12343"/>
                  </a:lnTo>
                  <a:lnTo>
                    <a:pt x="11213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5" name="Tytsjerksteradiel">
              <a:extLst>
                <a:ext uri="{FF2B5EF4-FFF2-40B4-BE49-F238E27FC236}">
                  <a16:creationId xmlns:a16="http://schemas.microsoft.com/office/drawing/2014/main" id="{5D4BE42D-197F-4CB5-8603-610B03A8211F}"/>
                </a:ext>
              </a:extLst>
            </p:cNvPr>
            <p:cNvSpPr/>
            <p:nvPr/>
          </p:nvSpPr>
          <p:spPr>
            <a:xfrm>
              <a:off x="6673379" y="1606378"/>
              <a:ext cx="308159" cy="269506"/>
            </a:xfrm>
            <a:custGeom>
              <a:avLst/>
              <a:gdLst/>
              <a:ahLst/>
              <a:cxnLst/>
              <a:rect l="l" t="t" r="r" b="b"/>
              <a:pathLst>
                <a:path w="433202" h="400050" extrusionOk="0">
                  <a:moveTo>
                    <a:pt x="81781" y="32094"/>
                  </a:moveTo>
                  <a:lnTo>
                    <a:pt x="128995" y="74886"/>
                  </a:lnTo>
                  <a:lnTo>
                    <a:pt x="142485" y="78178"/>
                  </a:lnTo>
                  <a:lnTo>
                    <a:pt x="145857" y="84761"/>
                  </a:lnTo>
                  <a:lnTo>
                    <a:pt x="145857" y="91345"/>
                  </a:lnTo>
                  <a:lnTo>
                    <a:pt x="171151" y="94636"/>
                  </a:lnTo>
                  <a:lnTo>
                    <a:pt x="191385" y="148950"/>
                  </a:lnTo>
                  <a:lnTo>
                    <a:pt x="216678" y="148950"/>
                  </a:lnTo>
                  <a:lnTo>
                    <a:pt x="231855" y="144012"/>
                  </a:lnTo>
                  <a:lnTo>
                    <a:pt x="282441" y="116033"/>
                  </a:lnTo>
                  <a:lnTo>
                    <a:pt x="285814" y="117679"/>
                  </a:lnTo>
                  <a:lnTo>
                    <a:pt x="297617" y="142367"/>
                  </a:lnTo>
                  <a:lnTo>
                    <a:pt x="385301" y="178576"/>
                  </a:lnTo>
                  <a:lnTo>
                    <a:pt x="378556" y="181867"/>
                  </a:lnTo>
                  <a:lnTo>
                    <a:pt x="376870" y="183513"/>
                  </a:lnTo>
                  <a:lnTo>
                    <a:pt x="378556" y="188451"/>
                  </a:lnTo>
                  <a:lnTo>
                    <a:pt x="375184" y="190096"/>
                  </a:lnTo>
                  <a:lnTo>
                    <a:pt x="375184" y="191742"/>
                  </a:lnTo>
                  <a:lnTo>
                    <a:pt x="380242" y="191742"/>
                  </a:lnTo>
                  <a:lnTo>
                    <a:pt x="381928" y="195034"/>
                  </a:lnTo>
                  <a:lnTo>
                    <a:pt x="373497" y="198326"/>
                  </a:lnTo>
                  <a:lnTo>
                    <a:pt x="381928" y="224660"/>
                  </a:lnTo>
                  <a:lnTo>
                    <a:pt x="405536" y="249348"/>
                  </a:lnTo>
                  <a:lnTo>
                    <a:pt x="413967" y="264160"/>
                  </a:lnTo>
                  <a:lnTo>
                    <a:pt x="420712" y="272390"/>
                  </a:lnTo>
                  <a:lnTo>
                    <a:pt x="420712" y="270744"/>
                  </a:lnTo>
                  <a:lnTo>
                    <a:pt x="429143" y="272390"/>
                  </a:lnTo>
                  <a:lnTo>
                    <a:pt x="413967" y="334933"/>
                  </a:lnTo>
                  <a:lnTo>
                    <a:pt x="398791" y="320120"/>
                  </a:lnTo>
                  <a:lnTo>
                    <a:pt x="390360" y="326703"/>
                  </a:lnTo>
                  <a:lnTo>
                    <a:pt x="385301" y="313536"/>
                  </a:lnTo>
                  <a:lnTo>
                    <a:pt x="375184" y="320120"/>
                  </a:lnTo>
                  <a:lnTo>
                    <a:pt x="327969" y="320120"/>
                  </a:lnTo>
                  <a:lnTo>
                    <a:pt x="287500" y="323411"/>
                  </a:lnTo>
                  <a:lnTo>
                    <a:pt x="275697" y="326703"/>
                  </a:lnTo>
                  <a:lnTo>
                    <a:pt x="253776" y="341516"/>
                  </a:lnTo>
                  <a:lnTo>
                    <a:pt x="221737" y="374433"/>
                  </a:lnTo>
                  <a:lnTo>
                    <a:pt x="174523" y="399121"/>
                  </a:lnTo>
                  <a:lnTo>
                    <a:pt x="174523" y="405705"/>
                  </a:lnTo>
                  <a:lnTo>
                    <a:pt x="166092" y="395829"/>
                  </a:lnTo>
                  <a:lnTo>
                    <a:pt x="145857" y="384308"/>
                  </a:lnTo>
                  <a:lnTo>
                    <a:pt x="122250" y="349745"/>
                  </a:lnTo>
                  <a:lnTo>
                    <a:pt x="137426" y="339870"/>
                  </a:lnTo>
                  <a:lnTo>
                    <a:pt x="155974" y="315182"/>
                  </a:lnTo>
                  <a:lnTo>
                    <a:pt x="159347" y="292140"/>
                  </a:lnTo>
                  <a:lnTo>
                    <a:pt x="157661" y="288848"/>
                  </a:lnTo>
                  <a:lnTo>
                    <a:pt x="150916" y="292140"/>
                  </a:lnTo>
                  <a:lnTo>
                    <a:pt x="142485" y="293786"/>
                  </a:lnTo>
                  <a:lnTo>
                    <a:pt x="53115" y="287202"/>
                  </a:lnTo>
                  <a:lnTo>
                    <a:pt x="36253" y="237827"/>
                  </a:lnTo>
                  <a:lnTo>
                    <a:pt x="53115" y="232889"/>
                  </a:lnTo>
                  <a:lnTo>
                    <a:pt x="46370" y="213139"/>
                  </a:lnTo>
                  <a:lnTo>
                    <a:pt x="46370" y="208201"/>
                  </a:lnTo>
                  <a:lnTo>
                    <a:pt x="108760" y="195034"/>
                  </a:lnTo>
                  <a:lnTo>
                    <a:pt x="118878" y="190096"/>
                  </a:lnTo>
                  <a:lnTo>
                    <a:pt x="115505" y="186805"/>
                  </a:lnTo>
                  <a:lnTo>
                    <a:pt x="117191" y="180221"/>
                  </a:lnTo>
                  <a:lnTo>
                    <a:pt x="105388" y="181867"/>
                  </a:lnTo>
                  <a:lnTo>
                    <a:pt x="105388" y="180221"/>
                  </a:lnTo>
                  <a:lnTo>
                    <a:pt x="100329" y="180221"/>
                  </a:lnTo>
                  <a:lnTo>
                    <a:pt x="100329" y="173638"/>
                  </a:lnTo>
                  <a:lnTo>
                    <a:pt x="91898" y="175284"/>
                  </a:lnTo>
                  <a:lnTo>
                    <a:pt x="91898" y="167054"/>
                  </a:lnTo>
                  <a:lnTo>
                    <a:pt x="103701" y="167054"/>
                  </a:lnTo>
                  <a:lnTo>
                    <a:pt x="103701" y="162117"/>
                  </a:lnTo>
                  <a:lnTo>
                    <a:pt x="91898" y="162117"/>
                  </a:lnTo>
                  <a:lnTo>
                    <a:pt x="93584" y="157179"/>
                  </a:lnTo>
                  <a:lnTo>
                    <a:pt x="80094" y="157179"/>
                  </a:lnTo>
                  <a:lnTo>
                    <a:pt x="78408" y="137429"/>
                  </a:lnTo>
                  <a:lnTo>
                    <a:pt x="61546" y="142367"/>
                  </a:lnTo>
                  <a:lnTo>
                    <a:pt x="37939" y="144012"/>
                  </a:lnTo>
                  <a:lnTo>
                    <a:pt x="48056" y="112741"/>
                  </a:lnTo>
                  <a:lnTo>
                    <a:pt x="7587" y="114387"/>
                  </a:lnTo>
                  <a:lnTo>
                    <a:pt x="5900" y="109449"/>
                  </a:lnTo>
                  <a:lnTo>
                    <a:pt x="9273" y="102866"/>
                  </a:lnTo>
                  <a:lnTo>
                    <a:pt x="4214" y="79824"/>
                  </a:lnTo>
                  <a:lnTo>
                    <a:pt x="7587" y="71594"/>
                  </a:lnTo>
                  <a:lnTo>
                    <a:pt x="7587" y="51844"/>
                  </a:lnTo>
                  <a:lnTo>
                    <a:pt x="29508" y="12343"/>
                  </a:lnTo>
                  <a:lnTo>
                    <a:pt x="49742" y="4114"/>
                  </a:lnTo>
                  <a:lnTo>
                    <a:pt x="69977" y="17281"/>
                  </a:lnTo>
                  <a:lnTo>
                    <a:pt x="81781" y="3209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6" name="Voorschoten">
              <a:extLst>
                <a:ext uri="{FF2B5EF4-FFF2-40B4-BE49-F238E27FC236}">
                  <a16:creationId xmlns:a16="http://schemas.microsoft.com/office/drawing/2014/main" id="{7F8F1BD8-8288-4794-AAA1-4C7EC0962706}"/>
                </a:ext>
              </a:extLst>
            </p:cNvPr>
            <p:cNvSpPr/>
            <p:nvPr/>
          </p:nvSpPr>
          <p:spPr>
            <a:xfrm>
              <a:off x="5193902" y="3433862"/>
              <a:ext cx="70049" cy="70962"/>
            </a:xfrm>
            <a:custGeom>
              <a:avLst/>
              <a:gdLst/>
              <a:ahLst/>
              <a:cxnLst/>
              <a:rect l="l" t="t" r="r" b="b"/>
              <a:pathLst>
                <a:path w="105373" h="114300" extrusionOk="0">
                  <a:moveTo>
                    <a:pt x="98643" y="4114"/>
                  </a:moveTo>
                  <a:lnTo>
                    <a:pt x="103701" y="5760"/>
                  </a:lnTo>
                  <a:lnTo>
                    <a:pt x="105388" y="35385"/>
                  </a:lnTo>
                  <a:lnTo>
                    <a:pt x="108760" y="41969"/>
                  </a:lnTo>
                  <a:lnTo>
                    <a:pt x="107074" y="46906"/>
                  </a:lnTo>
                  <a:lnTo>
                    <a:pt x="73349" y="91345"/>
                  </a:lnTo>
                  <a:lnTo>
                    <a:pt x="59860" y="101220"/>
                  </a:lnTo>
                  <a:lnTo>
                    <a:pt x="53115" y="112741"/>
                  </a:lnTo>
                  <a:lnTo>
                    <a:pt x="44684" y="119324"/>
                  </a:lnTo>
                  <a:lnTo>
                    <a:pt x="34566" y="111095"/>
                  </a:lnTo>
                  <a:lnTo>
                    <a:pt x="22763" y="104511"/>
                  </a:lnTo>
                  <a:lnTo>
                    <a:pt x="21076" y="106157"/>
                  </a:lnTo>
                  <a:lnTo>
                    <a:pt x="19390" y="104511"/>
                  </a:lnTo>
                  <a:lnTo>
                    <a:pt x="21076" y="102866"/>
                  </a:lnTo>
                  <a:lnTo>
                    <a:pt x="4214" y="94636"/>
                  </a:lnTo>
                  <a:lnTo>
                    <a:pt x="22763" y="69949"/>
                  </a:lnTo>
                  <a:lnTo>
                    <a:pt x="31194" y="63365"/>
                  </a:lnTo>
                  <a:lnTo>
                    <a:pt x="68291" y="13989"/>
                  </a:lnTo>
                  <a:lnTo>
                    <a:pt x="69977" y="23864"/>
                  </a:lnTo>
                  <a:lnTo>
                    <a:pt x="78408" y="23864"/>
                  </a:lnTo>
                  <a:lnTo>
                    <a:pt x="93584" y="4114"/>
                  </a:lnTo>
                  <a:lnTo>
                    <a:pt x="9864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7" name="Tubbergen">
              <a:extLst>
                <a:ext uri="{FF2B5EF4-FFF2-40B4-BE49-F238E27FC236}">
                  <a16:creationId xmlns:a16="http://schemas.microsoft.com/office/drawing/2014/main" id="{C04DA6BF-C41A-4A25-907D-086960D0F056}"/>
                </a:ext>
              </a:extLst>
            </p:cNvPr>
            <p:cNvSpPr/>
            <p:nvPr/>
          </p:nvSpPr>
          <p:spPr>
            <a:xfrm>
              <a:off x="7570507" y="2899361"/>
              <a:ext cx="284003" cy="244083"/>
            </a:xfrm>
            <a:custGeom>
              <a:avLst/>
              <a:gdLst/>
              <a:ahLst/>
              <a:cxnLst/>
              <a:rect l="l" t="t" r="r" b="b"/>
              <a:pathLst>
                <a:path w="421494" h="365760" extrusionOk="0">
                  <a:moveTo>
                    <a:pt x="127309" y="37031"/>
                  </a:moveTo>
                  <a:lnTo>
                    <a:pt x="161033" y="48552"/>
                  </a:lnTo>
                  <a:lnTo>
                    <a:pt x="280755" y="45261"/>
                  </a:lnTo>
                  <a:lnTo>
                    <a:pt x="279069" y="68303"/>
                  </a:lnTo>
                  <a:lnTo>
                    <a:pt x="292559" y="65011"/>
                  </a:lnTo>
                  <a:lnTo>
                    <a:pt x="413966" y="101220"/>
                  </a:lnTo>
                  <a:lnTo>
                    <a:pt x="422398" y="97928"/>
                  </a:lnTo>
                  <a:lnTo>
                    <a:pt x="425770" y="107803"/>
                  </a:lnTo>
                  <a:lnTo>
                    <a:pt x="410594" y="107803"/>
                  </a:lnTo>
                  <a:lnTo>
                    <a:pt x="393732" y="104512"/>
                  </a:lnTo>
                  <a:lnTo>
                    <a:pt x="346518" y="109449"/>
                  </a:lnTo>
                  <a:lnTo>
                    <a:pt x="280755" y="124262"/>
                  </a:lnTo>
                  <a:lnTo>
                    <a:pt x="279069" y="153888"/>
                  </a:lnTo>
                  <a:lnTo>
                    <a:pt x="295931" y="170346"/>
                  </a:lnTo>
                  <a:lnTo>
                    <a:pt x="299304" y="277327"/>
                  </a:lnTo>
                  <a:lnTo>
                    <a:pt x="287500" y="285557"/>
                  </a:lnTo>
                  <a:lnTo>
                    <a:pt x="282441" y="280619"/>
                  </a:lnTo>
                  <a:lnTo>
                    <a:pt x="257147" y="280619"/>
                  </a:lnTo>
                  <a:lnTo>
                    <a:pt x="230168" y="274035"/>
                  </a:lnTo>
                  <a:lnTo>
                    <a:pt x="213306" y="282265"/>
                  </a:lnTo>
                  <a:lnTo>
                    <a:pt x="177895" y="287203"/>
                  </a:lnTo>
                  <a:lnTo>
                    <a:pt x="171150" y="311890"/>
                  </a:lnTo>
                  <a:lnTo>
                    <a:pt x="164405" y="320120"/>
                  </a:lnTo>
                  <a:lnTo>
                    <a:pt x="147543" y="328349"/>
                  </a:lnTo>
                  <a:lnTo>
                    <a:pt x="144171" y="331641"/>
                  </a:lnTo>
                  <a:lnTo>
                    <a:pt x="142484" y="356329"/>
                  </a:lnTo>
                  <a:lnTo>
                    <a:pt x="130681" y="362912"/>
                  </a:lnTo>
                  <a:lnTo>
                    <a:pt x="118877" y="346453"/>
                  </a:lnTo>
                  <a:lnTo>
                    <a:pt x="105388" y="339870"/>
                  </a:lnTo>
                  <a:lnTo>
                    <a:pt x="68291" y="329995"/>
                  </a:lnTo>
                  <a:lnTo>
                    <a:pt x="75036" y="323411"/>
                  </a:lnTo>
                  <a:lnTo>
                    <a:pt x="73349" y="321766"/>
                  </a:lnTo>
                  <a:lnTo>
                    <a:pt x="83467" y="308599"/>
                  </a:lnTo>
                  <a:lnTo>
                    <a:pt x="81780" y="287203"/>
                  </a:lnTo>
                  <a:lnTo>
                    <a:pt x="75036" y="274035"/>
                  </a:lnTo>
                  <a:lnTo>
                    <a:pt x="69977" y="255931"/>
                  </a:lnTo>
                  <a:lnTo>
                    <a:pt x="71663" y="249348"/>
                  </a:lnTo>
                  <a:lnTo>
                    <a:pt x="59859" y="246056"/>
                  </a:lnTo>
                  <a:lnTo>
                    <a:pt x="48056" y="214785"/>
                  </a:lnTo>
                  <a:lnTo>
                    <a:pt x="48056" y="208201"/>
                  </a:lnTo>
                  <a:lnTo>
                    <a:pt x="12645" y="160471"/>
                  </a:lnTo>
                  <a:lnTo>
                    <a:pt x="4214" y="152242"/>
                  </a:lnTo>
                  <a:lnTo>
                    <a:pt x="7586" y="140721"/>
                  </a:lnTo>
                  <a:lnTo>
                    <a:pt x="14332" y="137429"/>
                  </a:lnTo>
                  <a:lnTo>
                    <a:pt x="9273" y="134137"/>
                  </a:lnTo>
                  <a:lnTo>
                    <a:pt x="10959" y="129199"/>
                  </a:lnTo>
                  <a:lnTo>
                    <a:pt x="16018" y="127554"/>
                  </a:lnTo>
                  <a:lnTo>
                    <a:pt x="9273" y="111095"/>
                  </a:lnTo>
                  <a:lnTo>
                    <a:pt x="7586" y="94637"/>
                  </a:lnTo>
                  <a:lnTo>
                    <a:pt x="12645" y="88053"/>
                  </a:lnTo>
                  <a:lnTo>
                    <a:pt x="22763" y="83115"/>
                  </a:lnTo>
                  <a:lnTo>
                    <a:pt x="36252" y="79824"/>
                  </a:lnTo>
                  <a:lnTo>
                    <a:pt x="39625" y="71595"/>
                  </a:lnTo>
                  <a:lnTo>
                    <a:pt x="44684" y="68303"/>
                  </a:lnTo>
                  <a:lnTo>
                    <a:pt x="49742" y="45261"/>
                  </a:lnTo>
                  <a:lnTo>
                    <a:pt x="73349" y="4114"/>
                  </a:lnTo>
                  <a:lnTo>
                    <a:pt x="83467" y="7406"/>
                  </a:lnTo>
                  <a:lnTo>
                    <a:pt x="127309" y="3703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8" name="Montferland">
              <a:extLst>
                <a:ext uri="{FF2B5EF4-FFF2-40B4-BE49-F238E27FC236}">
                  <a16:creationId xmlns:a16="http://schemas.microsoft.com/office/drawing/2014/main" id="{8CAA3ED3-2B29-4590-AB43-4E1EFEDAD58B}"/>
                </a:ext>
              </a:extLst>
            </p:cNvPr>
            <p:cNvSpPr/>
            <p:nvPr/>
          </p:nvSpPr>
          <p:spPr>
            <a:xfrm>
              <a:off x="6969378" y="3708178"/>
              <a:ext cx="253929" cy="182527"/>
            </a:xfrm>
            <a:custGeom>
              <a:avLst/>
              <a:gdLst/>
              <a:ahLst/>
              <a:cxnLst/>
              <a:rect l="l" t="t" r="r" b="b"/>
              <a:pathLst>
                <a:path w="374661" h="274320" extrusionOk="0">
                  <a:moveTo>
                    <a:pt x="95270" y="37031"/>
                  </a:moveTo>
                  <a:lnTo>
                    <a:pt x="115505" y="63365"/>
                  </a:lnTo>
                  <a:lnTo>
                    <a:pt x="128995" y="68302"/>
                  </a:lnTo>
                  <a:lnTo>
                    <a:pt x="139112" y="79824"/>
                  </a:lnTo>
                  <a:lnTo>
                    <a:pt x="147543" y="81470"/>
                  </a:lnTo>
                  <a:lnTo>
                    <a:pt x="154288" y="88053"/>
                  </a:lnTo>
                  <a:lnTo>
                    <a:pt x="154288" y="92991"/>
                  </a:lnTo>
                  <a:lnTo>
                    <a:pt x="161033" y="97928"/>
                  </a:lnTo>
                  <a:lnTo>
                    <a:pt x="179582" y="107803"/>
                  </a:lnTo>
                  <a:lnTo>
                    <a:pt x="179582" y="106157"/>
                  </a:lnTo>
                  <a:lnTo>
                    <a:pt x="176209" y="102866"/>
                  </a:lnTo>
                  <a:lnTo>
                    <a:pt x="176209" y="94636"/>
                  </a:lnTo>
                  <a:lnTo>
                    <a:pt x="193072" y="92991"/>
                  </a:lnTo>
                  <a:lnTo>
                    <a:pt x="196444" y="89699"/>
                  </a:lnTo>
                  <a:lnTo>
                    <a:pt x="201503" y="92991"/>
                  </a:lnTo>
                  <a:lnTo>
                    <a:pt x="204875" y="91345"/>
                  </a:lnTo>
                  <a:lnTo>
                    <a:pt x="203189" y="89699"/>
                  </a:lnTo>
                  <a:lnTo>
                    <a:pt x="282441" y="91345"/>
                  </a:lnTo>
                  <a:lnTo>
                    <a:pt x="282441" y="94636"/>
                  </a:lnTo>
                  <a:lnTo>
                    <a:pt x="285814" y="94636"/>
                  </a:lnTo>
                  <a:lnTo>
                    <a:pt x="292559" y="91345"/>
                  </a:lnTo>
                  <a:lnTo>
                    <a:pt x="327970" y="88053"/>
                  </a:lnTo>
                  <a:lnTo>
                    <a:pt x="326283" y="94636"/>
                  </a:lnTo>
                  <a:lnTo>
                    <a:pt x="334714" y="104512"/>
                  </a:lnTo>
                  <a:lnTo>
                    <a:pt x="333028" y="106157"/>
                  </a:lnTo>
                  <a:lnTo>
                    <a:pt x="322911" y="101220"/>
                  </a:lnTo>
                  <a:lnTo>
                    <a:pt x="322911" y="104512"/>
                  </a:lnTo>
                  <a:lnTo>
                    <a:pt x="317852" y="109449"/>
                  </a:lnTo>
                  <a:lnTo>
                    <a:pt x="319538" y="116033"/>
                  </a:lnTo>
                  <a:lnTo>
                    <a:pt x="314480" y="119324"/>
                  </a:lnTo>
                  <a:lnTo>
                    <a:pt x="309421" y="134137"/>
                  </a:lnTo>
                  <a:lnTo>
                    <a:pt x="311107" y="140720"/>
                  </a:lnTo>
                  <a:lnTo>
                    <a:pt x="317852" y="145658"/>
                  </a:lnTo>
                  <a:lnTo>
                    <a:pt x="327970" y="147304"/>
                  </a:lnTo>
                  <a:lnTo>
                    <a:pt x="343145" y="145658"/>
                  </a:lnTo>
                  <a:lnTo>
                    <a:pt x="349890" y="150596"/>
                  </a:lnTo>
                  <a:lnTo>
                    <a:pt x="349890" y="163763"/>
                  </a:lnTo>
                  <a:lnTo>
                    <a:pt x="341459" y="170346"/>
                  </a:lnTo>
                  <a:lnTo>
                    <a:pt x="338087" y="167054"/>
                  </a:lnTo>
                  <a:lnTo>
                    <a:pt x="334714" y="180221"/>
                  </a:lnTo>
                  <a:lnTo>
                    <a:pt x="344832" y="196680"/>
                  </a:lnTo>
                  <a:lnTo>
                    <a:pt x="375184" y="211493"/>
                  </a:lnTo>
                  <a:lnTo>
                    <a:pt x="363380" y="221368"/>
                  </a:lnTo>
                  <a:lnTo>
                    <a:pt x="371811" y="239472"/>
                  </a:lnTo>
                  <a:lnTo>
                    <a:pt x="370125" y="239472"/>
                  </a:lnTo>
                  <a:lnTo>
                    <a:pt x="371811" y="242764"/>
                  </a:lnTo>
                  <a:lnTo>
                    <a:pt x="366753" y="246056"/>
                  </a:lnTo>
                  <a:lnTo>
                    <a:pt x="375184" y="255931"/>
                  </a:lnTo>
                  <a:lnTo>
                    <a:pt x="368439" y="259223"/>
                  </a:lnTo>
                  <a:lnTo>
                    <a:pt x="371811" y="264160"/>
                  </a:lnTo>
                  <a:lnTo>
                    <a:pt x="361694" y="270744"/>
                  </a:lnTo>
                  <a:lnTo>
                    <a:pt x="341459" y="269098"/>
                  </a:lnTo>
                  <a:lnTo>
                    <a:pt x="324597" y="272390"/>
                  </a:lnTo>
                  <a:lnTo>
                    <a:pt x="295931" y="257577"/>
                  </a:lnTo>
                  <a:lnTo>
                    <a:pt x="284128" y="257577"/>
                  </a:lnTo>
                  <a:lnTo>
                    <a:pt x="279069" y="259223"/>
                  </a:lnTo>
                  <a:lnTo>
                    <a:pt x="268951" y="272390"/>
                  </a:lnTo>
                  <a:lnTo>
                    <a:pt x="243658" y="269098"/>
                  </a:lnTo>
                  <a:lnTo>
                    <a:pt x="233541" y="270744"/>
                  </a:lnTo>
                  <a:lnTo>
                    <a:pt x="225110" y="269098"/>
                  </a:lnTo>
                  <a:lnTo>
                    <a:pt x="196444" y="275681"/>
                  </a:lnTo>
                  <a:lnTo>
                    <a:pt x="164406" y="255931"/>
                  </a:lnTo>
                  <a:lnTo>
                    <a:pt x="147543" y="239472"/>
                  </a:lnTo>
                  <a:lnTo>
                    <a:pt x="145857" y="231243"/>
                  </a:lnTo>
                  <a:lnTo>
                    <a:pt x="159347" y="227951"/>
                  </a:lnTo>
                  <a:lnTo>
                    <a:pt x="157661" y="224660"/>
                  </a:lnTo>
                  <a:lnTo>
                    <a:pt x="159347" y="218076"/>
                  </a:lnTo>
                  <a:lnTo>
                    <a:pt x="145857" y="211493"/>
                  </a:lnTo>
                  <a:lnTo>
                    <a:pt x="125622" y="195034"/>
                  </a:lnTo>
                  <a:lnTo>
                    <a:pt x="122250" y="195034"/>
                  </a:lnTo>
                  <a:lnTo>
                    <a:pt x="115505" y="190096"/>
                  </a:lnTo>
                  <a:lnTo>
                    <a:pt x="107074" y="181867"/>
                  </a:lnTo>
                  <a:lnTo>
                    <a:pt x="105388" y="170346"/>
                  </a:lnTo>
                  <a:lnTo>
                    <a:pt x="103701" y="170346"/>
                  </a:lnTo>
                  <a:lnTo>
                    <a:pt x="100329" y="176930"/>
                  </a:lnTo>
                  <a:lnTo>
                    <a:pt x="90212" y="170346"/>
                  </a:lnTo>
                  <a:lnTo>
                    <a:pt x="85153" y="165409"/>
                  </a:lnTo>
                  <a:lnTo>
                    <a:pt x="85153" y="153888"/>
                  </a:lnTo>
                  <a:lnTo>
                    <a:pt x="81781" y="160471"/>
                  </a:lnTo>
                  <a:lnTo>
                    <a:pt x="78408" y="160471"/>
                  </a:lnTo>
                  <a:lnTo>
                    <a:pt x="10959" y="109449"/>
                  </a:lnTo>
                  <a:lnTo>
                    <a:pt x="9273" y="104512"/>
                  </a:lnTo>
                  <a:lnTo>
                    <a:pt x="5901" y="104512"/>
                  </a:lnTo>
                  <a:lnTo>
                    <a:pt x="4214" y="35385"/>
                  </a:lnTo>
                  <a:lnTo>
                    <a:pt x="22763" y="37031"/>
                  </a:lnTo>
                  <a:lnTo>
                    <a:pt x="31194" y="37031"/>
                  </a:lnTo>
                  <a:lnTo>
                    <a:pt x="51429" y="25510"/>
                  </a:lnTo>
                  <a:lnTo>
                    <a:pt x="49742" y="20573"/>
                  </a:lnTo>
                  <a:lnTo>
                    <a:pt x="63232" y="9052"/>
                  </a:lnTo>
                  <a:lnTo>
                    <a:pt x="86839" y="4114"/>
                  </a:lnTo>
                  <a:lnTo>
                    <a:pt x="95270" y="3703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59" name="Zaanstad">
              <a:extLst>
                <a:ext uri="{FF2B5EF4-FFF2-40B4-BE49-F238E27FC236}">
                  <a16:creationId xmlns:a16="http://schemas.microsoft.com/office/drawing/2014/main" id="{95661758-1683-4690-8372-D408FC651606}"/>
                </a:ext>
              </a:extLst>
            </p:cNvPr>
            <p:cNvSpPr/>
            <p:nvPr/>
          </p:nvSpPr>
          <p:spPr>
            <a:xfrm>
              <a:off x="5484984" y="2834856"/>
              <a:ext cx="191876" cy="175026"/>
            </a:xfrm>
            <a:custGeom>
              <a:avLst/>
              <a:gdLst/>
              <a:ahLst/>
              <a:cxnLst/>
              <a:rect l="l" t="t" r="r" b="b"/>
              <a:pathLst>
                <a:path w="280996" h="251460" extrusionOk="0">
                  <a:moveTo>
                    <a:pt x="128995" y="5760"/>
                  </a:moveTo>
                  <a:lnTo>
                    <a:pt x="135740" y="10697"/>
                  </a:lnTo>
                  <a:lnTo>
                    <a:pt x="139112" y="7406"/>
                  </a:lnTo>
                  <a:lnTo>
                    <a:pt x="144171" y="9052"/>
                  </a:lnTo>
                  <a:lnTo>
                    <a:pt x="144171" y="7406"/>
                  </a:lnTo>
                  <a:lnTo>
                    <a:pt x="179582" y="9052"/>
                  </a:lnTo>
                  <a:lnTo>
                    <a:pt x="177895" y="27156"/>
                  </a:lnTo>
                  <a:lnTo>
                    <a:pt x="184640" y="38677"/>
                  </a:lnTo>
                  <a:lnTo>
                    <a:pt x="186327" y="63365"/>
                  </a:lnTo>
                  <a:lnTo>
                    <a:pt x="182954" y="76532"/>
                  </a:lnTo>
                  <a:lnTo>
                    <a:pt x="191385" y="76532"/>
                  </a:lnTo>
                  <a:lnTo>
                    <a:pt x="218365" y="97928"/>
                  </a:lnTo>
                  <a:lnTo>
                    <a:pt x="250403" y="104512"/>
                  </a:lnTo>
                  <a:lnTo>
                    <a:pt x="250403" y="111095"/>
                  </a:lnTo>
                  <a:lnTo>
                    <a:pt x="257148" y="122616"/>
                  </a:lnTo>
                  <a:lnTo>
                    <a:pt x="272324" y="127554"/>
                  </a:lnTo>
                  <a:lnTo>
                    <a:pt x="267265" y="150596"/>
                  </a:lnTo>
                  <a:lnTo>
                    <a:pt x="260520" y="160471"/>
                  </a:lnTo>
                  <a:lnTo>
                    <a:pt x="260520" y="168700"/>
                  </a:lnTo>
                  <a:lnTo>
                    <a:pt x="258834" y="170346"/>
                  </a:lnTo>
                  <a:lnTo>
                    <a:pt x="274010" y="195034"/>
                  </a:lnTo>
                  <a:lnTo>
                    <a:pt x="287500" y="226306"/>
                  </a:lnTo>
                  <a:lnTo>
                    <a:pt x="280755" y="237827"/>
                  </a:lnTo>
                  <a:lnTo>
                    <a:pt x="282441" y="247702"/>
                  </a:lnTo>
                  <a:lnTo>
                    <a:pt x="277383" y="257577"/>
                  </a:lnTo>
                  <a:lnTo>
                    <a:pt x="69977" y="213138"/>
                  </a:lnTo>
                  <a:lnTo>
                    <a:pt x="56487" y="206555"/>
                  </a:lnTo>
                  <a:lnTo>
                    <a:pt x="4214" y="160471"/>
                  </a:lnTo>
                  <a:lnTo>
                    <a:pt x="19390" y="144012"/>
                  </a:lnTo>
                  <a:lnTo>
                    <a:pt x="17704" y="142367"/>
                  </a:lnTo>
                  <a:lnTo>
                    <a:pt x="34566" y="129199"/>
                  </a:lnTo>
                  <a:lnTo>
                    <a:pt x="39625" y="124262"/>
                  </a:lnTo>
                  <a:lnTo>
                    <a:pt x="42997" y="101220"/>
                  </a:lnTo>
                  <a:lnTo>
                    <a:pt x="51429" y="97928"/>
                  </a:lnTo>
                  <a:lnTo>
                    <a:pt x="54801" y="81470"/>
                  </a:lnTo>
                  <a:lnTo>
                    <a:pt x="63232" y="71594"/>
                  </a:lnTo>
                  <a:lnTo>
                    <a:pt x="75036" y="66657"/>
                  </a:lnTo>
                  <a:lnTo>
                    <a:pt x="90212" y="63365"/>
                  </a:lnTo>
                  <a:lnTo>
                    <a:pt x="120564" y="35385"/>
                  </a:lnTo>
                  <a:lnTo>
                    <a:pt x="122250" y="28802"/>
                  </a:lnTo>
                  <a:lnTo>
                    <a:pt x="117191" y="18927"/>
                  </a:lnTo>
                  <a:lnTo>
                    <a:pt x="115505" y="12343"/>
                  </a:lnTo>
                  <a:lnTo>
                    <a:pt x="118878" y="5760"/>
                  </a:lnTo>
                  <a:lnTo>
                    <a:pt x="122250" y="4114"/>
                  </a:lnTo>
                  <a:lnTo>
                    <a:pt x="128995"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0" name="Westerwolde">
              <a:extLst>
                <a:ext uri="{FF2B5EF4-FFF2-40B4-BE49-F238E27FC236}">
                  <a16:creationId xmlns:a16="http://schemas.microsoft.com/office/drawing/2014/main" id="{D94F0AA4-DF83-4FB5-9F2A-13A61AD979C9}"/>
                </a:ext>
              </a:extLst>
            </p:cNvPr>
            <p:cNvSpPr/>
            <p:nvPr/>
          </p:nvSpPr>
          <p:spPr>
            <a:xfrm>
              <a:off x="7903090" y="1797155"/>
              <a:ext cx="228092" cy="517352"/>
            </a:xfrm>
            <a:custGeom>
              <a:avLst/>
              <a:gdLst>
                <a:gd name="connsiteX0" fmla="*/ 99210 w 208811"/>
                <a:gd name="connsiteY0" fmla="*/ 180159 h 533743"/>
                <a:gd name="connsiteX1" fmla="*/ 99214 w 208811"/>
                <a:gd name="connsiteY1" fmla="*/ 180166 h 533743"/>
                <a:gd name="connsiteX2" fmla="*/ 99215 w 208811"/>
                <a:gd name="connsiteY2" fmla="*/ 180166 h 533743"/>
                <a:gd name="connsiteX3" fmla="*/ 104983 w 208811"/>
                <a:gd name="connsiteY3" fmla="*/ 179040 h 533743"/>
                <a:gd name="connsiteX4" fmla="*/ 104982 w 208811"/>
                <a:gd name="connsiteY4" fmla="*/ 179040 h 533743"/>
                <a:gd name="connsiteX5" fmla="*/ 118826 w 208811"/>
                <a:gd name="connsiteY5" fmla="*/ 201561 h 533743"/>
                <a:gd name="connsiteX6" fmla="*/ 118827 w 208811"/>
                <a:gd name="connsiteY6" fmla="*/ 201561 h 533743"/>
                <a:gd name="connsiteX7" fmla="*/ 72680 w 208811"/>
                <a:gd name="connsiteY7" fmla="*/ 166654 h 533743"/>
                <a:gd name="connsiteX8" fmla="*/ 72680 w 208811"/>
                <a:gd name="connsiteY8" fmla="*/ 172284 h 533743"/>
                <a:gd name="connsiteX9" fmla="*/ 73699 w 208811"/>
                <a:gd name="connsiteY9" fmla="*/ 172616 h 533743"/>
                <a:gd name="connsiteX10" fmla="*/ 72681 w 208811"/>
                <a:gd name="connsiteY10" fmla="*/ 166654 h 533743"/>
                <a:gd name="connsiteX11" fmla="*/ 88826 w 208811"/>
                <a:gd name="connsiteY11" fmla="*/ 165531 h 533743"/>
                <a:gd name="connsiteX12" fmla="*/ 74717 w 208811"/>
                <a:gd name="connsiteY12" fmla="*/ 172947 h 533743"/>
                <a:gd name="connsiteX13" fmla="*/ 76141 w 208811"/>
                <a:gd name="connsiteY13" fmla="*/ 173410 h 533743"/>
                <a:gd name="connsiteX14" fmla="*/ 88832 w 208811"/>
                <a:gd name="connsiteY14" fmla="*/ 165528 h 533743"/>
                <a:gd name="connsiteX15" fmla="*/ 88831 w 208811"/>
                <a:gd name="connsiteY15" fmla="*/ 165528 h 533743"/>
                <a:gd name="connsiteX16" fmla="*/ 88837 w 208811"/>
                <a:gd name="connsiteY16" fmla="*/ 165535 h 533743"/>
                <a:gd name="connsiteX17" fmla="*/ 129210 w 208811"/>
                <a:gd name="connsiteY17" fmla="*/ 0 h 533743"/>
                <a:gd name="connsiteX18" fmla="*/ 158052 w 208811"/>
                <a:gd name="connsiteY18" fmla="*/ 20269 h 533743"/>
                <a:gd name="connsiteX19" fmla="*/ 161513 w 208811"/>
                <a:gd name="connsiteY19" fmla="*/ 12387 h 533743"/>
                <a:gd name="connsiteX20" fmla="*/ 167281 w 208811"/>
                <a:gd name="connsiteY20" fmla="*/ 9008 h 533743"/>
                <a:gd name="connsiteX21" fmla="*/ 174203 w 208811"/>
                <a:gd name="connsiteY21" fmla="*/ 7882 h 533743"/>
                <a:gd name="connsiteX22" fmla="*/ 174203 w 208811"/>
                <a:gd name="connsiteY22" fmla="*/ 20269 h 533743"/>
                <a:gd name="connsiteX23" fmla="*/ 168434 w 208811"/>
                <a:gd name="connsiteY23" fmla="*/ 32655 h 533743"/>
                <a:gd name="connsiteX24" fmla="*/ 164973 w 208811"/>
                <a:gd name="connsiteY24" fmla="*/ 36033 h 533743"/>
                <a:gd name="connsiteX25" fmla="*/ 163820 w 208811"/>
                <a:gd name="connsiteY25" fmla="*/ 36033 h 533743"/>
                <a:gd name="connsiteX26" fmla="*/ 164973 w 208811"/>
                <a:gd name="connsiteY26" fmla="*/ 41663 h 533743"/>
                <a:gd name="connsiteX27" fmla="*/ 166127 w 208811"/>
                <a:gd name="connsiteY27" fmla="*/ 54049 h 533743"/>
                <a:gd name="connsiteX28" fmla="*/ 171895 w 208811"/>
                <a:gd name="connsiteY28" fmla="*/ 59680 h 533743"/>
                <a:gd name="connsiteX29" fmla="*/ 168434 w 208811"/>
                <a:gd name="connsiteY29" fmla="*/ 63058 h 533743"/>
                <a:gd name="connsiteX30" fmla="*/ 189200 w 208811"/>
                <a:gd name="connsiteY30" fmla="*/ 76571 h 533743"/>
                <a:gd name="connsiteX31" fmla="*/ 186893 w 208811"/>
                <a:gd name="connsiteY31" fmla="*/ 129494 h 533743"/>
                <a:gd name="connsiteX32" fmla="*/ 193815 w 208811"/>
                <a:gd name="connsiteY32" fmla="*/ 172284 h 533743"/>
                <a:gd name="connsiteX33" fmla="*/ 193814 w 208811"/>
                <a:gd name="connsiteY33" fmla="*/ 172284 h 533743"/>
                <a:gd name="connsiteX34" fmla="*/ 204197 w 208811"/>
                <a:gd name="connsiteY34" fmla="*/ 245477 h 533743"/>
                <a:gd name="connsiteX35" fmla="*/ 208811 w 208811"/>
                <a:gd name="connsiteY35" fmla="*/ 252233 h 533743"/>
                <a:gd name="connsiteX36" fmla="*/ 200736 w 208811"/>
                <a:gd name="connsiteY36" fmla="*/ 262367 h 533743"/>
                <a:gd name="connsiteX37" fmla="*/ 175355 w 208811"/>
                <a:gd name="connsiteY37" fmla="*/ 361459 h 533743"/>
                <a:gd name="connsiteX38" fmla="*/ 99214 w 208811"/>
                <a:gd name="connsiteY38" fmla="*/ 490953 h 533743"/>
                <a:gd name="connsiteX39" fmla="*/ 81909 w 208811"/>
                <a:gd name="connsiteY39" fmla="*/ 514601 h 533743"/>
                <a:gd name="connsiteX40" fmla="*/ 88831 w 208811"/>
                <a:gd name="connsiteY40" fmla="*/ 533743 h 533743"/>
                <a:gd name="connsiteX41" fmla="*/ 66911 w 208811"/>
                <a:gd name="connsiteY41" fmla="*/ 533743 h 533743"/>
                <a:gd name="connsiteX42" fmla="*/ 66911 w 208811"/>
                <a:gd name="connsiteY42" fmla="*/ 522483 h 533743"/>
                <a:gd name="connsiteX43" fmla="*/ 71526 w 208811"/>
                <a:gd name="connsiteY43" fmla="*/ 514601 h 533743"/>
                <a:gd name="connsiteX44" fmla="*/ 64604 w 208811"/>
                <a:gd name="connsiteY44" fmla="*/ 519105 h 533743"/>
                <a:gd name="connsiteX45" fmla="*/ 59990 w 208811"/>
                <a:gd name="connsiteY45" fmla="*/ 512349 h 533743"/>
                <a:gd name="connsiteX46" fmla="*/ 57682 w 208811"/>
                <a:gd name="connsiteY46" fmla="*/ 512349 h 533743"/>
                <a:gd name="connsiteX47" fmla="*/ 40377 w 208811"/>
                <a:gd name="connsiteY47" fmla="*/ 488702 h 533743"/>
                <a:gd name="connsiteX48" fmla="*/ 36916 w 208811"/>
                <a:gd name="connsiteY48" fmla="*/ 489828 h 533743"/>
                <a:gd name="connsiteX49" fmla="*/ 33455 w 208811"/>
                <a:gd name="connsiteY49" fmla="*/ 477441 h 533743"/>
                <a:gd name="connsiteX50" fmla="*/ 6921 w 208811"/>
                <a:gd name="connsiteY50" fmla="*/ 478567 h 533743"/>
                <a:gd name="connsiteX51" fmla="*/ 36916 w 208811"/>
                <a:gd name="connsiteY51" fmla="*/ 406501 h 533743"/>
                <a:gd name="connsiteX52" fmla="*/ 17304 w 208811"/>
                <a:gd name="connsiteY52" fmla="*/ 401996 h 533743"/>
                <a:gd name="connsiteX53" fmla="*/ 19612 w 208811"/>
                <a:gd name="connsiteY53" fmla="*/ 394114 h 533743"/>
                <a:gd name="connsiteX54" fmla="*/ 26533 w 208811"/>
                <a:gd name="connsiteY54" fmla="*/ 385106 h 533743"/>
                <a:gd name="connsiteX55" fmla="*/ 55375 w 208811"/>
                <a:gd name="connsiteY55" fmla="*/ 381728 h 533743"/>
                <a:gd name="connsiteX56" fmla="*/ 55375 w 208811"/>
                <a:gd name="connsiteY56" fmla="*/ 347947 h 533743"/>
                <a:gd name="connsiteX57" fmla="*/ 59990 w 208811"/>
                <a:gd name="connsiteY57" fmla="*/ 344568 h 533743"/>
                <a:gd name="connsiteX58" fmla="*/ 61143 w 208811"/>
                <a:gd name="connsiteY58" fmla="*/ 261241 h 533743"/>
                <a:gd name="connsiteX59" fmla="*/ 88831 w 208811"/>
                <a:gd name="connsiteY59" fmla="*/ 238720 h 533743"/>
                <a:gd name="connsiteX60" fmla="*/ 86524 w 208811"/>
                <a:gd name="connsiteY60" fmla="*/ 230838 h 533743"/>
                <a:gd name="connsiteX61" fmla="*/ 80755 w 208811"/>
                <a:gd name="connsiteY61" fmla="*/ 228586 h 533743"/>
                <a:gd name="connsiteX62" fmla="*/ 76141 w 208811"/>
                <a:gd name="connsiteY62" fmla="*/ 222956 h 533743"/>
                <a:gd name="connsiteX63" fmla="*/ 70373 w 208811"/>
                <a:gd name="connsiteY63" fmla="*/ 225208 h 533743"/>
                <a:gd name="connsiteX64" fmla="*/ 69218 w 208811"/>
                <a:gd name="connsiteY64" fmla="*/ 220704 h 533743"/>
                <a:gd name="connsiteX65" fmla="*/ 70373 w 208811"/>
                <a:gd name="connsiteY65" fmla="*/ 201561 h 533743"/>
                <a:gd name="connsiteX66" fmla="*/ 73834 w 208811"/>
                <a:gd name="connsiteY66" fmla="*/ 200435 h 533743"/>
                <a:gd name="connsiteX67" fmla="*/ 73834 w 208811"/>
                <a:gd name="connsiteY67" fmla="*/ 197057 h 533743"/>
                <a:gd name="connsiteX68" fmla="*/ 69218 w 208811"/>
                <a:gd name="connsiteY68" fmla="*/ 193679 h 533743"/>
                <a:gd name="connsiteX69" fmla="*/ 57682 w 208811"/>
                <a:gd name="connsiteY69" fmla="*/ 194805 h 533743"/>
                <a:gd name="connsiteX70" fmla="*/ 56529 w 208811"/>
                <a:gd name="connsiteY70" fmla="*/ 195931 h 533743"/>
                <a:gd name="connsiteX71" fmla="*/ 55375 w 208811"/>
                <a:gd name="connsiteY71" fmla="*/ 195931 h 533743"/>
                <a:gd name="connsiteX72" fmla="*/ 54222 w 208811"/>
                <a:gd name="connsiteY72" fmla="*/ 192553 h 533743"/>
                <a:gd name="connsiteX73" fmla="*/ 56529 w 208811"/>
                <a:gd name="connsiteY73" fmla="*/ 192553 h 533743"/>
                <a:gd name="connsiteX74" fmla="*/ 54222 w 208811"/>
                <a:gd name="connsiteY74" fmla="*/ 188048 h 533743"/>
                <a:gd name="connsiteX75" fmla="*/ 55375 w 208811"/>
                <a:gd name="connsiteY75" fmla="*/ 189175 h 533743"/>
                <a:gd name="connsiteX76" fmla="*/ 56529 w 208811"/>
                <a:gd name="connsiteY76" fmla="*/ 184671 h 533743"/>
                <a:gd name="connsiteX77" fmla="*/ 55375 w 208811"/>
                <a:gd name="connsiteY77" fmla="*/ 183545 h 533743"/>
                <a:gd name="connsiteX78" fmla="*/ 61143 w 208811"/>
                <a:gd name="connsiteY78" fmla="*/ 184671 h 533743"/>
                <a:gd name="connsiteX79" fmla="*/ 63450 w 208811"/>
                <a:gd name="connsiteY79" fmla="*/ 182418 h 533743"/>
                <a:gd name="connsiteX80" fmla="*/ 66911 w 208811"/>
                <a:gd name="connsiteY80" fmla="*/ 165528 h 533743"/>
                <a:gd name="connsiteX81" fmla="*/ 71918 w 208811"/>
                <a:gd name="connsiteY81" fmla="*/ 166505 h 533743"/>
                <a:gd name="connsiteX82" fmla="*/ 66913 w 208811"/>
                <a:gd name="connsiteY82" fmla="*/ 165528 h 533743"/>
                <a:gd name="connsiteX83" fmla="*/ 55376 w 208811"/>
                <a:gd name="connsiteY83" fmla="*/ 156520 h 533743"/>
                <a:gd name="connsiteX84" fmla="*/ 54222 w 208811"/>
                <a:gd name="connsiteY84" fmla="*/ 157646 h 533743"/>
                <a:gd name="connsiteX85" fmla="*/ 51915 w 208811"/>
                <a:gd name="connsiteY85" fmla="*/ 156520 h 533743"/>
                <a:gd name="connsiteX86" fmla="*/ 46146 w 208811"/>
                <a:gd name="connsiteY86" fmla="*/ 158772 h 533743"/>
                <a:gd name="connsiteX87" fmla="*/ 46146 w 208811"/>
                <a:gd name="connsiteY87" fmla="*/ 157646 h 533743"/>
                <a:gd name="connsiteX88" fmla="*/ 19612 w 208811"/>
                <a:gd name="connsiteY88" fmla="*/ 161023 h 533743"/>
                <a:gd name="connsiteX89" fmla="*/ 18459 w 208811"/>
                <a:gd name="connsiteY89" fmla="*/ 157646 h 533743"/>
                <a:gd name="connsiteX90" fmla="*/ 14998 w 208811"/>
                <a:gd name="connsiteY90" fmla="*/ 157646 h 533743"/>
                <a:gd name="connsiteX91" fmla="*/ 3461 w 208811"/>
                <a:gd name="connsiteY91" fmla="*/ 149763 h 533743"/>
                <a:gd name="connsiteX92" fmla="*/ 0 w 208811"/>
                <a:gd name="connsiteY92" fmla="*/ 149763 h 533743"/>
                <a:gd name="connsiteX93" fmla="*/ 26534 w 208811"/>
                <a:gd name="connsiteY93" fmla="*/ 100218 h 533743"/>
                <a:gd name="connsiteX94" fmla="*/ 13844 w 208811"/>
                <a:gd name="connsiteY94" fmla="*/ 88957 h 533743"/>
                <a:gd name="connsiteX95" fmla="*/ 11537 w 208811"/>
                <a:gd name="connsiteY95" fmla="*/ 83327 h 533743"/>
                <a:gd name="connsiteX96" fmla="*/ 9229 w 208811"/>
                <a:gd name="connsiteY96" fmla="*/ 82201 h 533743"/>
                <a:gd name="connsiteX97" fmla="*/ 12691 w 208811"/>
                <a:gd name="connsiteY97" fmla="*/ 78822 h 533743"/>
                <a:gd name="connsiteX98" fmla="*/ 17305 w 208811"/>
                <a:gd name="connsiteY98" fmla="*/ 76571 h 533743"/>
                <a:gd name="connsiteX99" fmla="*/ 18459 w 208811"/>
                <a:gd name="connsiteY99" fmla="*/ 69815 h 533743"/>
                <a:gd name="connsiteX100" fmla="*/ 34610 w 208811"/>
                <a:gd name="connsiteY100" fmla="*/ 52924 h 533743"/>
                <a:gd name="connsiteX101" fmla="*/ 64605 w 208811"/>
                <a:gd name="connsiteY101" fmla="*/ 29277 h 533743"/>
                <a:gd name="connsiteX102" fmla="*/ 71527 w 208811"/>
                <a:gd name="connsiteY102" fmla="*/ 27025 h 533743"/>
                <a:gd name="connsiteX103" fmla="*/ 83064 w 208811"/>
                <a:gd name="connsiteY103" fmla="*/ 29277 h 533743"/>
                <a:gd name="connsiteX104" fmla="*/ 88832 w 208811"/>
                <a:gd name="connsiteY104" fmla="*/ 28151 h 533743"/>
                <a:gd name="connsiteX105" fmla="*/ 109598 w 208811"/>
                <a:gd name="connsiteY105" fmla="*/ 15764 h 533743"/>
                <a:gd name="connsiteX106" fmla="*/ 123441 w 208811"/>
                <a:gd name="connsiteY106" fmla="*/ 11260 h 533743"/>
                <a:gd name="connsiteX107" fmla="*/ 125749 w 208811"/>
                <a:gd name="connsiteY107" fmla="*/ 7882 h 53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08811" h="533743">
                  <a:moveTo>
                    <a:pt x="99210" y="180159"/>
                  </a:moveTo>
                  <a:lnTo>
                    <a:pt x="99214" y="180166"/>
                  </a:lnTo>
                  <a:lnTo>
                    <a:pt x="99215" y="180166"/>
                  </a:lnTo>
                  <a:close/>
                  <a:moveTo>
                    <a:pt x="104983" y="179040"/>
                  </a:moveTo>
                  <a:lnTo>
                    <a:pt x="104982" y="179040"/>
                  </a:lnTo>
                  <a:lnTo>
                    <a:pt x="118826" y="201561"/>
                  </a:lnTo>
                  <a:lnTo>
                    <a:pt x="118827" y="201561"/>
                  </a:lnTo>
                  <a:close/>
                  <a:moveTo>
                    <a:pt x="72680" y="166654"/>
                  </a:moveTo>
                  <a:lnTo>
                    <a:pt x="72680" y="172284"/>
                  </a:lnTo>
                  <a:lnTo>
                    <a:pt x="73699" y="172616"/>
                  </a:lnTo>
                  <a:lnTo>
                    <a:pt x="72681" y="166654"/>
                  </a:lnTo>
                  <a:close/>
                  <a:moveTo>
                    <a:pt x="88826" y="165531"/>
                  </a:moveTo>
                  <a:lnTo>
                    <a:pt x="74717" y="172947"/>
                  </a:lnTo>
                  <a:lnTo>
                    <a:pt x="76141" y="173410"/>
                  </a:lnTo>
                  <a:close/>
                  <a:moveTo>
                    <a:pt x="88832" y="165528"/>
                  </a:moveTo>
                  <a:lnTo>
                    <a:pt x="88831" y="165528"/>
                  </a:lnTo>
                  <a:lnTo>
                    <a:pt x="88837" y="165535"/>
                  </a:lnTo>
                  <a:close/>
                  <a:moveTo>
                    <a:pt x="129210" y="0"/>
                  </a:moveTo>
                  <a:lnTo>
                    <a:pt x="158052" y="20269"/>
                  </a:lnTo>
                  <a:lnTo>
                    <a:pt x="161513" y="12387"/>
                  </a:lnTo>
                  <a:lnTo>
                    <a:pt x="167281" y="9008"/>
                  </a:lnTo>
                  <a:lnTo>
                    <a:pt x="174203" y="7882"/>
                  </a:lnTo>
                  <a:lnTo>
                    <a:pt x="174203" y="20269"/>
                  </a:lnTo>
                  <a:lnTo>
                    <a:pt x="168434" y="32655"/>
                  </a:lnTo>
                  <a:lnTo>
                    <a:pt x="164973" y="36033"/>
                  </a:lnTo>
                  <a:lnTo>
                    <a:pt x="163820" y="36033"/>
                  </a:lnTo>
                  <a:lnTo>
                    <a:pt x="164973" y="41663"/>
                  </a:lnTo>
                  <a:lnTo>
                    <a:pt x="166127" y="54049"/>
                  </a:lnTo>
                  <a:lnTo>
                    <a:pt x="171895" y="59680"/>
                  </a:lnTo>
                  <a:lnTo>
                    <a:pt x="168434" y="63058"/>
                  </a:lnTo>
                  <a:lnTo>
                    <a:pt x="189200" y="76571"/>
                  </a:lnTo>
                  <a:lnTo>
                    <a:pt x="186893" y="129494"/>
                  </a:lnTo>
                  <a:lnTo>
                    <a:pt x="193815" y="172284"/>
                  </a:lnTo>
                  <a:lnTo>
                    <a:pt x="193814" y="172284"/>
                  </a:lnTo>
                  <a:lnTo>
                    <a:pt x="204197" y="245477"/>
                  </a:lnTo>
                  <a:lnTo>
                    <a:pt x="208811" y="252233"/>
                  </a:lnTo>
                  <a:lnTo>
                    <a:pt x="200736" y="262367"/>
                  </a:lnTo>
                  <a:lnTo>
                    <a:pt x="175355" y="361459"/>
                  </a:lnTo>
                  <a:lnTo>
                    <a:pt x="99214" y="490953"/>
                  </a:lnTo>
                  <a:lnTo>
                    <a:pt x="81909" y="514601"/>
                  </a:lnTo>
                  <a:lnTo>
                    <a:pt x="88831" y="533743"/>
                  </a:lnTo>
                  <a:lnTo>
                    <a:pt x="66911" y="533743"/>
                  </a:lnTo>
                  <a:lnTo>
                    <a:pt x="66911" y="522483"/>
                  </a:lnTo>
                  <a:lnTo>
                    <a:pt x="71526" y="514601"/>
                  </a:lnTo>
                  <a:lnTo>
                    <a:pt x="64604" y="519105"/>
                  </a:lnTo>
                  <a:lnTo>
                    <a:pt x="59990" y="512349"/>
                  </a:lnTo>
                  <a:lnTo>
                    <a:pt x="57682" y="512349"/>
                  </a:lnTo>
                  <a:lnTo>
                    <a:pt x="40377" y="488702"/>
                  </a:lnTo>
                  <a:lnTo>
                    <a:pt x="36916" y="489828"/>
                  </a:lnTo>
                  <a:lnTo>
                    <a:pt x="33455" y="477441"/>
                  </a:lnTo>
                  <a:lnTo>
                    <a:pt x="6921" y="478567"/>
                  </a:lnTo>
                  <a:lnTo>
                    <a:pt x="36916" y="406501"/>
                  </a:lnTo>
                  <a:lnTo>
                    <a:pt x="17304" y="401996"/>
                  </a:lnTo>
                  <a:lnTo>
                    <a:pt x="19612" y="394114"/>
                  </a:lnTo>
                  <a:lnTo>
                    <a:pt x="26533" y="385106"/>
                  </a:lnTo>
                  <a:lnTo>
                    <a:pt x="55375" y="381728"/>
                  </a:lnTo>
                  <a:lnTo>
                    <a:pt x="55375" y="347947"/>
                  </a:lnTo>
                  <a:lnTo>
                    <a:pt x="59990" y="344568"/>
                  </a:lnTo>
                  <a:lnTo>
                    <a:pt x="61143" y="261241"/>
                  </a:lnTo>
                  <a:lnTo>
                    <a:pt x="88831" y="238720"/>
                  </a:lnTo>
                  <a:lnTo>
                    <a:pt x="86524" y="230838"/>
                  </a:lnTo>
                  <a:lnTo>
                    <a:pt x="80755" y="228586"/>
                  </a:lnTo>
                  <a:lnTo>
                    <a:pt x="76141" y="222956"/>
                  </a:lnTo>
                  <a:lnTo>
                    <a:pt x="70373" y="225208"/>
                  </a:lnTo>
                  <a:lnTo>
                    <a:pt x="69218" y="220704"/>
                  </a:lnTo>
                  <a:lnTo>
                    <a:pt x="70373" y="201561"/>
                  </a:lnTo>
                  <a:lnTo>
                    <a:pt x="73834" y="200435"/>
                  </a:lnTo>
                  <a:lnTo>
                    <a:pt x="73834" y="197057"/>
                  </a:lnTo>
                  <a:lnTo>
                    <a:pt x="69218" y="193679"/>
                  </a:lnTo>
                  <a:lnTo>
                    <a:pt x="57682" y="194805"/>
                  </a:lnTo>
                  <a:lnTo>
                    <a:pt x="56529" y="195931"/>
                  </a:lnTo>
                  <a:lnTo>
                    <a:pt x="55375" y="195931"/>
                  </a:lnTo>
                  <a:lnTo>
                    <a:pt x="54222" y="192553"/>
                  </a:lnTo>
                  <a:lnTo>
                    <a:pt x="56529" y="192553"/>
                  </a:lnTo>
                  <a:lnTo>
                    <a:pt x="54222" y="188048"/>
                  </a:lnTo>
                  <a:lnTo>
                    <a:pt x="55375" y="189175"/>
                  </a:lnTo>
                  <a:lnTo>
                    <a:pt x="56529" y="184671"/>
                  </a:lnTo>
                  <a:lnTo>
                    <a:pt x="55375" y="183545"/>
                  </a:lnTo>
                  <a:lnTo>
                    <a:pt x="61143" y="184671"/>
                  </a:lnTo>
                  <a:lnTo>
                    <a:pt x="63450" y="182418"/>
                  </a:lnTo>
                  <a:lnTo>
                    <a:pt x="66911" y="165528"/>
                  </a:lnTo>
                  <a:lnTo>
                    <a:pt x="71918" y="166505"/>
                  </a:lnTo>
                  <a:lnTo>
                    <a:pt x="66913" y="165528"/>
                  </a:lnTo>
                  <a:lnTo>
                    <a:pt x="55376" y="156520"/>
                  </a:lnTo>
                  <a:lnTo>
                    <a:pt x="54222" y="157646"/>
                  </a:lnTo>
                  <a:lnTo>
                    <a:pt x="51915" y="156520"/>
                  </a:lnTo>
                  <a:lnTo>
                    <a:pt x="46146" y="158772"/>
                  </a:lnTo>
                  <a:lnTo>
                    <a:pt x="46146" y="157646"/>
                  </a:lnTo>
                  <a:lnTo>
                    <a:pt x="19612" y="161023"/>
                  </a:lnTo>
                  <a:lnTo>
                    <a:pt x="18459" y="157646"/>
                  </a:lnTo>
                  <a:lnTo>
                    <a:pt x="14998" y="157646"/>
                  </a:lnTo>
                  <a:lnTo>
                    <a:pt x="3461" y="149763"/>
                  </a:lnTo>
                  <a:lnTo>
                    <a:pt x="0" y="149763"/>
                  </a:lnTo>
                  <a:lnTo>
                    <a:pt x="26534" y="100218"/>
                  </a:lnTo>
                  <a:lnTo>
                    <a:pt x="13844" y="88957"/>
                  </a:lnTo>
                  <a:lnTo>
                    <a:pt x="11537" y="83327"/>
                  </a:lnTo>
                  <a:lnTo>
                    <a:pt x="9229" y="82201"/>
                  </a:lnTo>
                  <a:lnTo>
                    <a:pt x="12691" y="78822"/>
                  </a:lnTo>
                  <a:lnTo>
                    <a:pt x="17305" y="76571"/>
                  </a:lnTo>
                  <a:lnTo>
                    <a:pt x="18459" y="69815"/>
                  </a:lnTo>
                  <a:lnTo>
                    <a:pt x="34610" y="52924"/>
                  </a:lnTo>
                  <a:lnTo>
                    <a:pt x="64605" y="29277"/>
                  </a:lnTo>
                  <a:lnTo>
                    <a:pt x="71527" y="27025"/>
                  </a:lnTo>
                  <a:lnTo>
                    <a:pt x="83064" y="29277"/>
                  </a:lnTo>
                  <a:lnTo>
                    <a:pt x="88832" y="28151"/>
                  </a:lnTo>
                  <a:lnTo>
                    <a:pt x="109598" y="15764"/>
                  </a:lnTo>
                  <a:lnTo>
                    <a:pt x="123441" y="11260"/>
                  </a:lnTo>
                  <a:lnTo>
                    <a:pt x="125749" y="788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1" name="Veenendaal">
              <a:extLst>
                <a:ext uri="{FF2B5EF4-FFF2-40B4-BE49-F238E27FC236}">
                  <a16:creationId xmlns:a16="http://schemas.microsoft.com/office/drawing/2014/main" id="{A52814C8-9B4E-44D5-AB23-818BDB2FE5A5}"/>
                </a:ext>
              </a:extLst>
            </p:cNvPr>
            <p:cNvSpPr/>
            <p:nvPr/>
          </p:nvSpPr>
          <p:spPr>
            <a:xfrm>
              <a:off x="6363207" y="3598511"/>
              <a:ext cx="79949" cy="88047"/>
            </a:xfrm>
            <a:custGeom>
              <a:avLst/>
              <a:gdLst/>
              <a:ahLst/>
              <a:cxnLst/>
              <a:rect l="l" t="t" r="r" b="b"/>
              <a:pathLst>
                <a:path w="117081" h="125730" extrusionOk="0">
                  <a:moveTo>
                    <a:pt x="63232" y="4114"/>
                  </a:moveTo>
                  <a:lnTo>
                    <a:pt x="91898" y="7405"/>
                  </a:lnTo>
                  <a:lnTo>
                    <a:pt x="91898" y="18927"/>
                  </a:lnTo>
                  <a:lnTo>
                    <a:pt x="86839" y="25510"/>
                  </a:lnTo>
                  <a:lnTo>
                    <a:pt x="122250" y="40323"/>
                  </a:lnTo>
                  <a:lnTo>
                    <a:pt x="120564" y="48552"/>
                  </a:lnTo>
                  <a:lnTo>
                    <a:pt x="117191" y="48552"/>
                  </a:lnTo>
                  <a:lnTo>
                    <a:pt x="117191" y="53490"/>
                  </a:lnTo>
                  <a:lnTo>
                    <a:pt x="117191" y="73240"/>
                  </a:lnTo>
                  <a:lnTo>
                    <a:pt x="122250" y="74886"/>
                  </a:lnTo>
                  <a:lnTo>
                    <a:pt x="122250" y="86407"/>
                  </a:lnTo>
                  <a:lnTo>
                    <a:pt x="117191" y="84761"/>
                  </a:lnTo>
                  <a:lnTo>
                    <a:pt x="115505" y="94636"/>
                  </a:lnTo>
                  <a:lnTo>
                    <a:pt x="120564" y="101220"/>
                  </a:lnTo>
                  <a:lnTo>
                    <a:pt x="91898" y="130845"/>
                  </a:lnTo>
                  <a:lnTo>
                    <a:pt x="73349" y="114387"/>
                  </a:lnTo>
                  <a:lnTo>
                    <a:pt x="66605" y="125908"/>
                  </a:lnTo>
                  <a:lnTo>
                    <a:pt x="63232" y="124262"/>
                  </a:lnTo>
                  <a:lnTo>
                    <a:pt x="46370" y="106157"/>
                  </a:lnTo>
                  <a:lnTo>
                    <a:pt x="37939" y="102866"/>
                  </a:lnTo>
                  <a:lnTo>
                    <a:pt x="39625" y="99574"/>
                  </a:lnTo>
                  <a:lnTo>
                    <a:pt x="34566" y="97928"/>
                  </a:lnTo>
                  <a:lnTo>
                    <a:pt x="36252" y="92991"/>
                  </a:lnTo>
                  <a:lnTo>
                    <a:pt x="4214" y="78178"/>
                  </a:lnTo>
                  <a:lnTo>
                    <a:pt x="29507" y="27156"/>
                  </a:lnTo>
                  <a:lnTo>
                    <a:pt x="32880" y="28802"/>
                  </a:lnTo>
                  <a:lnTo>
                    <a:pt x="37939" y="23864"/>
                  </a:lnTo>
                  <a:lnTo>
                    <a:pt x="44684" y="23864"/>
                  </a:lnTo>
                  <a:lnTo>
                    <a:pt x="53115" y="4114"/>
                  </a:lnTo>
                  <a:lnTo>
                    <a:pt x="6323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2" name="Bergeijk">
              <a:extLst>
                <a:ext uri="{FF2B5EF4-FFF2-40B4-BE49-F238E27FC236}">
                  <a16:creationId xmlns:a16="http://schemas.microsoft.com/office/drawing/2014/main" id="{ED0B2773-A17F-4694-B992-72C03A0F9242}"/>
                </a:ext>
              </a:extLst>
            </p:cNvPr>
            <p:cNvSpPr/>
            <p:nvPr/>
          </p:nvSpPr>
          <p:spPr>
            <a:xfrm>
              <a:off x="6061534" y="4667510"/>
              <a:ext cx="221950" cy="193840"/>
            </a:xfrm>
            <a:custGeom>
              <a:avLst/>
              <a:gdLst/>
              <a:ahLst/>
              <a:cxnLst/>
              <a:rect l="l" t="t" r="r" b="b"/>
              <a:pathLst>
                <a:path w="327828" h="297180" extrusionOk="0">
                  <a:moveTo>
                    <a:pt x="299304" y="7406"/>
                  </a:moveTo>
                  <a:lnTo>
                    <a:pt x="302676" y="9052"/>
                  </a:lnTo>
                  <a:lnTo>
                    <a:pt x="307735" y="5760"/>
                  </a:lnTo>
                  <a:lnTo>
                    <a:pt x="314480" y="15635"/>
                  </a:lnTo>
                  <a:lnTo>
                    <a:pt x="311107" y="25510"/>
                  </a:lnTo>
                  <a:lnTo>
                    <a:pt x="302676" y="33740"/>
                  </a:lnTo>
                  <a:lnTo>
                    <a:pt x="306049" y="40323"/>
                  </a:lnTo>
                  <a:lnTo>
                    <a:pt x="304362" y="66657"/>
                  </a:lnTo>
                  <a:lnTo>
                    <a:pt x="311107" y="81470"/>
                  </a:lnTo>
                  <a:lnTo>
                    <a:pt x="309421" y="91345"/>
                  </a:lnTo>
                  <a:lnTo>
                    <a:pt x="312793" y="97928"/>
                  </a:lnTo>
                  <a:lnTo>
                    <a:pt x="307735" y="114387"/>
                  </a:lnTo>
                  <a:lnTo>
                    <a:pt x="309421" y="117679"/>
                  </a:lnTo>
                  <a:lnTo>
                    <a:pt x="311107" y="132492"/>
                  </a:lnTo>
                  <a:lnTo>
                    <a:pt x="326283" y="148950"/>
                  </a:lnTo>
                  <a:lnTo>
                    <a:pt x="314480" y="178576"/>
                  </a:lnTo>
                  <a:lnTo>
                    <a:pt x="311107" y="176930"/>
                  </a:lnTo>
                  <a:lnTo>
                    <a:pt x="304362" y="163763"/>
                  </a:lnTo>
                  <a:lnTo>
                    <a:pt x="299304" y="160471"/>
                  </a:lnTo>
                  <a:lnTo>
                    <a:pt x="295931" y="162117"/>
                  </a:lnTo>
                  <a:lnTo>
                    <a:pt x="294245" y="157179"/>
                  </a:lnTo>
                  <a:lnTo>
                    <a:pt x="275697" y="175284"/>
                  </a:lnTo>
                  <a:lnTo>
                    <a:pt x="270638" y="173638"/>
                  </a:lnTo>
                  <a:lnTo>
                    <a:pt x="265579" y="186805"/>
                  </a:lnTo>
                  <a:lnTo>
                    <a:pt x="267265" y="193389"/>
                  </a:lnTo>
                  <a:lnTo>
                    <a:pt x="263893" y="208201"/>
                  </a:lnTo>
                  <a:lnTo>
                    <a:pt x="265579" y="216431"/>
                  </a:lnTo>
                  <a:lnTo>
                    <a:pt x="262207" y="221368"/>
                  </a:lnTo>
                  <a:lnTo>
                    <a:pt x="270638" y="229597"/>
                  </a:lnTo>
                  <a:lnTo>
                    <a:pt x="255462" y="242764"/>
                  </a:lnTo>
                  <a:lnTo>
                    <a:pt x="300990" y="298724"/>
                  </a:lnTo>
                  <a:lnTo>
                    <a:pt x="191385" y="265806"/>
                  </a:lnTo>
                  <a:lnTo>
                    <a:pt x="191385" y="272390"/>
                  </a:lnTo>
                  <a:lnTo>
                    <a:pt x="186326" y="280619"/>
                  </a:lnTo>
                  <a:lnTo>
                    <a:pt x="184640" y="290495"/>
                  </a:lnTo>
                  <a:lnTo>
                    <a:pt x="176209" y="297078"/>
                  </a:lnTo>
                  <a:lnTo>
                    <a:pt x="144171" y="295432"/>
                  </a:lnTo>
                  <a:lnTo>
                    <a:pt x="113819" y="300370"/>
                  </a:lnTo>
                  <a:lnTo>
                    <a:pt x="61546" y="287203"/>
                  </a:lnTo>
                  <a:lnTo>
                    <a:pt x="22763" y="300370"/>
                  </a:lnTo>
                  <a:lnTo>
                    <a:pt x="4214" y="283911"/>
                  </a:lnTo>
                  <a:lnTo>
                    <a:pt x="29508" y="195034"/>
                  </a:lnTo>
                  <a:lnTo>
                    <a:pt x="27822" y="193389"/>
                  </a:lnTo>
                  <a:lnTo>
                    <a:pt x="32880" y="185159"/>
                  </a:lnTo>
                  <a:lnTo>
                    <a:pt x="56487" y="180221"/>
                  </a:lnTo>
                  <a:lnTo>
                    <a:pt x="56487" y="173638"/>
                  </a:lnTo>
                  <a:lnTo>
                    <a:pt x="63232" y="160471"/>
                  </a:lnTo>
                  <a:lnTo>
                    <a:pt x="107074" y="163763"/>
                  </a:lnTo>
                  <a:lnTo>
                    <a:pt x="132368" y="153888"/>
                  </a:lnTo>
                  <a:lnTo>
                    <a:pt x="134054" y="157179"/>
                  </a:lnTo>
                  <a:lnTo>
                    <a:pt x="145857" y="150596"/>
                  </a:lnTo>
                  <a:lnTo>
                    <a:pt x="154288" y="139075"/>
                  </a:lnTo>
                  <a:lnTo>
                    <a:pt x="152602" y="135783"/>
                  </a:lnTo>
                  <a:lnTo>
                    <a:pt x="155974" y="127554"/>
                  </a:lnTo>
                  <a:lnTo>
                    <a:pt x="159347" y="130846"/>
                  </a:lnTo>
                  <a:lnTo>
                    <a:pt x="193072" y="117679"/>
                  </a:lnTo>
                  <a:lnTo>
                    <a:pt x="184640" y="101220"/>
                  </a:lnTo>
                  <a:lnTo>
                    <a:pt x="191385" y="92991"/>
                  </a:lnTo>
                  <a:lnTo>
                    <a:pt x="184640" y="79824"/>
                  </a:lnTo>
                  <a:lnTo>
                    <a:pt x="194758" y="63365"/>
                  </a:lnTo>
                  <a:lnTo>
                    <a:pt x="228482" y="40323"/>
                  </a:lnTo>
                  <a:lnTo>
                    <a:pt x="240286" y="40323"/>
                  </a:lnTo>
                  <a:lnTo>
                    <a:pt x="257148" y="22219"/>
                  </a:lnTo>
                  <a:lnTo>
                    <a:pt x="265579" y="18927"/>
                  </a:lnTo>
                  <a:lnTo>
                    <a:pt x="268952" y="12344"/>
                  </a:lnTo>
                  <a:lnTo>
                    <a:pt x="287500" y="13989"/>
                  </a:lnTo>
                  <a:lnTo>
                    <a:pt x="294245" y="4114"/>
                  </a:lnTo>
                  <a:lnTo>
                    <a:pt x="299304"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3" name="Uithoorn">
              <a:extLst>
                <a:ext uri="{FF2B5EF4-FFF2-40B4-BE49-F238E27FC236}">
                  <a16:creationId xmlns:a16="http://schemas.microsoft.com/office/drawing/2014/main" id="{A62B221A-96C3-401E-B370-9CC8ECAA8C50}"/>
                </a:ext>
              </a:extLst>
            </p:cNvPr>
            <p:cNvSpPr/>
            <p:nvPr/>
          </p:nvSpPr>
          <p:spPr>
            <a:xfrm>
              <a:off x="5534097" y="3260503"/>
              <a:ext cx="132102" cy="87988"/>
            </a:xfrm>
            <a:custGeom>
              <a:avLst/>
              <a:gdLst/>
              <a:ahLst/>
              <a:cxnLst/>
              <a:rect l="l" t="t" r="r" b="b"/>
              <a:pathLst>
                <a:path w="199038" h="137160" extrusionOk="0">
                  <a:moveTo>
                    <a:pt x="112133" y="4114"/>
                  </a:moveTo>
                  <a:lnTo>
                    <a:pt x="172837" y="30448"/>
                  </a:lnTo>
                  <a:lnTo>
                    <a:pt x="198130" y="50198"/>
                  </a:lnTo>
                  <a:lnTo>
                    <a:pt x="198130" y="58427"/>
                  </a:lnTo>
                  <a:lnTo>
                    <a:pt x="191385" y="55136"/>
                  </a:lnTo>
                  <a:lnTo>
                    <a:pt x="184640" y="66657"/>
                  </a:lnTo>
                  <a:lnTo>
                    <a:pt x="177895" y="66657"/>
                  </a:lnTo>
                  <a:lnTo>
                    <a:pt x="166092" y="76532"/>
                  </a:lnTo>
                  <a:lnTo>
                    <a:pt x="140798" y="84761"/>
                  </a:lnTo>
                  <a:lnTo>
                    <a:pt x="132367" y="86407"/>
                  </a:lnTo>
                  <a:lnTo>
                    <a:pt x="127309" y="83115"/>
                  </a:lnTo>
                  <a:lnTo>
                    <a:pt x="112133" y="86407"/>
                  </a:lnTo>
                  <a:lnTo>
                    <a:pt x="90212" y="81470"/>
                  </a:lnTo>
                  <a:lnTo>
                    <a:pt x="83467" y="84761"/>
                  </a:lnTo>
                  <a:lnTo>
                    <a:pt x="80094" y="91345"/>
                  </a:lnTo>
                  <a:lnTo>
                    <a:pt x="61546" y="106157"/>
                  </a:lnTo>
                  <a:lnTo>
                    <a:pt x="48056" y="107803"/>
                  </a:lnTo>
                  <a:lnTo>
                    <a:pt x="39625" y="114387"/>
                  </a:lnTo>
                  <a:lnTo>
                    <a:pt x="32880" y="114387"/>
                  </a:lnTo>
                  <a:lnTo>
                    <a:pt x="21076" y="134137"/>
                  </a:lnTo>
                  <a:lnTo>
                    <a:pt x="17704" y="132491"/>
                  </a:lnTo>
                  <a:lnTo>
                    <a:pt x="10959" y="125908"/>
                  </a:lnTo>
                  <a:lnTo>
                    <a:pt x="12645" y="125908"/>
                  </a:lnTo>
                  <a:lnTo>
                    <a:pt x="4214" y="119324"/>
                  </a:lnTo>
                  <a:lnTo>
                    <a:pt x="4214" y="109449"/>
                  </a:lnTo>
                  <a:lnTo>
                    <a:pt x="78408" y="51844"/>
                  </a:lnTo>
                  <a:lnTo>
                    <a:pt x="71663" y="41969"/>
                  </a:lnTo>
                  <a:lnTo>
                    <a:pt x="73349" y="33739"/>
                  </a:lnTo>
                  <a:lnTo>
                    <a:pt x="11213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4" name="Schouwen-Duiveland">
              <a:extLst>
                <a:ext uri="{FF2B5EF4-FFF2-40B4-BE49-F238E27FC236}">
                  <a16:creationId xmlns:a16="http://schemas.microsoft.com/office/drawing/2014/main" id="{40D71001-386C-4CBE-8598-E6CC151EE98C}"/>
                </a:ext>
              </a:extLst>
            </p:cNvPr>
            <p:cNvSpPr/>
            <p:nvPr/>
          </p:nvSpPr>
          <p:spPr>
            <a:xfrm>
              <a:off x="4416208" y="4041013"/>
              <a:ext cx="552190" cy="269447"/>
            </a:xfrm>
            <a:custGeom>
              <a:avLst/>
              <a:gdLst/>
              <a:ahLst/>
              <a:cxnLst/>
              <a:rect l="l" t="t" r="r" b="b"/>
              <a:pathLst>
                <a:path w="796155" h="411480" extrusionOk="0">
                  <a:moveTo>
                    <a:pt x="800112" y="310245"/>
                  </a:moveTo>
                  <a:lnTo>
                    <a:pt x="798426" y="311890"/>
                  </a:lnTo>
                  <a:lnTo>
                    <a:pt x="798426" y="310245"/>
                  </a:lnTo>
                  <a:lnTo>
                    <a:pt x="800112" y="310245"/>
                  </a:lnTo>
                  <a:close/>
                  <a:moveTo>
                    <a:pt x="801799" y="300370"/>
                  </a:moveTo>
                  <a:lnTo>
                    <a:pt x="801799" y="305307"/>
                  </a:lnTo>
                  <a:lnTo>
                    <a:pt x="800112" y="302015"/>
                  </a:lnTo>
                  <a:lnTo>
                    <a:pt x="800112" y="303661"/>
                  </a:lnTo>
                  <a:lnTo>
                    <a:pt x="800112" y="300370"/>
                  </a:lnTo>
                  <a:lnTo>
                    <a:pt x="801799" y="300370"/>
                  </a:lnTo>
                  <a:close/>
                  <a:moveTo>
                    <a:pt x="795054" y="297078"/>
                  </a:moveTo>
                  <a:lnTo>
                    <a:pt x="795054" y="300370"/>
                  </a:lnTo>
                  <a:lnTo>
                    <a:pt x="793367" y="297078"/>
                  </a:lnTo>
                  <a:lnTo>
                    <a:pt x="791681" y="297078"/>
                  </a:lnTo>
                  <a:lnTo>
                    <a:pt x="793367" y="295432"/>
                  </a:lnTo>
                  <a:lnTo>
                    <a:pt x="795054" y="297078"/>
                  </a:lnTo>
                  <a:close/>
                  <a:moveTo>
                    <a:pt x="789995" y="288848"/>
                  </a:moveTo>
                  <a:lnTo>
                    <a:pt x="793367" y="292140"/>
                  </a:lnTo>
                  <a:lnTo>
                    <a:pt x="788309" y="290494"/>
                  </a:lnTo>
                  <a:lnTo>
                    <a:pt x="786623" y="293786"/>
                  </a:lnTo>
                  <a:lnTo>
                    <a:pt x="788309" y="297078"/>
                  </a:lnTo>
                  <a:lnTo>
                    <a:pt x="784936" y="297078"/>
                  </a:lnTo>
                  <a:lnTo>
                    <a:pt x="786623" y="290494"/>
                  </a:lnTo>
                  <a:lnTo>
                    <a:pt x="784936" y="297078"/>
                  </a:lnTo>
                  <a:lnTo>
                    <a:pt x="786623" y="290494"/>
                  </a:lnTo>
                  <a:lnTo>
                    <a:pt x="791681" y="288848"/>
                  </a:lnTo>
                  <a:lnTo>
                    <a:pt x="786623" y="288848"/>
                  </a:lnTo>
                  <a:lnTo>
                    <a:pt x="789995" y="288848"/>
                  </a:lnTo>
                  <a:close/>
                  <a:moveTo>
                    <a:pt x="779878" y="278973"/>
                  </a:moveTo>
                  <a:lnTo>
                    <a:pt x="774819" y="278973"/>
                  </a:lnTo>
                  <a:lnTo>
                    <a:pt x="779878" y="275682"/>
                  </a:lnTo>
                  <a:lnTo>
                    <a:pt x="779878" y="278973"/>
                  </a:lnTo>
                  <a:close/>
                  <a:moveTo>
                    <a:pt x="764702" y="274036"/>
                  </a:moveTo>
                  <a:lnTo>
                    <a:pt x="774819" y="274036"/>
                  </a:lnTo>
                  <a:lnTo>
                    <a:pt x="771446" y="277328"/>
                  </a:lnTo>
                  <a:lnTo>
                    <a:pt x="764702" y="274036"/>
                  </a:lnTo>
                  <a:close/>
                  <a:moveTo>
                    <a:pt x="744467" y="269098"/>
                  </a:moveTo>
                  <a:lnTo>
                    <a:pt x="779878" y="269098"/>
                  </a:lnTo>
                  <a:lnTo>
                    <a:pt x="779878" y="275682"/>
                  </a:lnTo>
                  <a:lnTo>
                    <a:pt x="778191" y="270744"/>
                  </a:lnTo>
                  <a:lnTo>
                    <a:pt x="769760" y="270744"/>
                  </a:lnTo>
                  <a:lnTo>
                    <a:pt x="773133" y="272390"/>
                  </a:lnTo>
                  <a:lnTo>
                    <a:pt x="771446" y="272390"/>
                  </a:lnTo>
                  <a:lnTo>
                    <a:pt x="759643" y="270744"/>
                  </a:lnTo>
                  <a:lnTo>
                    <a:pt x="754584" y="274036"/>
                  </a:lnTo>
                  <a:lnTo>
                    <a:pt x="752898" y="278973"/>
                  </a:lnTo>
                  <a:lnTo>
                    <a:pt x="757957" y="283911"/>
                  </a:lnTo>
                  <a:lnTo>
                    <a:pt x="778191" y="287203"/>
                  </a:lnTo>
                  <a:lnTo>
                    <a:pt x="776505" y="293786"/>
                  </a:lnTo>
                  <a:lnTo>
                    <a:pt x="774819" y="295432"/>
                  </a:lnTo>
                  <a:lnTo>
                    <a:pt x="789995" y="306953"/>
                  </a:lnTo>
                  <a:lnTo>
                    <a:pt x="795054" y="321766"/>
                  </a:lnTo>
                  <a:lnTo>
                    <a:pt x="789995" y="310245"/>
                  </a:lnTo>
                  <a:lnTo>
                    <a:pt x="781564" y="302015"/>
                  </a:lnTo>
                  <a:lnTo>
                    <a:pt x="769760" y="295432"/>
                  </a:lnTo>
                  <a:lnTo>
                    <a:pt x="766388" y="302015"/>
                  </a:lnTo>
                  <a:lnTo>
                    <a:pt x="763015" y="302015"/>
                  </a:lnTo>
                  <a:lnTo>
                    <a:pt x="737722" y="285557"/>
                  </a:lnTo>
                  <a:lnTo>
                    <a:pt x="742781" y="275682"/>
                  </a:lnTo>
                  <a:lnTo>
                    <a:pt x="742781" y="272390"/>
                  </a:lnTo>
                  <a:lnTo>
                    <a:pt x="739408" y="272390"/>
                  </a:lnTo>
                  <a:lnTo>
                    <a:pt x="730977" y="282265"/>
                  </a:lnTo>
                  <a:lnTo>
                    <a:pt x="710742" y="277328"/>
                  </a:lnTo>
                  <a:lnTo>
                    <a:pt x="710742" y="270744"/>
                  </a:lnTo>
                  <a:lnTo>
                    <a:pt x="722546" y="272390"/>
                  </a:lnTo>
                  <a:lnTo>
                    <a:pt x="744467" y="269098"/>
                  </a:lnTo>
                  <a:close/>
                  <a:moveTo>
                    <a:pt x="736036" y="259223"/>
                  </a:moveTo>
                  <a:lnTo>
                    <a:pt x="766388" y="257577"/>
                  </a:lnTo>
                  <a:lnTo>
                    <a:pt x="779878" y="264160"/>
                  </a:lnTo>
                  <a:lnTo>
                    <a:pt x="768074" y="260869"/>
                  </a:lnTo>
                  <a:lnTo>
                    <a:pt x="751212" y="260869"/>
                  </a:lnTo>
                  <a:lnTo>
                    <a:pt x="751212" y="264160"/>
                  </a:lnTo>
                  <a:lnTo>
                    <a:pt x="741094" y="265806"/>
                  </a:lnTo>
                  <a:lnTo>
                    <a:pt x="746153" y="265806"/>
                  </a:lnTo>
                  <a:lnTo>
                    <a:pt x="739408" y="265806"/>
                  </a:lnTo>
                  <a:lnTo>
                    <a:pt x="736036" y="260869"/>
                  </a:lnTo>
                  <a:lnTo>
                    <a:pt x="732663" y="260869"/>
                  </a:lnTo>
                  <a:lnTo>
                    <a:pt x="717487" y="260869"/>
                  </a:lnTo>
                  <a:lnTo>
                    <a:pt x="710742" y="265806"/>
                  </a:lnTo>
                  <a:lnTo>
                    <a:pt x="717487" y="260869"/>
                  </a:lnTo>
                  <a:lnTo>
                    <a:pt x="734350" y="260869"/>
                  </a:lnTo>
                  <a:lnTo>
                    <a:pt x="734350" y="255931"/>
                  </a:lnTo>
                  <a:lnTo>
                    <a:pt x="736036" y="259223"/>
                  </a:lnTo>
                  <a:close/>
                  <a:moveTo>
                    <a:pt x="628117" y="239473"/>
                  </a:moveTo>
                  <a:lnTo>
                    <a:pt x="631490" y="241118"/>
                  </a:lnTo>
                  <a:lnTo>
                    <a:pt x="629804" y="241118"/>
                  </a:lnTo>
                  <a:lnTo>
                    <a:pt x="628117" y="239473"/>
                  </a:lnTo>
                  <a:close/>
                  <a:moveTo>
                    <a:pt x="688821" y="221368"/>
                  </a:moveTo>
                  <a:lnTo>
                    <a:pt x="693880" y="223014"/>
                  </a:lnTo>
                  <a:lnTo>
                    <a:pt x="682077" y="221368"/>
                  </a:lnTo>
                  <a:lnTo>
                    <a:pt x="688821" y="221368"/>
                  </a:lnTo>
                  <a:close/>
                  <a:moveTo>
                    <a:pt x="631490" y="203264"/>
                  </a:moveTo>
                  <a:lnTo>
                    <a:pt x="629804" y="203264"/>
                  </a:lnTo>
                  <a:lnTo>
                    <a:pt x="631490" y="206555"/>
                  </a:lnTo>
                  <a:lnTo>
                    <a:pt x="624745" y="203264"/>
                  </a:lnTo>
                  <a:lnTo>
                    <a:pt x="631490" y="203264"/>
                  </a:lnTo>
                  <a:close/>
                  <a:moveTo>
                    <a:pt x="641607" y="203264"/>
                  </a:moveTo>
                  <a:lnTo>
                    <a:pt x="639921" y="209847"/>
                  </a:lnTo>
                  <a:lnTo>
                    <a:pt x="633176" y="204910"/>
                  </a:lnTo>
                  <a:lnTo>
                    <a:pt x="636548" y="206555"/>
                  </a:lnTo>
                  <a:lnTo>
                    <a:pt x="638235" y="203264"/>
                  </a:lnTo>
                  <a:lnTo>
                    <a:pt x="633176" y="203264"/>
                  </a:lnTo>
                  <a:lnTo>
                    <a:pt x="641607" y="203264"/>
                  </a:lnTo>
                  <a:close/>
                  <a:moveTo>
                    <a:pt x="177895" y="188451"/>
                  </a:moveTo>
                  <a:lnTo>
                    <a:pt x="176209" y="186805"/>
                  </a:lnTo>
                  <a:lnTo>
                    <a:pt x="177895" y="185159"/>
                  </a:lnTo>
                  <a:lnTo>
                    <a:pt x="177895" y="188451"/>
                  </a:lnTo>
                  <a:close/>
                  <a:moveTo>
                    <a:pt x="208247" y="180221"/>
                  </a:moveTo>
                  <a:lnTo>
                    <a:pt x="204875" y="171992"/>
                  </a:lnTo>
                  <a:lnTo>
                    <a:pt x="206561" y="171992"/>
                  </a:lnTo>
                  <a:lnTo>
                    <a:pt x="208247" y="180221"/>
                  </a:lnTo>
                  <a:close/>
                  <a:moveTo>
                    <a:pt x="469612" y="106158"/>
                  </a:moveTo>
                  <a:lnTo>
                    <a:pt x="466240" y="102866"/>
                  </a:lnTo>
                  <a:lnTo>
                    <a:pt x="467926" y="101220"/>
                  </a:lnTo>
                  <a:lnTo>
                    <a:pt x="469612" y="106158"/>
                  </a:lnTo>
                  <a:close/>
                  <a:moveTo>
                    <a:pt x="373497" y="71595"/>
                  </a:moveTo>
                  <a:lnTo>
                    <a:pt x="381928" y="71595"/>
                  </a:lnTo>
                  <a:lnTo>
                    <a:pt x="400477" y="81470"/>
                  </a:lnTo>
                  <a:lnTo>
                    <a:pt x="395418" y="83116"/>
                  </a:lnTo>
                  <a:lnTo>
                    <a:pt x="375184" y="83116"/>
                  </a:lnTo>
                  <a:lnTo>
                    <a:pt x="366752" y="84761"/>
                  </a:lnTo>
                  <a:lnTo>
                    <a:pt x="365066" y="78178"/>
                  </a:lnTo>
                  <a:lnTo>
                    <a:pt x="373497" y="71595"/>
                  </a:lnTo>
                  <a:close/>
                  <a:moveTo>
                    <a:pt x="440946" y="71595"/>
                  </a:moveTo>
                  <a:lnTo>
                    <a:pt x="434201" y="73241"/>
                  </a:lnTo>
                  <a:lnTo>
                    <a:pt x="432515" y="69949"/>
                  </a:lnTo>
                  <a:lnTo>
                    <a:pt x="449377" y="66657"/>
                  </a:lnTo>
                  <a:lnTo>
                    <a:pt x="440946" y="71595"/>
                  </a:lnTo>
                  <a:close/>
                  <a:moveTo>
                    <a:pt x="412281" y="73241"/>
                  </a:moveTo>
                  <a:lnTo>
                    <a:pt x="403849" y="71595"/>
                  </a:lnTo>
                  <a:lnTo>
                    <a:pt x="400477" y="65011"/>
                  </a:lnTo>
                  <a:lnTo>
                    <a:pt x="403849" y="71595"/>
                  </a:lnTo>
                  <a:lnTo>
                    <a:pt x="412281" y="73241"/>
                  </a:lnTo>
                  <a:close/>
                  <a:moveTo>
                    <a:pt x="417339" y="55136"/>
                  </a:moveTo>
                  <a:lnTo>
                    <a:pt x="444319" y="58428"/>
                  </a:lnTo>
                  <a:lnTo>
                    <a:pt x="425770" y="71595"/>
                  </a:lnTo>
                  <a:lnTo>
                    <a:pt x="424084" y="68303"/>
                  </a:lnTo>
                  <a:lnTo>
                    <a:pt x="424084" y="71595"/>
                  </a:lnTo>
                  <a:lnTo>
                    <a:pt x="412281" y="73241"/>
                  </a:lnTo>
                  <a:lnTo>
                    <a:pt x="405536" y="69949"/>
                  </a:lnTo>
                  <a:lnTo>
                    <a:pt x="405536" y="56782"/>
                  </a:lnTo>
                  <a:lnTo>
                    <a:pt x="417339" y="55136"/>
                  </a:lnTo>
                  <a:close/>
                  <a:moveTo>
                    <a:pt x="402163" y="65011"/>
                  </a:moveTo>
                  <a:lnTo>
                    <a:pt x="402163" y="58428"/>
                  </a:lnTo>
                  <a:lnTo>
                    <a:pt x="405536" y="51844"/>
                  </a:lnTo>
                  <a:lnTo>
                    <a:pt x="402163" y="65011"/>
                  </a:lnTo>
                  <a:close/>
                  <a:moveTo>
                    <a:pt x="508395" y="37031"/>
                  </a:moveTo>
                  <a:lnTo>
                    <a:pt x="503337" y="35386"/>
                  </a:lnTo>
                  <a:lnTo>
                    <a:pt x="503337" y="30448"/>
                  </a:lnTo>
                  <a:lnTo>
                    <a:pt x="513454" y="30448"/>
                  </a:lnTo>
                  <a:lnTo>
                    <a:pt x="508395" y="37031"/>
                  </a:lnTo>
                  <a:close/>
                  <a:moveTo>
                    <a:pt x="494906" y="28802"/>
                  </a:moveTo>
                  <a:lnTo>
                    <a:pt x="498278" y="30448"/>
                  </a:lnTo>
                  <a:lnTo>
                    <a:pt x="496592" y="46906"/>
                  </a:lnTo>
                  <a:lnTo>
                    <a:pt x="506709" y="76532"/>
                  </a:lnTo>
                  <a:lnTo>
                    <a:pt x="513454" y="88053"/>
                  </a:lnTo>
                  <a:lnTo>
                    <a:pt x="526944" y="99574"/>
                  </a:lnTo>
                  <a:lnTo>
                    <a:pt x="523571" y="97928"/>
                  </a:lnTo>
                  <a:lnTo>
                    <a:pt x="525258" y="106158"/>
                  </a:lnTo>
                  <a:lnTo>
                    <a:pt x="521885" y="109449"/>
                  </a:lnTo>
                  <a:lnTo>
                    <a:pt x="511768" y="109449"/>
                  </a:lnTo>
                  <a:lnTo>
                    <a:pt x="505023" y="106158"/>
                  </a:lnTo>
                  <a:lnTo>
                    <a:pt x="496592" y="91345"/>
                  </a:lnTo>
                  <a:lnTo>
                    <a:pt x="488161" y="61719"/>
                  </a:lnTo>
                  <a:lnTo>
                    <a:pt x="474671" y="45261"/>
                  </a:lnTo>
                  <a:lnTo>
                    <a:pt x="467926" y="41969"/>
                  </a:lnTo>
                  <a:lnTo>
                    <a:pt x="474671" y="32094"/>
                  </a:lnTo>
                  <a:lnTo>
                    <a:pt x="479729" y="30448"/>
                  </a:lnTo>
                  <a:lnTo>
                    <a:pt x="472985" y="35386"/>
                  </a:lnTo>
                  <a:lnTo>
                    <a:pt x="481416" y="30448"/>
                  </a:lnTo>
                  <a:lnTo>
                    <a:pt x="494906" y="28802"/>
                  </a:lnTo>
                  <a:close/>
                  <a:moveTo>
                    <a:pt x="257148" y="32094"/>
                  </a:moveTo>
                  <a:lnTo>
                    <a:pt x="260520" y="37031"/>
                  </a:lnTo>
                  <a:lnTo>
                    <a:pt x="258834" y="41969"/>
                  </a:lnTo>
                  <a:lnTo>
                    <a:pt x="253775" y="43615"/>
                  </a:lnTo>
                  <a:lnTo>
                    <a:pt x="253775" y="45261"/>
                  </a:lnTo>
                  <a:lnTo>
                    <a:pt x="257148" y="41969"/>
                  </a:lnTo>
                  <a:lnTo>
                    <a:pt x="253775" y="45261"/>
                  </a:lnTo>
                  <a:lnTo>
                    <a:pt x="247031" y="43615"/>
                  </a:lnTo>
                  <a:lnTo>
                    <a:pt x="252089" y="43615"/>
                  </a:lnTo>
                  <a:lnTo>
                    <a:pt x="257148" y="38677"/>
                  </a:lnTo>
                  <a:lnTo>
                    <a:pt x="253775" y="32094"/>
                  </a:lnTo>
                  <a:lnTo>
                    <a:pt x="241972" y="38677"/>
                  </a:lnTo>
                  <a:lnTo>
                    <a:pt x="241972" y="45261"/>
                  </a:lnTo>
                  <a:lnTo>
                    <a:pt x="236913" y="46906"/>
                  </a:lnTo>
                  <a:lnTo>
                    <a:pt x="233541" y="71595"/>
                  </a:lnTo>
                  <a:lnTo>
                    <a:pt x="241972" y="68303"/>
                  </a:lnTo>
                  <a:lnTo>
                    <a:pt x="258834" y="71595"/>
                  </a:lnTo>
                  <a:lnTo>
                    <a:pt x="263893" y="66657"/>
                  </a:lnTo>
                  <a:lnTo>
                    <a:pt x="267265" y="68303"/>
                  </a:lnTo>
                  <a:lnTo>
                    <a:pt x="263893" y="69949"/>
                  </a:lnTo>
                  <a:lnTo>
                    <a:pt x="267265" y="71595"/>
                  </a:lnTo>
                  <a:lnTo>
                    <a:pt x="270638" y="74886"/>
                  </a:lnTo>
                  <a:lnTo>
                    <a:pt x="274010" y="71595"/>
                  </a:lnTo>
                  <a:lnTo>
                    <a:pt x="267265" y="68303"/>
                  </a:lnTo>
                  <a:lnTo>
                    <a:pt x="280755" y="73241"/>
                  </a:lnTo>
                  <a:lnTo>
                    <a:pt x="329656" y="60074"/>
                  </a:lnTo>
                  <a:lnTo>
                    <a:pt x="329656" y="56782"/>
                  </a:lnTo>
                  <a:lnTo>
                    <a:pt x="331342" y="61719"/>
                  </a:lnTo>
                  <a:lnTo>
                    <a:pt x="336400" y="60074"/>
                  </a:lnTo>
                  <a:lnTo>
                    <a:pt x="343145" y="65011"/>
                  </a:lnTo>
                  <a:lnTo>
                    <a:pt x="336400" y="61719"/>
                  </a:lnTo>
                  <a:lnTo>
                    <a:pt x="333028" y="63365"/>
                  </a:lnTo>
                  <a:lnTo>
                    <a:pt x="334714" y="69949"/>
                  </a:lnTo>
                  <a:lnTo>
                    <a:pt x="338087" y="69949"/>
                  </a:lnTo>
                  <a:lnTo>
                    <a:pt x="341459" y="65011"/>
                  </a:lnTo>
                  <a:lnTo>
                    <a:pt x="341459" y="68303"/>
                  </a:lnTo>
                  <a:lnTo>
                    <a:pt x="346518" y="69949"/>
                  </a:lnTo>
                  <a:lnTo>
                    <a:pt x="353263" y="76532"/>
                  </a:lnTo>
                  <a:lnTo>
                    <a:pt x="358321" y="86407"/>
                  </a:lnTo>
                  <a:lnTo>
                    <a:pt x="366752" y="91345"/>
                  </a:lnTo>
                  <a:lnTo>
                    <a:pt x="368439" y="99574"/>
                  </a:lnTo>
                  <a:lnTo>
                    <a:pt x="371811" y="101220"/>
                  </a:lnTo>
                  <a:lnTo>
                    <a:pt x="368439" y="104512"/>
                  </a:lnTo>
                  <a:lnTo>
                    <a:pt x="373497" y="101220"/>
                  </a:lnTo>
                  <a:lnTo>
                    <a:pt x="368439" y="96283"/>
                  </a:lnTo>
                  <a:lnTo>
                    <a:pt x="370125" y="91345"/>
                  </a:lnTo>
                  <a:lnTo>
                    <a:pt x="373497" y="89699"/>
                  </a:lnTo>
                  <a:lnTo>
                    <a:pt x="388673" y="91345"/>
                  </a:lnTo>
                  <a:lnTo>
                    <a:pt x="413967" y="84761"/>
                  </a:lnTo>
                  <a:lnTo>
                    <a:pt x="415653" y="88053"/>
                  </a:lnTo>
                  <a:lnTo>
                    <a:pt x="420712" y="84761"/>
                  </a:lnTo>
                  <a:lnTo>
                    <a:pt x="422398" y="88053"/>
                  </a:lnTo>
                  <a:lnTo>
                    <a:pt x="424084" y="86407"/>
                  </a:lnTo>
                  <a:lnTo>
                    <a:pt x="424084" y="88053"/>
                  </a:lnTo>
                  <a:lnTo>
                    <a:pt x="457809" y="88053"/>
                  </a:lnTo>
                  <a:lnTo>
                    <a:pt x="461181" y="89699"/>
                  </a:lnTo>
                  <a:lnTo>
                    <a:pt x="454436" y="102866"/>
                  </a:lnTo>
                  <a:lnTo>
                    <a:pt x="457809" y="106158"/>
                  </a:lnTo>
                  <a:lnTo>
                    <a:pt x="462867" y="91345"/>
                  </a:lnTo>
                  <a:lnTo>
                    <a:pt x="464553" y="92991"/>
                  </a:lnTo>
                  <a:lnTo>
                    <a:pt x="469612" y="96283"/>
                  </a:lnTo>
                  <a:lnTo>
                    <a:pt x="466240" y="94637"/>
                  </a:lnTo>
                  <a:lnTo>
                    <a:pt x="469612" y="97928"/>
                  </a:lnTo>
                  <a:lnTo>
                    <a:pt x="462867" y="96283"/>
                  </a:lnTo>
                  <a:lnTo>
                    <a:pt x="464553" y="114387"/>
                  </a:lnTo>
                  <a:lnTo>
                    <a:pt x="464553" y="109449"/>
                  </a:lnTo>
                  <a:lnTo>
                    <a:pt x="466240" y="112741"/>
                  </a:lnTo>
                  <a:lnTo>
                    <a:pt x="466240" y="109449"/>
                  </a:lnTo>
                  <a:lnTo>
                    <a:pt x="471298" y="104512"/>
                  </a:lnTo>
                  <a:lnTo>
                    <a:pt x="474671" y="106158"/>
                  </a:lnTo>
                  <a:lnTo>
                    <a:pt x="474671" y="111095"/>
                  </a:lnTo>
                  <a:lnTo>
                    <a:pt x="469612" y="114387"/>
                  </a:lnTo>
                  <a:lnTo>
                    <a:pt x="472985" y="112741"/>
                  </a:lnTo>
                  <a:lnTo>
                    <a:pt x="474671" y="116033"/>
                  </a:lnTo>
                  <a:lnTo>
                    <a:pt x="472985" y="117679"/>
                  </a:lnTo>
                  <a:lnTo>
                    <a:pt x="474671" y="117679"/>
                  </a:lnTo>
                  <a:lnTo>
                    <a:pt x="471298" y="119325"/>
                  </a:lnTo>
                  <a:lnTo>
                    <a:pt x="476357" y="117679"/>
                  </a:lnTo>
                  <a:lnTo>
                    <a:pt x="472985" y="125908"/>
                  </a:lnTo>
                  <a:lnTo>
                    <a:pt x="478043" y="125908"/>
                  </a:lnTo>
                  <a:lnTo>
                    <a:pt x="476357" y="129200"/>
                  </a:lnTo>
                  <a:lnTo>
                    <a:pt x="479729" y="130845"/>
                  </a:lnTo>
                  <a:lnTo>
                    <a:pt x="479729" y="127554"/>
                  </a:lnTo>
                  <a:lnTo>
                    <a:pt x="510082" y="162117"/>
                  </a:lnTo>
                  <a:lnTo>
                    <a:pt x="516826" y="176930"/>
                  </a:lnTo>
                  <a:lnTo>
                    <a:pt x="521885" y="203264"/>
                  </a:lnTo>
                  <a:lnTo>
                    <a:pt x="532002" y="206555"/>
                  </a:lnTo>
                  <a:lnTo>
                    <a:pt x="540434" y="208201"/>
                  </a:lnTo>
                  <a:lnTo>
                    <a:pt x="543806" y="213139"/>
                  </a:lnTo>
                  <a:lnTo>
                    <a:pt x="552237" y="208201"/>
                  </a:lnTo>
                  <a:lnTo>
                    <a:pt x="532002" y="204910"/>
                  </a:lnTo>
                  <a:lnTo>
                    <a:pt x="553923" y="208201"/>
                  </a:lnTo>
                  <a:lnTo>
                    <a:pt x="567413" y="208201"/>
                  </a:lnTo>
                  <a:lnTo>
                    <a:pt x="584275" y="221368"/>
                  </a:lnTo>
                  <a:lnTo>
                    <a:pt x="597765" y="226306"/>
                  </a:lnTo>
                  <a:lnTo>
                    <a:pt x="604510" y="231243"/>
                  </a:lnTo>
                  <a:lnTo>
                    <a:pt x="616314" y="231243"/>
                  </a:lnTo>
                  <a:lnTo>
                    <a:pt x="618000" y="232889"/>
                  </a:lnTo>
                  <a:lnTo>
                    <a:pt x="612941" y="236181"/>
                  </a:lnTo>
                  <a:lnTo>
                    <a:pt x="623059" y="242764"/>
                  </a:lnTo>
                  <a:lnTo>
                    <a:pt x="628117" y="241118"/>
                  </a:lnTo>
                  <a:lnTo>
                    <a:pt x="626431" y="242764"/>
                  </a:lnTo>
                  <a:lnTo>
                    <a:pt x="631490" y="246056"/>
                  </a:lnTo>
                  <a:lnTo>
                    <a:pt x="633176" y="242764"/>
                  </a:lnTo>
                  <a:lnTo>
                    <a:pt x="631490" y="241118"/>
                  </a:lnTo>
                  <a:lnTo>
                    <a:pt x="634862" y="242764"/>
                  </a:lnTo>
                  <a:lnTo>
                    <a:pt x="633176" y="247702"/>
                  </a:lnTo>
                  <a:lnTo>
                    <a:pt x="644980" y="254286"/>
                  </a:lnTo>
                  <a:lnTo>
                    <a:pt x="636548" y="246056"/>
                  </a:lnTo>
                  <a:lnTo>
                    <a:pt x="643293" y="249348"/>
                  </a:lnTo>
                  <a:lnTo>
                    <a:pt x="663528" y="227952"/>
                  </a:lnTo>
                  <a:lnTo>
                    <a:pt x="670273" y="226306"/>
                  </a:lnTo>
                  <a:lnTo>
                    <a:pt x="670273" y="224660"/>
                  </a:lnTo>
                  <a:lnTo>
                    <a:pt x="673645" y="223014"/>
                  </a:lnTo>
                  <a:lnTo>
                    <a:pt x="685449" y="223014"/>
                  </a:lnTo>
                  <a:lnTo>
                    <a:pt x="687135" y="227952"/>
                  </a:lnTo>
                  <a:lnTo>
                    <a:pt x="697253" y="223014"/>
                  </a:lnTo>
                  <a:lnTo>
                    <a:pt x="695566" y="226306"/>
                  </a:lnTo>
                  <a:lnTo>
                    <a:pt x="698939" y="226306"/>
                  </a:lnTo>
                  <a:lnTo>
                    <a:pt x="702311" y="224660"/>
                  </a:lnTo>
                  <a:lnTo>
                    <a:pt x="709056" y="224660"/>
                  </a:lnTo>
                  <a:lnTo>
                    <a:pt x="707370" y="223014"/>
                  </a:lnTo>
                  <a:lnTo>
                    <a:pt x="724232" y="223014"/>
                  </a:lnTo>
                  <a:lnTo>
                    <a:pt x="725918" y="224660"/>
                  </a:lnTo>
                  <a:lnTo>
                    <a:pt x="737722" y="214785"/>
                  </a:lnTo>
                  <a:lnTo>
                    <a:pt x="741094" y="216431"/>
                  </a:lnTo>
                  <a:lnTo>
                    <a:pt x="737722" y="232889"/>
                  </a:lnTo>
                  <a:lnTo>
                    <a:pt x="747839" y="250994"/>
                  </a:lnTo>
                  <a:lnTo>
                    <a:pt x="763015" y="250994"/>
                  </a:lnTo>
                  <a:lnTo>
                    <a:pt x="768074" y="254286"/>
                  </a:lnTo>
                  <a:lnTo>
                    <a:pt x="754584" y="252639"/>
                  </a:lnTo>
                  <a:lnTo>
                    <a:pt x="752898" y="257577"/>
                  </a:lnTo>
                  <a:lnTo>
                    <a:pt x="737722" y="257577"/>
                  </a:lnTo>
                  <a:lnTo>
                    <a:pt x="744467" y="254286"/>
                  </a:lnTo>
                  <a:lnTo>
                    <a:pt x="744467" y="249348"/>
                  </a:lnTo>
                  <a:lnTo>
                    <a:pt x="729291" y="226306"/>
                  </a:lnTo>
                  <a:lnTo>
                    <a:pt x="727605" y="226306"/>
                  </a:lnTo>
                  <a:lnTo>
                    <a:pt x="729291" y="231243"/>
                  </a:lnTo>
                  <a:lnTo>
                    <a:pt x="725918" y="232889"/>
                  </a:lnTo>
                  <a:lnTo>
                    <a:pt x="725918" y="227952"/>
                  </a:lnTo>
                  <a:lnTo>
                    <a:pt x="719173" y="232889"/>
                  </a:lnTo>
                  <a:lnTo>
                    <a:pt x="720860" y="236181"/>
                  </a:lnTo>
                  <a:lnTo>
                    <a:pt x="724232" y="234535"/>
                  </a:lnTo>
                  <a:lnTo>
                    <a:pt x="722546" y="236181"/>
                  </a:lnTo>
                  <a:lnTo>
                    <a:pt x="712429" y="229597"/>
                  </a:lnTo>
                  <a:lnTo>
                    <a:pt x="707370" y="231243"/>
                  </a:lnTo>
                  <a:lnTo>
                    <a:pt x="709056" y="237827"/>
                  </a:lnTo>
                  <a:lnTo>
                    <a:pt x="705684" y="231243"/>
                  </a:lnTo>
                  <a:lnTo>
                    <a:pt x="678704" y="234535"/>
                  </a:lnTo>
                  <a:lnTo>
                    <a:pt x="680390" y="250994"/>
                  </a:lnTo>
                  <a:lnTo>
                    <a:pt x="678704" y="234535"/>
                  </a:lnTo>
                  <a:lnTo>
                    <a:pt x="660156" y="237827"/>
                  </a:lnTo>
                  <a:lnTo>
                    <a:pt x="644980" y="250994"/>
                  </a:lnTo>
                  <a:lnTo>
                    <a:pt x="651724" y="257577"/>
                  </a:lnTo>
                  <a:lnTo>
                    <a:pt x="646666" y="254286"/>
                  </a:lnTo>
                  <a:lnTo>
                    <a:pt x="643293" y="254286"/>
                  </a:lnTo>
                  <a:lnTo>
                    <a:pt x="653411" y="260869"/>
                  </a:lnTo>
                  <a:lnTo>
                    <a:pt x="648352" y="260869"/>
                  </a:lnTo>
                  <a:lnTo>
                    <a:pt x="653411" y="265806"/>
                  </a:lnTo>
                  <a:lnTo>
                    <a:pt x="655097" y="264160"/>
                  </a:lnTo>
                  <a:lnTo>
                    <a:pt x="655097" y="267452"/>
                  </a:lnTo>
                  <a:lnTo>
                    <a:pt x="660156" y="274036"/>
                  </a:lnTo>
                  <a:lnTo>
                    <a:pt x="655097" y="283911"/>
                  </a:lnTo>
                  <a:lnTo>
                    <a:pt x="655097" y="280619"/>
                  </a:lnTo>
                  <a:lnTo>
                    <a:pt x="653411" y="278973"/>
                  </a:lnTo>
                  <a:lnTo>
                    <a:pt x="650038" y="282265"/>
                  </a:lnTo>
                  <a:lnTo>
                    <a:pt x="646666" y="288848"/>
                  </a:lnTo>
                  <a:lnTo>
                    <a:pt x="650038" y="290494"/>
                  </a:lnTo>
                  <a:lnTo>
                    <a:pt x="653411" y="285557"/>
                  </a:lnTo>
                  <a:lnTo>
                    <a:pt x="648352" y="295432"/>
                  </a:lnTo>
                  <a:lnTo>
                    <a:pt x="646666" y="292140"/>
                  </a:lnTo>
                  <a:lnTo>
                    <a:pt x="644980" y="300370"/>
                  </a:lnTo>
                  <a:lnTo>
                    <a:pt x="636548" y="306953"/>
                  </a:lnTo>
                  <a:lnTo>
                    <a:pt x="628117" y="310245"/>
                  </a:lnTo>
                  <a:lnTo>
                    <a:pt x="628117" y="311890"/>
                  </a:lnTo>
                  <a:lnTo>
                    <a:pt x="626431" y="310245"/>
                  </a:lnTo>
                  <a:lnTo>
                    <a:pt x="628117" y="311890"/>
                  </a:lnTo>
                  <a:lnTo>
                    <a:pt x="626431" y="310245"/>
                  </a:lnTo>
                  <a:lnTo>
                    <a:pt x="609569" y="331641"/>
                  </a:lnTo>
                  <a:lnTo>
                    <a:pt x="611255" y="333287"/>
                  </a:lnTo>
                  <a:lnTo>
                    <a:pt x="607883" y="331641"/>
                  </a:lnTo>
                  <a:lnTo>
                    <a:pt x="599451" y="339870"/>
                  </a:lnTo>
                  <a:lnTo>
                    <a:pt x="584275" y="344808"/>
                  </a:lnTo>
                  <a:lnTo>
                    <a:pt x="572472" y="336579"/>
                  </a:lnTo>
                  <a:lnTo>
                    <a:pt x="548865" y="353037"/>
                  </a:lnTo>
                  <a:lnTo>
                    <a:pt x="540434" y="353037"/>
                  </a:lnTo>
                  <a:lnTo>
                    <a:pt x="511768" y="367850"/>
                  </a:lnTo>
                  <a:lnTo>
                    <a:pt x="515140" y="374433"/>
                  </a:lnTo>
                  <a:lnTo>
                    <a:pt x="525258" y="377725"/>
                  </a:lnTo>
                  <a:lnTo>
                    <a:pt x="515140" y="374433"/>
                  </a:lnTo>
                  <a:lnTo>
                    <a:pt x="508395" y="367850"/>
                  </a:lnTo>
                  <a:lnTo>
                    <a:pt x="483102" y="366204"/>
                  </a:lnTo>
                  <a:lnTo>
                    <a:pt x="474671" y="374433"/>
                  </a:lnTo>
                  <a:lnTo>
                    <a:pt x="446005" y="376079"/>
                  </a:lnTo>
                  <a:lnTo>
                    <a:pt x="440946" y="371142"/>
                  </a:lnTo>
                  <a:lnTo>
                    <a:pt x="432515" y="376079"/>
                  </a:lnTo>
                  <a:lnTo>
                    <a:pt x="437574" y="372787"/>
                  </a:lnTo>
                  <a:lnTo>
                    <a:pt x="437574" y="367850"/>
                  </a:lnTo>
                  <a:lnTo>
                    <a:pt x="417339" y="348100"/>
                  </a:lnTo>
                  <a:lnTo>
                    <a:pt x="413967" y="349745"/>
                  </a:lnTo>
                  <a:lnTo>
                    <a:pt x="415653" y="359621"/>
                  </a:lnTo>
                  <a:lnTo>
                    <a:pt x="413967" y="348100"/>
                  </a:lnTo>
                  <a:lnTo>
                    <a:pt x="403849" y="326703"/>
                  </a:lnTo>
                  <a:lnTo>
                    <a:pt x="397104" y="321766"/>
                  </a:lnTo>
                  <a:lnTo>
                    <a:pt x="386987" y="339870"/>
                  </a:lnTo>
                  <a:lnTo>
                    <a:pt x="371811" y="341516"/>
                  </a:lnTo>
                  <a:lnTo>
                    <a:pt x="381928" y="341516"/>
                  </a:lnTo>
                  <a:lnTo>
                    <a:pt x="383615" y="334933"/>
                  </a:lnTo>
                  <a:lnTo>
                    <a:pt x="371811" y="334933"/>
                  </a:lnTo>
                  <a:lnTo>
                    <a:pt x="370125" y="339870"/>
                  </a:lnTo>
                  <a:lnTo>
                    <a:pt x="365066" y="338225"/>
                  </a:lnTo>
                  <a:lnTo>
                    <a:pt x="295931" y="413934"/>
                  </a:lnTo>
                  <a:lnTo>
                    <a:pt x="365066" y="338225"/>
                  </a:lnTo>
                  <a:lnTo>
                    <a:pt x="339773" y="331641"/>
                  </a:lnTo>
                  <a:lnTo>
                    <a:pt x="338087" y="338225"/>
                  </a:lnTo>
                  <a:lnTo>
                    <a:pt x="336400" y="336579"/>
                  </a:lnTo>
                  <a:lnTo>
                    <a:pt x="338087" y="328349"/>
                  </a:lnTo>
                  <a:lnTo>
                    <a:pt x="331342" y="331641"/>
                  </a:lnTo>
                  <a:lnTo>
                    <a:pt x="360008" y="306953"/>
                  </a:lnTo>
                  <a:lnTo>
                    <a:pt x="336400" y="321766"/>
                  </a:lnTo>
                  <a:lnTo>
                    <a:pt x="326283" y="331641"/>
                  </a:lnTo>
                  <a:lnTo>
                    <a:pt x="329656" y="303661"/>
                  </a:lnTo>
                  <a:lnTo>
                    <a:pt x="321224" y="288848"/>
                  </a:lnTo>
                  <a:lnTo>
                    <a:pt x="322911" y="290494"/>
                  </a:lnTo>
                  <a:lnTo>
                    <a:pt x="324597" y="288848"/>
                  </a:lnTo>
                  <a:lnTo>
                    <a:pt x="321224" y="274036"/>
                  </a:lnTo>
                  <a:lnTo>
                    <a:pt x="314480" y="270744"/>
                  </a:lnTo>
                  <a:lnTo>
                    <a:pt x="307735" y="254286"/>
                  </a:lnTo>
                  <a:lnTo>
                    <a:pt x="309421" y="244410"/>
                  </a:lnTo>
                  <a:lnTo>
                    <a:pt x="294245" y="231243"/>
                  </a:lnTo>
                  <a:lnTo>
                    <a:pt x="279069" y="218076"/>
                  </a:lnTo>
                  <a:lnTo>
                    <a:pt x="279069" y="219722"/>
                  </a:lnTo>
                  <a:lnTo>
                    <a:pt x="277383" y="219722"/>
                  </a:lnTo>
                  <a:lnTo>
                    <a:pt x="265579" y="223014"/>
                  </a:lnTo>
                  <a:lnTo>
                    <a:pt x="268951" y="221368"/>
                  </a:lnTo>
                  <a:lnTo>
                    <a:pt x="263893" y="218076"/>
                  </a:lnTo>
                  <a:lnTo>
                    <a:pt x="260520" y="218076"/>
                  </a:lnTo>
                  <a:lnTo>
                    <a:pt x="263893" y="221368"/>
                  </a:lnTo>
                  <a:lnTo>
                    <a:pt x="238599" y="208201"/>
                  </a:lnTo>
                  <a:lnTo>
                    <a:pt x="214992" y="198326"/>
                  </a:lnTo>
                  <a:lnTo>
                    <a:pt x="209934" y="195034"/>
                  </a:lnTo>
                  <a:lnTo>
                    <a:pt x="220051" y="201618"/>
                  </a:lnTo>
                  <a:lnTo>
                    <a:pt x="228482" y="203264"/>
                  </a:lnTo>
                  <a:lnTo>
                    <a:pt x="230168" y="196680"/>
                  </a:lnTo>
                  <a:lnTo>
                    <a:pt x="226796" y="195034"/>
                  </a:lnTo>
                  <a:lnTo>
                    <a:pt x="231855" y="195034"/>
                  </a:lnTo>
                  <a:lnTo>
                    <a:pt x="230168" y="186805"/>
                  </a:lnTo>
                  <a:lnTo>
                    <a:pt x="218365" y="171992"/>
                  </a:lnTo>
                  <a:lnTo>
                    <a:pt x="213306" y="170346"/>
                  </a:lnTo>
                  <a:lnTo>
                    <a:pt x="193071" y="173638"/>
                  </a:lnTo>
                  <a:lnTo>
                    <a:pt x="189699" y="171992"/>
                  </a:lnTo>
                  <a:lnTo>
                    <a:pt x="184640" y="171992"/>
                  </a:lnTo>
                  <a:lnTo>
                    <a:pt x="176209" y="178576"/>
                  </a:lnTo>
                  <a:lnTo>
                    <a:pt x="171150" y="190097"/>
                  </a:lnTo>
                  <a:lnTo>
                    <a:pt x="172837" y="191742"/>
                  </a:lnTo>
                  <a:lnTo>
                    <a:pt x="198130" y="185159"/>
                  </a:lnTo>
                  <a:lnTo>
                    <a:pt x="201502" y="188451"/>
                  </a:lnTo>
                  <a:lnTo>
                    <a:pt x="198130" y="186805"/>
                  </a:lnTo>
                  <a:lnTo>
                    <a:pt x="181268" y="188451"/>
                  </a:lnTo>
                  <a:lnTo>
                    <a:pt x="164406" y="196680"/>
                  </a:lnTo>
                  <a:lnTo>
                    <a:pt x="127309" y="219722"/>
                  </a:lnTo>
                  <a:lnTo>
                    <a:pt x="127309" y="218076"/>
                  </a:lnTo>
                  <a:lnTo>
                    <a:pt x="120564" y="221368"/>
                  </a:lnTo>
                  <a:lnTo>
                    <a:pt x="122250" y="224660"/>
                  </a:lnTo>
                  <a:lnTo>
                    <a:pt x="127309" y="221368"/>
                  </a:lnTo>
                  <a:lnTo>
                    <a:pt x="125622" y="226306"/>
                  </a:lnTo>
                  <a:lnTo>
                    <a:pt x="125622" y="223014"/>
                  </a:lnTo>
                  <a:lnTo>
                    <a:pt x="122250" y="224660"/>
                  </a:lnTo>
                  <a:lnTo>
                    <a:pt x="122250" y="226306"/>
                  </a:lnTo>
                  <a:lnTo>
                    <a:pt x="113819" y="227952"/>
                  </a:lnTo>
                  <a:lnTo>
                    <a:pt x="108760" y="226306"/>
                  </a:lnTo>
                  <a:lnTo>
                    <a:pt x="91898" y="231243"/>
                  </a:lnTo>
                  <a:lnTo>
                    <a:pt x="96957" y="232889"/>
                  </a:lnTo>
                  <a:lnTo>
                    <a:pt x="90212" y="231243"/>
                  </a:lnTo>
                  <a:lnTo>
                    <a:pt x="75036" y="237827"/>
                  </a:lnTo>
                  <a:lnTo>
                    <a:pt x="75036" y="242764"/>
                  </a:lnTo>
                  <a:lnTo>
                    <a:pt x="73349" y="244410"/>
                  </a:lnTo>
                  <a:lnTo>
                    <a:pt x="71663" y="249348"/>
                  </a:lnTo>
                  <a:lnTo>
                    <a:pt x="71663" y="267452"/>
                  </a:lnTo>
                  <a:lnTo>
                    <a:pt x="81781" y="270744"/>
                  </a:lnTo>
                  <a:lnTo>
                    <a:pt x="76722" y="280619"/>
                  </a:lnTo>
                  <a:lnTo>
                    <a:pt x="85153" y="278973"/>
                  </a:lnTo>
                  <a:lnTo>
                    <a:pt x="85153" y="270744"/>
                  </a:lnTo>
                  <a:lnTo>
                    <a:pt x="86839" y="277328"/>
                  </a:lnTo>
                  <a:lnTo>
                    <a:pt x="81781" y="280619"/>
                  </a:lnTo>
                  <a:lnTo>
                    <a:pt x="64918" y="280619"/>
                  </a:lnTo>
                  <a:lnTo>
                    <a:pt x="59860" y="272390"/>
                  </a:lnTo>
                  <a:lnTo>
                    <a:pt x="61546" y="269098"/>
                  </a:lnTo>
                  <a:lnTo>
                    <a:pt x="71663" y="267452"/>
                  </a:lnTo>
                  <a:lnTo>
                    <a:pt x="69977" y="246056"/>
                  </a:lnTo>
                  <a:lnTo>
                    <a:pt x="58173" y="241118"/>
                  </a:lnTo>
                  <a:lnTo>
                    <a:pt x="49742" y="241118"/>
                  </a:lnTo>
                  <a:lnTo>
                    <a:pt x="46370" y="236181"/>
                  </a:lnTo>
                  <a:lnTo>
                    <a:pt x="44684" y="239473"/>
                  </a:lnTo>
                  <a:lnTo>
                    <a:pt x="46370" y="236181"/>
                  </a:lnTo>
                  <a:lnTo>
                    <a:pt x="42997" y="234535"/>
                  </a:lnTo>
                  <a:lnTo>
                    <a:pt x="41311" y="236181"/>
                  </a:lnTo>
                  <a:lnTo>
                    <a:pt x="42997" y="234535"/>
                  </a:lnTo>
                  <a:lnTo>
                    <a:pt x="39625" y="231243"/>
                  </a:lnTo>
                  <a:lnTo>
                    <a:pt x="37939" y="232889"/>
                  </a:lnTo>
                  <a:lnTo>
                    <a:pt x="39625" y="231243"/>
                  </a:lnTo>
                  <a:lnTo>
                    <a:pt x="32880" y="227952"/>
                  </a:lnTo>
                  <a:lnTo>
                    <a:pt x="21076" y="213139"/>
                  </a:lnTo>
                  <a:lnTo>
                    <a:pt x="19390" y="214785"/>
                  </a:lnTo>
                  <a:lnTo>
                    <a:pt x="21076" y="213139"/>
                  </a:lnTo>
                  <a:lnTo>
                    <a:pt x="16018" y="206555"/>
                  </a:lnTo>
                  <a:lnTo>
                    <a:pt x="12645" y="198326"/>
                  </a:lnTo>
                  <a:lnTo>
                    <a:pt x="10959" y="198326"/>
                  </a:lnTo>
                  <a:lnTo>
                    <a:pt x="12645" y="196680"/>
                  </a:lnTo>
                  <a:lnTo>
                    <a:pt x="10959" y="190097"/>
                  </a:lnTo>
                  <a:lnTo>
                    <a:pt x="7587" y="190097"/>
                  </a:lnTo>
                  <a:lnTo>
                    <a:pt x="10959" y="190097"/>
                  </a:lnTo>
                  <a:lnTo>
                    <a:pt x="9273" y="185159"/>
                  </a:lnTo>
                  <a:lnTo>
                    <a:pt x="9273" y="180221"/>
                  </a:lnTo>
                  <a:lnTo>
                    <a:pt x="5900" y="181867"/>
                  </a:lnTo>
                  <a:lnTo>
                    <a:pt x="9273" y="180221"/>
                  </a:lnTo>
                  <a:lnTo>
                    <a:pt x="5900" y="171992"/>
                  </a:lnTo>
                  <a:lnTo>
                    <a:pt x="4214" y="171992"/>
                  </a:lnTo>
                  <a:lnTo>
                    <a:pt x="5900" y="171992"/>
                  </a:lnTo>
                  <a:lnTo>
                    <a:pt x="4214" y="163763"/>
                  </a:lnTo>
                  <a:lnTo>
                    <a:pt x="5900" y="155534"/>
                  </a:lnTo>
                  <a:lnTo>
                    <a:pt x="4214" y="155534"/>
                  </a:lnTo>
                  <a:lnTo>
                    <a:pt x="5900" y="155534"/>
                  </a:lnTo>
                  <a:lnTo>
                    <a:pt x="5900" y="150596"/>
                  </a:lnTo>
                  <a:lnTo>
                    <a:pt x="4214" y="150596"/>
                  </a:lnTo>
                  <a:lnTo>
                    <a:pt x="5900" y="150596"/>
                  </a:lnTo>
                  <a:lnTo>
                    <a:pt x="5900" y="145658"/>
                  </a:lnTo>
                  <a:lnTo>
                    <a:pt x="4214" y="145658"/>
                  </a:lnTo>
                  <a:lnTo>
                    <a:pt x="5900" y="145658"/>
                  </a:lnTo>
                  <a:lnTo>
                    <a:pt x="9273" y="139075"/>
                  </a:lnTo>
                  <a:lnTo>
                    <a:pt x="5900" y="137429"/>
                  </a:lnTo>
                  <a:lnTo>
                    <a:pt x="9273" y="137429"/>
                  </a:lnTo>
                  <a:lnTo>
                    <a:pt x="12645" y="130845"/>
                  </a:lnTo>
                  <a:lnTo>
                    <a:pt x="9273" y="129200"/>
                  </a:lnTo>
                  <a:lnTo>
                    <a:pt x="12645" y="130845"/>
                  </a:lnTo>
                  <a:lnTo>
                    <a:pt x="16018" y="122616"/>
                  </a:lnTo>
                  <a:lnTo>
                    <a:pt x="14332" y="122616"/>
                  </a:lnTo>
                  <a:lnTo>
                    <a:pt x="16018" y="122616"/>
                  </a:lnTo>
                  <a:lnTo>
                    <a:pt x="21076" y="116033"/>
                  </a:lnTo>
                  <a:lnTo>
                    <a:pt x="19390" y="114387"/>
                  </a:lnTo>
                  <a:lnTo>
                    <a:pt x="21076" y="116033"/>
                  </a:lnTo>
                  <a:lnTo>
                    <a:pt x="27821" y="104512"/>
                  </a:lnTo>
                  <a:lnTo>
                    <a:pt x="66605" y="73241"/>
                  </a:lnTo>
                  <a:lnTo>
                    <a:pt x="96957" y="73241"/>
                  </a:lnTo>
                  <a:lnTo>
                    <a:pt x="142485" y="58428"/>
                  </a:lnTo>
                  <a:lnTo>
                    <a:pt x="152602" y="58428"/>
                  </a:lnTo>
                  <a:lnTo>
                    <a:pt x="152602" y="55136"/>
                  </a:lnTo>
                  <a:lnTo>
                    <a:pt x="152602" y="58428"/>
                  </a:lnTo>
                  <a:lnTo>
                    <a:pt x="177895" y="56782"/>
                  </a:lnTo>
                  <a:lnTo>
                    <a:pt x="221737" y="66657"/>
                  </a:lnTo>
                  <a:lnTo>
                    <a:pt x="225110" y="65011"/>
                  </a:lnTo>
                  <a:lnTo>
                    <a:pt x="231855" y="55136"/>
                  </a:lnTo>
                  <a:lnTo>
                    <a:pt x="228482" y="50198"/>
                  </a:lnTo>
                  <a:lnTo>
                    <a:pt x="233541" y="46906"/>
                  </a:lnTo>
                  <a:lnTo>
                    <a:pt x="230168" y="41969"/>
                  </a:lnTo>
                  <a:lnTo>
                    <a:pt x="248717" y="25510"/>
                  </a:lnTo>
                  <a:lnTo>
                    <a:pt x="255462" y="23864"/>
                  </a:lnTo>
                  <a:lnTo>
                    <a:pt x="260520" y="28802"/>
                  </a:lnTo>
                  <a:lnTo>
                    <a:pt x="257148" y="32094"/>
                  </a:lnTo>
                  <a:close/>
                  <a:moveTo>
                    <a:pt x="420712" y="5760"/>
                  </a:moveTo>
                  <a:lnTo>
                    <a:pt x="419025" y="9052"/>
                  </a:lnTo>
                  <a:lnTo>
                    <a:pt x="417339" y="9052"/>
                  </a:lnTo>
                  <a:lnTo>
                    <a:pt x="417339" y="5760"/>
                  </a:lnTo>
                  <a:lnTo>
                    <a:pt x="420712" y="4114"/>
                  </a:lnTo>
                  <a:lnTo>
                    <a:pt x="420712"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5" name="Zandvoort">
              <a:extLst>
                <a:ext uri="{FF2B5EF4-FFF2-40B4-BE49-F238E27FC236}">
                  <a16:creationId xmlns:a16="http://schemas.microsoft.com/office/drawing/2014/main" id="{B140F4EA-4B63-41F8-A369-885418995481}"/>
                </a:ext>
              </a:extLst>
            </p:cNvPr>
            <p:cNvSpPr/>
            <p:nvPr/>
          </p:nvSpPr>
          <p:spPr>
            <a:xfrm>
              <a:off x="5290267" y="3029171"/>
              <a:ext cx="106760" cy="146629"/>
            </a:xfrm>
            <a:custGeom>
              <a:avLst/>
              <a:gdLst/>
              <a:ahLst/>
              <a:cxnLst/>
              <a:rect l="l" t="t" r="r" b="b"/>
              <a:pathLst>
                <a:path w="152206" h="217170" extrusionOk="0">
                  <a:moveTo>
                    <a:pt x="154288" y="27156"/>
                  </a:moveTo>
                  <a:lnTo>
                    <a:pt x="85153" y="214785"/>
                  </a:lnTo>
                  <a:lnTo>
                    <a:pt x="4214" y="178576"/>
                  </a:lnTo>
                  <a:lnTo>
                    <a:pt x="80094" y="4114"/>
                  </a:lnTo>
                  <a:lnTo>
                    <a:pt x="154288" y="2715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6" name="Koggenland">
              <a:extLst>
                <a:ext uri="{FF2B5EF4-FFF2-40B4-BE49-F238E27FC236}">
                  <a16:creationId xmlns:a16="http://schemas.microsoft.com/office/drawing/2014/main" id="{3E32D82E-ACBB-4D80-AE4F-20EF39004D6F}"/>
                </a:ext>
              </a:extLst>
            </p:cNvPr>
            <p:cNvSpPr/>
            <p:nvPr/>
          </p:nvSpPr>
          <p:spPr>
            <a:xfrm>
              <a:off x="5683781" y="2555094"/>
              <a:ext cx="181975" cy="165502"/>
            </a:xfrm>
            <a:custGeom>
              <a:avLst/>
              <a:gdLst/>
              <a:ahLst/>
              <a:cxnLst/>
              <a:rect l="l" t="t" r="r" b="b"/>
              <a:pathLst>
                <a:path w="269287" h="251460" extrusionOk="0">
                  <a:moveTo>
                    <a:pt x="85153" y="22218"/>
                  </a:moveTo>
                  <a:lnTo>
                    <a:pt x="66605" y="35385"/>
                  </a:lnTo>
                  <a:lnTo>
                    <a:pt x="68291" y="37031"/>
                  </a:lnTo>
                  <a:lnTo>
                    <a:pt x="132367" y="66657"/>
                  </a:lnTo>
                  <a:lnTo>
                    <a:pt x="139112" y="73240"/>
                  </a:lnTo>
                  <a:lnTo>
                    <a:pt x="152602" y="68303"/>
                  </a:lnTo>
                  <a:lnTo>
                    <a:pt x="152602" y="63365"/>
                  </a:lnTo>
                  <a:lnTo>
                    <a:pt x="155974" y="63365"/>
                  </a:lnTo>
                  <a:lnTo>
                    <a:pt x="159347" y="60073"/>
                  </a:lnTo>
                  <a:lnTo>
                    <a:pt x="159347" y="56782"/>
                  </a:lnTo>
                  <a:lnTo>
                    <a:pt x="166092" y="55136"/>
                  </a:lnTo>
                  <a:lnTo>
                    <a:pt x="174523" y="60073"/>
                  </a:lnTo>
                  <a:lnTo>
                    <a:pt x="179582" y="55136"/>
                  </a:lnTo>
                  <a:lnTo>
                    <a:pt x="184640" y="65011"/>
                  </a:lnTo>
                  <a:lnTo>
                    <a:pt x="213306" y="66657"/>
                  </a:lnTo>
                  <a:lnTo>
                    <a:pt x="211620" y="68303"/>
                  </a:lnTo>
                  <a:lnTo>
                    <a:pt x="214992" y="71594"/>
                  </a:lnTo>
                  <a:lnTo>
                    <a:pt x="214992" y="76532"/>
                  </a:lnTo>
                  <a:lnTo>
                    <a:pt x="228482" y="81470"/>
                  </a:lnTo>
                  <a:lnTo>
                    <a:pt x="241972" y="91345"/>
                  </a:lnTo>
                  <a:lnTo>
                    <a:pt x="262207" y="86407"/>
                  </a:lnTo>
                  <a:lnTo>
                    <a:pt x="268951" y="112741"/>
                  </a:lnTo>
                  <a:lnTo>
                    <a:pt x="267265" y="129200"/>
                  </a:lnTo>
                  <a:lnTo>
                    <a:pt x="258834" y="140721"/>
                  </a:lnTo>
                  <a:lnTo>
                    <a:pt x="236913" y="153888"/>
                  </a:lnTo>
                  <a:lnTo>
                    <a:pt x="231855" y="162117"/>
                  </a:lnTo>
                  <a:lnTo>
                    <a:pt x="230168" y="173638"/>
                  </a:lnTo>
                  <a:lnTo>
                    <a:pt x="238599" y="175284"/>
                  </a:lnTo>
                  <a:lnTo>
                    <a:pt x="235227" y="186805"/>
                  </a:lnTo>
                  <a:lnTo>
                    <a:pt x="233541" y="186805"/>
                  </a:lnTo>
                  <a:lnTo>
                    <a:pt x="235227" y="186805"/>
                  </a:lnTo>
                  <a:lnTo>
                    <a:pt x="235227" y="201617"/>
                  </a:lnTo>
                  <a:lnTo>
                    <a:pt x="238599" y="216430"/>
                  </a:lnTo>
                  <a:lnTo>
                    <a:pt x="218365" y="221368"/>
                  </a:lnTo>
                  <a:lnTo>
                    <a:pt x="221737" y="227951"/>
                  </a:lnTo>
                  <a:lnTo>
                    <a:pt x="216678" y="252639"/>
                  </a:lnTo>
                  <a:lnTo>
                    <a:pt x="134053" y="257577"/>
                  </a:lnTo>
                  <a:lnTo>
                    <a:pt x="132367" y="247702"/>
                  </a:lnTo>
                  <a:lnTo>
                    <a:pt x="144171" y="241118"/>
                  </a:lnTo>
                  <a:lnTo>
                    <a:pt x="147543" y="234535"/>
                  </a:lnTo>
                  <a:lnTo>
                    <a:pt x="142484" y="218076"/>
                  </a:lnTo>
                  <a:lnTo>
                    <a:pt x="135740" y="213139"/>
                  </a:lnTo>
                  <a:lnTo>
                    <a:pt x="130681" y="214784"/>
                  </a:lnTo>
                  <a:lnTo>
                    <a:pt x="115505" y="229597"/>
                  </a:lnTo>
                  <a:lnTo>
                    <a:pt x="102015" y="234535"/>
                  </a:lnTo>
                  <a:lnTo>
                    <a:pt x="91898" y="218076"/>
                  </a:lnTo>
                  <a:lnTo>
                    <a:pt x="54801" y="213139"/>
                  </a:lnTo>
                  <a:lnTo>
                    <a:pt x="34566" y="214784"/>
                  </a:lnTo>
                  <a:lnTo>
                    <a:pt x="42997" y="183513"/>
                  </a:lnTo>
                  <a:lnTo>
                    <a:pt x="32880" y="165409"/>
                  </a:lnTo>
                  <a:lnTo>
                    <a:pt x="19390" y="163763"/>
                  </a:lnTo>
                  <a:lnTo>
                    <a:pt x="22763" y="160471"/>
                  </a:lnTo>
                  <a:lnTo>
                    <a:pt x="24449" y="150596"/>
                  </a:lnTo>
                  <a:lnTo>
                    <a:pt x="22763" y="144012"/>
                  </a:lnTo>
                  <a:lnTo>
                    <a:pt x="5900" y="124262"/>
                  </a:lnTo>
                  <a:lnTo>
                    <a:pt x="4214" y="109449"/>
                  </a:lnTo>
                  <a:lnTo>
                    <a:pt x="9273" y="99574"/>
                  </a:lnTo>
                  <a:lnTo>
                    <a:pt x="21076" y="61719"/>
                  </a:lnTo>
                  <a:lnTo>
                    <a:pt x="29507" y="51844"/>
                  </a:lnTo>
                  <a:lnTo>
                    <a:pt x="24449" y="37031"/>
                  </a:lnTo>
                  <a:lnTo>
                    <a:pt x="42997" y="27156"/>
                  </a:lnTo>
                  <a:lnTo>
                    <a:pt x="46370" y="15635"/>
                  </a:lnTo>
                  <a:lnTo>
                    <a:pt x="76722" y="4114"/>
                  </a:lnTo>
                  <a:lnTo>
                    <a:pt x="83467" y="5760"/>
                  </a:lnTo>
                  <a:lnTo>
                    <a:pt x="86839" y="12343"/>
                  </a:lnTo>
                  <a:lnTo>
                    <a:pt x="85153" y="2221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7" name="Rheden">
              <a:extLst>
                <a:ext uri="{FF2B5EF4-FFF2-40B4-BE49-F238E27FC236}">
                  <a16:creationId xmlns:a16="http://schemas.microsoft.com/office/drawing/2014/main" id="{2D85A94F-2707-488A-9D0D-D06810DD5688}"/>
                </a:ext>
              </a:extLst>
            </p:cNvPr>
            <p:cNvSpPr/>
            <p:nvPr/>
          </p:nvSpPr>
          <p:spPr>
            <a:xfrm>
              <a:off x="6825053" y="3536182"/>
              <a:ext cx="191876" cy="184432"/>
            </a:xfrm>
            <a:custGeom>
              <a:avLst/>
              <a:gdLst/>
              <a:ahLst/>
              <a:cxnLst/>
              <a:rect l="l" t="t" r="r" b="b"/>
              <a:pathLst>
                <a:path w="280996" h="274320" extrusionOk="0">
                  <a:moveTo>
                    <a:pt x="194758" y="13989"/>
                  </a:moveTo>
                  <a:lnTo>
                    <a:pt x="199816" y="13989"/>
                  </a:lnTo>
                  <a:lnTo>
                    <a:pt x="201503" y="17281"/>
                  </a:lnTo>
                  <a:lnTo>
                    <a:pt x="235227" y="27156"/>
                  </a:lnTo>
                  <a:lnTo>
                    <a:pt x="250403" y="41969"/>
                  </a:lnTo>
                  <a:lnTo>
                    <a:pt x="253776" y="50198"/>
                  </a:lnTo>
                  <a:lnTo>
                    <a:pt x="262207" y="50198"/>
                  </a:lnTo>
                  <a:lnTo>
                    <a:pt x="260520" y="53490"/>
                  </a:lnTo>
                  <a:lnTo>
                    <a:pt x="263893" y="63365"/>
                  </a:lnTo>
                  <a:lnTo>
                    <a:pt x="274010" y="60074"/>
                  </a:lnTo>
                  <a:lnTo>
                    <a:pt x="274010" y="63365"/>
                  </a:lnTo>
                  <a:lnTo>
                    <a:pt x="284128" y="65011"/>
                  </a:lnTo>
                  <a:lnTo>
                    <a:pt x="284128" y="71595"/>
                  </a:lnTo>
                  <a:lnTo>
                    <a:pt x="287500" y="71595"/>
                  </a:lnTo>
                  <a:lnTo>
                    <a:pt x="284128" y="76532"/>
                  </a:lnTo>
                  <a:lnTo>
                    <a:pt x="257148" y="94637"/>
                  </a:lnTo>
                  <a:lnTo>
                    <a:pt x="250403" y="102866"/>
                  </a:lnTo>
                  <a:lnTo>
                    <a:pt x="247030" y="111095"/>
                  </a:lnTo>
                  <a:lnTo>
                    <a:pt x="250403" y="122616"/>
                  </a:lnTo>
                  <a:lnTo>
                    <a:pt x="270638" y="135783"/>
                  </a:lnTo>
                  <a:lnTo>
                    <a:pt x="279069" y="147304"/>
                  </a:lnTo>
                  <a:lnTo>
                    <a:pt x="279069" y="158825"/>
                  </a:lnTo>
                  <a:lnTo>
                    <a:pt x="274010" y="175284"/>
                  </a:lnTo>
                  <a:lnTo>
                    <a:pt x="270638" y="190097"/>
                  </a:lnTo>
                  <a:lnTo>
                    <a:pt x="265579" y="198326"/>
                  </a:lnTo>
                  <a:lnTo>
                    <a:pt x="253776" y="204910"/>
                  </a:lnTo>
                  <a:lnTo>
                    <a:pt x="245344" y="224660"/>
                  </a:lnTo>
                  <a:lnTo>
                    <a:pt x="220051" y="232889"/>
                  </a:lnTo>
                  <a:lnTo>
                    <a:pt x="209934" y="229597"/>
                  </a:lnTo>
                  <a:lnTo>
                    <a:pt x="199816" y="214785"/>
                  </a:lnTo>
                  <a:lnTo>
                    <a:pt x="196444" y="209847"/>
                  </a:lnTo>
                  <a:lnTo>
                    <a:pt x="198130" y="196680"/>
                  </a:lnTo>
                  <a:lnTo>
                    <a:pt x="194758" y="190097"/>
                  </a:lnTo>
                  <a:lnTo>
                    <a:pt x="177895" y="180221"/>
                  </a:lnTo>
                  <a:lnTo>
                    <a:pt x="167778" y="181867"/>
                  </a:lnTo>
                  <a:lnTo>
                    <a:pt x="152602" y="193389"/>
                  </a:lnTo>
                  <a:lnTo>
                    <a:pt x="144171" y="211493"/>
                  </a:lnTo>
                  <a:lnTo>
                    <a:pt x="128995" y="224660"/>
                  </a:lnTo>
                  <a:lnTo>
                    <a:pt x="118877" y="226306"/>
                  </a:lnTo>
                  <a:lnTo>
                    <a:pt x="105388" y="223014"/>
                  </a:lnTo>
                  <a:lnTo>
                    <a:pt x="96957" y="227952"/>
                  </a:lnTo>
                  <a:lnTo>
                    <a:pt x="88525" y="237827"/>
                  </a:lnTo>
                  <a:lnTo>
                    <a:pt x="80094" y="269098"/>
                  </a:lnTo>
                  <a:lnTo>
                    <a:pt x="64918" y="278973"/>
                  </a:lnTo>
                  <a:lnTo>
                    <a:pt x="49742" y="262515"/>
                  </a:lnTo>
                  <a:lnTo>
                    <a:pt x="17704" y="242764"/>
                  </a:lnTo>
                  <a:lnTo>
                    <a:pt x="7587" y="229597"/>
                  </a:lnTo>
                  <a:lnTo>
                    <a:pt x="4214" y="218076"/>
                  </a:lnTo>
                  <a:lnTo>
                    <a:pt x="14331" y="214785"/>
                  </a:lnTo>
                  <a:lnTo>
                    <a:pt x="22763" y="216431"/>
                  </a:lnTo>
                  <a:lnTo>
                    <a:pt x="39625" y="209847"/>
                  </a:lnTo>
                  <a:lnTo>
                    <a:pt x="46370" y="195034"/>
                  </a:lnTo>
                  <a:lnTo>
                    <a:pt x="48056" y="173638"/>
                  </a:lnTo>
                  <a:lnTo>
                    <a:pt x="71663" y="153888"/>
                  </a:lnTo>
                  <a:lnTo>
                    <a:pt x="44684" y="86407"/>
                  </a:lnTo>
                  <a:lnTo>
                    <a:pt x="78408" y="86407"/>
                  </a:lnTo>
                  <a:lnTo>
                    <a:pt x="85153" y="74886"/>
                  </a:lnTo>
                  <a:lnTo>
                    <a:pt x="86839" y="56782"/>
                  </a:lnTo>
                  <a:lnTo>
                    <a:pt x="113819" y="53490"/>
                  </a:lnTo>
                  <a:lnTo>
                    <a:pt x="145857" y="23864"/>
                  </a:lnTo>
                  <a:lnTo>
                    <a:pt x="177895" y="4114"/>
                  </a:lnTo>
                  <a:lnTo>
                    <a:pt x="193071" y="4114"/>
                  </a:lnTo>
                  <a:lnTo>
                    <a:pt x="194758"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8" name="Drechterland">
              <a:extLst>
                <a:ext uri="{FF2B5EF4-FFF2-40B4-BE49-F238E27FC236}">
                  <a16:creationId xmlns:a16="http://schemas.microsoft.com/office/drawing/2014/main" id="{C2704657-5F1B-4646-BED2-5B5915996940}"/>
                </a:ext>
              </a:extLst>
            </p:cNvPr>
            <p:cNvSpPr/>
            <p:nvPr/>
          </p:nvSpPr>
          <p:spPr>
            <a:xfrm>
              <a:off x="5918671" y="2543390"/>
              <a:ext cx="168440" cy="146629"/>
            </a:xfrm>
            <a:custGeom>
              <a:avLst/>
              <a:gdLst/>
              <a:ahLst/>
              <a:cxnLst/>
              <a:rect l="l" t="t" r="r" b="b"/>
              <a:pathLst>
                <a:path w="234163" h="217170" extrusionOk="0">
                  <a:moveTo>
                    <a:pt x="161033" y="41969"/>
                  </a:moveTo>
                  <a:lnTo>
                    <a:pt x="174523" y="74886"/>
                  </a:lnTo>
                  <a:lnTo>
                    <a:pt x="176209" y="65011"/>
                  </a:lnTo>
                  <a:lnTo>
                    <a:pt x="179582" y="60073"/>
                  </a:lnTo>
                  <a:lnTo>
                    <a:pt x="235227" y="53490"/>
                  </a:lnTo>
                  <a:lnTo>
                    <a:pt x="236913" y="61719"/>
                  </a:lnTo>
                  <a:lnTo>
                    <a:pt x="231855" y="66657"/>
                  </a:lnTo>
                  <a:lnTo>
                    <a:pt x="230168" y="88053"/>
                  </a:lnTo>
                  <a:lnTo>
                    <a:pt x="223424" y="104512"/>
                  </a:lnTo>
                  <a:lnTo>
                    <a:pt x="220051" y="124262"/>
                  </a:lnTo>
                  <a:lnTo>
                    <a:pt x="213306" y="135783"/>
                  </a:lnTo>
                  <a:lnTo>
                    <a:pt x="176209" y="155533"/>
                  </a:lnTo>
                  <a:lnTo>
                    <a:pt x="167778" y="163763"/>
                  </a:lnTo>
                  <a:lnTo>
                    <a:pt x="164406" y="175284"/>
                  </a:lnTo>
                  <a:lnTo>
                    <a:pt x="150916" y="173638"/>
                  </a:lnTo>
                  <a:lnTo>
                    <a:pt x="132367" y="180221"/>
                  </a:lnTo>
                  <a:lnTo>
                    <a:pt x="123936" y="188451"/>
                  </a:lnTo>
                  <a:lnTo>
                    <a:pt x="122250" y="188451"/>
                  </a:lnTo>
                  <a:lnTo>
                    <a:pt x="125622" y="188451"/>
                  </a:lnTo>
                  <a:lnTo>
                    <a:pt x="113819" y="196680"/>
                  </a:lnTo>
                  <a:lnTo>
                    <a:pt x="105388" y="206555"/>
                  </a:lnTo>
                  <a:lnTo>
                    <a:pt x="90212" y="204909"/>
                  </a:lnTo>
                  <a:lnTo>
                    <a:pt x="58174" y="214785"/>
                  </a:lnTo>
                  <a:lnTo>
                    <a:pt x="54801" y="209847"/>
                  </a:lnTo>
                  <a:lnTo>
                    <a:pt x="59860" y="199972"/>
                  </a:lnTo>
                  <a:lnTo>
                    <a:pt x="48056" y="183513"/>
                  </a:lnTo>
                  <a:lnTo>
                    <a:pt x="29508" y="186805"/>
                  </a:lnTo>
                  <a:lnTo>
                    <a:pt x="26135" y="178576"/>
                  </a:lnTo>
                  <a:lnTo>
                    <a:pt x="31194" y="176930"/>
                  </a:lnTo>
                  <a:lnTo>
                    <a:pt x="26135" y="178576"/>
                  </a:lnTo>
                  <a:lnTo>
                    <a:pt x="26135" y="186805"/>
                  </a:lnTo>
                  <a:lnTo>
                    <a:pt x="17704" y="180221"/>
                  </a:lnTo>
                  <a:lnTo>
                    <a:pt x="17704" y="176930"/>
                  </a:lnTo>
                  <a:lnTo>
                    <a:pt x="26135" y="175284"/>
                  </a:lnTo>
                  <a:lnTo>
                    <a:pt x="19390" y="148950"/>
                  </a:lnTo>
                  <a:lnTo>
                    <a:pt x="44684" y="139075"/>
                  </a:lnTo>
                  <a:lnTo>
                    <a:pt x="39625" y="130845"/>
                  </a:lnTo>
                  <a:lnTo>
                    <a:pt x="37939" y="132491"/>
                  </a:lnTo>
                  <a:lnTo>
                    <a:pt x="32880" y="125908"/>
                  </a:lnTo>
                  <a:lnTo>
                    <a:pt x="26135" y="109449"/>
                  </a:lnTo>
                  <a:lnTo>
                    <a:pt x="10959" y="94636"/>
                  </a:lnTo>
                  <a:lnTo>
                    <a:pt x="14332" y="89699"/>
                  </a:lnTo>
                  <a:lnTo>
                    <a:pt x="4214" y="71594"/>
                  </a:lnTo>
                  <a:lnTo>
                    <a:pt x="54801" y="41969"/>
                  </a:lnTo>
                  <a:lnTo>
                    <a:pt x="147543" y="4114"/>
                  </a:lnTo>
                  <a:lnTo>
                    <a:pt x="161033" y="4196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69" name="Delfzijl">
              <a:extLst>
                <a:ext uri="{FF2B5EF4-FFF2-40B4-BE49-F238E27FC236}">
                  <a16:creationId xmlns:a16="http://schemas.microsoft.com/office/drawing/2014/main" id="{ABDAC6FF-50F1-4DFB-8B21-E3EB131CA4BB}"/>
                </a:ext>
              </a:extLst>
            </p:cNvPr>
            <p:cNvSpPr/>
            <p:nvPr/>
          </p:nvSpPr>
          <p:spPr>
            <a:xfrm>
              <a:off x="7648804" y="1375045"/>
              <a:ext cx="359277" cy="297846"/>
            </a:xfrm>
            <a:custGeom>
              <a:avLst/>
              <a:gdLst/>
              <a:ahLst/>
              <a:cxnLst/>
              <a:rect l="l" t="t" r="r" b="b"/>
              <a:pathLst>
                <a:path w="491743" h="445770" extrusionOk="0">
                  <a:moveTo>
                    <a:pt x="228482" y="204909"/>
                  </a:moveTo>
                  <a:lnTo>
                    <a:pt x="228482" y="204909"/>
                  </a:lnTo>
                  <a:close/>
                  <a:moveTo>
                    <a:pt x="488160" y="237827"/>
                  </a:moveTo>
                  <a:lnTo>
                    <a:pt x="483102" y="236181"/>
                  </a:lnTo>
                  <a:lnTo>
                    <a:pt x="488160" y="237827"/>
                  </a:lnTo>
                  <a:close/>
                  <a:moveTo>
                    <a:pt x="444319" y="239472"/>
                  </a:moveTo>
                  <a:lnTo>
                    <a:pt x="444319" y="237827"/>
                  </a:lnTo>
                  <a:lnTo>
                    <a:pt x="444319" y="239472"/>
                  </a:lnTo>
                  <a:lnTo>
                    <a:pt x="457809" y="237827"/>
                  </a:lnTo>
                  <a:lnTo>
                    <a:pt x="457809" y="234535"/>
                  </a:lnTo>
                  <a:lnTo>
                    <a:pt x="457809" y="237827"/>
                  </a:lnTo>
                  <a:lnTo>
                    <a:pt x="469612" y="232889"/>
                  </a:lnTo>
                  <a:lnTo>
                    <a:pt x="469612" y="231243"/>
                  </a:lnTo>
                  <a:lnTo>
                    <a:pt x="471299" y="232889"/>
                  </a:lnTo>
                  <a:lnTo>
                    <a:pt x="483102" y="229597"/>
                  </a:lnTo>
                  <a:lnTo>
                    <a:pt x="481416" y="226306"/>
                  </a:lnTo>
                  <a:lnTo>
                    <a:pt x="483102" y="229597"/>
                  </a:lnTo>
                  <a:lnTo>
                    <a:pt x="488160" y="227951"/>
                  </a:lnTo>
                  <a:lnTo>
                    <a:pt x="483102" y="231243"/>
                  </a:lnTo>
                  <a:lnTo>
                    <a:pt x="457809" y="237827"/>
                  </a:lnTo>
                  <a:lnTo>
                    <a:pt x="488160" y="232889"/>
                  </a:lnTo>
                  <a:lnTo>
                    <a:pt x="479730" y="236181"/>
                  </a:lnTo>
                  <a:lnTo>
                    <a:pt x="444319" y="239472"/>
                  </a:lnTo>
                  <a:close/>
                  <a:moveTo>
                    <a:pt x="236914" y="448497"/>
                  </a:moveTo>
                  <a:lnTo>
                    <a:pt x="230168" y="443559"/>
                  </a:lnTo>
                  <a:lnTo>
                    <a:pt x="226796" y="443559"/>
                  </a:lnTo>
                  <a:lnTo>
                    <a:pt x="218365" y="433684"/>
                  </a:lnTo>
                  <a:lnTo>
                    <a:pt x="214992" y="435330"/>
                  </a:lnTo>
                  <a:lnTo>
                    <a:pt x="208248" y="433684"/>
                  </a:lnTo>
                  <a:lnTo>
                    <a:pt x="211620" y="385954"/>
                  </a:lnTo>
                  <a:lnTo>
                    <a:pt x="206561" y="385954"/>
                  </a:lnTo>
                  <a:lnTo>
                    <a:pt x="208248" y="374433"/>
                  </a:lnTo>
                  <a:lnTo>
                    <a:pt x="204875" y="372787"/>
                  </a:lnTo>
                  <a:lnTo>
                    <a:pt x="206561" y="348099"/>
                  </a:lnTo>
                  <a:lnTo>
                    <a:pt x="174523" y="348099"/>
                  </a:lnTo>
                  <a:lnTo>
                    <a:pt x="172837" y="346454"/>
                  </a:lnTo>
                  <a:lnTo>
                    <a:pt x="174523" y="341516"/>
                  </a:lnTo>
                  <a:lnTo>
                    <a:pt x="186326" y="331641"/>
                  </a:lnTo>
                  <a:lnTo>
                    <a:pt x="181268" y="326703"/>
                  </a:lnTo>
                  <a:lnTo>
                    <a:pt x="179582" y="329995"/>
                  </a:lnTo>
                  <a:lnTo>
                    <a:pt x="176209" y="323411"/>
                  </a:lnTo>
                  <a:lnTo>
                    <a:pt x="177895" y="320120"/>
                  </a:lnTo>
                  <a:lnTo>
                    <a:pt x="172837" y="303661"/>
                  </a:lnTo>
                  <a:lnTo>
                    <a:pt x="172837" y="274036"/>
                  </a:lnTo>
                  <a:lnTo>
                    <a:pt x="169464" y="275681"/>
                  </a:lnTo>
                  <a:lnTo>
                    <a:pt x="166092" y="259223"/>
                  </a:lnTo>
                  <a:lnTo>
                    <a:pt x="166092" y="241118"/>
                  </a:lnTo>
                  <a:lnTo>
                    <a:pt x="162719" y="229597"/>
                  </a:lnTo>
                  <a:lnTo>
                    <a:pt x="164406" y="206555"/>
                  </a:lnTo>
                  <a:lnTo>
                    <a:pt x="167778" y="198326"/>
                  </a:lnTo>
                  <a:lnTo>
                    <a:pt x="167778" y="188451"/>
                  </a:lnTo>
                  <a:lnTo>
                    <a:pt x="152602" y="183513"/>
                  </a:lnTo>
                  <a:lnTo>
                    <a:pt x="150916" y="195034"/>
                  </a:lnTo>
                  <a:lnTo>
                    <a:pt x="140799" y="193388"/>
                  </a:lnTo>
                  <a:lnTo>
                    <a:pt x="140799" y="198326"/>
                  </a:lnTo>
                  <a:lnTo>
                    <a:pt x="134053" y="196680"/>
                  </a:lnTo>
                  <a:lnTo>
                    <a:pt x="135740" y="193388"/>
                  </a:lnTo>
                  <a:lnTo>
                    <a:pt x="132368" y="191742"/>
                  </a:lnTo>
                  <a:lnTo>
                    <a:pt x="130681" y="195034"/>
                  </a:lnTo>
                  <a:lnTo>
                    <a:pt x="113819" y="191742"/>
                  </a:lnTo>
                  <a:lnTo>
                    <a:pt x="107074" y="195034"/>
                  </a:lnTo>
                  <a:lnTo>
                    <a:pt x="103701" y="190097"/>
                  </a:lnTo>
                  <a:lnTo>
                    <a:pt x="95270" y="190097"/>
                  </a:lnTo>
                  <a:lnTo>
                    <a:pt x="91898" y="195034"/>
                  </a:lnTo>
                  <a:lnTo>
                    <a:pt x="91898" y="190097"/>
                  </a:lnTo>
                  <a:lnTo>
                    <a:pt x="88526" y="191742"/>
                  </a:lnTo>
                  <a:lnTo>
                    <a:pt x="86839" y="185159"/>
                  </a:lnTo>
                  <a:lnTo>
                    <a:pt x="78408" y="186805"/>
                  </a:lnTo>
                  <a:lnTo>
                    <a:pt x="76722" y="180221"/>
                  </a:lnTo>
                  <a:lnTo>
                    <a:pt x="80094" y="165409"/>
                  </a:lnTo>
                  <a:lnTo>
                    <a:pt x="78408" y="158825"/>
                  </a:lnTo>
                  <a:lnTo>
                    <a:pt x="73349" y="153888"/>
                  </a:lnTo>
                  <a:lnTo>
                    <a:pt x="68291" y="155533"/>
                  </a:lnTo>
                  <a:lnTo>
                    <a:pt x="64918" y="150596"/>
                  </a:lnTo>
                  <a:lnTo>
                    <a:pt x="58174" y="155533"/>
                  </a:lnTo>
                  <a:lnTo>
                    <a:pt x="41311" y="140721"/>
                  </a:lnTo>
                  <a:lnTo>
                    <a:pt x="44684" y="135783"/>
                  </a:lnTo>
                  <a:lnTo>
                    <a:pt x="36253" y="127554"/>
                  </a:lnTo>
                  <a:lnTo>
                    <a:pt x="37939" y="125908"/>
                  </a:lnTo>
                  <a:lnTo>
                    <a:pt x="32880" y="119324"/>
                  </a:lnTo>
                  <a:lnTo>
                    <a:pt x="36253" y="117679"/>
                  </a:lnTo>
                  <a:lnTo>
                    <a:pt x="10959" y="78178"/>
                  </a:lnTo>
                  <a:lnTo>
                    <a:pt x="4214" y="65011"/>
                  </a:lnTo>
                  <a:lnTo>
                    <a:pt x="102015" y="4114"/>
                  </a:lnTo>
                  <a:lnTo>
                    <a:pt x="130681" y="28802"/>
                  </a:lnTo>
                  <a:lnTo>
                    <a:pt x="154288" y="41969"/>
                  </a:lnTo>
                  <a:lnTo>
                    <a:pt x="159347" y="50198"/>
                  </a:lnTo>
                  <a:lnTo>
                    <a:pt x="164406" y="48552"/>
                  </a:lnTo>
                  <a:lnTo>
                    <a:pt x="159347" y="50198"/>
                  </a:lnTo>
                  <a:lnTo>
                    <a:pt x="169464" y="66657"/>
                  </a:lnTo>
                  <a:lnTo>
                    <a:pt x="164406" y="74886"/>
                  </a:lnTo>
                  <a:lnTo>
                    <a:pt x="169464" y="76532"/>
                  </a:lnTo>
                  <a:lnTo>
                    <a:pt x="174523" y="83115"/>
                  </a:lnTo>
                  <a:lnTo>
                    <a:pt x="172837" y="83115"/>
                  </a:lnTo>
                  <a:lnTo>
                    <a:pt x="171150" y="94637"/>
                  </a:lnTo>
                  <a:lnTo>
                    <a:pt x="171150" y="104512"/>
                  </a:lnTo>
                  <a:lnTo>
                    <a:pt x="174523" y="114387"/>
                  </a:lnTo>
                  <a:lnTo>
                    <a:pt x="179582" y="116033"/>
                  </a:lnTo>
                  <a:lnTo>
                    <a:pt x="176209" y="116033"/>
                  </a:lnTo>
                  <a:lnTo>
                    <a:pt x="177895" y="125908"/>
                  </a:lnTo>
                  <a:lnTo>
                    <a:pt x="184641" y="130846"/>
                  </a:lnTo>
                  <a:lnTo>
                    <a:pt x="181268" y="129200"/>
                  </a:lnTo>
                  <a:lnTo>
                    <a:pt x="179582" y="140721"/>
                  </a:lnTo>
                  <a:lnTo>
                    <a:pt x="184641" y="148950"/>
                  </a:lnTo>
                  <a:lnTo>
                    <a:pt x="184641" y="163763"/>
                  </a:lnTo>
                  <a:lnTo>
                    <a:pt x="193072" y="183513"/>
                  </a:lnTo>
                  <a:lnTo>
                    <a:pt x="201503" y="181867"/>
                  </a:lnTo>
                  <a:lnTo>
                    <a:pt x="233541" y="208201"/>
                  </a:lnTo>
                  <a:lnTo>
                    <a:pt x="235227" y="213139"/>
                  </a:lnTo>
                  <a:lnTo>
                    <a:pt x="240286" y="213139"/>
                  </a:lnTo>
                  <a:lnTo>
                    <a:pt x="241972" y="211493"/>
                  </a:lnTo>
                  <a:lnTo>
                    <a:pt x="241972" y="213139"/>
                  </a:lnTo>
                  <a:lnTo>
                    <a:pt x="243658" y="214785"/>
                  </a:lnTo>
                  <a:lnTo>
                    <a:pt x="245345" y="213139"/>
                  </a:lnTo>
                  <a:lnTo>
                    <a:pt x="245345" y="218076"/>
                  </a:lnTo>
                  <a:lnTo>
                    <a:pt x="255462" y="224660"/>
                  </a:lnTo>
                  <a:lnTo>
                    <a:pt x="255462" y="231243"/>
                  </a:lnTo>
                  <a:lnTo>
                    <a:pt x="260521" y="232889"/>
                  </a:lnTo>
                  <a:lnTo>
                    <a:pt x="294245" y="242764"/>
                  </a:lnTo>
                  <a:lnTo>
                    <a:pt x="319538" y="252639"/>
                  </a:lnTo>
                  <a:lnTo>
                    <a:pt x="346518" y="252639"/>
                  </a:lnTo>
                  <a:lnTo>
                    <a:pt x="338087" y="257577"/>
                  </a:lnTo>
                  <a:lnTo>
                    <a:pt x="324597" y="255931"/>
                  </a:lnTo>
                  <a:lnTo>
                    <a:pt x="294245" y="246056"/>
                  </a:lnTo>
                  <a:lnTo>
                    <a:pt x="267265" y="239472"/>
                  </a:lnTo>
                  <a:lnTo>
                    <a:pt x="248717" y="227951"/>
                  </a:lnTo>
                  <a:lnTo>
                    <a:pt x="240286" y="216430"/>
                  </a:lnTo>
                  <a:lnTo>
                    <a:pt x="236914" y="219722"/>
                  </a:lnTo>
                  <a:lnTo>
                    <a:pt x="238599" y="221368"/>
                  </a:lnTo>
                  <a:lnTo>
                    <a:pt x="236914" y="227951"/>
                  </a:lnTo>
                  <a:lnTo>
                    <a:pt x="238599" y="221368"/>
                  </a:lnTo>
                  <a:lnTo>
                    <a:pt x="236914" y="219722"/>
                  </a:lnTo>
                  <a:lnTo>
                    <a:pt x="231855" y="226306"/>
                  </a:lnTo>
                  <a:lnTo>
                    <a:pt x="231855" y="229597"/>
                  </a:lnTo>
                  <a:lnTo>
                    <a:pt x="235227" y="231243"/>
                  </a:lnTo>
                  <a:lnTo>
                    <a:pt x="233541" y="234535"/>
                  </a:lnTo>
                  <a:lnTo>
                    <a:pt x="235227" y="231243"/>
                  </a:lnTo>
                  <a:lnTo>
                    <a:pt x="252089" y="236181"/>
                  </a:lnTo>
                  <a:lnTo>
                    <a:pt x="253776" y="239472"/>
                  </a:lnTo>
                  <a:lnTo>
                    <a:pt x="250403" y="246056"/>
                  </a:lnTo>
                  <a:lnTo>
                    <a:pt x="258834" y="239472"/>
                  </a:lnTo>
                  <a:lnTo>
                    <a:pt x="284127" y="250993"/>
                  </a:lnTo>
                  <a:lnTo>
                    <a:pt x="292559" y="249348"/>
                  </a:lnTo>
                  <a:lnTo>
                    <a:pt x="331342" y="265806"/>
                  </a:lnTo>
                  <a:lnTo>
                    <a:pt x="292559" y="249348"/>
                  </a:lnTo>
                  <a:lnTo>
                    <a:pt x="285814" y="249348"/>
                  </a:lnTo>
                  <a:lnTo>
                    <a:pt x="285814" y="247702"/>
                  </a:lnTo>
                  <a:lnTo>
                    <a:pt x="268952" y="242764"/>
                  </a:lnTo>
                  <a:lnTo>
                    <a:pt x="285814" y="247702"/>
                  </a:lnTo>
                  <a:lnTo>
                    <a:pt x="285814" y="249348"/>
                  </a:lnTo>
                  <a:lnTo>
                    <a:pt x="290872" y="247702"/>
                  </a:lnTo>
                  <a:lnTo>
                    <a:pt x="289187" y="249348"/>
                  </a:lnTo>
                  <a:lnTo>
                    <a:pt x="292559" y="249348"/>
                  </a:lnTo>
                  <a:lnTo>
                    <a:pt x="339773" y="267452"/>
                  </a:lnTo>
                  <a:lnTo>
                    <a:pt x="331342" y="265806"/>
                  </a:lnTo>
                  <a:lnTo>
                    <a:pt x="338087" y="269098"/>
                  </a:lnTo>
                  <a:lnTo>
                    <a:pt x="339773" y="272390"/>
                  </a:lnTo>
                  <a:lnTo>
                    <a:pt x="354949" y="260869"/>
                  </a:lnTo>
                  <a:lnTo>
                    <a:pt x="353263" y="255931"/>
                  </a:lnTo>
                  <a:lnTo>
                    <a:pt x="358322" y="267452"/>
                  </a:lnTo>
                  <a:lnTo>
                    <a:pt x="354949" y="278973"/>
                  </a:lnTo>
                  <a:lnTo>
                    <a:pt x="378556" y="287202"/>
                  </a:lnTo>
                  <a:lnTo>
                    <a:pt x="385301" y="287202"/>
                  </a:lnTo>
                  <a:lnTo>
                    <a:pt x="395418" y="282265"/>
                  </a:lnTo>
                  <a:lnTo>
                    <a:pt x="397105" y="272390"/>
                  </a:lnTo>
                  <a:lnTo>
                    <a:pt x="397105" y="278973"/>
                  </a:lnTo>
                  <a:lnTo>
                    <a:pt x="393732" y="283911"/>
                  </a:lnTo>
                  <a:lnTo>
                    <a:pt x="397105" y="287202"/>
                  </a:lnTo>
                  <a:lnTo>
                    <a:pt x="398791" y="272390"/>
                  </a:lnTo>
                  <a:lnTo>
                    <a:pt x="397105" y="287202"/>
                  </a:lnTo>
                  <a:lnTo>
                    <a:pt x="405536" y="290494"/>
                  </a:lnTo>
                  <a:lnTo>
                    <a:pt x="410595" y="293786"/>
                  </a:lnTo>
                  <a:lnTo>
                    <a:pt x="452750" y="292140"/>
                  </a:lnTo>
                  <a:lnTo>
                    <a:pt x="459495" y="282265"/>
                  </a:lnTo>
                  <a:lnTo>
                    <a:pt x="451064" y="288848"/>
                  </a:lnTo>
                  <a:lnTo>
                    <a:pt x="456122" y="282265"/>
                  </a:lnTo>
                  <a:lnTo>
                    <a:pt x="459495" y="282265"/>
                  </a:lnTo>
                  <a:lnTo>
                    <a:pt x="461181" y="278973"/>
                  </a:lnTo>
                  <a:lnTo>
                    <a:pt x="459495" y="287202"/>
                  </a:lnTo>
                  <a:lnTo>
                    <a:pt x="462868" y="287202"/>
                  </a:lnTo>
                  <a:lnTo>
                    <a:pt x="461181" y="282265"/>
                  </a:lnTo>
                  <a:lnTo>
                    <a:pt x="464553" y="282265"/>
                  </a:lnTo>
                  <a:lnTo>
                    <a:pt x="467926" y="275681"/>
                  </a:lnTo>
                  <a:lnTo>
                    <a:pt x="464553" y="282265"/>
                  </a:lnTo>
                  <a:lnTo>
                    <a:pt x="474671" y="277327"/>
                  </a:lnTo>
                  <a:lnTo>
                    <a:pt x="478044" y="269098"/>
                  </a:lnTo>
                  <a:lnTo>
                    <a:pt x="476357" y="275681"/>
                  </a:lnTo>
                  <a:lnTo>
                    <a:pt x="484788" y="272390"/>
                  </a:lnTo>
                  <a:lnTo>
                    <a:pt x="479730" y="272390"/>
                  </a:lnTo>
                  <a:lnTo>
                    <a:pt x="484788" y="269098"/>
                  </a:lnTo>
                  <a:lnTo>
                    <a:pt x="488160" y="274036"/>
                  </a:lnTo>
                  <a:lnTo>
                    <a:pt x="486475" y="272390"/>
                  </a:lnTo>
                  <a:lnTo>
                    <a:pt x="486475" y="274036"/>
                  </a:lnTo>
                  <a:lnTo>
                    <a:pt x="486475" y="282265"/>
                  </a:lnTo>
                  <a:lnTo>
                    <a:pt x="484788" y="278973"/>
                  </a:lnTo>
                  <a:lnTo>
                    <a:pt x="481416" y="280619"/>
                  </a:lnTo>
                  <a:lnTo>
                    <a:pt x="474671" y="290494"/>
                  </a:lnTo>
                  <a:lnTo>
                    <a:pt x="464553" y="297078"/>
                  </a:lnTo>
                  <a:lnTo>
                    <a:pt x="462868" y="313536"/>
                  </a:lnTo>
                  <a:lnTo>
                    <a:pt x="467926" y="333287"/>
                  </a:lnTo>
                  <a:lnTo>
                    <a:pt x="462868" y="341516"/>
                  </a:lnTo>
                  <a:lnTo>
                    <a:pt x="457809" y="362912"/>
                  </a:lnTo>
                  <a:lnTo>
                    <a:pt x="459495" y="376079"/>
                  </a:lnTo>
                  <a:lnTo>
                    <a:pt x="467926" y="384308"/>
                  </a:lnTo>
                  <a:lnTo>
                    <a:pt x="462868" y="392538"/>
                  </a:lnTo>
                  <a:lnTo>
                    <a:pt x="467926" y="384308"/>
                  </a:lnTo>
                  <a:lnTo>
                    <a:pt x="478044" y="395829"/>
                  </a:lnTo>
                  <a:lnTo>
                    <a:pt x="467926" y="400767"/>
                  </a:lnTo>
                  <a:lnTo>
                    <a:pt x="456122" y="413934"/>
                  </a:lnTo>
                  <a:lnTo>
                    <a:pt x="461181" y="417226"/>
                  </a:lnTo>
                  <a:lnTo>
                    <a:pt x="442633" y="432038"/>
                  </a:lnTo>
                  <a:lnTo>
                    <a:pt x="430829" y="417226"/>
                  </a:lnTo>
                  <a:lnTo>
                    <a:pt x="427457" y="420517"/>
                  </a:lnTo>
                  <a:lnTo>
                    <a:pt x="402164" y="390892"/>
                  </a:lnTo>
                  <a:lnTo>
                    <a:pt x="398791" y="392538"/>
                  </a:lnTo>
                  <a:lnTo>
                    <a:pt x="397105" y="390892"/>
                  </a:lnTo>
                  <a:lnTo>
                    <a:pt x="393732" y="392538"/>
                  </a:lnTo>
                  <a:lnTo>
                    <a:pt x="388673" y="399121"/>
                  </a:lnTo>
                  <a:lnTo>
                    <a:pt x="375184" y="407351"/>
                  </a:lnTo>
                  <a:lnTo>
                    <a:pt x="360008" y="389246"/>
                  </a:lnTo>
                  <a:lnTo>
                    <a:pt x="361694" y="374433"/>
                  </a:lnTo>
                  <a:lnTo>
                    <a:pt x="338087" y="374433"/>
                  </a:lnTo>
                  <a:lnTo>
                    <a:pt x="270638" y="400767"/>
                  </a:lnTo>
                  <a:lnTo>
                    <a:pt x="262207" y="420517"/>
                  </a:lnTo>
                  <a:lnTo>
                    <a:pt x="260521" y="432038"/>
                  </a:lnTo>
                  <a:lnTo>
                    <a:pt x="257148" y="436976"/>
                  </a:lnTo>
                  <a:lnTo>
                    <a:pt x="250403" y="432038"/>
                  </a:lnTo>
                  <a:lnTo>
                    <a:pt x="236914" y="448497"/>
                  </a:lnTo>
                  <a:close/>
                  <a:moveTo>
                    <a:pt x="228482" y="231243"/>
                  </a:moveTo>
                  <a:lnTo>
                    <a:pt x="231855" y="226306"/>
                  </a:lnTo>
                  <a:lnTo>
                    <a:pt x="228482" y="226306"/>
                  </a:lnTo>
                  <a:lnTo>
                    <a:pt x="230168" y="227951"/>
                  </a:lnTo>
                  <a:lnTo>
                    <a:pt x="228482" y="231243"/>
                  </a:lnTo>
                  <a:close/>
                  <a:moveTo>
                    <a:pt x="334714" y="257577"/>
                  </a:moveTo>
                  <a:lnTo>
                    <a:pt x="346518" y="254285"/>
                  </a:lnTo>
                  <a:lnTo>
                    <a:pt x="329656" y="255931"/>
                  </a:lnTo>
                  <a:lnTo>
                    <a:pt x="311107" y="250993"/>
                  </a:lnTo>
                  <a:lnTo>
                    <a:pt x="334714" y="257577"/>
                  </a:lnTo>
                  <a:close/>
                  <a:moveTo>
                    <a:pt x="311107" y="250993"/>
                  </a:moveTo>
                  <a:lnTo>
                    <a:pt x="294245" y="244410"/>
                  </a:lnTo>
                  <a:lnTo>
                    <a:pt x="255462" y="234535"/>
                  </a:lnTo>
                  <a:lnTo>
                    <a:pt x="267265" y="239472"/>
                  </a:lnTo>
                  <a:lnTo>
                    <a:pt x="294245" y="244410"/>
                  </a:lnTo>
                  <a:lnTo>
                    <a:pt x="311107" y="250993"/>
                  </a:lnTo>
                  <a:close/>
                  <a:moveTo>
                    <a:pt x="356635" y="265806"/>
                  </a:moveTo>
                  <a:lnTo>
                    <a:pt x="354949" y="260869"/>
                  </a:lnTo>
                  <a:lnTo>
                    <a:pt x="351576" y="264160"/>
                  </a:lnTo>
                  <a:lnTo>
                    <a:pt x="356635" y="265806"/>
                  </a:lnTo>
                  <a:close/>
                  <a:moveTo>
                    <a:pt x="471299" y="278973"/>
                  </a:moveTo>
                  <a:lnTo>
                    <a:pt x="478044" y="275681"/>
                  </a:lnTo>
                  <a:lnTo>
                    <a:pt x="476357" y="275681"/>
                  </a:lnTo>
                  <a:lnTo>
                    <a:pt x="471299" y="2789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0" name="Veere">
              <a:extLst>
                <a:ext uri="{FF2B5EF4-FFF2-40B4-BE49-F238E27FC236}">
                  <a16:creationId xmlns:a16="http://schemas.microsoft.com/office/drawing/2014/main" id="{23533089-A38D-4D32-8C62-D961EAA1F879}"/>
                </a:ext>
              </a:extLst>
            </p:cNvPr>
            <p:cNvSpPr/>
            <p:nvPr/>
          </p:nvSpPr>
          <p:spPr>
            <a:xfrm>
              <a:off x="4153286" y="4217366"/>
              <a:ext cx="314078" cy="297846"/>
            </a:xfrm>
            <a:custGeom>
              <a:avLst/>
              <a:gdLst/>
              <a:ahLst/>
              <a:cxnLst/>
              <a:rect l="l" t="t" r="r" b="b"/>
              <a:pathLst>
                <a:path w="468326" h="445770" extrusionOk="0">
                  <a:moveTo>
                    <a:pt x="403849" y="278973"/>
                  </a:moveTo>
                  <a:lnTo>
                    <a:pt x="400477" y="278973"/>
                  </a:lnTo>
                  <a:lnTo>
                    <a:pt x="407222" y="274036"/>
                  </a:lnTo>
                  <a:lnTo>
                    <a:pt x="410594" y="267452"/>
                  </a:lnTo>
                  <a:lnTo>
                    <a:pt x="410594" y="274036"/>
                  </a:lnTo>
                  <a:lnTo>
                    <a:pt x="403849" y="278973"/>
                  </a:lnTo>
                  <a:close/>
                  <a:moveTo>
                    <a:pt x="405536" y="247702"/>
                  </a:moveTo>
                  <a:lnTo>
                    <a:pt x="408908" y="252639"/>
                  </a:lnTo>
                  <a:lnTo>
                    <a:pt x="410594" y="264160"/>
                  </a:lnTo>
                  <a:lnTo>
                    <a:pt x="405536" y="264160"/>
                  </a:lnTo>
                  <a:lnTo>
                    <a:pt x="403849" y="274036"/>
                  </a:lnTo>
                  <a:lnTo>
                    <a:pt x="398791" y="277328"/>
                  </a:lnTo>
                  <a:lnTo>
                    <a:pt x="397104" y="262515"/>
                  </a:lnTo>
                  <a:lnTo>
                    <a:pt x="390360" y="241118"/>
                  </a:lnTo>
                  <a:lnTo>
                    <a:pt x="393732" y="237827"/>
                  </a:lnTo>
                  <a:lnTo>
                    <a:pt x="400477" y="241118"/>
                  </a:lnTo>
                  <a:lnTo>
                    <a:pt x="405536" y="247702"/>
                  </a:lnTo>
                  <a:close/>
                  <a:moveTo>
                    <a:pt x="376870" y="224660"/>
                  </a:moveTo>
                  <a:lnTo>
                    <a:pt x="380242" y="234535"/>
                  </a:lnTo>
                  <a:lnTo>
                    <a:pt x="376870" y="227952"/>
                  </a:lnTo>
                  <a:lnTo>
                    <a:pt x="373497" y="224660"/>
                  </a:lnTo>
                  <a:lnTo>
                    <a:pt x="376870" y="224660"/>
                  </a:lnTo>
                  <a:close/>
                  <a:moveTo>
                    <a:pt x="366752" y="214785"/>
                  </a:moveTo>
                  <a:lnTo>
                    <a:pt x="375184" y="216431"/>
                  </a:lnTo>
                  <a:lnTo>
                    <a:pt x="376870" y="219722"/>
                  </a:lnTo>
                  <a:lnTo>
                    <a:pt x="370125" y="218076"/>
                  </a:lnTo>
                  <a:lnTo>
                    <a:pt x="365066" y="221368"/>
                  </a:lnTo>
                  <a:lnTo>
                    <a:pt x="366752" y="214785"/>
                  </a:lnTo>
                  <a:close/>
                  <a:moveTo>
                    <a:pt x="279069" y="139075"/>
                  </a:moveTo>
                  <a:lnTo>
                    <a:pt x="289186" y="140721"/>
                  </a:lnTo>
                  <a:lnTo>
                    <a:pt x="302676" y="147304"/>
                  </a:lnTo>
                  <a:lnTo>
                    <a:pt x="290872" y="144013"/>
                  </a:lnTo>
                  <a:lnTo>
                    <a:pt x="292559" y="145658"/>
                  </a:lnTo>
                  <a:lnTo>
                    <a:pt x="302676" y="150596"/>
                  </a:lnTo>
                  <a:lnTo>
                    <a:pt x="326283" y="147304"/>
                  </a:lnTo>
                  <a:lnTo>
                    <a:pt x="326283" y="152242"/>
                  </a:lnTo>
                  <a:lnTo>
                    <a:pt x="309421" y="160471"/>
                  </a:lnTo>
                  <a:lnTo>
                    <a:pt x="309421" y="186805"/>
                  </a:lnTo>
                  <a:lnTo>
                    <a:pt x="326283" y="206555"/>
                  </a:lnTo>
                  <a:lnTo>
                    <a:pt x="324597" y="208201"/>
                  </a:lnTo>
                  <a:lnTo>
                    <a:pt x="327969" y="213139"/>
                  </a:lnTo>
                  <a:lnTo>
                    <a:pt x="324597" y="213139"/>
                  </a:lnTo>
                  <a:lnTo>
                    <a:pt x="329656" y="213139"/>
                  </a:lnTo>
                  <a:lnTo>
                    <a:pt x="341459" y="223014"/>
                  </a:lnTo>
                  <a:lnTo>
                    <a:pt x="348204" y="223014"/>
                  </a:lnTo>
                  <a:lnTo>
                    <a:pt x="341459" y="223014"/>
                  </a:lnTo>
                  <a:lnTo>
                    <a:pt x="333028" y="219722"/>
                  </a:lnTo>
                  <a:lnTo>
                    <a:pt x="333028" y="221368"/>
                  </a:lnTo>
                  <a:lnTo>
                    <a:pt x="339773" y="224660"/>
                  </a:lnTo>
                  <a:lnTo>
                    <a:pt x="346518" y="226306"/>
                  </a:lnTo>
                  <a:lnTo>
                    <a:pt x="361694" y="241118"/>
                  </a:lnTo>
                  <a:lnTo>
                    <a:pt x="370125" y="244410"/>
                  </a:lnTo>
                  <a:lnTo>
                    <a:pt x="361694" y="249348"/>
                  </a:lnTo>
                  <a:lnTo>
                    <a:pt x="371811" y="244410"/>
                  </a:lnTo>
                  <a:lnTo>
                    <a:pt x="373497" y="249348"/>
                  </a:lnTo>
                  <a:lnTo>
                    <a:pt x="368439" y="257577"/>
                  </a:lnTo>
                  <a:lnTo>
                    <a:pt x="366752" y="264160"/>
                  </a:lnTo>
                  <a:lnTo>
                    <a:pt x="368439" y="264160"/>
                  </a:lnTo>
                  <a:lnTo>
                    <a:pt x="375184" y="252639"/>
                  </a:lnTo>
                  <a:lnTo>
                    <a:pt x="376870" y="252639"/>
                  </a:lnTo>
                  <a:lnTo>
                    <a:pt x="386987" y="280619"/>
                  </a:lnTo>
                  <a:lnTo>
                    <a:pt x="353263" y="318474"/>
                  </a:lnTo>
                  <a:lnTo>
                    <a:pt x="349890" y="311891"/>
                  </a:lnTo>
                  <a:lnTo>
                    <a:pt x="326283" y="316828"/>
                  </a:lnTo>
                  <a:lnTo>
                    <a:pt x="316166" y="315182"/>
                  </a:lnTo>
                  <a:lnTo>
                    <a:pt x="314479" y="302015"/>
                  </a:lnTo>
                  <a:lnTo>
                    <a:pt x="289186" y="302015"/>
                  </a:lnTo>
                  <a:lnTo>
                    <a:pt x="284127" y="278973"/>
                  </a:lnTo>
                  <a:lnTo>
                    <a:pt x="268951" y="280619"/>
                  </a:lnTo>
                  <a:lnTo>
                    <a:pt x="267265" y="278973"/>
                  </a:lnTo>
                  <a:lnTo>
                    <a:pt x="247031" y="285557"/>
                  </a:lnTo>
                  <a:lnTo>
                    <a:pt x="248717" y="290494"/>
                  </a:lnTo>
                  <a:lnTo>
                    <a:pt x="253775" y="293786"/>
                  </a:lnTo>
                  <a:lnTo>
                    <a:pt x="257148" y="308599"/>
                  </a:lnTo>
                  <a:lnTo>
                    <a:pt x="236913" y="315182"/>
                  </a:lnTo>
                  <a:lnTo>
                    <a:pt x="235227" y="329995"/>
                  </a:lnTo>
                  <a:lnTo>
                    <a:pt x="228482" y="331641"/>
                  </a:lnTo>
                  <a:lnTo>
                    <a:pt x="235227" y="341516"/>
                  </a:lnTo>
                  <a:lnTo>
                    <a:pt x="223423" y="346454"/>
                  </a:lnTo>
                  <a:lnTo>
                    <a:pt x="226796" y="351391"/>
                  </a:lnTo>
                  <a:lnTo>
                    <a:pt x="226796" y="356329"/>
                  </a:lnTo>
                  <a:lnTo>
                    <a:pt x="231854" y="361267"/>
                  </a:lnTo>
                  <a:lnTo>
                    <a:pt x="236913" y="376079"/>
                  </a:lnTo>
                  <a:lnTo>
                    <a:pt x="236913" y="384309"/>
                  </a:lnTo>
                  <a:lnTo>
                    <a:pt x="228482" y="387600"/>
                  </a:lnTo>
                  <a:lnTo>
                    <a:pt x="233541" y="404059"/>
                  </a:lnTo>
                  <a:lnTo>
                    <a:pt x="236913" y="404059"/>
                  </a:lnTo>
                  <a:lnTo>
                    <a:pt x="240286" y="412288"/>
                  </a:lnTo>
                  <a:lnTo>
                    <a:pt x="235227" y="413934"/>
                  </a:lnTo>
                  <a:lnTo>
                    <a:pt x="231854" y="420518"/>
                  </a:lnTo>
                  <a:lnTo>
                    <a:pt x="221737" y="423809"/>
                  </a:lnTo>
                  <a:lnTo>
                    <a:pt x="220051" y="417226"/>
                  </a:lnTo>
                  <a:lnTo>
                    <a:pt x="214992" y="417226"/>
                  </a:lnTo>
                  <a:lnTo>
                    <a:pt x="206561" y="413934"/>
                  </a:lnTo>
                  <a:lnTo>
                    <a:pt x="206561" y="427101"/>
                  </a:lnTo>
                  <a:lnTo>
                    <a:pt x="204875" y="433684"/>
                  </a:lnTo>
                  <a:lnTo>
                    <a:pt x="198130" y="430393"/>
                  </a:lnTo>
                  <a:lnTo>
                    <a:pt x="193071" y="438622"/>
                  </a:lnTo>
                  <a:lnTo>
                    <a:pt x="189699" y="438622"/>
                  </a:lnTo>
                  <a:lnTo>
                    <a:pt x="186326" y="432039"/>
                  </a:lnTo>
                  <a:lnTo>
                    <a:pt x="172837" y="441914"/>
                  </a:lnTo>
                  <a:lnTo>
                    <a:pt x="142485" y="450143"/>
                  </a:lnTo>
                  <a:lnTo>
                    <a:pt x="144171" y="448497"/>
                  </a:lnTo>
                  <a:lnTo>
                    <a:pt x="142485" y="445206"/>
                  </a:lnTo>
                  <a:lnTo>
                    <a:pt x="139112" y="446851"/>
                  </a:lnTo>
                  <a:lnTo>
                    <a:pt x="142485" y="445206"/>
                  </a:lnTo>
                  <a:lnTo>
                    <a:pt x="139112" y="440268"/>
                  </a:lnTo>
                  <a:lnTo>
                    <a:pt x="135740" y="441914"/>
                  </a:lnTo>
                  <a:lnTo>
                    <a:pt x="139112" y="440268"/>
                  </a:lnTo>
                  <a:lnTo>
                    <a:pt x="137426" y="435330"/>
                  </a:lnTo>
                  <a:lnTo>
                    <a:pt x="134053" y="436976"/>
                  </a:lnTo>
                  <a:lnTo>
                    <a:pt x="135740" y="433684"/>
                  </a:lnTo>
                  <a:lnTo>
                    <a:pt x="132367" y="430393"/>
                  </a:lnTo>
                  <a:lnTo>
                    <a:pt x="130681" y="432039"/>
                  </a:lnTo>
                  <a:lnTo>
                    <a:pt x="132367" y="430393"/>
                  </a:lnTo>
                  <a:lnTo>
                    <a:pt x="130681" y="427101"/>
                  </a:lnTo>
                  <a:lnTo>
                    <a:pt x="127309" y="427101"/>
                  </a:lnTo>
                  <a:lnTo>
                    <a:pt x="128995" y="425455"/>
                  </a:lnTo>
                  <a:lnTo>
                    <a:pt x="128995" y="422164"/>
                  </a:lnTo>
                  <a:lnTo>
                    <a:pt x="125622" y="423809"/>
                  </a:lnTo>
                  <a:lnTo>
                    <a:pt x="127309" y="422164"/>
                  </a:lnTo>
                  <a:lnTo>
                    <a:pt x="127309" y="417226"/>
                  </a:lnTo>
                  <a:lnTo>
                    <a:pt x="123936" y="418872"/>
                  </a:lnTo>
                  <a:lnTo>
                    <a:pt x="127309" y="417226"/>
                  </a:lnTo>
                  <a:lnTo>
                    <a:pt x="125622" y="413934"/>
                  </a:lnTo>
                  <a:lnTo>
                    <a:pt x="120564" y="415580"/>
                  </a:lnTo>
                  <a:lnTo>
                    <a:pt x="125622" y="413934"/>
                  </a:lnTo>
                  <a:lnTo>
                    <a:pt x="123936" y="410642"/>
                  </a:lnTo>
                  <a:lnTo>
                    <a:pt x="118877" y="412288"/>
                  </a:lnTo>
                  <a:lnTo>
                    <a:pt x="122250" y="407351"/>
                  </a:lnTo>
                  <a:lnTo>
                    <a:pt x="120564" y="405705"/>
                  </a:lnTo>
                  <a:lnTo>
                    <a:pt x="117191" y="407351"/>
                  </a:lnTo>
                  <a:lnTo>
                    <a:pt x="120564" y="405705"/>
                  </a:lnTo>
                  <a:lnTo>
                    <a:pt x="118877" y="402413"/>
                  </a:lnTo>
                  <a:lnTo>
                    <a:pt x="115505" y="404059"/>
                  </a:lnTo>
                  <a:lnTo>
                    <a:pt x="118877" y="402413"/>
                  </a:lnTo>
                  <a:lnTo>
                    <a:pt x="117191" y="397475"/>
                  </a:lnTo>
                  <a:lnTo>
                    <a:pt x="113819" y="399122"/>
                  </a:lnTo>
                  <a:lnTo>
                    <a:pt x="117191" y="397475"/>
                  </a:lnTo>
                  <a:lnTo>
                    <a:pt x="113819" y="394184"/>
                  </a:lnTo>
                  <a:lnTo>
                    <a:pt x="112133" y="395830"/>
                  </a:lnTo>
                  <a:lnTo>
                    <a:pt x="113819" y="394184"/>
                  </a:lnTo>
                  <a:lnTo>
                    <a:pt x="112133" y="390892"/>
                  </a:lnTo>
                  <a:lnTo>
                    <a:pt x="108760" y="392538"/>
                  </a:lnTo>
                  <a:lnTo>
                    <a:pt x="112133" y="390892"/>
                  </a:lnTo>
                  <a:lnTo>
                    <a:pt x="110446" y="385954"/>
                  </a:lnTo>
                  <a:lnTo>
                    <a:pt x="105388" y="389246"/>
                  </a:lnTo>
                  <a:lnTo>
                    <a:pt x="110446" y="385954"/>
                  </a:lnTo>
                  <a:lnTo>
                    <a:pt x="107074" y="382663"/>
                  </a:lnTo>
                  <a:lnTo>
                    <a:pt x="103701" y="384309"/>
                  </a:lnTo>
                  <a:lnTo>
                    <a:pt x="107074" y="382663"/>
                  </a:lnTo>
                  <a:lnTo>
                    <a:pt x="105388" y="379371"/>
                  </a:lnTo>
                  <a:lnTo>
                    <a:pt x="100329" y="381017"/>
                  </a:lnTo>
                  <a:lnTo>
                    <a:pt x="105388" y="379371"/>
                  </a:lnTo>
                  <a:lnTo>
                    <a:pt x="102015" y="376079"/>
                  </a:lnTo>
                  <a:lnTo>
                    <a:pt x="100329" y="377725"/>
                  </a:lnTo>
                  <a:lnTo>
                    <a:pt x="102015" y="376079"/>
                  </a:lnTo>
                  <a:lnTo>
                    <a:pt x="100329" y="372788"/>
                  </a:lnTo>
                  <a:lnTo>
                    <a:pt x="95270" y="376079"/>
                  </a:lnTo>
                  <a:lnTo>
                    <a:pt x="98643" y="371142"/>
                  </a:lnTo>
                  <a:lnTo>
                    <a:pt x="93584" y="372788"/>
                  </a:lnTo>
                  <a:lnTo>
                    <a:pt x="96957" y="369496"/>
                  </a:lnTo>
                  <a:lnTo>
                    <a:pt x="93584" y="367850"/>
                  </a:lnTo>
                  <a:lnTo>
                    <a:pt x="90212" y="369496"/>
                  </a:lnTo>
                  <a:lnTo>
                    <a:pt x="93584" y="367850"/>
                  </a:lnTo>
                  <a:lnTo>
                    <a:pt x="90212" y="364558"/>
                  </a:lnTo>
                  <a:lnTo>
                    <a:pt x="86839" y="367850"/>
                  </a:lnTo>
                  <a:lnTo>
                    <a:pt x="90212" y="364558"/>
                  </a:lnTo>
                  <a:lnTo>
                    <a:pt x="86839" y="362912"/>
                  </a:lnTo>
                  <a:lnTo>
                    <a:pt x="85153" y="364558"/>
                  </a:lnTo>
                  <a:lnTo>
                    <a:pt x="86839" y="362912"/>
                  </a:lnTo>
                  <a:lnTo>
                    <a:pt x="81780" y="364558"/>
                  </a:lnTo>
                  <a:lnTo>
                    <a:pt x="83467" y="361267"/>
                  </a:lnTo>
                  <a:lnTo>
                    <a:pt x="80094" y="362912"/>
                  </a:lnTo>
                  <a:lnTo>
                    <a:pt x="80094" y="361267"/>
                  </a:lnTo>
                  <a:lnTo>
                    <a:pt x="76722" y="361267"/>
                  </a:lnTo>
                  <a:lnTo>
                    <a:pt x="76722" y="357975"/>
                  </a:lnTo>
                  <a:lnTo>
                    <a:pt x="75036" y="359621"/>
                  </a:lnTo>
                  <a:lnTo>
                    <a:pt x="76722" y="357975"/>
                  </a:lnTo>
                  <a:lnTo>
                    <a:pt x="73349" y="357975"/>
                  </a:lnTo>
                  <a:lnTo>
                    <a:pt x="71663" y="353037"/>
                  </a:lnTo>
                  <a:lnTo>
                    <a:pt x="69977" y="356329"/>
                  </a:lnTo>
                  <a:lnTo>
                    <a:pt x="71663" y="354683"/>
                  </a:lnTo>
                  <a:lnTo>
                    <a:pt x="68291" y="354683"/>
                  </a:lnTo>
                  <a:lnTo>
                    <a:pt x="69977" y="353037"/>
                  </a:lnTo>
                  <a:lnTo>
                    <a:pt x="66604" y="349746"/>
                  </a:lnTo>
                  <a:lnTo>
                    <a:pt x="64918" y="353037"/>
                  </a:lnTo>
                  <a:lnTo>
                    <a:pt x="66604" y="349746"/>
                  </a:lnTo>
                  <a:lnTo>
                    <a:pt x="64918" y="348100"/>
                  </a:lnTo>
                  <a:lnTo>
                    <a:pt x="61546" y="351391"/>
                  </a:lnTo>
                  <a:lnTo>
                    <a:pt x="64918" y="348100"/>
                  </a:lnTo>
                  <a:lnTo>
                    <a:pt x="61546" y="346454"/>
                  </a:lnTo>
                  <a:lnTo>
                    <a:pt x="59860" y="348100"/>
                  </a:lnTo>
                  <a:lnTo>
                    <a:pt x="61546" y="346454"/>
                  </a:lnTo>
                  <a:lnTo>
                    <a:pt x="59860" y="344808"/>
                  </a:lnTo>
                  <a:lnTo>
                    <a:pt x="58173" y="348100"/>
                  </a:lnTo>
                  <a:lnTo>
                    <a:pt x="58173" y="343162"/>
                  </a:lnTo>
                  <a:lnTo>
                    <a:pt x="54801" y="344808"/>
                  </a:lnTo>
                  <a:lnTo>
                    <a:pt x="56487" y="343162"/>
                  </a:lnTo>
                  <a:lnTo>
                    <a:pt x="53115" y="343162"/>
                  </a:lnTo>
                  <a:lnTo>
                    <a:pt x="51428" y="339870"/>
                  </a:lnTo>
                  <a:lnTo>
                    <a:pt x="49742" y="341516"/>
                  </a:lnTo>
                  <a:lnTo>
                    <a:pt x="51428" y="338225"/>
                  </a:lnTo>
                  <a:lnTo>
                    <a:pt x="48056" y="339870"/>
                  </a:lnTo>
                  <a:lnTo>
                    <a:pt x="46370" y="334933"/>
                  </a:lnTo>
                  <a:lnTo>
                    <a:pt x="44684" y="338225"/>
                  </a:lnTo>
                  <a:lnTo>
                    <a:pt x="44684" y="333287"/>
                  </a:lnTo>
                  <a:lnTo>
                    <a:pt x="42997" y="336579"/>
                  </a:lnTo>
                  <a:lnTo>
                    <a:pt x="42997" y="331641"/>
                  </a:lnTo>
                  <a:lnTo>
                    <a:pt x="41311" y="334933"/>
                  </a:lnTo>
                  <a:lnTo>
                    <a:pt x="42997" y="331641"/>
                  </a:lnTo>
                  <a:lnTo>
                    <a:pt x="39625" y="333287"/>
                  </a:lnTo>
                  <a:lnTo>
                    <a:pt x="39625" y="328349"/>
                  </a:lnTo>
                  <a:lnTo>
                    <a:pt x="36252" y="331641"/>
                  </a:lnTo>
                  <a:lnTo>
                    <a:pt x="39625" y="328349"/>
                  </a:lnTo>
                  <a:lnTo>
                    <a:pt x="37939" y="326704"/>
                  </a:lnTo>
                  <a:lnTo>
                    <a:pt x="34566" y="329995"/>
                  </a:lnTo>
                  <a:lnTo>
                    <a:pt x="37939" y="326704"/>
                  </a:lnTo>
                  <a:lnTo>
                    <a:pt x="36252" y="325057"/>
                  </a:lnTo>
                  <a:lnTo>
                    <a:pt x="32880" y="328349"/>
                  </a:lnTo>
                  <a:lnTo>
                    <a:pt x="34566" y="323412"/>
                  </a:lnTo>
                  <a:lnTo>
                    <a:pt x="31194" y="325057"/>
                  </a:lnTo>
                  <a:lnTo>
                    <a:pt x="32880" y="321766"/>
                  </a:lnTo>
                  <a:lnTo>
                    <a:pt x="29507" y="323412"/>
                  </a:lnTo>
                  <a:lnTo>
                    <a:pt x="31194" y="321766"/>
                  </a:lnTo>
                  <a:lnTo>
                    <a:pt x="31194" y="320120"/>
                  </a:lnTo>
                  <a:lnTo>
                    <a:pt x="27821" y="321766"/>
                  </a:lnTo>
                  <a:lnTo>
                    <a:pt x="31194" y="320120"/>
                  </a:lnTo>
                  <a:lnTo>
                    <a:pt x="29507" y="316828"/>
                  </a:lnTo>
                  <a:lnTo>
                    <a:pt x="26135" y="320120"/>
                  </a:lnTo>
                  <a:lnTo>
                    <a:pt x="27821" y="316828"/>
                  </a:lnTo>
                  <a:lnTo>
                    <a:pt x="27821" y="315182"/>
                  </a:lnTo>
                  <a:lnTo>
                    <a:pt x="24449" y="316828"/>
                  </a:lnTo>
                  <a:lnTo>
                    <a:pt x="27821" y="315182"/>
                  </a:lnTo>
                  <a:lnTo>
                    <a:pt x="26135" y="313536"/>
                  </a:lnTo>
                  <a:lnTo>
                    <a:pt x="22763" y="315182"/>
                  </a:lnTo>
                  <a:lnTo>
                    <a:pt x="26135" y="313536"/>
                  </a:lnTo>
                  <a:lnTo>
                    <a:pt x="24449" y="310245"/>
                  </a:lnTo>
                  <a:lnTo>
                    <a:pt x="21076" y="313536"/>
                  </a:lnTo>
                  <a:lnTo>
                    <a:pt x="24449" y="310245"/>
                  </a:lnTo>
                  <a:lnTo>
                    <a:pt x="22763" y="308599"/>
                  </a:lnTo>
                  <a:lnTo>
                    <a:pt x="21076" y="310245"/>
                  </a:lnTo>
                  <a:lnTo>
                    <a:pt x="22763" y="308599"/>
                  </a:lnTo>
                  <a:lnTo>
                    <a:pt x="21076" y="306953"/>
                  </a:lnTo>
                  <a:lnTo>
                    <a:pt x="17704" y="308599"/>
                  </a:lnTo>
                  <a:lnTo>
                    <a:pt x="21076" y="305307"/>
                  </a:lnTo>
                  <a:lnTo>
                    <a:pt x="17704" y="305307"/>
                  </a:lnTo>
                  <a:lnTo>
                    <a:pt x="17704" y="303661"/>
                  </a:lnTo>
                  <a:lnTo>
                    <a:pt x="14332" y="305307"/>
                  </a:lnTo>
                  <a:lnTo>
                    <a:pt x="14332" y="298724"/>
                  </a:lnTo>
                  <a:lnTo>
                    <a:pt x="10959" y="302015"/>
                  </a:lnTo>
                  <a:lnTo>
                    <a:pt x="14332" y="298724"/>
                  </a:lnTo>
                  <a:lnTo>
                    <a:pt x="12645" y="297078"/>
                  </a:lnTo>
                  <a:lnTo>
                    <a:pt x="7587" y="300370"/>
                  </a:lnTo>
                  <a:lnTo>
                    <a:pt x="12645" y="295432"/>
                  </a:lnTo>
                  <a:lnTo>
                    <a:pt x="7587" y="293786"/>
                  </a:lnTo>
                  <a:lnTo>
                    <a:pt x="4214" y="287203"/>
                  </a:lnTo>
                  <a:lnTo>
                    <a:pt x="5900" y="288849"/>
                  </a:lnTo>
                  <a:lnTo>
                    <a:pt x="4214" y="285557"/>
                  </a:lnTo>
                  <a:lnTo>
                    <a:pt x="5900" y="283911"/>
                  </a:lnTo>
                  <a:lnTo>
                    <a:pt x="4214" y="282265"/>
                  </a:lnTo>
                  <a:lnTo>
                    <a:pt x="5900" y="280619"/>
                  </a:lnTo>
                  <a:lnTo>
                    <a:pt x="4214" y="280619"/>
                  </a:lnTo>
                  <a:lnTo>
                    <a:pt x="5900" y="280619"/>
                  </a:lnTo>
                  <a:lnTo>
                    <a:pt x="10959" y="259223"/>
                  </a:lnTo>
                  <a:lnTo>
                    <a:pt x="21076" y="249348"/>
                  </a:lnTo>
                  <a:lnTo>
                    <a:pt x="21076" y="247702"/>
                  </a:lnTo>
                  <a:lnTo>
                    <a:pt x="21076" y="249348"/>
                  </a:lnTo>
                  <a:lnTo>
                    <a:pt x="22763" y="246056"/>
                  </a:lnTo>
                  <a:lnTo>
                    <a:pt x="26135" y="247702"/>
                  </a:lnTo>
                  <a:lnTo>
                    <a:pt x="24449" y="246056"/>
                  </a:lnTo>
                  <a:lnTo>
                    <a:pt x="26135" y="247702"/>
                  </a:lnTo>
                  <a:lnTo>
                    <a:pt x="26135" y="244410"/>
                  </a:lnTo>
                  <a:lnTo>
                    <a:pt x="27821" y="246056"/>
                  </a:lnTo>
                  <a:lnTo>
                    <a:pt x="37939" y="237827"/>
                  </a:lnTo>
                  <a:lnTo>
                    <a:pt x="51428" y="234535"/>
                  </a:lnTo>
                  <a:lnTo>
                    <a:pt x="51428" y="231243"/>
                  </a:lnTo>
                  <a:lnTo>
                    <a:pt x="53115" y="232889"/>
                  </a:lnTo>
                  <a:lnTo>
                    <a:pt x="56487" y="231243"/>
                  </a:lnTo>
                  <a:lnTo>
                    <a:pt x="54801" y="227952"/>
                  </a:lnTo>
                  <a:lnTo>
                    <a:pt x="56487" y="231243"/>
                  </a:lnTo>
                  <a:lnTo>
                    <a:pt x="59860" y="227952"/>
                  </a:lnTo>
                  <a:lnTo>
                    <a:pt x="58173" y="224660"/>
                  </a:lnTo>
                  <a:lnTo>
                    <a:pt x="59860" y="227952"/>
                  </a:lnTo>
                  <a:lnTo>
                    <a:pt x="63232" y="226306"/>
                  </a:lnTo>
                  <a:lnTo>
                    <a:pt x="61546" y="223014"/>
                  </a:lnTo>
                  <a:lnTo>
                    <a:pt x="63232" y="226306"/>
                  </a:lnTo>
                  <a:lnTo>
                    <a:pt x="66604" y="223014"/>
                  </a:lnTo>
                  <a:lnTo>
                    <a:pt x="64918" y="219722"/>
                  </a:lnTo>
                  <a:lnTo>
                    <a:pt x="66604" y="223014"/>
                  </a:lnTo>
                  <a:lnTo>
                    <a:pt x="68291" y="219722"/>
                  </a:lnTo>
                  <a:lnTo>
                    <a:pt x="69977" y="221368"/>
                  </a:lnTo>
                  <a:lnTo>
                    <a:pt x="71663" y="219722"/>
                  </a:lnTo>
                  <a:lnTo>
                    <a:pt x="69977" y="218076"/>
                  </a:lnTo>
                  <a:lnTo>
                    <a:pt x="71663" y="219722"/>
                  </a:lnTo>
                  <a:lnTo>
                    <a:pt x="73349" y="219722"/>
                  </a:lnTo>
                  <a:lnTo>
                    <a:pt x="71663" y="216431"/>
                  </a:lnTo>
                  <a:lnTo>
                    <a:pt x="75036" y="218076"/>
                  </a:lnTo>
                  <a:lnTo>
                    <a:pt x="71663" y="213139"/>
                  </a:lnTo>
                  <a:lnTo>
                    <a:pt x="75036" y="218076"/>
                  </a:lnTo>
                  <a:lnTo>
                    <a:pt x="78408" y="214785"/>
                  </a:lnTo>
                  <a:lnTo>
                    <a:pt x="76722" y="213139"/>
                  </a:lnTo>
                  <a:lnTo>
                    <a:pt x="78408" y="214785"/>
                  </a:lnTo>
                  <a:lnTo>
                    <a:pt x="81780" y="213139"/>
                  </a:lnTo>
                  <a:lnTo>
                    <a:pt x="78408" y="208201"/>
                  </a:lnTo>
                  <a:lnTo>
                    <a:pt x="81780" y="213139"/>
                  </a:lnTo>
                  <a:lnTo>
                    <a:pt x="85153" y="209847"/>
                  </a:lnTo>
                  <a:lnTo>
                    <a:pt x="83467" y="208201"/>
                  </a:lnTo>
                  <a:lnTo>
                    <a:pt x="86839" y="209847"/>
                  </a:lnTo>
                  <a:lnTo>
                    <a:pt x="90212" y="208201"/>
                  </a:lnTo>
                  <a:lnTo>
                    <a:pt x="86839" y="203264"/>
                  </a:lnTo>
                  <a:lnTo>
                    <a:pt x="90212" y="208201"/>
                  </a:lnTo>
                  <a:lnTo>
                    <a:pt x="93584" y="204910"/>
                  </a:lnTo>
                  <a:lnTo>
                    <a:pt x="91898" y="201618"/>
                  </a:lnTo>
                  <a:lnTo>
                    <a:pt x="93584" y="204910"/>
                  </a:lnTo>
                  <a:lnTo>
                    <a:pt x="96957" y="203264"/>
                  </a:lnTo>
                  <a:lnTo>
                    <a:pt x="93584" y="198326"/>
                  </a:lnTo>
                  <a:lnTo>
                    <a:pt x="96957" y="203264"/>
                  </a:lnTo>
                  <a:lnTo>
                    <a:pt x="100329" y="199972"/>
                  </a:lnTo>
                  <a:lnTo>
                    <a:pt x="98643" y="198326"/>
                  </a:lnTo>
                  <a:lnTo>
                    <a:pt x="100329" y="199972"/>
                  </a:lnTo>
                  <a:lnTo>
                    <a:pt x="103701" y="196680"/>
                  </a:lnTo>
                  <a:lnTo>
                    <a:pt x="102015" y="195034"/>
                  </a:lnTo>
                  <a:lnTo>
                    <a:pt x="103701" y="196680"/>
                  </a:lnTo>
                  <a:lnTo>
                    <a:pt x="108760" y="195034"/>
                  </a:lnTo>
                  <a:lnTo>
                    <a:pt x="107074" y="193389"/>
                  </a:lnTo>
                  <a:lnTo>
                    <a:pt x="108760" y="195034"/>
                  </a:lnTo>
                  <a:lnTo>
                    <a:pt x="112133" y="193389"/>
                  </a:lnTo>
                  <a:lnTo>
                    <a:pt x="110446" y="190097"/>
                  </a:lnTo>
                  <a:lnTo>
                    <a:pt x="113819" y="193389"/>
                  </a:lnTo>
                  <a:lnTo>
                    <a:pt x="117191" y="191742"/>
                  </a:lnTo>
                  <a:lnTo>
                    <a:pt x="115505" y="188451"/>
                  </a:lnTo>
                  <a:lnTo>
                    <a:pt x="117191" y="191742"/>
                  </a:lnTo>
                  <a:lnTo>
                    <a:pt x="120564" y="190097"/>
                  </a:lnTo>
                  <a:lnTo>
                    <a:pt x="120564" y="188451"/>
                  </a:lnTo>
                  <a:lnTo>
                    <a:pt x="120564" y="190097"/>
                  </a:lnTo>
                  <a:lnTo>
                    <a:pt x="125622" y="186805"/>
                  </a:lnTo>
                  <a:lnTo>
                    <a:pt x="123936" y="185159"/>
                  </a:lnTo>
                  <a:lnTo>
                    <a:pt x="125622" y="186805"/>
                  </a:lnTo>
                  <a:lnTo>
                    <a:pt x="128995" y="185159"/>
                  </a:lnTo>
                  <a:lnTo>
                    <a:pt x="127309" y="183513"/>
                  </a:lnTo>
                  <a:lnTo>
                    <a:pt x="128995" y="185159"/>
                  </a:lnTo>
                  <a:lnTo>
                    <a:pt x="132367" y="183513"/>
                  </a:lnTo>
                  <a:lnTo>
                    <a:pt x="132367" y="180221"/>
                  </a:lnTo>
                  <a:lnTo>
                    <a:pt x="132367" y="183513"/>
                  </a:lnTo>
                  <a:lnTo>
                    <a:pt x="137426" y="181867"/>
                  </a:lnTo>
                  <a:lnTo>
                    <a:pt x="135740" y="178576"/>
                  </a:lnTo>
                  <a:lnTo>
                    <a:pt x="137426" y="180221"/>
                  </a:lnTo>
                  <a:lnTo>
                    <a:pt x="140798" y="178576"/>
                  </a:lnTo>
                  <a:lnTo>
                    <a:pt x="139112" y="176930"/>
                  </a:lnTo>
                  <a:lnTo>
                    <a:pt x="142485" y="178576"/>
                  </a:lnTo>
                  <a:lnTo>
                    <a:pt x="142485" y="173638"/>
                  </a:lnTo>
                  <a:lnTo>
                    <a:pt x="144171" y="176930"/>
                  </a:lnTo>
                  <a:lnTo>
                    <a:pt x="147543" y="176930"/>
                  </a:lnTo>
                  <a:lnTo>
                    <a:pt x="145857" y="171992"/>
                  </a:lnTo>
                  <a:lnTo>
                    <a:pt x="149229" y="173638"/>
                  </a:lnTo>
                  <a:lnTo>
                    <a:pt x="152602" y="171992"/>
                  </a:lnTo>
                  <a:lnTo>
                    <a:pt x="149229" y="168700"/>
                  </a:lnTo>
                  <a:lnTo>
                    <a:pt x="152602" y="171992"/>
                  </a:lnTo>
                  <a:lnTo>
                    <a:pt x="159347" y="170346"/>
                  </a:lnTo>
                  <a:lnTo>
                    <a:pt x="159347" y="165409"/>
                  </a:lnTo>
                  <a:lnTo>
                    <a:pt x="161033" y="168700"/>
                  </a:lnTo>
                  <a:lnTo>
                    <a:pt x="167778" y="165409"/>
                  </a:lnTo>
                  <a:lnTo>
                    <a:pt x="166092" y="160471"/>
                  </a:lnTo>
                  <a:lnTo>
                    <a:pt x="167778" y="163763"/>
                  </a:lnTo>
                  <a:lnTo>
                    <a:pt x="171150" y="162117"/>
                  </a:lnTo>
                  <a:lnTo>
                    <a:pt x="169464" y="158825"/>
                  </a:lnTo>
                  <a:lnTo>
                    <a:pt x="172837" y="162117"/>
                  </a:lnTo>
                  <a:lnTo>
                    <a:pt x="174523" y="158825"/>
                  </a:lnTo>
                  <a:lnTo>
                    <a:pt x="172837" y="155534"/>
                  </a:lnTo>
                  <a:lnTo>
                    <a:pt x="174523" y="158825"/>
                  </a:lnTo>
                  <a:lnTo>
                    <a:pt x="179582" y="157179"/>
                  </a:lnTo>
                  <a:lnTo>
                    <a:pt x="177895" y="153888"/>
                  </a:lnTo>
                  <a:lnTo>
                    <a:pt x="179582" y="155534"/>
                  </a:lnTo>
                  <a:lnTo>
                    <a:pt x="182954" y="153888"/>
                  </a:lnTo>
                  <a:lnTo>
                    <a:pt x="181268" y="150596"/>
                  </a:lnTo>
                  <a:lnTo>
                    <a:pt x="182954" y="153888"/>
                  </a:lnTo>
                  <a:lnTo>
                    <a:pt x="186326" y="150596"/>
                  </a:lnTo>
                  <a:lnTo>
                    <a:pt x="184640" y="148950"/>
                  </a:lnTo>
                  <a:lnTo>
                    <a:pt x="186326" y="150596"/>
                  </a:lnTo>
                  <a:lnTo>
                    <a:pt x="194758" y="147304"/>
                  </a:lnTo>
                  <a:lnTo>
                    <a:pt x="193071" y="144013"/>
                  </a:lnTo>
                  <a:lnTo>
                    <a:pt x="194758" y="147304"/>
                  </a:lnTo>
                  <a:lnTo>
                    <a:pt x="198130" y="145658"/>
                  </a:lnTo>
                  <a:lnTo>
                    <a:pt x="196444" y="142367"/>
                  </a:lnTo>
                  <a:lnTo>
                    <a:pt x="198130" y="145658"/>
                  </a:lnTo>
                  <a:lnTo>
                    <a:pt x="203189" y="144013"/>
                  </a:lnTo>
                  <a:lnTo>
                    <a:pt x="199816" y="139075"/>
                  </a:lnTo>
                  <a:lnTo>
                    <a:pt x="203189" y="144013"/>
                  </a:lnTo>
                  <a:lnTo>
                    <a:pt x="206561" y="142367"/>
                  </a:lnTo>
                  <a:lnTo>
                    <a:pt x="204875" y="139075"/>
                  </a:lnTo>
                  <a:lnTo>
                    <a:pt x="206561" y="142367"/>
                  </a:lnTo>
                  <a:lnTo>
                    <a:pt x="211620" y="142367"/>
                  </a:lnTo>
                  <a:lnTo>
                    <a:pt x="208247" y="135783"/>
                  </a:lnTo>
                  <a:lnTo>
                    <a:pt x="211620" y="140721"/>
                  </a:lnTo>
                  <a:lnTo>
                    <a:pt x="214992" y="140721"/>
                  </a:lnTo>
                  <a:lnTo>
                    <a:pt x="213306" y="137429"/>
                  </a:lnTo>
                  <a:lnTo>
                    <a:pt x="216678" y="140721"/>
                  </a:lnTo>
                  <a:lnTo>
                    <a:pt x="247031" y="132492"/>
                  </a:lnTo>
                  <a:lnTo>
                    <a:pt x="279069" y="139075"/>
                  </a:lnTo>
                  <a:close/>
                  <a:moveTo>
                    <a:pt x="452750" y="45261"/>
                  </a:moveTo>
                  <a:lnTo>
                    <a:pt x="451064" y="48552"/>
                  </a:lnTo>
                  <a:lnTo>
                    <a:pt x="446005" y="45261"/>
                  </a:lnTo>
                  <a:lnTo>
                    <a:pt x="451064" y="46907"/>
                  </a:lnTo>
                  <a:lnTo>
                    <a:pt x="454436" y="43615"/>
                  </a:lnTo>
                  <a:lnTo>
                    <a:pt x="452750" y="45261"/>
                  </a:lnTo>
                  <a:close/>
                  <a:moveTo>
                    <a:pt x="462867" y="4114"/>
                  </a:moveTo>
                  <a:lnTo>
                    <a:pt x="466240" y="4114"/>
                  </a:lnTo>
                  <a:lnTo>
                    <a:pt x="461181" y="4114"/>
                  </a:lnTo>
                  <a:lnTo>
                    <a:pt x="462867" y="4114"/>
                  </a:lnTo>
                  <a:close/>
                  <a:moveTo>
                    <a:pt x="454436" y="7406"/>
                  </a:moveTo>
                  <a:lnTo>
                    <a:pt x="446005" y="23865"/>
                  </a:lnTo>
                  <a:lnTo>
                    <a:pt x="449377" y="27156"/>
                  </a:lnTo>
                  <a:lnTo>
                    <a:pt x="446005" y="25510"/>
                  </a:lnTo>
                  <a:lnTo>
                    <a:pt x="442633" y="32094"/>
                  </a:lnTo>
                  <a:lnTo>
                    <a:pt x="449377" y="33740"/>
                  </a:lnTo>
                  <a:lnTo>
                    <a:pt x="451064" y="28802"/>
                  </a:lnTo>
                  <a:lnTo>
                    <a:pt x="452750" y="32094"/>
                  </a:lnTo>
                  <a:lnTo>
                    <a:pt x="449377" y="37031"/>
                  </a:lnTo>
                  <a:lnTo>
                    <a:pt x="444319" y="37031"/>
                  </a:lnTo>
                  <a:lnTo>
                    <a:pt x="444319" y="41969"/>
                  </a:lnTo>
                  <a:lnTo>
                    <a:pt x="440946" y="43615"/>
                  </a:lnTo>
                  <a:lnTo>
                    <a:pt x="437574" y="46907"/>
                  </a:lnTo>
                  <a:lnTo>
                    <a:pt x="446005" y="53490"/>
                  </a:lnTo>
                  <a:lnTo>
                    <a:pt x="449377" y="50198"/>
                  </a:lnTo>
                  <a:lnTo>
                    <a:pt x="459495" y="60074"/>
                  </a:lnTo>
                  <a:lnTo>
                    <a:pt x="464553" y="53490"/>
                  </a:lnTo>
                  <a:lnTo>
                    <a:pt x="457809" y="48552"/>
                  </a:lnTo>
                  <a:lnTo>
                    <a:pt x="466240" y="53490"/>
                  </a:lnTo>
                  <a:lnTo>
                    <a:pt x="469612" y="46907"/>
                  </a:lnTo>
                  <a:lnTo>
                    <a:pt x="457809" y="37031"/>
                  </a:lnTo>
                  <a:lnTo>
                    <a:pt x="457809" y="35385"/>
                  </a:lnTo>
                  <a:lnTo>
                    <a:pt x="471298" y="45261"/>
                  </a:lnTo>
                  <a:lnTo>
                    <a:pt x="471298" y="48552"/>
                  </a:lnTo>
                  <a:lnTo>
                    <a:pt x="456122" y="66657"/>
                  </a:lnTo>
                  <a:lnTo>
                    <a:pt x="449377" y="61720"/>
                  </a:lnTo>
                  <a:lnTo>
                    <a:pt x="449377" y="56782"/>
                  </a:lnTo>
                  <a:lnTo>
                    <a:pt x="447691" y="58428"/>
                  </a:lnTo>
                  <a:lnTo>
                    <a:pt x="435888" y="50198"/>
                  </a:lnTo>
                  <a:lnTo>
                    <a:pt x="429143" y="56782"/>
                  </a:lnTo>
                  <a:lnTo>
                    <a:pt x="432515" y="66657"/>
                  </a:lnTo>
                  <a:lnTo>
                    <a:pt x="427457" y="73240"/>
                  </a:lnTo>
                  <a:lnTo>
                    <a:pt x="429143" y="65011"/>
                  </a:lnTo>
                  <a:lnTo>
                    <a:pt x="419025" y="55136"/>
                  </a:lnTo>
                  <a:lnTo>
                    <a:pt x="407222" y="69949"/>
                  </a:lnTo>
                  <a:lnTo>
                    <a:pt x="417339" y="78178"/>
                  </a:lnTo>
                  <a:lnTo>
                    <a:pt x="424084" y="76532"/>
                  </a:lnTo>
                  <a:lnTo>
                    <a:pt x="417339" y="79824"/>
                  </a:lnTo>
                  <a:lnTo>
                    <a:pt x="410594" y="76532"/>
                  </a:lnTo>
                  <a:lnTo>
                    <a:pt x="407222" y="79824"/>
                  </a:lnTo>
                  <a:lnTo>
                    <a:pt x="408908" y="74886"/>
                  </a:lnTo>
                  <a:lnTo>
                    <a:pt x="402163" y="71595"/>
                  </a:lnTo>
                  <a:lnTo>
                    <a:pt x="398791" y="79824"/>
                  </a:lnTo>
                  <a:lnTo>
                    <a:pt x="400477" y="84762"/>
                  </a:lnTo>
                  <a:lnTo>
                    <a:pt x="412280" y="84762"/>
                  </a:lnTo>
                  <a:lnTo>
                    <a:pt x="400477" y="86407"/>
                  </a:lnTo>
                  <a:lnTo>
                    <a:pt x="397104" y="89699"/>
                  </a:lnTo>
                  <a:lnTo>
                    <a:pt x="395418" y="122616"/>
                  </a:lnTo>
                  <a:lnTo>
                    <a:pt x="392046" y="124262"/>
                  </a:lnTo>
                  <a:lnTo>
                    <a:pt x="393732" y="120971"/>
                  </a:lnTo>
                  <a:lnTo>
                    <a:pt x="397104" y="88053"/>
                  </a:lnTo>
                  <a:lnTo>
                    <a:pt x="381928" y="74886"/>
                  </a:lnTo>
                  <a:lnTo>
                    <a:pt x="393732" y="83116"/>
                  </a:lnTo>
                  <a:lnTo>
                    <a:pt x="397104" y="79824"/>
                  </a:lnTo>
                  <a:lnTo>
                    <a:pt x="395418" y="74886"/>
                  </a:lnTo>
                  <a:lnTo>
                    <a:pt x="392046" y="73240"/>
                  </a:lnTo>
                  <a:lnTo>
                    <a:pt x="390360" y="76532"/>
                  </a:lnTo>
                  <a:lnTo>
                    <a:pt x="386987" y="69949"/>
                  </a:lnTo>
                  <a:lnTo>
                    <a:pt x="371811" y="71595"/>
                  </a:lnTo>
                  <a:lnTo>
                    <a:pt x="381928" y="68303"/>
                  </a:lnTo>
                  <a:lnTo>
                    <a:pt x="395418" y="68303"/>
                  </a:lnTo>
                  <a:lnTo>
                    <a:pt x="402163" y="56782"/>
                  </a:lnTo>
                  <a:lnTo>
                    <a:pt x="420712" y="33740"/>
                  </a:lnTo>
                  <a:lnTo>
                    <a:pt x="419025" y="27156"/>
                  </a:lnTo>
                  <a:lnTo>
                    <a:pt x="422398" y="22219"/>
                  </a:lnTo>
                  <a:lnTo>
                    <a:pt x="430829" y="20573"/>
                  </a:lnTo>
                  <a:lnTo>
                    <a:pt x="420712" y="27156"/>
                  </a:lnTo>
                  <a:lnTo>
                    <a:pt x="425770" y="33740"/>
                  </a:lnTo>
                  <a:lnTo>
                    <a:pt x="427457" y="33740"/>
                  </a:lnTo>
                  <a:lnTo>
                    <a:pt x="434201" y="28802"/>
                  </a:lnTo>
                  <a:lnTo>
                    <a:pt x="432515" y="23865"/>
                  </a:lnTo>
                  <a:lnTo>
                    <a:pt x="430829" y="25510"/>
                  </a:lnTo>
                  <a:lnTo>
                    <a:pt x="432515" y="22219"/>
                  </a:lnTo>
                  <a:lnTo>
                    <a:pt x="435888" y="20573"/>
                  </a:lnTo>
                  <a:lnTo>
                    <a:pt x="444319" y="23865"/>
                  </a:lnTo>
                  <a:lnTo>
                    <a:pt x="452750" y="4114"/>
                  </a:lnTo>
                  <a:lnTo>
                    <a:pt x="457809" y="4114"/>
                  </a:lnTo>
                  <a:lnTo>
                    <a:pt x="454436"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1" name="Medemblik">
              <a:extLst>
                <a:ext uri="{FF2B5EF4-FFF2-40B4-BE49-F238E27FC236}">
                  <a16:creationId xmlns:a16="http://schemas.microsoft.com/office/drawing/2014/main" id="{2E6025BA-D574-4865-AA44-D225A312C0B8}"/>
                </a:ext>
              </a:extLst>
            </p:cNvPr>
            <p:cNvSpPr/>
            <p:nvPr/>
          </p:nvSpPr>
          <p:spPr>
            <a:xfrm>
              <a:off x="5793564" y="2437511"/>
              <a:ext cx="318437" cy="174968"/>
            </a:xfrm>
            <a:custGeom>
              <a:avLst/>
              <a:gdLst/>
              <a:ahLst/>
              <a:cxnLst/>
              <a:rect l="l" t="t" r="r" b="b"/>
              <a:pathLst>
                <a:path w="456618" h="262890" extrusionOk="0">
                  <a:moveTo>
                    <a:pt x="290872" y="88053"/>
                  </a:moveTo>
                  <a:lnTo>
                    <a:pt x="294245" y="94636"/>
                  </a:lnTo>
                  <a:lnTo>
                    <a:pt x="279069" y="92991"/>
                  </a:lnTo>
                  <a:lnTo>
                    <a:pt x="280755" y="89699"/>
                  </a:lnTo>
                  <a:lnTo>
                    <a:pt x="287500" y="88053"/>
                  </a:lnTo>
                  <a:lnTo>
                    <a:pt x="279069" y="89699"/>
                  </a:lnTo>
                  <a:lnTo>
                    <a:pt x="290872" y="88053"/>
                  </a:lnTo>
                  <a:close/>
                  <a:moveTo>
                    <a:pt x="255461" y="65011"/>
                  </a:moveTo>
                  <a:lnTo>
                    <a:pt x="270638" y="78178"/>
                  </a:lnTo>
                  <a:lnTo>
                    <a:pt x="262207" y="73240"/>
                  </a:lnTo>
                  <a:lnTo>
                    <a:pt x="262207" y="69949"/>
                  </a:lnTo>
                  <a:lnTo>
                    <a:pt x="255461" y="65011"/>
                  </a:lnTo>
                  <a:close/>
                  <a:moveTo>
                    <a:pt x="216678" y="4114"/>
                  </a:moveTo>
                  <a:lnTo>
                    <a:pt x="209934" y="13989"/>
                  </a:lnTo>
                  <a:lnTo>
                    <a:pt x="203189" y="12343"/>
                  </a:lnTo>
                  <a:lnTo>
                    <a:pt x="201502" y="17281"/>
                  </a:lnTo>
                  <a:lnTo>
                    <a:pt x="211620" y="15635"/>
                  </a:lnTo>
                  <a:lnTo>
                    <a:pt x="214992" y="9052"/>
                  </a:lnTo>
                  <a:lnTo>
                    <a:pt x="211620" y="15635"/>
                  </a:lnTo>
                  <a:lnTo>
                    <a:pt x="216678" y="12343"/>
                  </a:lnTo>
                  <a:lnTo>
                    <a:pt x="218365" y="4114"/>
                  </a:lnTo>
                  <a:lnTo>
                    <a:pt x="221737" y="12343"/>
                  </a:lnTo>
                  <a:lnTo>
                    <a:pt x="223423" y="10698"/>
                  </a:lnTo>
                  <a:lnTo>
                    <a:pt x="220051" y="13989"/>
                  </a:lnTo>
                  <a:lnTo>
                    <a:pt x="225109" y="20573"/>
                  </a:lnTo>
                  <a:lnTo>
                    <a:pt x="230168" y="20573"/>
                  </a:lnTo>
                  <a:lnTo>
                    <a:pt x="230168" y="15635"/>
                  </a:lnTo>
                  <a:lnTo>
                    <a:pt x="225109" y="10698"/>
                  </a:lnTo>
                  <a:lnTo>
                    <a:pt x="228482" y="12343"/>
                  </a:lnTo>
                  <a:lnTo>
                    <a:pt x="230168" y="18927"/>
                  </a:lnTo>
                  <a:lnTo>
                    <a:pt x="225109" y="22218"/>
                  </a:lnTo>
                  <a:lnTo>
                    <a:pt x="226796" y="25510"/>
                  </a:lnTo>
                  <a:lnTo>
                    <a:pt x="225109" y="25510"/>
                  </a:lnTo>
                  <a:lnTo>
                    <a:pt x="225109" y="28802"/>
                  </a:lnTo>
                  <a:lnTo>
                    <a:pt x="228482" y="27156"/>
                  </a:lnTo>
                  <a:lnTo>
                    <a:pt x="228482" y="37031"/>
                  </a:lnTo>
                  <a:lnTo>
                    <a:pt x="225109" y="40323"/>
                  </a:lnTo>
                  <a:lnTo>
                    <a:pt x="228482" y="40323"/>
                  </a:lnTo>
                  <a:lnTo>
                    <a:pt x="233541" y="50198"/>
                  </a:lnTo>
                  <a:lnTo>
                    <a:pt x="241972" y="60073"/>
                  </a:lnTo>
                  <a:lnTo>
                    <a:pt x="252089" y="61719"/>
                  </a:lnTo>
                  <a:lnTo>
                    <a:pt x="247030" y="61719"/>
                  </a:lnTo>
                  <a:lnTo>
                    <a:pt x="267265" y="86407"/>
                  </a:lnTo>
                  <a:lnTo>
                    <a:pt x="260520" y="76532"/>
                  </a:lnTo>
                  <a:lnTo>
                    <a:pt x="267265" y="84761"/>
                  </a:lnTo>
                  <a:lnTo>
                    <a:pt x="268951" y="79824"/>
                  </a:lnTo>
                  <a:lnTo>
                    <a:pt x="270638" y="79824"/>
                  </a:lnTo>
                  <a:lnTo>
                    <a:pt x="268951" y="88053"/>
                  </a:lnTo>
                  <a:lnTo>
                    <a:pt x="277382" y="84761"/>
                  </a:lnTo>
                  <a:lnTo>
                    <a:pt x="274010" y="86407"/>
                  </a:lnTo>
                  <a:lnTo>
                    <a:pt x="279069" y="92991"/>
                  </a:lnTo>
                  <a:lnTo>
                    <a:pt x="270638" y="89699"/>
                  </a:lnTo>
                  <a:lnTo>
                    <a:pt x="279069" y="94636"/>
                  </a:lnTo>
                  <a:lnTo>
                    <a:pt x="294245" y="94636"/>
                  </a:lnTo>
                  <a:lnTo>
                    <a:pt x="294245" y="89699"/>
                  </a:lnTo>
                  <a:lnTo>
                    <a:pt x="297617" y="92991"/>
                  </a:lnTo>
                  <a:lnTo>
                    <a:pt x="300989" y="86407"/>
                  </a:lnTo>
                  <a:lnTo>
                    <a:pt x="295931" y="91345"/>
                  </a:lnTo>
                  <a:lnTo>
                    <a:pt x="295931" y="84761"/>
                  </a:lnTo>
                  <a:lnTo>
                    <a:pt x="302676" y="84761"/>
                  </a:lnTo>
                  <a:lnTo>
                    <a:pt x="300989" y="89699"/>
                  </a:lnTo>
                  <a:lnTo>
                    <a:pt x="302676" y="91345"/>
                  </a:lnTo>
                  <a:lnTo>
                    <a:pt x="307734" y="88053"/>
                  </a:lnTo>
                  <a:lnTo>
                    <a:pt x="304362" y="86407"/>
                  </a:lnTo>
                  <a:lnTo>
                    <a:pt x="304362" y="84761"/>
                  </a:lnTo>
                  <a:lnTo>
                    <a:pt x="309421" y="88053"/>
                  </a:lnTo>
                  <a:lnTo>
                    <a:pt x="316166" y="84761"/>
                  </a:lnTo>
                  <a:lnTo>
                    <a:pt x="321224" y="78178"/>
                  </a:lnTo>
                  <a:lnTo>
                    <a:pt x="317852" y="74886"/>
                  </a:lnTo>
                  <a:lnTo>
                    <a:pt x="321224" y="78178"/>
                  </a:lnTo>
                  <a:lnTo>
                    <a:pt x="319538" y="83115"/>
                  </a:lnTo>
                  <a:lnTo>
                    <a:pt x="324597" y="71594"/>
                  </a:lnTo>
                  <a:lnTo>
                    <a:pt x="317852" y="73240"/>
                  </a:lnTo>
                  <a:lnTo>
                    <a:pt x="322911" y="69949"/>
                  </a:lnTo>
                  <a:lnTo>
                    <a:pt x="326283" y="71594"/>
                  </a:lnTo>
                  <a:lnTo>
                    <a:pt x="338087" y="51844"/>
                  </a:lnTo>
                  <a:lnTo>
                    <a:pt x="365066" y="51844"/>
                  </a:lnTo>
                  <a:lnTo>
                    <a:pt x="386987" y="58427"/>
                  </a:lnTo>
                  <a:lnTo>
                    <a:pt x="432515" y="55136"/>
                  </a:lnTo>
                  <a:lnTo>
                    <a:pt x="439260" y="56782"/>
                  </a:lnTo>
                  <a:lnTo>
                    <a:pt x="456122" y="69949"/>
                  </a:lnTo>
                  <a:lnTo>
                    <a:pt x="439260" y="71594"/>
                  </a:lnTo>
                  <a:lnTo>
                    <a:pt x="435887" y="74886"/>
                  </a:lnTo>
                  <a:lnTo>
                    <a:pt x="456122" y="73240"/>
                  </a:lnTo>
                  <a:lnTo>
                    <a:pt x="437574" y="76532"/>
                  </a:lnTo>
                  <a:lnTo>
                    <a:pt x="429143" y="71594"/>
                  </a:lnTo>
                  <a:lnTo>
                    <a:pt x="434201" y="145658"/>
                  </a:lnTo>
                  <a:lnTo>
                    <a:pt x="380242" y="142367"/>
                  </a:lnTo>
                  <a:lnTo>
                    <a:pt x="363380" y="144012"/>
                  </a:lnTo>
                  <a:lnTo>
                    <a:pt x="326283" y="160471"/>
                  </a:lnTo>
                  <a:lnTo>
                    <a:pt x="327969" y="167054"/>
                  </a:lnTo>
                  <a:lnTo>
                    <a:pt x="235227" y="204909"/>
                  </a:lnTo>
                  <a:lnTo>
                    <a:pt x="184640" y="234535"/>
                  </a:lnTo>
                  <a:lnTo>
                    <a:pt x="176209" y="221368"/>
                  </a:lnTo>
                  <a:lnTo>
                    <a:pt x="171150" y="224660"/>
                  </a:lnTo>
                  <a:lnTo>
                    <a:pt x="171150" y="223014"/>
                  </a:lnTo>
                  <a:lnTo>
                    <a:pt x="140798" y="239473"/>
                  </a:lnTo>
                  <a:lnTo>
                    <a:pt x="142484" y="249348"/>
                  </a:lnTo>
                  <a:lnTo>
                    <a:pt x="100329" y="254285"/>
                  </a:lnTo>
                  <a:lnTo>
                    <a:pt x="98643" y="264160"/>
                  </a:lnTo>
                  <a:lnTo>
                    <a:pt x="81780" y="269098"/>
                  </a:lnTo>
                  <a:lnTo>
                    <a:pt x="76722" y="269098"/>
                  </a:lnTo>
                  <a:lnTo>
                    <a:pt x="64918" y="259223"/>
                  </a:lnTo>
                  <a:lnTo>
                    <a:pt x="51428" y="254285"/>
                  </a:lnTo>
                  <a:lnTo>
                    <a:pt x="51428" y="249348"/>
                  </a:lnTo>
                  <a:lnTo>
                    <a:pt x="48056" y="246056"/>
                  </a:lnTo>
                  <a:lnTo>
                    <a:pt x="49742" y="244410"/>
                  </a:lnTo>
                  <a:lnTo>
                    <a:pt x="21076" y="242764"/>
                  </a:lnTo>
                  <a:lnTo>
                    <a:pt x="16018" y="232889"/>
                  </a:lnTo>
                  <a:lnTo>
                    <a:pt x="16018" y="226305"/>
                  </a:lnTo>
                  <a:lnTo>
                    <a:pt x="17704" y="199972"/>
                  </a:lnTo>
                  <a:lnTo>
                    <a:pt x="26135" y="185159"/>
                  </a:lnTo>
                  <a:lnTo>
                    <a:pt x="14332" y="170346"/>
                  </a:lnTo>
                  <a:lnTo>
                    <a:pt x="12645" y="167054"/>
                  </a:lnTo>
                  <a:lnTo>
                    <a:pt x="4214" y="153888"/>
                  </a:lnTo>
                  <a:lnTo>
                    <a:pt x="24449" y="142367"/>
                  </a:lnTo>
                  <a:lnTo>
                    <a:pt x="29507" y="150596"/>
                  </a:lnTo>
                  <a:lnTo>
                    <a:pt x="63232" y="127554"/>
                  </a:lnTo>
                  <a:lnTo>
                    <a:pt x="63232" y="119324"/>
                  </a:lnTo>
                  <a:lnTo>
                    <a:pt x="58173" y="122616"/>
                  </a:lnTo>
                  <a:lnTo>
                    <a:pt x="41311" y="89699"/>
                  </a:lnTo>
                  <a:lnTo>
                    <a:pt x="44684" y="86407"/>
                  </a:lnTo>
                  <a:lnTo>
                    <a:pt x="39625" y="78178"/>
                  </a:lnTo>
                  <a:lnTo>
                    <a:pt x="44684" y="74886"/>
                  </a:lnTo>
                  <a:lnTo>
                    <a:pt x="41311" y="69949"/>
                  </a:lnTo>
                  <a:lnTo>
                    <a:pt x="42997" y="56782"/>
                  </a:lnTo>
                  <a:lnTo>
                    <a:pt x="86839" y="58427"/>
                  </a:lnTo>
                  <a:lnTo>
                    <a:pt x="115505" y="55136"/>
                  </a:lnTo>
                  <a:lnTo>
                    <a:pt x="135740" y="43615"/>
                  </a:lnTo>
                  <a:lnTo>
                    <a:pt x="152602" y="18927"/>
                  </a:lnTo>
                  <a:lnTo>
                    <a:pt x="167778" y="15635"/>
                  </a:lnTo>
                  <a:lnTo>
                    <a:pt x="186326" y="17281"/>
                  </a:lnTo>
                  <a:lnTo>
                    <a:pt x="203189" y="4114"/>
                  </a:lnTo>
                  <a:lnTo>
                    <a:pt x="21667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2" name="Vlissingen">
              <a:extLst>
                <a:ext uri="{FF2B5EF4-FFF2-40B4-BE49-F238E27FC236}">
                  <a16:creationId xmlns:a16="http://schemas.microsoft.com/office/drawing/2014/main" id="{179041FA-F72A-48CD-985F-38216B0FD03A}"/>
                </a:ext>
              </a:extLst>
            </p:cNvPr>
            <p:cNvSpPr/>
            <p:nvPr/>
          </p:nvSpPr>
          <p:spPr>
            <a:xfrm>
              <a:off x="4137962" y="4409504"/>
              <a:ext cx="323603" cy="220332"/>
            </a:xfrm>
            <a:custGeom>
              <a:avLst/>
              <a:gdLst/>
              <a:ahLst/>
              <a:cxnLst/>
              <a:rect l="l" t="t" r="r" b="b"/>
              <a:pathLst>
                <a:path w="468326" h="331470" extrusionOk="0">
                  <a:moveTo>
                    <a:pt x="5900" y="333287"/>
                  </a:moveTo>
                  <a:lnTo>
                    <a:pt x="4214" y="333287"/>
                  </a:lnTo>
                  <a:lnTo>
                    <a:pt x="5900" y="333287"/>
                  </a:lnTo>
                  <a:close/>
                  <a:moveTo>
                    <a:pt x="48056" y="328349"/>
                  </a:moveTo>
                  <a:lnTo>
                    <a:pt x="46370" y="328349"/>
                  </a:lnTo>
                  <a:lnTo>
                    <a:pt x="48056" y="328349"/>
                  </a:lnTo>
                  <a:close/>
                  <a:moveTo>
                    <a:pt x="90212" y="316828"/>
                  </a:moveTo>
                  <a:lnTo>
                    <a:pt x="90212" y="318474"/>
                  </a:lnTo>
                  <a:lnTo>
                    <a:pt x="90212" y="316828"/>
                  </a:lnTo>
                  <a:close/>
                  <a:moveTo>
                    <a:pt x="196444" y="305307"/>
                  </a:moveTo>
                  <a:lnTo>
                    <a:pt x="194758" y="305307"/>
                  </a:lnTo>
                  <a:lnTo>
                    <a:pt x="196444" y="303661"/>
                  </a:lnTo>
                  <a:lnTo>
                    <a:pt x="196444" y="305307"/>
                  </a:lnTo>
                  <a:close/>
                  <a:moveTo>
                    <a:pt x="472985" y="295432"/>
                  </a:moveTo>
                  <a:lnTo>
                    <a:pt x="471298" y="297078"/>
                  </a:lnTo>
                  <a:lnTo>
                    <a:pt x="472985" y="295432"/>
                  </a:lnTo>
                  <a:close/>
                  <a:moveTo>
                    <a:pt x="447691" y="249348"/>
                  </a:moveTo>
                  <a:lnTo>
                    <a:pt x="456122" y="259223"/>
                  </a:lnTo>
                  <a:lnTo>
                    <a:pt x="446005" y="265807"/>
                  </a:lnTo>
                  <a:lnTo>
                    <a:pt x="452750" y="260869"/>
                  </a:lnTo>
                  <a:lnTo>
                    <a:pt x="447691" y="250994"/>
                  </a:lnTo>
                  <a:lnTo>
                    <a:pt x="442632" y="252639"/>
                  </a:lnTo>
                  <a:lnTo>
                    <a:pt x="447691" y="249348"/>
                  </a:lnTo>
                  <a:close/>
                  <a:moveTo>
                    <a:pt x="444319" y="249348"/>
                  </a:moveTo>
                  <a:lnTo>
                    <a:pt x="440946" y="249348"/>
                  </a:lnTo>
                  <a:lnTo>
                    <a:pt x="446005" y="247702"/>
                  </a:lnTo>
                  <a:lnTo>
                    <a:pt x="444319" y="246056"/>
                  </a:lnTo>
                  <a:lnTo>
                    <a:pt x="447691" y="249348"/>
                  </a:lnTo>
                  <a:lnTo>
                    <a:pt x="444319" y="249348"/>
                  </a:lnTo>
                  <a:close/>
                  <a:moveTo>
                    <a:pt x="417339" y="188451"/>
                  </a:moveTo>
                  <a:lnTo>
                    <a:pt x="435888" y="203264"/>
                  </a:lnTo>
                  <a:lnTo>
                    <a:pt x="424084" y="214785"/>
                  </a:lnTo>
                  <a:lnTo>
                    <a:pt x="432515" y="224660"/>
                  </a:lnTo>
                  <a:lnTo>
                    <a:pt x="440946" y="241118"/>
                  </a:lnTo>
                  <a:lnTo>
                    <a:pt x="417339" y="218076"/>
                  </a:lnTo>
                  <a:lnTo>
                    <a:pt x="405536" y="211493"/>
                  </a:lnTo>
                  <a:lnTo>
                    <a:pt x="403849" y="209847"/>
                  </a:lnTo>
                  <a:lnTo>
                    <a:pt x="402163" y="211493"/>
                  </a:lnTo>
                  <a:lnTo>
                    <a:pt x="402163" y="209847"/>
                  </a:lnTo>
                  <a:lnTo>
                    <a:pt x="400477" y="208201"/>
                  </a:lnTo>
                  <a:lnTo>
                    <a:pt x="398791" y="214785"/>
                  </a:lnTo>
                  <a:lnTo>
                    <a:pt x="400477" y="208201"/>
                  </a:lnTo>
                  <a:lnTo>
                    <a:pt x="397104" y="206555"/>
                  </a:lnTo>
                  <a:lnTo>
                    <a:pt x="390360" y="211493"/>
                  </a:lnTo>
                  <a:lnTo>
                    <a:pt x="407222" y="186805"/>
                  </a:lnTo>
                  <a:lnTo>
                    <a:pt x="405536" y="190097"/>
                  </a:lnTo>
                  <a:lnTo>
                    <a:pt x="408908" y="186805"/>
                  </a:lnTo>
                  <a:lnTo>
                    <a:pt x="417339" y="188451"/>
                  </a:lnTo>
                  <a:close/>
                  <a:moveTo>
                    <a:pt x="390360" y="178576"/>
                  </a:moveTo>
                  <a:lnTo>
                    <a:pt x="388673" y="176930"/>
                  </a:lnTo>
                  <a:lnTo>
                    <a:pt x="390360" y="176930"/>
                  </a:lnTo>
                  <a:lnTo>
                    <a:pt x="390360" y="178576"/>
                  </a:lnTo>
                  <a:close/>
                  <a:moveTo>
                    <a:pt x="447691" y="167055"/>
                  </a:moveTo>
                  <a:lnTo>
                    <a:pt x="451064" y="171992"/>
                  </a:lnTo>
                  <a:lnTo>
                    <a:pt x="452750" y="171992"/>
                  </a:lnTo>
                  <a:lnTo>
                    <a:pt x="446005" y="193389"/>
                  </a:lnTo>
                  <a:lnTo>
                    <a:pt x="437574" y="196680"/>
                  </a:lnTo>
                  <a:lnTo>
                    <a:pt x="419025" y="183513"/>
                  </a:lnTo>
                  <a:lnTo>
                    <a:pt x="419025" y="180221"/>
                  </a:lnTo>
                  <a:lnTo>
                    <a:pt x="447691" y="167055"/>
                  </a:lnTo>
                  <a:close/>
                  <a:moveTo>
                    <a:pt x="150916" y="153888"/>
                  </a:moveTo>
                  <a:lnTo>
                    <a:pt x="149229" y="153888"/>
                  </a:lnTo>
                  <a:lnTo>
                    <a:pt x="150916" y="153888"/>
                  </a:lnTo>
                  <a:close/>
                  <a:moveTo>
                    <a:pt x="440946" y="135783"/>
                  </a:moveTo>
                  <a:lnTo>
                    <a:pt x="439260" y="139075"/>
                  </a:lnTo>
                  <a:lnTo>
                    <a:pt x="437574" y="135783"/>
                  </a:lnTo>
                  <a:lnTo>
                    <a:pt x="432515" y="139075"/>
                  </a:lnTo>
                  <a:lnTo>
                    <a:pt x="434201" y="144013"/>
                  </a:lnTo>
                  <a:lnTo>
                    <a:pt x="424084" y="153888"/>
                  </a:lnTo>
                  <a:lnTo>
                    <a:pt x="427456" y="157179"/>
                  </a:lnTo>
                  <a:lnTo>
                    <a:pt x="440946" y="155534"/>
                  </a:lnTo>
                  <a:lnTo>
                    <a:pt x="429143" y="167055"/>
                  </a:lnTo>
                  <a:lnTo>
                    <a:pt x="425770" y="167055"/>
                  </a:lnTo>
                  <a:lnTo>
                    <a:pt x="408908" y="176930"/>
                  </a:lnTo>
                  <a:lnTo>
                    <a:pt x="405536" y="173638"/>
                  </a:lnTo>
                  <a:lnTo>
                    <a:pt x="402163" y="173638"/>
                  </a:lnTo>
                  <a:lnTo>
                    <a:pt x="397104" y="176930"/>
                  </a:lnTo>
                  <a:lnTo>
                    <a:pt x="397104" y="180221"/>
                  </a:lnTo>
                  <a:lnTo>
                    <a:pt x="393732" y="173638"/>
                  </a:lnTo>
                  <a:lnTo>
                    <a:pt x="390360" y="175284"/>
                  </a:lnTo>
                  <a:lnTo>
                    <a:pt x="393732" y="180221"/>
                  </a:lnTo>
                  <a:lnTo>
                    <a:pt x="390360" y="175284"/>
                  </a:lnTo>
                  <a:lnTo>
                    <a:pt x="386987" y="176930"/>
                  </a:lnTo>
                  <a:lnTo>
                    <a:pt x="392046" y="185159"/>
                  </a:lnTo>
                  <a:lnTo>
                    <a:pt x="390360" y="186805"/>
                  </a:lnTo>
                  <a:lnTo>
                    <a:pt x="381928" y="178576"/>
                  </a:lnTo>
                  <a:lnTo>
                    <a:pt x="368439" y="181867"/>
                  </a:lnTo>
                  <a:lnTo>
                    <a:pt x="363380" y="186805"/>
                  </a:lnTo>
                  <a:lnTo>
                    <a:pt x="360007" y="191742"/>
                  </a:lnTo>
                  <a:lnTo>
                    <a:pt x="361694" y="196680"/>
                  </a:lnTo>
                  <a:lnTo>
                    <a:pt x="378556" y="203264"/>
                  </a:lnTo>
                  <a:lnTo>
                    <a:pt x="380242" y="208201"/>
                  </a:lnTo>
                  <a:lnTo>
                    <a:pt x="376870" y="204910"/>
                  </a:lnTo>
                  <a:lnTo>
                    <a:pt x="368439" y="198326"/>
                  </a:lnTo>
                  <a:lnTo>
                    <a:pt x="361694" y="198326"/>
                  </a:lnTo>
                  <a:lnTo>
                    <a:pt x="353263" y="203264"/>
                  </a:lnTo>
                  <a:lnTo>
                    <a:pt x="344831" y="203264"/>
                  </a:lnTo>
                  <a:lnTo>
                    <a:pt x="338087" y="208201"/>
                  </a:lnTo>
                  <a:lnTo>
                    <a:pt x="336400" y="218076"/>
                  </a:lnTo>
                  <a:lnTo>
                    <a:pt x="324597" y="221368"/>
                  </a:lnTo>
                  <a:lnTo>
                    <a:pt x="314479" y="219722"/>
                  </a:lnTo>
                  <a:lnTo>
                    <a:pt x="309421" y="223014"/>
                  </a:lnTo>
                  <a:lnTo>
                    <a:pt x="302676" y="221368"/>
                  </a:lnTo>
                  <a:lnTo>
                    <a:pt x="287500" y="224660"/>
                  </a:lnTo>
                  <a:lnTo>
                    <a:pt x="277383" y="216431"/>
                  </a:lnTo>
                  <a:lnTo>
                    <a:pt x="275696" y="196680"/>
                  </a:lnTo>
                  <a:lnTo>
                    <a:pt x="270638" y="196680"/>
                  </a:lnTo>
                  <a:lnTo>
                    <a:pt x="270638" y="214785"/>
                  </a:lnTo>
                  <a:lnTo>
                    <a:pt x="272324" y="214785"/>
                  </a:lnTo>
                  <a:lnTo>
                    <a:pt x="270638" y="214785"/>
                  </a:lnTo>
                  <a:lnTo>
                    <a:pt x="272324" y="216431"/>
                  </a:lnTo>
                  <a:lnTo>
                    <a:pt x="267265" y="218076"/>
                  </a:lnTo>
                  <a:lnTo>
                    <a:pt x="268951" y="218076"/>
                  </a:lnTo>
                  <a:lnTo>
                    <a:pt x="268951" y="221368"/>
                  </a:lnTo>
                  <a:lnTo>
                    <a:pt x="275696" y="224660"/>
                  </a:lnTo>
                  <a:lnTo>
                    <a:pt x="258834" y="221368"/>
                  </a:lnTo>
                  <a:lnTo>
                    <a:pt x="248717" y="223014"/>
                  </a:lnTo>
                  <a:lnTo>
                    <a:pt x="248717" y="226306"/>
                  </a:lnTo>
                  <a:lnTo>
                    <a:pt x="247030" y="223014"/>
                  </a:lnTo>
                  <a:lnTo>
                    <a:pt x="247030" y="226306"/>
                  </a:lnTo>
                  <a:lnTo>
                    <a:pt x="243658" y="223014"/>
                  </a:lnTo>
                  <a:lnTo>
                    <a:pt x="236913" y="224660"/>
                  </a:lnTo>
                  <a:lnTo>
                    <a:pt x="240286" y="227952"/>
                  </a:lnTo>
                  <a:lnTo>
                    <a:pt x="236913" y="223014"/>
                  </a:lnTo>
                  <a:lnTo>
                    <a:pt x="240286" y="219722"/>
                  </a:lnTo>
                  <a:lnTo>
                    <a:pt x="236913" y="223014"/>
                  </a:lnTo>
                  <a:lnTo>
                    <a:pt x="235227" y="223014"/>
                  </a:lnTo>
                  <a:lnTo>
                    <a:pt x="236913" y="227952"/>
                  </a:lnTo>
                  <a:lnTo>
                    <a:pt x="226796" y="223014"/>
                  </a:lnTo>
                  <a:lnTo>
                    <a:pt x="225110" y="214785"/>
                  </a:lnTo>
                  <a:lnTo>
                    <a:pt x="216678" y="209847"/>
                  </a:lnTo>
                  <a:lnTo>
                    <a:pt x="214992" y="206555"/>
                  </a:lnTo>
                  <a:lnTo>
                    <a:pt x="213306" y="208201"/>
                  </a:lnTo>
                  <a:lnTo>
                    <a:pt x="214992" y="206555"/>
                  </a:lnTo>
                  <a:lnTo>
                    <a:pt x="213306" y="203264"/>
                  </a:lnTo>
                  <a:lnTo>
                    <a:pt x="211620" y="204910"/>
                  </a:lnTo>
                  <a:lnTo>
                    <a:pt x="213306" y="203264"/>
                  </a:lnTo>
                  <a:lnTo>
                    <a:pt x="206561" y="198326"/>
                  </a:lnTo>
                  <a:lnTo>
                    <a:pt x="201502" y="203264"/>
                  </a:lnTo>
                  <a:lnTo>
                    <a:pt x="199816" y="201618"/>
                  </a:lnTo>
                  <a:lnTo>
                    <a:pt x="196444" y="195034"/>
                  </a:lnTo>
                  <a:lnTo>
                    <a:pt x="194758" y="193389"/>
                  </a:lnTo>
                  <a:lnTo>
                    <a:pt x="194758" y="196680"/>
                  </a:lnTo>
                  <a:lnTo>
                    <a:pt x="188013" y="188451"/>
                  </a:lnTo>
                  <a:lnTo>
                    <a:pt x="186326" y="191742"/>
                  </a:lnTo>
                  <a:lnTo>
                    <a:pt x="188013" y="188451"/>
                  </a:lnTo>
                  <a:lnTo>
                    <a:pt x="184640" y="190097"/>
                  </a:lnTo>
                  <a:lnTo>
                    <a:pt x="186326" y="186805"/>
                  </a:lnTo>
                  <a:lnTo>
                    <a:pt x="184640" y="186805"/>
                  </a:lnTo>
                  <a:lnTo>
                    <a:pt x="181268" y="188451"/>
                  </a:lnTo>
                  <a:lnTo>
                    <a:pt x="182954" y="185159"/>
                  </a:lnTo>
                  <a:lnTo>
                    <a:pt x="181268" y="185159"/>
                  </a:lnTo>
                  <a:lnTo>
                    <a:pt x="179581" y="186805"/>
                  </a:lnTo>
                  <a:lnTo>
                    <a:pt x="181268" y="185159"/>
                  </a:lnTo>
                  <a:lnTo>
                    <a:pt x="179581" y="183513"/>
                  </a:lnTo>
                  <a:lnTo>
                    <a:pt x="177895" y="185159"/>
                  </a:lnTo>
                  <a:lnTo>
                    <a:pt x="179581" y="181867"/>
                  </a:lnTo>
                  <a:lnTo>
                    <a:pt x="177895" y="180221"/>
                  </a:lnTo>
                  <a:lnTo>
                    <a:pt x="174523" y="183513"/>
                  </a:lnTo>
                  <a:lnTo>
                    <a:pt x="177895" y="180221"/>
                  </a:lnTo>
                  <a:lnTo>
                    <a:pt x="176209" y="178576"/>
                  </a:lnTo>
                  <a:lnTo>
                    <a:pt x="172837" y="181867"/>
                  </a:lnTo>
                  <a:lnTo>
                    <a:pt x="174523" y="178576"/>
                  </a:lnTo>
                  <a:lnTo>
                    <a:pt x="171150" y="180221"/>
                  </a:lnTo>
                  <a:lnTo>
                    <a:pt x="172837" y="176930"/>
                  </a:lnTo>
                  <a:lnTo>
                    <a:pt x="171150" y="175284"/>
                  </a:lnTo>
                  <a:lnTo>
                    <a:pt x="169464" y="178576"/>
                  </a:lnTo>
                  <a:lnTo>
                    <a:pt x="171150" y="175284"/>
                  </a:lnTo>
                  <a:lnTo>
                    <a:pt x="169464" y="173638"/>
                  </a:lnTo>
                  <a:lnTo>
                    <a:pt x="167778" y="175284"/>
                  </a:lnTo>
                  <a:lnTo>
                    <a:pt x="169464" y="173638"/>
                  </a:lnTo>
                  <a:lnTo>
                    <a:pt x="167778" y="171992"/>
                  </a:lnTo>
                  <a:lnTo>
                    <a:pt x="164405" y="173638"/>
                  </a:lnTo>
                  <a:lnTo>
                    <a:pt x="166092" y="170346"/>
                  </a:lnTo>
                  <a:lnTo>
                    <a:pt x="162719" y="171992"/>
                  </a:lnTo>
                  <a:lnTo>
                    <a:pt x="166092" y="170346"/>
                  </a:lnTo>
                  <a:lnTo>
                    <a:pt x="164405" y="168700"/>
                  </a:lnTo>
                  <a:lnTo>
                    <a:pt x="161033" y="168700"/>
                  </a:lnTo>
                  <a:lnTo>
                    <a:pt x="164405" y="165409"/>
                  </a:lnTo>
                  <a:lnTo>
                    <a:pt x="189699" y="158825"/>
                  </a:lnTo>
                  <a:lnTo>
                    <a:pt x="203189" y="148950"/>
                  </a:lnTo>
                  <a:lnTo>
                    <a:pt x="206561" y="155534"/>
                  </a:lnTo>
                  <a:lnTo>
                    <a:pt x="209934" y="155534"/>
                  </a:lnTo>
                  <a:lnTo>
                    <a:pt x="214992" y="147304"/>
                  </a:lnTo>
                  <a:lnTo>
                    <a:pt x="221737" y="150596"/>
                  </a:lnTo>
                  <a:lnTo>
                    <a:pt x="223423" y="144013"/>
                  </a:lnTo>
                  <a:lnTo>
                    <a:pt x="223423" y="130845"/>
                  </a:lnTo>
                  <a:lnTo>
                    <a:pt x="231854" y="134137"/>
                  </a:lnTo>
                  <a:lnTo>
                    <a:pt x="236913" y="134137"/>
                  </a:lnTo>
                  <a:lnTo>
                    <a:pt x="238599" y="140721"/>
                  </a:lnTo>
                  <a:lnTo>
                    <a:pt x="248717" y="137429"/>
                  </a:lnTo>
                  <a:lnTo>
                    <a:pt x="252089" y="130845"/>
                  </a:lnTo>
                  <a:lnTo>
                    <a:pt x="260520" y="127554"/>
                  </a:lnTo>
                  <a:lnTo>
                    <a:pt x="262206" y="132492"/>
                  </a:lnTo>
                  <a:lnTo>
                    <a:pt x="272324" y="135783"/>
                  </a:lnTo>
                  <a:lnTo>
                    <a:pt x="275696" y="139075"/>
                  </a:lnTo>
                  <a:lnTo>
                    <a:pt x="279069" y="129200"/>
                  </a:lnTo>
                  <a:lnTo>
                    <a:pt x="289186" y="139075"/>
                  </a:lnTo>
                  <a:lnTo>
                    <a:pt x="304362" y="134137"/>
                  </a:lnTo>
                  <a:lnTo>
                    <a:pt x="309421" y="140721"/>
                  </a:lnTo>
                  <a:lnTo>
                    <a:pt x="321224" y="127554"/>
                  </a:lnTo>
                  <a:lnTo>
                    <a:pt x="349890" y="153888"/>
                  </a:lnTo>
                  <a:lnTo>
                    <a:pt x="366752" y="158825"/>
                  </a:lnTo>
                  <a:lnTo>
                    <a:pt x="378556" y="155534"/>
                  </a:lnTo>
                  <a:lnTo>
                    <a:pt x="427456" y="127554"/>
                  </a:lnTo>
                  <a:lnTo>
                    <a:pt x="435888" y="125908"/>
                  </a:lnTo>
                  <a:lnTo>
                    <a:pt x="440946" y="135783"/>
                  </a:lnTo>
                  <a:close/>
                  <a:moveTo>
                    <a:pt x="118877" y="97928"/>
                  </a:moveTo>
                  <a:lnTo>
                    <a:pt x="117191" y="97928"/>
                  </a:lnTo>
                  <a:lnTo>
                    <a:pt x="118877" y="97928"/>
                  </a:lnTo>
                  <a:close/>
                  <a:moveTo>
                    <a:pt x="105388" y="84761"/>
                  </a:moveTo>
                  <a:lnTo>
                    <a:pt x="103701" y="84761"/>
                  </a:lnTo>
                  <a:lnTo>
                    <a:pt x="105388" y="84761"/>
                  </a:lnTo>
                  <a:close/>
                  <a:moveTo>
                    <a:pt x="90212" y="74886"/>
                  </a:moveTo>
                  <a:lnTo>
                    <a:pt x="88525" y="74886"/>
                  </a:lnTo>
                  <a:lnTo>
                    <a:pt x="90212" y="74886"/>
                  </a:lnTo>
                  <a:close/>
                  <a:moveTo>
                    <a:pt x="76722" y="66657"/>
                  </a:moveTo>
                  <a:lnTo>
                    <a:pt x="76722" y="65011"/>
                  </a:lnTo>
                  <a:lnTo>
                    <a:pt x="76722" y="66657"/>
                  </a:lnTo>
                  <a:close/>
                  <a:moveTo>
                    <a:pt x="59860" y="51844"/>
                  </a:moveTo>
                  <a:lnTo>
                    <a:pt x="59860" y="53490"/>
                  </a:lnTo>
                  <a:lnTo>
                    <a:pt x="59860" y="51844"/>
                  </a:lnTo>
                  <a:close/>
                  <a:moveTo>
                    <a:pt x="42997" y="35385"/>
                  </a:moveTo>
                  <a:lnTo>
                    <a:pt x="42997" y="37031"/>
                  </a:lnTo>
                  <a:lnTo>
                    <a:pt x="42997" y="35385"/>
                  </a:lnTo>
                  <a:close/>
                  <a:moveTo>
                    <a:pt x="21076" y="4114"/>
                  </a:moveTo>
                  <a:lnTo>
                    <a:pt x="21076" y="5760"/>
                  </a:lnTo>
                  <a:lnTo>
                    <a:pt x="2107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3" name="Wijchen">
              <a:extLst>
                <a:ext uri="{FF2B5EF4-FFF2-40B4-BE49-F238E27FC236}">
                  <a16:creationId xmlns:a16="http://schemas.microsoft.com/office/drawing/2014/main" id="{F37D2A5D-1AC8-4BA2-9665-C01610BA73C3}"/>
                </a:ext>
              </a:extLst>
            </p:cNvPr>
            <p:cNvSpPr/>
            <p:nvPr/>
          </p:nvSpPr>
          <p:spPr>
            <a:xfrm>
              <a:off x="6445397" y="3895145"/>
              <a:ext cx="223480" cy="144664"/>
            </a:xfrm>
            <a:custGeom>
              <a:avLst/>
              <a:gdLst/>
              <a:ahLst/>
              <a:cxnLst/>
              <a:rect l="l" t="t" r="r" b="b"/>
              <a:pathLst>
                <a:path w="316120" h="228600" extrusionOk="0">
                  <a:moveTo>
                    <a:pt x="102015" y="5760"/>
                  </a:moveTo>
                  <a:lnTo>
                    <a:pt x="110446" y="7406"/>
                  </a:lnTo>
                  <a:lnTo>
                    <a:pt x="115505" y="10698"/>
                  </a:lnTo>
                  <a:lnTo>
                    <a:pt x="117191" y="17281"/>
                  </a:lnTo>
                  <a:lnTo>
                    <a:pt x="128995" y="20573"/>
                  </a:lnTo>
                  <a:lnTo>
                    <a:pt x="127309" y="25510"/>
                  </a:lnTo>
                  <a:lnTo>
                    <a:pt x="132367" y="28802"/>
                  </a:lnTo>
                  <a:lnTo>
                    <a:pt x="130681" y="37031"/>
                  </a:lnTo>
                  <a:lnTo>
                    <a:pt x="137426" y="48552"/>
                  </a:lnTo>
                  <a:lnTo>
                    <a:pt x="132367" y="48552"/>
                  </a:lnTo>
                  <a:lnTo>
                    <a:pt x="132367" y="55136"/>
                  </a:lnTo>
                  <a:lnTo>
                    <a:pt x="125622" y="55136"/>
                  </a:lnTo>
                  <a:lnTo>
                    <a:pt x="127309" y="61719"/>
                  </a:lnTo>
                  <a:lnTo>
                    <a:pt x="204875" y="73240"/>
                  </a:lnTo>
                  <a:lnTo>
                    <a:pt x="258834" y="88053"/>
                  </a:lnTo>
                  <a:lnTo>
                    <a:pt x="248717" y="107803"/>
                  </a:lnTo>
                  <a:lnTo>
                    <a:pt x="270638" y="109449"/>
                  </a:lnTo>
                  <a:lnTo>
                    <a:pt x="274010" y="114387"/>
                  </a:lnTo>
                  <a:lnTo>
                    <a:pt x="285814" y="145658"/>
                  </a:lnTo>
                  <a:lnTo>
                    <a:pt x="299303" y="160471"/>
                  </a:lnTo>
                  <a:lnTo>
                    <a:pt x="304362" y="170346"/>
                  </a:lnTo>
                  <a:lnTo>
                    <a:pt x="306049" y="171992"/>
                  </a:lnTo>
                  <a:lnTo>
                    <a:pt x="307735" y="170346"/>
                  </a:lnTo>
                  <a:lnTo>
                    <a:pt x="316166" y="176930"/>
                  </a:lnTo>
                  <a:lnTo>
                    <a:pt x="314480" y="178576"/>
                  </a:lnTo>
                  <a:lnTo>
                    <a:pt x="284128" y="203264"/>
                  </a:lnTo>
                  <a:lnTo>
                    <a:pt x="275696" y="204910"/>
                  </a:lnTo>
                  <a:lnTo>
                    <a:pt x="267265" y="201618"/>
                  </a:lnTo>
                  <a:lnTo>
                    <a:pt x="267265" y="208201"/>
                  </a:lnTo>
                  <a:lnTo>
                    <a:pt x="230168" y="218076"/>
                  </a:lnTo>
                  <a:lnTo>
                    <a:pt x="223424" y="216431"/>
                  </a:lnTo>
                  <a:lnTo>
                    <a:pt x="223424" y="219722"/>
                  </a:lnTo>
                  <a:lnTo>
                    <a:pt x="213306" y="214785"/>
                  </a:lnTo>
                  <a:lnTo>
                    <a:pt x="206561" y="231243"/>
                  </a:lnTo>
                  <a:lnTo>
                    <a:pt x="194758" y="226306"/>
                  </a:lnTo>
                  <a:lnTo>
                    <a:pt x="176209" y="226306"/>
                  </a:lnTo>
                  <a:lnTo>
                    <a:pt x="164405" y="219722"/>
                  </a:lnTo>
                  <a:lnTo>
                    <a:pt x="154288" y="199972"/>
                  </a:lnTo>
                  <a:lnTo>
                    <a:pt x="145857" y="191742"/>
                  </a:lnTo>
                  <a:lnTo>
                    <a:pt x="134053" y="186805"/>
                  </a:lnTo>
                  <a:lnTo>
                    <a:pt x="110446" y="183513"/>
                  </a:lnTo>
                  <a:lnTo>
                    <a:pt x="100329" y="175284"/>
                  </a:lnTo>
                  <a:lnTo>
                    <a:pt x="86839" y="158825"/>
                  </a:lnTo>
                  <a:lnTo>
                    <a:pt x="78408" y="132492"/>
                  </a:lnTo>
                  <a:lnTo>
                    <a:pt x="69977" y="122616"/>
                  </a:lnTo>
                  <a:lnTo>
                    <a:pt x="59860" y="119324"/>
                  </a:lnTo>
                  <a:lnTo>
                    <a:pt x="36253" y="119324"/>
                  </a:lnTo>
                  <a:lnTo>
                    <a:pt x="4214" y="99574"/>
                  </a:lnTo>
                  <a:lnTo>
                    <a:pt x="5901" y="96282"/>
                  </a:lnTo>
                  <a:lnTo>
                    <a:pt x="12645" y="97928"/>
                  </a:lnTo>
                  <a:lnTo>
                    <a:pt x="21076" y="91345"/>
                  </a:lnTo>
                  <a:lnTo>
                    <a:pt x="19390" y="86407"/>
                  </a:lnTo>
                  <a:lnTo>
                    <a:pt x="22763" y="84761"/>
                  </a:lnTo>
                  <a:lnTo>
                    <a:pt x="17704" y="79824"/>
                  </a:lnTo>
                  <a:lnTo>
                    <a:pt x="41311" y="68303"/>
                  </a:lnTo>
                  <a:lnTo>
                    <a:pt x="73349" y="58427"/>
                  </a:lnTo>
                  <a:lnTo>
                    <a:pt x="61546" y="51844"/>
                  </a:lnTo>
                  <a:lnTo>
                    <a:pt x="64918" y="48552"/>
                  </a:lnTo>
                  <a:lnTo>
                    <a:pt x="59860" y="43615"/>
                  </a:lnTo>
                  <a:lnTo>
                    <a:pt x="68291" y="30448"/>
                  </a:lnTo>
                  <a:lnTo>
                    <a:pt x="66605" y="17281"/>
                  </a:lnTo>
                  <a:lnTo>
                    <a:pt x="63232" y="10698"/>
                  </a:lnTo>
                  <a:lnTo>
                    <a:pt x="61546" y="4114"/>
                  </a:lnTo>
                  <a:lnTo>
                    <a:pt x="102015"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4" name="Bodegraven-Reeuwijk">
              <a:extLst>
                <a:ext uri="{FF2B5EF4-FFF2-40B4-BE49-F238E27FC236}">
                  <a16:creationId xmlns:a16="http://schemas.microsoft.com/office/drawing/2014/main" id="{5156EBEB-CC6A-4009-92C4-FA967CD6EB00}"/>
                </a:ext>
              </a:extLst>
            </p:cNvPr>
            <p:cNvSpPr/>
            <p:nvPr/>
          </p:nvSpPr>
          <p:spPr>
            <a:xfrm>
              <a:off x="5466916" y="3482581"/>
              <a:ext cx="221950" cy="174968"/>
            </a:xfrm>
            <a:custGeom>
              <a:avLst/>
              <a:gdLst/>
              <a:ahLst/>
              <a:cxnLst/>
              <a:rect l="l" t="t" r="r" b="b"/>
              <a:pathLst>
                <a:path w="327828" h="262890" extrusionOk="0">
                  <a:moveTo>
                    <a:pt x="211620" y="7406"/>
                  </a:moveTo>
                  <a:lnTo>
                    <a:pt x="257148" y="41969"/>
                  </a:lnTo>
                  <a:lnTo>
                    <a:pt x="253775" y="45261"/>
                  </a:lnTo>
                  <a:lnTo>
                    <a:pt x="253775" y="74886"/>
                  </a:lnTo>
                  <a:lnTo>
                    <a:pt x="257148" y="119324"/>
                  </a:lnTo>
                  <a:lnTo>
                    <a:pt x="267265" y="119324"/>
                  </a:lnTo>
                  <a:lnTo>
                    <a:pt x="267265" y="124262"/>
                  </a:lnTo>
                  <a:lnTo>
                    <a:pt x="268952" y="124262"/>
                  </a:lnTo>
                  <a:lnTo>
                    <a:pt x="262207" y="139075"/>
                  </a:lnTo>
                  <a:lnTo>
                    <a:pt x="282441" y="134137"/>
                  </a:lnTo>
                  <a:lnTo>
                    <a:pt x="329656" y="134137"/>
                  </a:lnTo>
                  <a:lnTo>
                    <a:pt x="321224" y="148950"/>
                  </a:lnTo>
                  <a:lnTo>
                    <a:pt x="302676" y="157179"/>
                  </a:lnTo>
                  <a:lnTo>
                    <a:pt x="290872" y="160471"/>
                  </a:lnTo>
                  <a:lnTo>
                    <a:pt x="262207" y="180221"/>
                  </a:lnTo>
                  <a:lnTo>
                    <a:pt x="243658" y="211493"/>
                  </a:lnTo>
                  <a:lnTo>
                    <a:pt x="235227" y="218076"/>
                  </a:lnTo>
                  <a:lnTo>
                    <a:pt x="226796" y="219722"/>
                  </a:lnTo>
                  <a:lnTo>
                    <a:pt x="231855" y="234535"/>
                  </a:lnTo>
                  <a:lnTo>
                    <a:pt x="184640" y="264160"/>
                  </a:lnTo>
                  <a:lnTo>
                    <a:pt x="166092" y="267452"/>
                  </a:lnTo>
                  <a:lnTo>
                    <a:pt x="140798" y="265806"/>
                  </a:lnTo>
                  <a:lnTo>
                    <a:pt x="139112" y="259223"/>
                  </a:lnTo>
                  <a:lnTo>
                    <a:pt x="134053" y="257577"/>
                  </a:lnTo>
                  <a:lnTo>
                    <a:pt x="130681" y="244410"/>
                  </a:lnTo>
                  <a:lnTo>
                    <a:pt x="120564" y="244410"/>
                  </a:lnTo>
                  <a:lnTo>
                    <a:pt x="117191" y="237827"/>
                  </a:lnTo>
                  <a:lnTo>
                    <a:pt x="93584" y="234535"/>
                  </a:lnTo>
                  <a:lnTo>
                    <a:pt x="95270" y="213138"/>
                  </a:lnTo>
                  <a:lnTo>
                    <a:pt x="91898" y="213138"/>
                  </a:lnTo>
                  <a:lnTo>
                    <a:pt x="88525" y="206555"/>
                  </a:lnTo>
                  <a:lnTo>
                    <a:pt x="44684" y="191742"/>
                  </a:lnTo>
                  <a:lnTo>
                    <a:pt x="29508" y="191742"/>
                  </a:lnTo>
                  <a:lnTo>
                    <a:pt x="34566" y="171992"/>
                  </a:lnTo>
                  <a:lnTo>
                    <a:pt x="17704" y="171992"/>
                  </a:lnTo>
                  <a:lnTo>
                    <a:pt x="17704" y="163763"/>
                  </a:lnTo>
                  <a:lnTo>
                    <a:pt x="14332" y="158825"/>
                  </a:lnTo>
                  <a:lnTo>
                    <a:pt x="9273" y="158825"/>
                  </a:lnTo>
                  <a:lnTo>
                    <a:pt x="4214" y="142367"/>
                  </a:lnTo>
                  <a:lnTo>
                    <a:pt x="12645" y="144012"/>
                  </a:lnTo>
                  <a:lnTo>
                    <a:pt x="12645" y="139075"/>
                  </a:lnTo>
                  <a:lnTo>
                    <a:pt x="29508" y="139075"/>
                  </a:lnTo>
                  <a:lnTo>
                    <a:pt x="32880" y="155533"/>
                  </a:lnTo>
                  <a:lnTo>
                    <a:pt x="37939" y="155533"/>
                  </a:lnTo>
                  <a:lnTo>
                    <a:pt x="42997" y="130845"/>
                  </a:lnTo>
                  <a:lnTo>
                    <a:pt x="56487" y="134137"/>
                  </a:lnTo>
                  <a:lnTo>
                    <a:pt x="59860" y="117678"/>
                  </a:lnTo>
                  <a:lnTo>
                    <a:pt x="73349" y="112741"/>
                  </a:lnTo>
                  <a:lnTo>
                    <a:pt x="85153" y="112741"/>
                  </a:lnTo>
                  <a:lnTo>
                    <a:pt x="88525" y="102866"/>
                  </a:lnTo>
                  <a:lnTo>
                    <a:pt x="78408" y="71595"/>
                  </a:lnTo>
                  <a:lnTo>
                    <a:pt x="76722" y="73240"/>
                  </a:lnTo>
                  <a:lnTo>
                    <a:pt x="73349" y="68303"/>
                  </a:lnTo>
                  <a:lnTo>
                    <a:pt x="118877" y="53490"/>
                  </a:lnTo>
                  <a:lnTo>
                    <a:pt x="117191" y="51844"/>
                  </a:lnTo>
                  <a:lnTo>
                    <a:pt x="127309" y="46906"/>
                  </a:lnTo>
                  <a:lnTo>
                    <a:pt x="125622" y="41969"/>
                  </a:lnTo>
                  <a:lnTo>
                    <a:pt x="149230" y="37031"/>
                  </a:lnTo>
                  <a:lnTo>
                    <a:pt x="155974" y="32094"/>
                  </a:lnTo>
                  <a:lnTo>
                    <a:pt x="161033" y="23864"/>
                  </a:lnTo>
                  <a:lnTo>
                    <a:pt x="171150" y="25510"/>
                  </a:lnTo>
                  <a:lnTo>
                    <a:pt x="172837" y="20573"/>
                  </a:lnTo>
                  <a:lnTo>
                    <a:pt x="186326" y="18927"/>
                  </a:lnTo>
                  <a:lnTo>
                    <a:pt x="188013" y="15635"/>
                  </a:lnTo>
                  <a:lnTo>
                    <a:pt x="193071" y="15635"/>
                  </a:lnTo>
                  <a:lnTo>
                    <a:pt x="194758" y="7406"/>
                  </a:lnTo>
                  <a:lnTo>
                    <a:pt x="204875" y="9052"/>
                  </a:lnTo>
                  <a:lnTo>
                    <a:pt x="206561" y="4114"/>
                  </a:lnTo>
                  <a:lnTo>
                    <a:pt x="211620"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5" name="Roosendaal">
              <a:extLst>
                <a:ext uri="{FF2B5EF4-FFF2-40B4-BE49-F238E27FC236}">
                  <a16:creationId xmlns:a16="http://schemas.microsoft.com/office/drawing/2014/main" id="{AB182DE7-6DB5-49BB-AA62-6E6F927B66A8}"/>
                </a:ext>
              </a:extLst>
            </p:cNvPr>
            <p:cNvSpPr/>
            <p:nvPr/>
          </p:nvSpPr>
          <p:spPr>
            <a:xfrm>
              <a:off x="5081062" y="4367608"/>
              <a:ext cx="231849" cy="187347"/>
            </a:xfrm>
            <a:custGeom>
              <a:avLst/>
              <a:gdLst/>
              <a:ahLst/>
              <a:cxnLst/>
              <a:rect l="l" t="t" r="r" b="b"/>
              <a:pathLst>
                <a:path w="339536" h="285750" extrusionOk="0">
                  <a:moveTo>
                    <a:pt x="223423" y="12343"/>
                  </a:moveTo>
                  <a:lnTo>
                    <a:pt x="231854" y="10697"/>
                  </a:lnTo>
                  <a:lnTo>
                    <a:pt x="230168" y="17281"/>
                  </a:lnTo>
                  <a:lnTo>
                    <a:pt x="235227" y="18926"/>
                  </a:lnTo>
                  <a:lnTo>
                    <a:pt x="236913" y="23864"/>
                  </a:lnTo>
                  <a:lnTo>
                    <a:pt x="250403" y="23864"/>
                  </a:lnTo>
                  <a:lnTo>
                    <a:pt x="257148" y="18926"/>
                  </a:lnTo>
                  <a:lnTo>
                    <a:pt x="262206" y="22218"/>
                  </a:lnTo>
                  <a:lnTo>
                    <a:pt x="262206" y="25510"/>
                  </a:lnTo>
                  <a:lnTo>
                    <a:pt x="282441" y="25510"/>
                  </a:lnTo>
                  <a:lnTo>
                    <a:pt x="302676" y="30448"/>
                  </a:lnTo>
                  <a:lnTo>
                    <a:pt x="299303" y="60073"/>
                  </a:lnTo>
                  <a:lnTo>
                    <a:pt x="300989" y="65011"/>
                  </a:lnTo>
                  <a:lnTo>
                    <a:pt x="314479" y="68302"/>
                  </a:lnTo>
                  <a:lnTo>
                    <a:pt x="319538" y="66657"/>
                  </a:lnTo>
                  <a:lnTo>
                    <a:pt x="324597" y="71594"/>
                  </a:lnTo>
                  <a:lnTo>
                    <a:pt x="326283" y="68302"/>
                  </a:lnTo>
                  <a:lnTo>
                    <a:pt x="338087" y="69949"/>
                  </a:lnTo>
                  <a:lnTo>
                    <a:pt x="334714" y="102866"/>
                  </a:lnTo>
                  <a:lnTo>
                    <a:pt x="326283" y="120970"/>
                  </a:lnTo>
                  <a:lnTo>
                    <a:pt x="322911" y="120970"/>
                  </a:lnTo>
                  <a:lnTo>
                    <a:pt x="324597" y="129199"/>
                  </a:lnTo>
                  <a:lnTo>
                    <a:pt x="304362" y="132491"/>
                  </a:lnTo>
                  <a:lnTo>
                    <a:pt x="295931" y="152242"/>
                  </a:lnTo>
                  <a:lnTo>
                    <a:pt x="299303" y="167054"/>
                  </a:lnTo>
                  <a:lnTo>
                    <a:pt x="285814" y="203264"/>
                  </a:lnTo>
                  <a:lnTo>
                    <a:pt x="289186" y="213138"/>
                  </a:lnTo>
                  <a:lnTo>
                    <a:pt x="277382" y="216430"/>
                  </a:lnTo>
                  <a:lnTo>
                    <a:pt x="280755" y="226306"/>
                  </a:lnTo>
                  <a:lnTo>
                    <a:pt x="263892" y="224660"/>
                  </a:lnTo>
                  <a:lnTo>
                    <a:pt x="245344" y="241118"/>
                  </a:lnTo>
                  <a:lnTo>
                    <a:pt x="211620" y="246056"/>
                  </a:lnTo>
                  <a:lnTo>
                    <a:pt x="132367" y="287202"/>
                  </a:lnTo>
                  <a:lnTo>
                    <a:pt x="118877" y="278973"/>
                  </a:lnTo>
                  <a:lnTo>
                    <a:pt x="93584" y="274035"/>
                  </a:lnTo>
                  <a:lnTo>
                    <a:pt x="86839" y="239472"/>
                  </a:lnTo>
                  <a:lnTo>
                    <a:pt x="88525" y="237827"/>
                  </a:lnTo>
                  <a:lnTo>
                    <a:pt x="86839" y="226306"/>
                  </a:lnTo>
                  <a:lnTo>
                    <a:pt x="102015" y="219722"/>
                  </a:lnTo>
                  <a:lnTo>
                    <a:pt x="103701" y="199972"/>
                  </a:lnTo>
                  <a:lnTo>
                    <a:pt x="81780" y="186805"/>
                  </a:lnTo>
                  <a:lnTo>
                    <a:pt x="71663" y="170346"/>
                  </a:lnTo>
                  <a:lnTo>
                    <a:pt x="68291" y="160471"/>
                  </a:lnTo>
                  <a:lnTo>
                    <a:pt x="76722" y="155533"/>
                  </a:lnTo>
                  <a:lnTo>
                    <a:pt x="76722" y="153888"/>
                  </a:lnTo>
                  <a:lnTo>
                    <a:pt x="69977" y="155533"/>
                  </a:lnTo>
                  <a:lnTo>
                    <a:pt x="73349" y="134137"/>
                  </a:lnTo>
                  <a:lnTo>
                    <a:pt x="73349" y="125908"/>
                  </a:lnTo>
                  <a:lnTo>
                    <a:pt x="58173" y="125908"/>
                  </a:lnTo>
                  <a:lnTo>
                    <a:pt x="56487" y="114387"/>
                  </a:lnTo>
                  <a:lnTo>
                    <a:pt x="59859" y="106157"/>
                  </a:lnTo>
                  <a:lnTo>
                    <a:pt x="32880" y="97928"/>
                  </a:lnTo>
                  <a:lnTo>
                    <a:pt x="37939" y="94636"/>
                  </a:lnTo>
                  <a:lnTo>
                    <a:pt x="36252" y="83115"/>
                  </a:lnTo>
                  <a:lnTo>
                    <a:pt x="4214" y="63365"/>
                  </a:lnTo>
                  <a:lnTo>
                    <a:pt x="7586" y="55136"/>
                  </a:lnTo>
                  <a:lnTo>
                    <a:pt x="19390" y="58427"/>
                  </a:lnTo>
                  <a:lnTo>
                    <a:pt x="22763" y="45260"/>
                  </a:lnTo>
                  <a:lnTo>
                    <a:pt x="110446" y="65011"/>
                  </a:lnTo>
                  <a:lnTo>
                    <a:pt x="166092" y="45260"/>
                  </a:lnTo>
                  <a:lnTo>
                    <a:pt x="189699" y="45260"/>
                  </a:lnTo>
                  <a:lnTo>
                    <a:pt x="193071" y="37031"/>
                  </a:lnTo>
                  <a:lnTo>
                    <a:pt x="208247" y="35385"/>
                  </a:lnTo>
                  <a:lnTo>
                    <a:pt x="211620" y="30448"/>
                  </a:lnTo>
                  <a:lnTo>
                    <a:pt x="214992" y="5760"/>
                  </a:lnTo>
                  <a:lnTo>
                    <a:pt x="218365" y="4114"/>
                  </a:lnTo>
                  <a:lnTo>
                    <a:pt x="223423"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6" name="Wijdemeren">
              <a:extLst>
                <a:ext uri="{FF2B5EF4-FFF2-40B4-BE49-F238E27FC236}">
                  <a16:creationId xmlns:a16="http://schemas.microsoft.com/office/drawing/2014/main" id="{F7E59900-D1DB-4741-9386-C1F84FAB90D0}"/>
                </a:ext>
              </a:extLst>
            </p:cNvPr>
            <p:cNvSpPr/>
            <p:nvPr/>
          </p:nvSpPr>
          <p:spPr>
            <a:xfrm>
              <a:off x="5844583" y="3223487"/>
              <a:ext cx="129823" cy="182468"/>
            </a:xfrm>
            <a:custGeom>
              <a:avLst/>
              <a:gdLst/>
              <a:ahLst/>
              <a:cxnLst/>
              <a:rect l="l" t="t" r="r" b="b"/>
              <a:pathLst>
                <a:path w="187330" h="285750" extrusionOk="0">
                  <a:moveTo>
                    <a:pt x="69977" y="20573"/>
                  </a:moveTo>
                  <a:lnTo>
                    <a:pt x="88526" y="20573"/>
                  </a:lnTo>
                  <a:lnTo>
                    <a:pt x="100329" y="17281"/>
                  </a:lnTo>
                  <a:lnTo>
                    <a:pt x="105388" y="12343"/>
                  </a:lnTo>
                  <a:lnTo>
                    <a:pt x="127309" y="17281"/>
                  </a:lnTo>
                  <a:lnTo>
                    <a:pt x="128995" y="22219"/>
                  </a:lnTo>
                  <a:lnTo>
                    <a:pt x="152602" y="32094"/>
                  </a:lnTo>
                  <a:lnTo>
                    <a:pt x="162720" y="65011"/>
                  </a:lnTo>
                  <a:lnTo>
                    <a:pt x="179582" y="65011"/>
                  </a:lnTo>
                  <a:lnTo>
                    <a:pt x="179582" y="79824"/>
                  </a:lnTo>
                  <a:lnTo>
                    <a:pt x="182954" y="79824"/>
                  </a:lnTo>
                  <a:lnTo>
                    <a:pt x="184640" y="99574"/>
                  </a:lnTo>
                  <a:lnTo>
                    <a:pt x="188013" y="104512"/>
                  </a:lnTo>
                  <a:lnTo>
                    <a:pt x="186326" y="148950"/>
                  </a:lnTo>
                  <a:lnTo>
                    <a:pt x="184640" y="150596"/>
                  </a:lnTo>
                  <a:lnTo>
                    <a:pt x="166092" y="150596"/>
                  </a:lnTo>
                  <a:lnTo>
                    <a:pt x="166092" y="155534"/>
                  </a:lnTo>
                  <a:lnTo>
                    <a:pt x="169464" y="155534"/>
                  </a:lnTo>
                  <a:lnTo>
                    <a:pt x="169464" y="157179"/>
                  </a:lnTo>
                  <a:lnTo>
                    <a:pt x="159347" y="157179"/>
                  </a:lnTo>
                  <a:lnTo>
                    <a:pt x="157661" y="163763"/>
                  </a:lnTo>
                  <a:lnTo>
                    <a:pt x="174523" y="175284"/>
                  </a:lnTo>
                  <a:lnTo>
                    <a:pt x="182954" y="190097"/>
                  </a:lnTo>
                  <a:lnTo>
                    <a:pt x="188013" y="188451"/>
                  </a:lnTo>
                  <a:lnTo>
                    <a:pt x="184640" y="191742"/>
                  </a:lnTo>
                  <a:lnTo>
                    <a:pt x="193072" y="208201"/>
                  </a:lnTo>
                  <a:lnTo>
                    <a:pt x="193072" y="214785"/>
                  </a:lnTo>
                  <a:lnTo>
                    <a:pt x="186326" y="226306"/>
                  </a:lnTo>
                  <a:lnTo>
                    <a:pt x="177895" y="232889"/>
                  </a:lnTo>
                  <a:lnTo>
                    <a:pt x="155974" y="244410"/>
                  </a:lnTo>
                  <a:lnTo>
                    <a:pt x="159347" y="255931"/>
                  </a:lnTo>
                  <a:lnTo>
                    <a:pt x="95270" y="272390"/>
                  </a:lnTo>
                  <a:lnTo>
                    <a:pt x="41311" y="292140"/>
                  </a:lnTo>
                  <a:lnTo>
                    <a:pt x="34566" y="249348"/>
                  </a:lnTo>
                  <a:lnTo>
                    <a:pt x="21076" y="247702"/>
                  </a:lnTo>
                  <a:lnTo>
                    <a:pt x="29508" y="221368"/>
                  </a:lnTo>
                  <a:lnTo>
                    <a:pt x="27822" y="214785"/>
                  </a:lnTo>
                  <a:lnTo>
                    <a:pt x="19390" y="213139"/>
                  </a:lnTo>
                  <a:lnTo>
                    <a:pt x="10959" y="204909"/>
                  </a:lnTo>
                  <a:lnTo>
                    <a:pt x="4214" y="204909"/>
                  </a:lnTo>
                  <a:lnTo>
                    <a:pt x="5901" y="204909"/>
                  </a:lnTo>
                  <a:lnTo>
                    <a:pt x="4214" y="203264"/>
                  </a:lnTo>
                  <a:lnTo>
                    <a:pt x="5901" y="203264"/>
                  </a:lnTo>
                  <a:lnTo>
                    <a:pt x="5901" y="199972"/>
                  </a:lnTo>
                  <a:lnTo>
                    <a:pt x="9273" y="201618"/>
                  </a:lnTo>
                  <a:lnTo>
                    <a:pt x="9273" y="199972"/>
                  </a:lnTo>
                  <a:lnTo>
                    <a:pt x="26135" y="203264"/>
                  </a:lnTo>
                  <a:lnTo>
                    <a:pt x="27822" y="196680"/>
                  </a:lnTo>
                  <a:lnTo>
                    <a:pt x="24449" y="196680"/>
                  </a:lnTo>
                  <a:lnTo>
                    <a:pt x="26135" y="186805"/>
                  </a:lnTo>
                  <a:lnTo>
                    <a:pt x="22763" y="185159"/>
                  </a:lnTo>
                  <a:lnTo>
                    <a:pt x="22763" y="175284"/>
                  </a:lnTo>
                  <a:lnTo>
                    <a:pt x="27822" y="175284"/>
                  </a:lnTo>
                  <a:lnTo>
                    <a:pt x="24449" y="173638"/>
                  </a:lnTo>
                  <a:lnTo>
                    <a:pt x="27822" y="170346"/>
                  </a:lnTo>
                  <a:lnTo>
                    <a:pt x="26135" y="167055"/>
                  </a:lnTo>
                  <a:lnTo>
                    <a:pt x="27822" y="150596"/>
                  </a:lnTo>
                  <a:lnTo>
                    <a:pt x="36253" y="150596"/>
                  </a:lnTo>
                  <a:lnTo>
                    <a:pt x="27822" y="147304"/>
                  </a:lnTo>
                  <a:lnTo>
                    <a:pt x="29508" y="148950"/>
                  </a:lnTo>
                  <a:lnTo>
                    <a:pt x="36253" y="139075"/>
                  </a:lnTo>
                  <a:lnTo>
                    <a:pt x="32880" y="137429"/>
                  </a:lnTo>
                  <a:lnTo>
                    <a:pt x="34566" y="134137"/>
                  </a:lnTo>
                  <a:lnTo>
                    <a:pt x="59860" y="124262"/>
                  </a:lnTo>
                  <a:lnTo>
                    <a:pt x="41311" y="104512"/>
                  </a:lnTo>
                  <a:lnTo>
                    <a:pt x="42997" y="91345"/>
                  </a:lnTo>
                  <a:lnTo>
                    <a:pt x="36253" y="73240"/>
                  </a:lnTo>
                  <a:lnTo>
                    <a:pt x="32880" y="73240"/>
                  </a:lnTo>
                  <a:lnTo>
                    <a:pt x="26135" y="81470"/>
                  </a:lnTo>
                  <a:lnTo>
                    <a:pt x="19390" y="76532"/>
                  </a:lnTo>
                  <a:lnTo>
                    <a:pt x="21076" y="63365"/>
                  </a:lnTo>
                  <a:lnTo>
                    <a:pt x="12645" y="53490"/>
                  </a:lnTo>
                  <a:lnTo>
                    <a:pt x="14332" y="45261"/>
                  </a:lnTo>
                  <a:lnTo>
                    <a:pt x="5901" y="33740"/>
                  </a:lnTo>
                  <a:lnTo>
                    <a:pt x="9273" y="32094"/>
                  </a:lnTo>
                  <a:lnTo>
                    <a:pt x="17704" y="35385"/>
                  </a:lnTo>
                  <a:lnTo>
                    <a:pt x="22763" y="27156"/>
                  </a:lnTo>
                  <a:lnTo>
                    <a:pt x="36253" y="20573"/>
                  </a:lnTo>
                  <a:lnTo>
                    <a:pt x="46370" y="23864"/>
                  </a:lnTo>
                  <a:lnTo>
                    <a:pt x="49742" y="12343"/>
                  </a:lnTo>
                  <a:lnTo>
                    <a:pt x="63232" y="4114"/>
                  </a:lnTo>
                  <a:lnTo>
                    <a:pt x="68291" y="4114"/>
                  </a:lnTo>
                  <a:lnTo>
                    <a:pt x="69977"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7" name="Nuenen, Gerwen en Nederwetten">
              <a:extLst>
                <a:ext uri="{FF2B5EF4-FFF2-40B4-BE49-F238E27FC236}">
                  <a16:creationId xmlns:a16="http://schemas.microsoft.com/office/drawing/2014/main" id="{FA1A2813-0008-40A1-8E90-59F6643C613A}"/>
                </a:ext>
              </a:extLst>
            </p:cNvPr>
            <p:cNvSpPr/>
            <p:nvPr/>
          </p:nvSpPr>
          <p:spPr>
            <a:xfrm>
              <a:off x="6355545" y="4422297"/>
              <a:ext cx="102027" cy="165501"/>
            </a:xfrm>
            <a:custGeom>
              <a:avLst/>
              <a:gdLst/>
              <a:ahLst/>
              <a:cxnLst/>
              <a:rect l="l" t="t" r="r" b="b"/>
              <a:pathLst>
                <a:path w="152206" h="251460" extrusionOk="0">
                  <a:moveTo>
                    <a:pt x="68290" y="4114"/>
                  </a:moveTo>
                  <a:lnTo>
                    <a:pt x="83467" y="73240"/>
                  </a:lnTo>
                  <a:lnTo>
                    <a:pt x="98642" y="92991"/>
                  </a:lnTo>
                  <a:lnTo>
                    <a:pt x="113819" y="97928"/>
                  </a:lnTo>
                  <a:lnTo>
                    <a:pt x="103701" y="102866"/>
                  </a:lnTo>
                  <a:lnTo>
                    <a:pt x="127309" y="145658"/>
                  </a:lnTo>
                  <a:lnTo>
                    <a:pt x="155974" y="162117"/>
                  </a:lnTo>
                  <a:lnTo>
                    <a:pt x="157661" y="165409"/>
                  </a:lnTo>
                  <a:lnTo>
                    <a:pt x="139112" y="175284"/>
                  </a:lnTo>
                  <a:lnTo>
                    <a:pt x="123936" y="178575"/>
                  </a:lnTo>
                  <a:lnTo>
                    <a:pt x="130681" y="183513"/>
                  </a:lnTo>
                  <a:lnTo>
                    <a:pt x="96956" y="237827"/>
                  </a:lnTo>
                  <a:lnTo>
                    <a:pt x="68290" y="255931"/>
                  </a:lnTo>
                  <a:lnTo>
                    <a:pt x="63232" y="242764"/>
                  </a:lnTo>
                  <a:lnTo>
                    <a:pt x="59859" y="242764"/>
                  </a:lnTo>
                  <a:lnTo>
                    <a:pt x="54801" y="232889"/>
                  </a:lnTo>
                  <a:lnTo>
                    <a:pt x="56487" y="221368"/>
                  </a:lnTo>
                  <a:lnTo>
                    <a:pt x="44683" y="204909"/>
                  </a:lnTo>
                  <a:lnTo>
                    <a:pt x="46370" y="199972"/>
                  </a:lnTo>
                  <a:lnTo>
                    <a:pt x="27821" y="190096"/>
                  </a:lnTo>
                  <a:lnTo>
                    <a:pt x="9273" y="170346"/>
                  </a:lnTo>
                  <a:lnTo>
                    <a:pt x="10959" y="168700"/>
                  </a:lnTo>
                  <a:lnTo>
                    <a:pt x="7586" y="165409"/>
                  </a:lnTo>
                  <a:lnTo>
                    <a:pt x="7586" y="148950"/>
                  </a:lnTo>
                  <a:lnTo>
                    <a:pt x="9273" y="147304"/>
                  </a:lnTo>
                  <a:lnTo>
                    <a:pt x="4214" y="135783"/>
                  </a:lnTo>
                  <a:lnTo>
                    <a:pt x="7586" y="132491"/>
                  </a:lnTo>
                  <a:lnTo>
                    <a:pt x="7586" y="125908"/>
                  </a:lnTo>
                  <a:lnTo>
                    <a:pt x="10959" y="125908"/>
                  </a:lnTo>
                  <a:lnTo>
                    <a:pt x="19390" y="112741"/>
                  </a:lnTo>
                  <a:lnTo>
                    <a:pt x="10959" y="99574"/>
                  </a:lnTo>
                  <a:lnTo>
                    <a:pt x="24449" y="91345"/>
                  </a:lnTo>
                  <a:lnTo>
                    <a:pt x="36252" y="92991"/>
                  </a:lnTo>
                  <a:lnTo>
                    <a:pt x="42997" y="83115"/>
                  </a:lnTo>
                  <a:lnTo>
                    <a:pt x="54801" y="78178"/>
                  </a:lnTo>
                  <a:lnTo>
                    <a:pt x="66604" y="65011"/>
                  </a:lnTo>
                  <a:lnTo>
                    <a:pt x="58173" y="46906"/>
                  </a:lnTo>
                  <a:lnTo>
                    <a:pt x="64918" y="48552"/>
                  </a:lnTo>
                  <a:lnTo>
                    <a:pt x="63232" y="43615"/>
                  </a:lnTo>
                  <a:lnTo>
                    <a:pt x="64918" y="38677"/>
                  </a:lnTo>
                  <a:lnTo>
                    <a:pt x="56487" y="33739"/>
                  </a:lnTo>
                  <a:lnTo>
                    <a:pt x="42997" y="35385"/>
                  </a:lnTo>
                  <a:lnTo>
                    <a:pt x="6829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8" name="Haaksbergen">
              <a:extLst>
                <a:ext uri="{FF2B5EF4-FFF2-40B4-BE49-F238E27FC236}">
                  <a16:creationId xmlns:a16="http://schemas.microsoft.com/office/drawing/2014/main" id="{58C7F425-6703-42E2-8223-6B6577E8CF31}"/>
                </a:ext>
              </a:extLst>
            </p:cNvPr>
            <p:cNvSpPr/>
            <p:nvPr/>
          </p:nvSpPr>
          <p:spPr>
            <a:xfrm>
              <a:off x="7528302" y="3333156"/>
              <a:ext cx="274103" cy="149370"/>
            </a:xfrm>
            <a:custGeom>
              <a:avLst/>
              <a:gdLst/>
              <a:ahLst/>
              <a:cxnLst/>
              <a:rect l="l" t="t" r="r" b="b"/>
              <a:pathLst>
                <a:path w="409785" h="217170" extrusionOk="0">
                  <a:moveTo>
                    <a:pt x="177895" y="22219"/>
                  </a:moveTo>
                  <a:lnTo>
                    <a:pt x="220051" y="40323"/>
                  </a:lnTo>
                  <a:lnTo>
                    <a:pt x="253775" y="74886"/>
                  </a:lnTo>
                  <a:lnTo>
                    <a:pt x="280755" y="97928"/>
                  </a:lnTo>
                  <a:lnTo>
                    <a:pt x="294245" y="86407"/>
                  </a:lnTo>
                  <a:lnTo>
                    <a:pt x="314480" y="86407"/>
                  </a:lnTo>
                  <a:lnTo>
                    <a:pt x="378556" y="104512"/>
                  </a:lnTo>
                  <a:lnTo>
                    <a:pt x="408908" y="107803"/>
                  </a:lnTo>
                  <a:lnTo>
                    <a:pt x="395418" y="120971"/>
                  </a:lnTo>
                  <a:lnTo>
                    <a:pt x="397104" y="120971"/>
                  </a:lnTo>
                  <a:lnTo>
                    <a:pt x="385301" y="183513"/>
                  </a:lnTo>
                  <a:lnTo>
                    <a:pt x="375184" y="188451"/>
                  </a:lnTo>
                  <a:lnTo>
                    <a:pt x="358322" y="208201"/>
                  </a:lnTo>
                  <a:lnTo>
                    <a:pt x="339773" y="211493"/>
                  </a:lnTo>
                  <a:lnTo>
                    <a:pt x="179582" y="216431"/>
                  </a:lnTo>
                  <a:lnTo>
                    <a:pt x="147543" y="216431"/>
                  </a:lnTo>
                  <a:lnTo>
                    <a:pt x="118877" y="204910"/>
                  </a:lnTo>
                  <a:lnTo>
                    <a:pt x="88525" y="199972"/>
                  </a:lnTo>
                  <a:lnTo>
                    <a:pt x="64918" y="190097"/>
                  </a:lnTo>
                  <a:lnTo>
                    <a:pt x="81780" y="162117"/>
                  </a:lnTo>
                  <a:lnTo>
                    <a:pt x="80094" y="145658"/>
                  </a:lnTo>
                  <a:lnTo>
                    <a:pt x="76722" y="140721"/>
                  </a:lnTo>
                  <a:lnTo>
                    <a:pt x="80094" y="135783"/>
                  </a:lnTo>
                  <a:lnTo>
                    <a:pt x="78408" y="134137"/>
                  </a:lnTo>
                  <a:lnTo>
                    <a:pt x="80094" y="129200"/>
                  </a:lnTo>
                  <a:lnTo>
                    <a:pt x="75036" y="125908"/>
                  </a:lnTo>
                  <a:lnTo>
                    <a:pt x="81780" y="120971"/>
                  </a:lnTo>
                  <a:lnTo>
                    <a:pt x="80094" y="109449"/>
                  </a:lnTo>
                  <a:lnTo>
                    <a:pt x="76722" y="102866"/>
                  </a:lnTo>
                  <a:lnTo>
                    <a:pt x="36252" y="83116"/>
                  </a:lnTo>
                  <a:lnTo>
                    <a:pt x="39625" y="76532"/>
                  </a:lnTo>
                  <a:lnTo>
                    <a:pt x="32880" y="66657"/>
                  </a:lnTo>
                  <a:lnTo>
                    <a:pt x="27821" y="66657"/>
                  </a:lnTo>
                  <a:lnTo>
                    <a:pt x="19390" y="55136"/>
                  </a:lnTo>
                  <a:lnTo>
                    <a:pt x="10959" y="53490"/>
                  </a:lnTo>
                  <a:lnTo>
                    <a:pt x="4214" y="48552"/>
                  </a:lnTo>
                  <a:lnTo>
                    <a:pt x="48056" y="37031"/>
                  </a:lnTo>
                  <a:lnTo>
                    <a:pt x="76722" y="25510"/>
                  </a:lnTo>
                  <a:lnTo>
                    <a:pt x="115505" y="28802"/>
                  </a:lnTo>
                  <a:lnTo>
                    <a:pt x="123936" y="23864"/>
                  </a:lnTo>
                  <a:lnTo>
                    <a:pt x="137426" y="4114"/>
                  </a:lnTo>
                  <a:lnTo>
                    <a:pt x="177895" y="222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79" name="Amersfoort">
              <a:extLst>
                <a:ext uri="{FF2B5EF4-FFF2-40B4-BE49-F238E27FC236}">
                  <a16:creationId xmlns:a16="http://schemas.microsoft.com/office/drawing/2014/main" id="{236FA4D0-A5E4-4B22-B710-CD20724168DF}"/>
                </a:ext>
              </a:extLst>
            </p:cNvPr>
            <p:cNvSpPr/>
            <p:nvPr/>
          </p:nvSpPr>
          <p:spPr>
            <a:xfrm>
              <a:off x="6140271" y="3330160"/>
              <a:ext cx="183880" cy="174908"/>
            </a:xfrm>
            <a:custGeom>
              <a:avLst/>
              <a:gdLst/>
              <a:ahLst/>
              <a:cxnLst/>
              <a:rect l="l" t="t" r="r" b="b"/>
              <a:pathLst>
                <a:path w="269287" h="274320" extrusionOk="0">
                  <a:moveTo>
                    <a:pt x="140798" y="4114"/>
                  </a:moveTo>
                  <a:lnTo>
                    <a:pt x="157661" y="18927"/>
                  </a:lnTo>
                  <a:lnTo>
                    <a:pt x="162719" y="5760"/>
                  </a:lnTo>
                  <a:lnTo>
                    <a:pt x="199816" y="37031"/>
                  </a:lnTo>
                  <a:lnTo>
                    <a:pt x="206561" y="40323"/>
                  </a:lnTo>
                  <a:lnTo>
                    <a:pt x="208247" y="37031"/>
                  </a:lnTo>
                  <a:lnTo>
                    <a:pt x="209934" y="37031"/>
                  </a:lnTo>
                  <a:lnTo>
                    <a:pt x="206561" y="46906"/>
                  </a:lnTo>
                  <a:lnTo>
                    <a:pt x="208247" y="74886"/>
                  </a:lnTo>
                  <a:lnTo>
                    <a:pt x="204875" y="88053"/>
                  </a:lnTo>
                  <a:lnTo>
                    <a:pt x="206561" y="88053"/>
                  </a:lnTo>
                  <a:lnTo>
                    <a:pt x="208247" y="120970"/>
                  </a:lnTo>
                  <a:lnTo>
                    <a:pt x="214992" y="125908"/>
                  </a:lnTo>
                  <a:lnTo>
                    <a:pt x="221737" y="129199"/>
                  </a:lnTo>
                  <a:lnTo>
                    <a:pt x="268951" y="132491"/>
                  </a:lnTo>
                  <a:lnTo>
                    <a:pt x="267265" y="135783"/>
                  </a:lnTo>
                  <a:lnTo>
                    <a:pt x="258834" y="137429"/>
                  </a:lnTo>
                  <a:lnTo>
                    <a:pt x="257148" y="140721"/>
                  </a:lnTo>
                  <a:lnTo>
                    <a:pt x="258834" y="142367"/>
                  </a:lnTo>
                  <a:lnTo>
                    <a:pt x="267265" y="144012"/>
                  </a:lnTo>
                  <a:lnTo>
                    <a:pt x="272324" y="147304"/>
                  </a:lnTo>
                  <a:lnTo>
                    <a:pt x="270638" y="150596"/>
                  </a:lnTo>
                  <a:lnTo>
                    <a:pt x="275696" y="152242"/>
                  </a:lnTo>
                  <a:lnTo>
                    <a:pt x="272324" y="167054"/>
                  </a:lnTo>
                  <a:lnTo>
                    <a:pt x="270638" y="170346"/>
                  </a:lnTo>
                  <a:lnTo>
                    <a:pt x="263893" y="165409"/>
                  </a:lnTo>
                  <a:lnTo>
                    <a:pt x="236913" y="163763"/>
                  </a:lnTo>
                  <a:lnTo>
                    <a:pt x="211620" y="144012"/>
                  </a:lnTo>
                  <a:lnTo>
                    <a:pt x="182954" y="152242"/>
                  </a:lnTo>
                  <a:lnTo>
                    <a:pt x="174523" y="160471"/>
                  </a:lnTo>
                  <a:lnTo>
                    <a:pt x="172837" y="170346"/>
                  </a:lnTo>
                  <a:lnTo>
                    <a:pt x="159347" y="190096"/>
                  </a:lnTo>
                  <a:lnTo>
                    <a:pt x="161033" y="195034"/>
                  </a:lnTo>
                  <a:lnTo>
                    <a:pt x="159347" y="190096"/>
                  </a:lnTo>
                  <a:lnTo>
                    <a:pt x="144171" y="211493"/>
                  </a:lnTo>
                  <a:lnTo>
                    <a:pt x="108760" y="218076"/>
                  </a:lnTo>
                  <a:lnTo>
                    <a:pt x="105388" y="214785"/>
                  </a:lnTo>
                  <a:lnTo>
                    <a:pt x="102015" y="216430"/>
                  </a:lnTo>
                  <a:lnTo>
                    <a:pt x="80094" y="203264"/>
                  </a:lnTo>
                  <a:lnTo>
                    <a:pt x="46370" y="242764"/>
                  </a:lnTo>
                  <a:lnTo>
                    <a:pt x="32880" y="250993"/>
                  </a:lnTo>
                  <a:lnTo>
                    <a:pt x="10959" y="272390"/>
                  </a:lnTo>
                  <a:lnTo>
                    <a:pt x="4214" y="267452"/>
                  </a:lnTo>
                  <a:lnTo>
                    <a:pt x="42997" y="227951"/>
                  </a:lnTo>
                  <a:lnTo>
                    <a:pt x="46370" y="216430"/>
                  </a:lnTo>
                  <a:lnTo>
                    <a:pt x="42997" y="201617"/>
                  </a:lnTo>
                  <a:lnTo>
                    <a:pt x="49742" y="181867"/>
                  </a:lnTo>
                  <a:lnTo>
                    <a:pt x="54801" y="147304"/>
                  </a:lnTo>
                  <a:lnTo>
                    <a:pt x="61546" y="147304"/>
                  </a:lnTo>
                  <a:lnTo>
                    <a:pt x="68291" y="120970"/>
                  </a:lnTo>
                  <a:lnTo>
                    <a:pt x="66605" y="116033"/>
                  </a:lnTo>
                  <a:lnTo>
                    <a:pt x="71663" y="114387"/>
                  </a:lnTo>
                  <a:lnTo>
                    <a:pt x="71663" y="109449"/>
                  </a:lnTo>
                  <a:lnTo>
                    <a:pt x="56487" y="102866"/>
                  </a:lnTo>
                  <a:lnTo>
                    <a:pt x="51428" y="92991"/>
                  </a:lnTo>
                  <a:lnTo>
                    <a:pt x="46370" y="91345"/>
                  </a:lnTo>
                  <a:lnTo>
                    <a:pt x="36253" y="94636"/>
                  </a:lnTo>
                  <a:lnTo>
                    <a:pt x="31194" y="92991"/>
                  </a:lnTo>
                  <a:lnTo>
                    <a:pt x="32880" y="86407"/>
                  </a:lnTo>
                  <a:lnTo>
                    <a:pt x="29507" y="76532"/>
                  </a:lnTo>
                  <a:lnTo>
                    <a:pt x="17704" y="71594"/>
                  </a:lnTo>
                  <a:lnTo>
                    <a:pt x="10959" y="71594"/>
                  </a:lnTo>
                  <a:lnTo>
                    <a:pt x="9273" y="63365"/>
                  </a:lnTo>
                  <a:lnTo>
                    <a:pt x="16018" y="46906"/>
                  </a:lnTo>
                  <a:lnTo>
                    <a:pt x="17704" y="43615"/>
                  </a:lnTo>
                  <a:lnTo>
                    <a:pt x="41311" y="41969"/>
                  </a:lnTo>
                  <a:lnTo>
                    <a:pt x="37939" y="28802"/>
                  </a:lnTo>
                  <a:lnTo>
                    <a:pt x="41311" y="15635"/>
                  </a:lnTo>
                  <a:lnTo>
                    <a:pt x="83467" y="27156"/>
                  </a:lnTo>
                  <a:lnTo>
                    <a:pt x="93584" y="27156"/>
                  </a:lnTo>
                  <a:lnTo>
                    <a:pt x="100329" y="30448"/>
                  </a:lnTo>
                  <a:lnTo>
                    <a:pt x="135740" y="37031"/>
                  </a:lnTo>
                  <a:lnTo>
                    <a:pt x="14079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0" name="Druten">
              <a:extLst>
                <a:ext uri="{FF2B5EF4-FFF2-40B4-BE49-F238E27FC236}">
                  <a16:creationId xmlns:a16="http://schemas.microsoft.com/office/drawing/2014/main" id="{1FBC66AF-3481-43C0-BAB5-08E0201A30B4}"/>
                </a:ext>
              </a:extLst>
            </p:cNvPr>
            <p:cNvSpPr/>
            <p:nvPr/>
          </p:nvSpPr>
          <p:spPr>
            <a:xfrm>
              <a:off x="6377067" y="3832021"/>
              <a:ext cx="161801" cy="106919"/>
            </a:xfrm>
            <a:custGeom>
              <a:avLst/>
              <a:gdLst/>
              <a:ahLst/>
              <a:cxnLst/>
              <a:rect l="l" t="t" r="r" b="b"/>
              <a:pathLst>
                <a:path w="234163" h="160020" extrusionOk="0">
                  <a:moveTo>
                    <a:pt x="108760" y="9052"/>
                  </a:moveTo>
                  <a:lnTo>
                    <a:pt x="152602" y="9052"/>
                  </a:lnTo>
                  <a:lnTo>
                    <a:pt x="204875" y="17281"/>
                  </a:lnTo>
                  <a:lnTo>
                    <a:pt x="240286" y="17281"/>
                  </a:lnTo>
                  <a:lnTo>
                    <a:pt x="228482" y="58427"/>
                  </a:lnTo>
                  <a:lnTo>
                    <a:pt x="213306" y="89699"/>
                  </a:lnTo>
                  <a:lnTo>
                    <a:pt x="164405" y="86407"/>
                  </a:lnTo>
                  <a:lnTo>
                    <a:pt x="166092" y="92991"/>
                  </a:lnTo>
                  <a:lnTo>
                    <a:pt x="169464" y="99574"/>
                  </a:lnTo>
                  <a:lnTo>
                    <a:pt x="171150" y="112741"/>
                  </a:lnTo>
                  <a:lnTo>
                    <a:pt x="162719" y="125908"/>
                  </a:lnTo>
                  <a:lnTo>
                    <a:pt x="167778" y="130845"/>
                  </a:lnTo>
                  <a:lnTo>
                    <a:pt x="164405" y="134137"/>
                  </a:lnTo>
                  <a:lnTo>
                    <a:pt x="176209" y="140720"/>
                  </a:lnTo>
                  <a:lnTo>
                    <a:pt x="144170" y="150596"/>
                  </a:lnTo>
                  <a:lnTo>
                    <a:pt x="125622" y="162117"/>
                  </a:lnTo>
                  <a:lnTo>
                    <a:pt x="107074" y="157179"/>
                  </a:lnTo>
                  <a:lnTo>
                    <a:pt x="107074" y="153888"/>
                  </a:lnTo>
                  <a:lnTo>
                    <a:pt x="86839" y="153888"/>
                  </a:lnTo>
                  <a:lnTo>
                    <a:pt x="80094" y="125908"/>
                  </a:lnTo>
                  <a:lnTo>
                    <a:pt x="86839" y="111095"/>
                  </a:lnTo>
                  <a:lnTo>
                    <a:pt x="76722" y="106157"/>
                  </a:lnTo>
                  <a:lnTo>
                    <a:pt x="75036" y="92991"/>
                  </a:lnTo>
                  <a:lnTo>
                    <a:pt x="37939" y="97928"/>
                  </a:lnTo>
                  <a:lnTo>
                    <a:pt x="39625" y="79823"/>
                  </a:lnTo>
                  <a:lnTo>
                    <a:pt x="48056" y="78178"/>
                  </a:lnTo>
                  <a:lnTo>
                    <a:pt x="48056" y="68303"/>
                  </a:lnTo>
                  <a:lnTo>
                    <a:pt x="61546" y="65011"/>
                  </a:lnTo>
                  <a:lnTo>
                    <a:pt x="63232" y="56781"/>
                  </a:lnTo>
                  <a:lnTo>
                    <a:pt x="59859" y="53490"/>
                  </a:lnTo>
                  <a:lnTo>
                    <a:pt x="58173" y="46906"/>
                  </a:lnTo>
                  <a:lnTo>
                    <a:pt x="63232" y="43615"/>
                  </a:lnTo>
                  <a:lnTo>
                    <a:pt x="66604" y="46906"/>
                  </a:lnTo>
                  <a:lnTo>
                    <a:pt x="75036" y="25510"/>
                  </a:lnTo>
                  <a:lnTo>
                    <a:pt x="34566" y="37031"/>
                  </a:lnTo>
                  <a:lnTo>
                    <a:pt x="22763" y="35385"/>
                  </a:lnTo>
                  <a:lnTo>
                    <a:pt x="16018" y="27156"/>
                  </a:lnTo>
                  <a:lnTo>
                    <a:pt x="4214" y="28802"/>
                  </a:lnTo>
                  <a:lnTo>
                    <a:pt x="4214" y="20573"/>
                  </a:lnTo>
                  <a:lnTo>
                    <a:pt x="24449" y="10697"/>
                  </a:lnTo>
                  <a:lnTo>
                    <a:pt x="44684" y="5760"/>
                  </a:lnTo>
                  <a:lnTo>
                    <a:pt x="69977" y="4114"/>
                  </a:lnTo>
                  <a:lnTo>
                    <a:pt x="108760"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1" name="Midden-Delfland">
              <a:extLst>
                <a:ext uri="{FF2B5EF4-FFF2-40B4-BE49-F238E27FC236}">
                  <a16:creationId xmlns:a16="http://schemas.microsoft.com/office/drawing/2014/main" id="{7D706848-A613-43D3-AEDD-49F5B04158E0}"/>
                </a:ext>
              </a:extLst>
            </p:cNvPr>
            <p:cNvSpPr/>
            <p:nvPr/>
          </p:nvSpPr>
          <p:spPr>
            <a:xfrm>
              <a:off x="5007811" y="3637705"/>
              <a:ext cx="181601" cy="156035"/>
            </a:xfrm>
            <a:custGeom>
              <a:avLst/>
              <a:gdLst/>
              <a:ahLst/>
              <a:cxnLst/>
              <a:rect l="l" t="t" r="r" b="b"/>
              <a:pathLst>
                <a:path w="257579" h="240030" extrusionOk="0">
                  <a:moveTo>
                    <a:pt x="145857" y="27156"/>
                  </a:moveTo>
                  <a:lnTo>
                    <a:pt x="139112" y="30448"/>
                  </a:lnTo>
                  <a:lnTo>
                    <a:pt x="142485" y="41969"/>
                  </a:lnTo>
                  <a:lnTo>
                    <a:pt x="157661" y="33740"/>
                  </a:lnTo>
                  <a:lnTo>
                    <a:pt x="162719" y="41969"/>
                  </a:lnTo>
                  <a:lnTo>
                    <a:pt x="166092" y="38677"/>
                  </a:lnTo>
                  <a:lnTo>
                    <a:pt x="169464" y="46906"/>
                  </a:lnTo>
                  <a:lnTo>
                    <a:pt x="161033" y="50198"/>
                  </a:lnTo>
                  <a:lnTo>
                    <a:pt x="164405" y="56782"/>
                  </a:lnTo>
                  <a:lnTo>
                    <a:pt x="154288" y="58427"/>
                  </a:lnTo>
                  <a:lnTo>
                    <a:pt x="157661" y="69949"/>
                  </a:lnTo>
                  <a:lnTo>
                    <a:pt x="145857" y="71595"/>
                  </a:lnTo>
                  <a:lnTo>
                    <a:pt x="144171" y="78178"/>
                  </a:lnTo>
                  <a:lnTo>
                    <a:pt x="149229" y="88053"/>
                  </a:lnTo>
                  <a:lnTo>
                    <a:pt x="154288" y="91345"/>
                  </a:lnTo>
                  <a:lnTo>
                    <a:pt x="155974" y="99574"/>
                  </a:lnTo>
                  <a:lnTo>
                    <a:pt x="164405" y="116033"/>
                  </a:lnTo>
                  <a:lnTo>
                    <a:pt x="193071" y="107803"/>
                  </a:lnTo>
                  <a:lnTo>
                    <a:pt x="198130" y="120971"/>
                  </a:lnTo>
                  <a:lnTo>
                    <a:pt x="196444" y="120971"/>
                  </a:lnTo>
                  <a:lnTo>
                    <a:pt x="196444" y="125908"/>
                  </a:lnTo>
                  <a:lnTo>
                    <a:pt x="209934" y="122616"/>
                  </a:lnTo>
                  <a:lnTo>
                    <a:pt x="211620" y="129200"/>
                  </a:lnTo>
                  <a:lnTo>
                    <a:pt x="238599" y="120971"/>
                  </a:lnTo>
                  <a:lnTo>
                    <a:pt x="233541" y="112741"/>
                  </a:lnTo>
                  <a:lnTo>
                    <a:pt x="248717" y="109449"/>
                  </a:lnTo>
                  <a:lnTo>
                    <a:pt x="255462" y="116033"/>
                  </a:lnTo>
                  <a:lnTo>
                    <a:pt x="263893" y="135783"/>
                  </a:lnTo>
                  <a:lnTo>
                    <a:pt x="248717" y="145658"/>
                  </a:lnTo>
                  <a:lnTo>
                    <a:pt x="245344" y="139075"/>
                  </a:lnTo>
                  <a:lnTo>
                    <a:pt x="243658" y="139075"/>
                  </a:lnTo>
                  <a:lnTo>
                    <a:pt x="203189" y="148950"/>
                  </a:lnTo>
                  <a:lnTo>
                    <a:pt x="208247" y="162117"/>
                  </a:lnTo>
                  <a:lnTo>
                    <a:pt x="164405" y="178576"/>
                  </a:lnTo>
                  <a:lnTo>
                    <a:pt x="140798" y="193388"/>
                  </a:lnTo>
                  <a:lnTo>
                    <a:pt x="139112" y="191742"/>
                  </a:lnTo>
                  <a:lnTo>
                    <a:pt x="125622" y="209847"/>
                  </a:lnTo>
                  <a:lnTo>
                    <a:pt x="93584" y="242764"/>
                  </a:lnTo>
                  <a:lnTo>
                    <a:pt x="59860" y="236181"/>
                  </a:lnTo>
                  <a:lnTo>
                    <a:pt x="44684" y="227952"/>
                  </a:lnTo>
                  <a:lnTo>
                    <a:pt x="14331" y="188451"/>
                  </a:lnTo>
                  <a:lnTo>
                    <a:pt x="14331" y="186805"/>
                  </a:lnTo>
                  <a:lnTo>
                    <a:pt x="4214" y="171992"/>
                  </a:lnTo>
                  <a:lnTo>
                    <a:pt x="4214" y="163763"/>
                  </a:lnTo>
                  <a:lnTo>
                    <a:pt x="34566" y="150596"/>
                  </a:lnTo>
                  <a:lnTo>
                    <a:pt x="49742" y="147304"/>
                  </a:lnTo>
                  <a:lnTo>
                    <a:pt x="69977" y="135783"/>
                  </a:lnTo>
                  <a:lnTo>
                    <a:pt x="61546" y="124262"/>
                  </a:lnTo>
                  <a:lnTo>
                    <a:pt x="64918" y="116033"/>
                  </a:lnTo>
                  <a:lnTo>
                    <a:pt x="73349" y="122616"/>
                  </a:lnTo>
                  <a:lnTo>
                    <a:pt x="76722" y="120971"/>
                  </a:lnTo>
                  <a:lnTo>
                    <a:pt x="78408" y="124262"/>
                  </a:lnTo>
                  <a:lnTo>
                    <a:pt x="81780" y="122616"/>
                  </a:lnTo>
                  <a:lnTo>
                    <a:pt x="83467" y="124262"/>
                  </a:lnTo>
                  <a:lnTo>
                    <a:pt x="90212" y="119324"/>
                  </a:lnTo>
                  <a:lnTo>
                    <a:pt x="86839" y="116033"/>
                  </a:lnTo>
                  <a:lnTo>
                    <a:pt x="110446" y="101220"/>
                  </a:lnTo>
                  <a:lnTo>
                    <a:pt x="103701" y="96282"/>
                  </a:lnTo>
                  <a:lnTo>
                    <a:pt x="100329" y="96282"/>
                  </a:lnTo>
                  <a:lnTo>
                    <a:pt x="100329" y="91345"/>
                  </a:lnTo>
                  <a:lnTo>
                    <a:pt x="93584" y="92991"/>
                  </a:lnTo>
                  <a:lnTo>
                    <a:pt x="88525" y="79824"/>
                  </a:lnTo>
                  <a:lnTo>
                    <a:pt x="81780" y="86407"/>
                  </a:lnTo>
                  <a:lnTo>
                    <a:pt x="76722" y="79824"/>
                  </a:lnTo>
                  <a:lnTo>
                    <a:pt x="76722" y="74886"/>
                  </a:lnTo>
                  <a:lnTo>
                    <a:pt x="56487" y="68303"/>
                  </a:lnTo>
                  <a:lnTo>
                    <a:pt x="53115" y="61719"/>
                  </a:lnTo>
                  <a:lnTo>
                    <a:pt x="137426" y="4114"/>
                  </a:lnTo>
                  <a:lnTo>
                    <a:pt x="147543" y="22219"/>
                  </a:lnTo>
                  <a:lnTo>
                    <a:pt x="145857" y="2715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2" name="Doetinchem">
              <a:extLst>
                <a:ext uri="{FF2B5EF4-FFF2-40B4-BE49-F238E27FC236}">
                  <a16:creationId xmlns:a16="http://schemas.microsoft.com/office/drawing/2014/main" id="{6CC61B8D-A08C-4D9E-9450-4DEDBA021344}"/>
                </a:ext>
              </a:extLst>
            </p:cNvPr>
            <p:cNvSpPr/>
            <p:nvPr/>
          </p:nvSpPr>
          <p:spPr>
            <a:xfrm>
              <a:off x="7029608" y="3686131"/>
              <a:ext cx="284003" cy="113412"/>
            </a:xfrm>
            <a:custGeom>
              <a:avLst/>
              <a:gdLst/>
              <a:ahLst/>
              <a:cxnLst/>
              <a:rect l="l" t="t" r="r" b="b"/>
              <a:pathLst>
                <a:path w="421494" h="171450" extrusionOk="0">
                  <a:moveTo>
                    <a:pt x="274010" y="5760"/>
                  </a:moveTo>
                  <a:lnTo>
                    <a:pt x="294245" y="23864"/>
                  </a:lnTo>
                  <a:lnTo>
                    <a:pt x="282441" y="48552"/>
                  </a:lnTo>
                  <a:lnTo>
                    <a:pt x="322911" y="50198"/>
                  </a:lnTo>
                  <a:lnTo>
                    <a:pt x="348204" y="46906"/>
                  </a:lnTo>
                  <a:lnTo>
                    <a:pt x="348204" y="51844"/>
                  </a:lnTo>
                  <a:lnTo>
                    <a:pt x="341459" y="56782"/>
                  </a:lnTo>
                  <a:lnTo>
                    <a:pt x="341459" y="63365"/>
                  </a:lnTo>
                  <a:lnTo>
                    <a:pt x="344832" y="65011"/>
                  </a:lnTo>
                  <a:lnTo>
                    <a:pt x="353263" y="61719"/>
                  </a:lnTo>
                  <a:lnTo>
                    <a:pt x="365066" y="66657"/>
                  </a:lnTo>
                  <a:lnTo>
                    <a:pt x="378556" y="65011"/>
                  </a:lnTo>
                  <a:lnTo>
                    <a:pt x="375184" y="45261"/>
                  </a:lnTo>
                  <a:lnTo>
                    <a:pt x="365066" y="41969"/>
                  </a:lnTo>
                  <a:lnTo>
                    <a:pt x="378556" y="35385"/>
                  </a:lnTo>
                  <a:lnTo>
                    <a:pt x="381929" y="38677"/>
                  </a:lnTo>
                  <a:lnTo>
                    <a:pt x="383615" y="35385"/>
                  </a:lnTo>
                  <a:lnTo>
                    <a:pt x="390360" y="37031"/>
                  </a:lnTo>
                  <a:lnTo>
                    <a:pt x="397105" y="30448"/>
                  </a:lnTo>
                  <a:lnTo>
                    <a:pt x="419026" y="53490"/>
                  </a:lnTo>
                  <a:lnTo>
                    <a:pt x="398791" y="91345"/>
                  </a:lnTo>
                  <a:lnTo>
                    <a:pt x="390360" y="99574"/>
                  </a:lnTo>
                  <a:lnTo>
                    <a:pt x="365066" y="142367"/>
                  </a:lnTo>
                  <a:lnTo>
                    <a:pt x="366753" y="148950"/>
                  </a:lnTo>
                  <a:lnTo>
                    <a:pt x="354949" y="162117"/>
                  </a:lnTo>
                  <a:lnTo>
                    <a:pt x="333028" y="175284"/>
                  </a:lnTo>
                  <a:lnTo>
                    <a:pt x="304362" y="168700"/>
                  </a:lnTo>
                  <a:lnTo>
                    <a:pt x="300990" y="171992"/>
                  </a:lnTo>
                  <a:lnTo>
                    <a:pt x="299304" y="167055"/>
                  </a:lnTo>
                  <a:lnTo>
                    <a:pt x="292559" y="168700"/>
                  </a:lnTo>
                  <a:lnTo>
                    <a:pt x="284128" y="160471"/>
                  </a:lnTo>
                  <a:lnTo>
                    <a:pt x="274010" y="144013"/>
                  </a:lnTo>
                  <a:lnTo>
                    <a:pt x="263893" y="142367"/>
                  </a:lnTo>
                  <a:lnTo>
                    <a:pt x="255462" y="135783"/>
                  </a:lnTo>
                  <a:lnTo>
                    <a:pt x="250403" y="137429"/>
                  </a:lnTo>
                  <a:lnTo>
                    <a:pt x="243658" y="130845"/>
                  </a:lnTo>
                  <a:lnTo>
                    <a:pt x="245345" y="124262"/>
                  </a:lnTo>
                  <a:lnTo>
                    <a:pt x="209934" y="127554"/>
                  </a:lnTo>
                  <a:lnTo>
                    <a:pt x="203189" y="130845"/>
                  </a:lnTo>
                  <a:lnTo>
                    <a:pt x="199816" y="130845"/>
                  </a:lnTo>
                  <a:lnTo>
                    <a:pt x="199816" y="127554"/>
                  </a:lnTo>
                  <a:lnTo>
                    <a:pt x="120564" y="125908"/>
                  </a:lnTo>
                  <a:lnTo>
                    <a:pt x="122250" y="127554"/>
                  </a:lnTo>
                  <a:lnTo>
                    <a:pt x="118878" y="129200"/>
                  </a:lnTo>
                  <a:lnTo>
                    <a:pt x="113819" y="125908"/>
                  </a:lnTo>
                  <a:lnTo>
                    <a:pt x="110447" y="129200"/>
                  </a:lnTo>
                  <a:lnTo>
                    <a:pt x="93584" y="130845"/>
                  </a:lnTo>
                  <a:lnTo>
                    <a:pt x="93584" y="139075"/>
                  </a:lnTo>
                  <a:lnTo>
                    <a:pt x="96957" y="142367"/>
                  </a:lnTo>
                  <a:lnTo>
                    <a:pt x="96957" y="144013"/>
                  </a:lnTo>
                  <a:lnTo>
                    <a:pt x="71663" y="129200"/>
                  </a:lnTo>
                  <a:lnTo>
                    <a:pt x="71663" y="124262"/>
                  </a:lnTo>
                  <a:lnTo>
                    <a:pt x="64918" y="117679"/>
                  </a:lnTo>
                  <a:lnTo>
                    <a:pt x="56487" y="116033"/>
                  </a:lnTo>
                  <a:lnTo>
                    <a:pt x="46370" y="104512"/>
                  </a:lnTo>
                  <a:lnTo>
                    <a:pt x="32880" y="99574"/>
                  </a:lnTo>
                  <a:lnTo>
                    <a:pt x="24449" y="92991"/>
                  </a:lnTo>
                  <a:lnTo>
                    <a:pt x="12645" y="73240"/>
                  </a:lnTo>
                  <a:lnTo>
                    <a:pt x="4214" y="40323"/>
                  </a:lnTo>
                  <a:lnTo>
                    <a:pt x="27822" y="38677"/>
                  </a:lnTo>
                  <a:lnTo>
                    <a:pt x="27822" y="41969"/>
                  </a:lnTo>
                  <a:lnTo>
                    <a:pt x="44684" y="38677"/>
                  </a:lnTo>
                  <a:lnTo>
                    <a:pt x="56487" y="41969"/>
                  </a:lnTo>
                  <a:lnTo>
                    <a:pt x="73349" y="41969"/>
                  </a:lnTo>
                  <a:lnTo>
                    <a:pt x="95270" y="38677"/>
                  </a:lnTo>
                  <a:lnTo>
                    <a:pt x="105388" y="43615"/>
                  </a:lnTo>
                  <a:lnTo>
                    <a:pt x="110447" y="41969"/>
                  </a:lnTo>
                  <a:lnTo>
                    <a:pt x="125622" y="43615"/>
                  </a:lnTo>
                  <a:lnTo>
                    <a:pt x="134054" y="48552"/>
                  </a:lnTo>
                  <a:lnTo>
                    <a:pt x="135740" y="37031"/>
                  </a:lnTo>
                  <a:lnTo>
                    <a:pt x="122250" y="30448"/>
                  </a:lnTo>
                  <a:lnTo>
                    <a:pt x="130681" y="20573"/>
                  </a:lnTo>
                  <a:lnTo>
                    <a:pt x="137426" y="23864"/>
                  </a:lnTo>
                  <a:lnTo>
                    <a:pt x="137426" y="18927"/>
                  </a:lnTo>
                  <a:lnTo>
                    <a:pt x="142485" y="27156"/>
                  </a:lnTo>
                  <a:lnTo>
                    <a:pt x="140799" y="32094"/>
                  </a:lnTo>
                  <a:lnTo>
                    <a:pt x="140799" y="33740"/>
                  </a:lnTo>
                  <a:lnTo>
                    <a:pt x="144171" y="37031"/>
                  </a:lnTo>
                  <a:lnTo>
                    <a:pt x="154288" y="37031"/>
                  </a:lnTo>
                  <a:lnTo>
                    <a:pt x="155974" y="40323"/>
                  </a:lnTo>
                  <a:lnTo>
                    <a:pt x="154288" y="45261"/>
                  </a:lnTo>
                  <a:lnTo>
                    <a:pt x="159347" y="45261"/>
                  </a:lnTo>
                  <a:lnTo>
                    <a:pt x="164406" y="48552"/>
                  </a:lnTo>
                  <a:lnTo>
                    <a:pt x="169464" y="38677"/>
                  </a:lnTo>
                  <a:lnTo>
                    <a:pt x="174523" y="37031"/>
                  </a:lnTo>
                  <a:lnTo>
                    <a:pt x="174523" y="33740"/>
                  </a:lnTo>
                  <a:lnTo>
                    <a:pt x="161033" y="28802"/>
                  </a:lnTo>
                  <a:lnTo>
                    <a:pt x="164406" y="22219"/>
                  </a:lnTo>
                  <a:lnTo>
                    <a:pt x="167778" y="22219"/>
                  </a:lnTo>
                  <a:lnTo>
                    <a:pt x="171151" y="20573"/>
                  </a:lnTo>
                  <a:lnTo>
                    <a:pt x="177895" y="20573"/>
                  </a:lnTo>
                  <a:lnTo>
                    <a:pt x="184640" y="27156"/>
                  </a:lnTo>
                  <a:lnTo>
                    <a:pt x="194758" y="30448"/>
                  </a:lnTo>
                  <a:lnTo>
                    <a:pt x="201503" y="25510"/>
                  </a:lnTo>
                  <a:lnTo>
                    <a:pt x="208247" y="27156"/>
                  </a:lnTo>
                  <a:lnTo>
                    <a:pt x="228482" y="5760"/>
                  </a:lnTo>
                  <a:lnTo>
                    <a:pt x="233541" y="17281"/>
                  </a:lnTo>
                  <a:lnTo>
                    <a:pt x="250403" y="7406"/>
                  </a:lnTo>
                  <a:lnTo>
                    <a:pt x="268951" y="4114"/>
                  </a:lnTo>
                  <a:lnTo>
                    <a:pt x="274010"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3" name="Rotterdam">
              <a:extLst>
                <a:ext uri="{FF2B5EF4-FFF2-40B4-BE49-F238E27FC236}">
                  <a16:creationId xmlns:a16="http://schemas.microsoft.com/office/drawing/2014/main" id="{9FDDC220-329A-42BE-AD33-FD5C05A19E05}"/>
                </a:ext>
              </a:extLst>
            </p:cNvPr>
            <p:cNvSpPr/>
            <p:nvPr/>
          </p:nvSpPr>
          <p:spPr>
            <a:xfrm>
              <a:off x="4727974" y="3660023"/>
              <a:ext cx="672487" cy="264918"/>
            </a:xfrm>
            <a:custGeom>
              <a:avLst/>
              <a:gdLst/>
              <a:ahLst/>
              <a:cxnLst/>
              <a:rect l="l" t="t" r="r" b="b"/>
              <a:pathLst>
                <a:path w="983486" h="388620" extrusionOk="0">
                  <a:moveTo>
                    <a:pt x="297617" y="38677"/>
                  </a:moveTo>
                  <a:lnTo>
                    <a:pt x="290872" y="53490"/>
                  </a:lnTo>
                  <a:lnTo>
                    <a:pt x="304362" y="58428"/>
                  </a:lnTo>
                  <a:lnTo>
                    <a:pt x="302676" y="63365"/>
                  </a:lnTo>
                  <a:lnTo>
                    <a:pt x="334714" y="78178"/>
                  </a:lnTo>
                  <a:lnTo>
                    <a:pt x="351577" y="89699"/>
                  </a:lnTo>
                  <a:lnTo>
                    <a:pt x="351577" y="92991"/>
                  </a:lnTo>
                  <a:lnTo>
                    <a:pt x="356635" y="92991"/>
                  </a:lnTo>
                  <a:lnTo>
                    <a:pt x="351577" y="99574"/>
                  </a:lnTo>
                  <a:lnTo>
                    <a:pt x="358321" y="119324"/>
                  </a:lnTo>
                  <a:lnTo>
                    <a:pt x="400477" y="152242"/>
                  </a:lnTo>
                  <a:lnTo>
                    <a:pt x="388673" y="170346"/>
                  </a:lnTo>
                  <a:lnTo>
                    <a:pt x="407222" y="185159"/>
                  </a:lnTo>
                  <a:lnTo>
                    <a:pt x="429143" y="214785"/>
                  </a:lnTo>
                  <a:lnTo>
                    <a:pt x="501650" y="255931"/>
                  </a:lnTo>
                  <a:lnTo>
                    <a:pt x="523571" y="262515"/>
                  </a:lnTo>
                  <a:lnTo>
                    <a:pt x="564041" y="269098"/>
                  </a:lnTo>
                  <a:lnTo>
                    <a:pt x="580903" y="267452"/>
                  </a:lnTo>
                  <a:lnTo>
                    <a:pt x="612941" y="257577"/>
                  </a:lnTo>
                  <a:lnTo>
                    <a:pt x="629803" y="257577"/>
                  </a:lnTo>
                  <a:lnTo>
                    <a:pt x="661842" y="264160"/>
                  </a:lnTo>
                  <a:lnTo>
                    <a:pt x="695566" y="254286"/>
                  </a:lnTo>
                  <a:lnTo>
                    <a:pt x="693880" y="250994"/>
                  </a:lnTo>
                  <a:lnTo>
                    <a:pt x="698939" y="244410"/>
                  </a:lnTo>
                  <a:lnTo>
                    <a:pt x="688821" y="227952"/>
                  </a:lnTo>
                  <a:lnTo>
                    <a:pt x="698939" y="221368"/>
                  </a:lnTo>
                  <a:lnTo>
                    <a:pt x="700625" y="201618"/>
                  </a:lnTo>
                  <a:lnTo>
                    <a:pt x="698939" y="201618"/>
                  </a:lnTo>
                  <a:lnTo>
                    <a:pt x="688821" y="178576"/>
                  </a:lnTo>
                  <a:lnTo>
                    <a:pt x="690508" y="168700"/>
                  </a:lnTo>
                  <a:lnTo>
                    <a:pt x="702311" y="163763"/>
                  </a:lnTo>
                  <a:lnTo>
                    <a:pt x="698939" y="158825"/>
                  </a:lnTo>
                  <a:lnTo>
                    <a:pt x="692194" y="163763"/>
                  </a:lnTo>
                  <a:lnTo>
                    <a:pt x="688821" y="163763"/>
                  </a:lnTo>
                  <a:lnTo>
                    <a:pt x="682076" y="167055"/>
                  </a:lnTo>
                  <a:lnTo>
                    <a:pt x="665214" y="148950"/>
                  </a:lnTo>
                  <a:lnTo>
                    <a:pt x="668587" y="142367"/>
                  </a:lnTo>
                  <a:lnTo>
                    <a:pt x="658469" y="145658"/>
                  </a:lnTo>
                  <a:lnTo>
                    <a:pt x="644980" y="102866"/>
                  </a:lnTo>
                  <a:lnTo>
                    <a:pt x="661842" y="99574"/>
                  </a:lnTo>
                  <a:lnTo>
                    <a:pt x="663528" y="99574"/>
                  </a:lnTo>
                  <a:lnTo>
                    <a:pt x="666900" y="106158"/>
                  </a:lnTo>
                  <a:lnTo>
                    <a:pt x="720860" y="71595"/>
                  </a:lnTo>
                  <a:lnTo>
                    <a:pt x="747839" y="106158"/>
                  </a:lnTo>
                  <a:lnTo>
                    <a:pt x="754584" y="97928"/>
                  </a:lnTo>
                  <a:lnTo>
                    <a:pt x="768074" y="91345"/>
                  </a:lnTo>
                  <a:lnTo>
                    <a:pt x="773133" y="69949"/>
                  </a:lnTo>
                  <a:lnTo>
                    <a:pt x="783250" y="63365"/>
                  </a:lnTo>
                  <a:lnTo>
                    <a:pt x="822033" y="96282"/>
                  </a:lnTo>
                  <a:lnTo>
                    <a:pt x="823719" y="84761"/>
                  </a:lnTo>
                  <a:lnTo>
                    <a:pt x="843954" y="104512"/>
                  </a:lnTo>
                  <a:lnTo>
                    <a:pt x="857444" y="112741"/>
                  </a:lnTo>
                  <a:lnTo>
                    <a:pt x="860816" y="106158"/>
                  </a:lnTo>
                  <a:lnTo>
                    <a:pt x="870934" y="101220"/>
                  </a:lnTo>
                  <a:lnTo>
                    <a:pt x="874306" y="96282"/>
                  </a:lnTo>
                  <a:lnTo>
                    <a:pt x="882737" y="94637"/>
                  </a:lnTo>
                  <a:lnTo>
                    <a:pt x="884423" y="88053"/>
                  </a:lnTo>
                  <a:lnTo>
                    <a:pt x="891168" y="89699"/>
                  </a:lnTo>
                  <a:lnTo>
                    <a:pt x="902972" y="83116"/>
                  </a:lnTo>
                  <a:lnTo>
                    <a:pt x="916462" y="94637"/>
                  </a:lnTo>
                  <a:lnTo>
                    <a:pt x="921520" y="91345"/>
                  </a:lnTo>
                  <a:lnTo>
                    <a:pt x="924893" y="86407"/>
                  </a:lnTo>
                  <a:lnTo>
                    <a:pt x="931638" y="88053"/>
                  </a:lnTo>
                  <a:lnTo>
                    <a:pt x="941755" y="84761"/>
                  </a:lnTo>
                  <a:lnTo>
                    <a:pt x="950186" y="76532"/>
                  </a:lnTo>
                  <a:lnTo>
                    <a:pt x="948500" y="74886"/>
                  </a:lnTo>
                  <a:lnTo>
                    <a:pt x="941755" y="79824"/>
                  </a:lnTo>
                  <a:lnTo>
                    <a:pt x="936696" y="68303"/>
                  </a:lnTo>
                  <a:lnTo>
                    <a:pt x="950186" y="63365"/>
                  </a:lnTo>
                  <a:lnTo>
                    <a:pt x="948500" y="51844"/>
                  </a:lnTo>
                  <a:lnTo>
                    <a:pt x="951872" y="48552"/>
                  </a:lnTo>
                  <a:lnTo>
                    <a:pt x="950186" y="41969"/>
                  </a:lnTo>
                  <a:lnTo>
                    <a:pt x="973793" y="32094"/>
                  </a:lnTo>
                  <a:lnTo>
                    <a:pt x="980538" y="46906"/>
                  </a:lnTo>
                  <a:lnTo>
                    <a:pt x="973793" y="76532"/>
                  </a:lnTo>
                  <a:lnTo>
                    <a:pt x="985597" y="86407"/>
                  </a:lnTo>
                  <a:lnTo>
                    <a:pt x="967048" y="94637"/>
                  </a:lnTo>
                  <a:lnTo>
                    <a:pt x="933324" y="119324"/>
                  </a:lnTo>
                  <a:lnTo>
                    <a:pt x="928265" y="114387"/>
                  </a:lnTo>
                  <a:lnTo>
                    <a:pt x="924893" y="117679"/>
                  </a:lnTo>
                  <a:lnTo>
                    <a:pt x="926579" y="137429"/>
                  </a:lnTo>
                  <a:lnTo>
                    <a:pt x="940069" y="155534"/>
                  </a:lnTo>
                  <a:lnTo>
                    <a:pt x="921520" y="160471"/>
                  </a:lnTo>
                  <a:lnTo>
                    <a:pt x="928265" y="186805"/>
                  </a:lnTo>
                  <a:lnTo>
                    <a:pt x="928265" y="199972"/>
                  </a:lnTo>
                  <a:lnTo>
                    <a:pt x="914775" y="211493"/>
                  </a:lnTo>
                  <a:lnTo>
                    <a:pt x="886110" y="211493"/>
                  </a:lnTo>
                  <a:lnTo>
                    <a:pt x="889482" y="223014"/>
                  </a:lnTo>
                  <a:lnTo>
                    <a:pt x="886110" y="221368"/>
                  </a:lnTo>
                  <a:lnTo>
                    <a:pt x="884423" y="226306"/>
                  </a:lnTo>
                  <a:lnTo>
                    <a:pt x="892855" y="244410"/>
                  </a:lnTo>
                  <a:lnTo>
                    <a:pt x="901286" y="241118"/>
                  </a:lnTo>
                  <a:lnTo>
                    <a:pt x="904658" y="223014"/>
                  </a:lnTo>
                  <a:lnTo>
                    <a:pt x="911403" y="219722"/>
                  </a:lnTo>
                  <a:lnTo>
                    <a:pt x="911403" y="223014"/>
                  </a:lnTo>
                  <a:lnTo>
                    <a:pt x="914775" y="223014"/>
                  </a:lnTo>
                  <a:lnTo>
                    <a:pt x="914775" y="234535"/>
                  </a:lnTo>
                  <a:lnTo>
                    <a:pt x="906344" y="236181"/>
                  </a:lnTo>
                  <a:lnTo>
                    <a:pt x="902972" y="247702"/>
                  </a:lnTo>
                  <a:lnTo>
                    <a:pt x="911403" y="246056"/>
                  </a:lnTo>
                  <a:lnTo>
                    <a:pt x="945128" y="252639"/>
                  </a:lnTo>
                  <a:lnTo>
                    <a:pt x="933324" y="311891"/>
                  </a:lnTo>
                  <a:lnTo>
                    <a:pt x="921520" y="311891"/>
                  </a:lnTo>
                  <a:lnTo>
                    <a:pt x="894541" y="326704"/>
                  </a:lnTo>
                  <a:lnTo>
                    <a:pt x="891168" y="329995"/>
                  </a:lnTo>
                  <a:lnTo>
                    <a:pt x="875992" y="334933"/>
                  </a:lnTo>
                  <a:lnTo>
                    <a:pt x="865875" y="331641"/>
                  </a:lnTo>
                  <a:lnTo>
                    <a:pt x="816974" y="333287"/>
                  </a:lnTo>
                  <a:lnTo>
                    <a:pt x="795054" y="341516"/>
                  </a:lnTo>
                  <a:lnTo>
                    <a:pt x="796740" y="349746"/>
                  </a:lnTo>
                  <a:lnTo>
                    <a:pt x="783250" y="349746"/>
                  </a:lnTo>
                  <a:lnTo>
                    <a:pt x="768074" y="348100"/>
                  </a:lnTo>
                  <a:lnTo>
                    <a:pt x="742781" y="338224"/>
                  </a:lnTo>
                  <a:lnTo>
                    <a:pt x="736036" y="339870"/>
                  </a:lnTo>
                  <a:lnTo>
                    <a:pt x="725918" y="331641"/>
                  </a:lnTo>
                  <a:lnTo>
                    <a:pt x="700625" y="323412"/>
                  </a:lnTo>
                  <a:lnTo>
                    <a:pt x="692194" y="325057"/>
                  </a:lnTo>
                  <a:lnTo>
                    <a:pt x="682076" y="321766"/>
                  </a:lnTo>
                  <a:lnTo>
                    <a:pt x="665214" y="323412"/>
                  </a:lnTo>
                  <a:lnTo>
                    <a:pt x="658469" y="326704"/>
                  </a:lnTo>
                  <a:lnTo>
                    <a:pt x="651724" y="338224"/>
                  </a:lnTo>
                  <a:lnTo>
                    <a:pt x="648352" y="357975"/>
                  </a:lnTo>
                  <a:lnTo>
                    <a:pt x="650038" y="367850"/>
                  </a:lnTo>
                  <a:lnTo>
                    <a:pt x="646666" y="371142"/>
                  </a:lnTo>
                  <a:lnTo>
                    <a:pt x="648352" y="395830"/>
                  </a:lnTo>
                  <a:lnTo>
                    <a:pt x="643293" y="395830"/>
                  </a:lnTo>
                  <a:lnTo>
                    <a:pt x="623059" y="389246"/>
                  </a:lnTo>
                  <a:lnTo>
                    <a:pt x="599452" y="377725"/>
                  </a:lnTo>
                  <a:lnTo>
                    <a:pt x="585962" y="361266"/>
                  </a:lnTo>
                  <a:lnTo>
                    <a:pt x="574158" y="341516"/>
                  </a:lnTo>
                  <a:lnTo>
                    <a:pt x="467926" y="338224"/>
                  </a:lnTo>
                  <a:lnTo>
                    <a:pt x="457808" y="334933"/>
                  </a:lnTo>
                  <a:lnTo>
                    <a:pt x="430829" y="320120"/>
                  </a:lnTo>
                  <a:lnTo>
                    <a:pt x="417339" y="306953"/>
                  </a:lnTo>
                  <a:lnTo>
                    <a:pt x="410594" y="282265"/>
                  </a:lnTo>
                  <a:lnTo>
                    <a:pt x="393732" y="255931"/>
                  </a:lnTo>
                  <a:lnTo>
                    <a:pt x="333028" y="208201"/>
                  </a:lnTo>
                  <a:lnTo>
                    <a:pt x="321224" y="204910"/>
                  </a:lnTo>
                  <a:lnTo>
                    <a:pt x="319538" y="195034"/>
                  </a:lnTo>
                  <a:lnTo>
                    <a:pt x="312793" y="186805"/>
                  </a:lnTo>
                  <a:lnTo>
                    <a:pt x="284128" y="173638"/>
                  </a:lnTo>
                  <a:lnTo>
                    <a:pt x="236913" y="163763"/>
                  </a:lnTo>
                  <a:lnTo>
                    <a:pt x="236913" y="165409"/>
                  </a:lnTo>
                  <a:lnTo>
                    <a:pt x="228482" y="162117"/>
                  </a:lnTo>
                  <a:lnTo>
                    <a:pt x="220051" y="183513"/>
                  </a:lnTo>
                  <a:lnTo>
                    <a:pt x="220051" y="193389"/>
                  </a:lnTo>
                  <a:lnTo>
                    <a:pt x="206561" y="170346"/>
                  </a:lnTo>
                  <a:lnTo>
                    <a:pt x="188013" y="167055"/>
                  </a:lnTo>
                  <a:lnTo>
                    <a:pt x="172837" y="168700"/>
                  </a:lnTo>
                  <a:lnTo>
                    <a:pt x="56487" y="206555"/>
                  </a:lnTo>
                  <a:lnTo>
                    <a:pt x="58173" y="206555"/>
                  </a:lnTo>
                  <a:lnTo>
                    <a:pt x="53115" y="203264"/>
                  </a:lnTo>
                  <a:lnTo>
                    <a:pt x="56487" y="206555"/>
                  </a:lnTo>
                  <a:lnTo>
                    <a:pt x="53115" y="206555"/>
                  </a:lnTo>
                  <a:lnTo>
                    <a:pt x="53115" y="208201"/>
                  </a:lnTo>
                  <a:lnTo>
                    <a:pt x="44684" y="195034"/>
                  </a:lnTo>
                  <a:lnTo>
                    <a:pt x="53115" y="176930"/>
                  </a:lnTo>
                  <a:lnTo>
                    <a:pt x="48056" y="168700"/>
                  </a:lnTo>
                  <a:lnTo>
                    <a:pt x="49742" y="165409"/>
                  </a:lnTo>
                  <a:lnTo>
                    <a:pt x="34566" y="167055"/>
                  </a:lnTo>
                  <a:lnTo>
                    <a:pt x="37939" y="181867"/>
                  </a:lnTo>
                  <a:lnTo>
                    <a:pt x="34566" y="185159"/>
                  </a:lnTo>
                  <a:lnTo>
                    <a:pt x="32880" y="183513"/>
                  </a:lnTo>
                  <a:lnTo>
                    <a:pt x="14331" y="127554"/>
                  </a:lnTo>
                  <a:lnTo>
                    <a:pt x="5900" y="114387"/>
                  </a:lnTo>
                  <a:lnTo>
                    <a:pt x="4214" y="104512"/>
                  </a:lnTo>
                  <a:lnTo>
                    <a:pt x="5900" y="96282"/>
                  </a:lnTo>
                  <a:lnTo>
                    <a:pt x="14331" y="76532"/>
                  </a:lnTo>
                  <a:lnTo>
                    <a:pt x="19390" y="71595"/>
                  </a:lnTo>
                  <a:lnTo>
                    <a:pt x="32880" y="71595"/>
                  </a:lnTo>
                  <a:lnTo>
                    <a:pt x="19390" y="83116"/>
                  </a:lnTo>
                  <a:lnTo>
                    <a:pt x="14331" y="102866"/>
                  </a:lnTo>
                  <a:lnTo>
                    <a:pt x="16018" y="114387"/>
                  </a:lnTo>
                  <a:lnTo>
                    <a:pt x="21076" y="125908"/>
                  </a:lnTo>
                  <a:lnTo>
                    <a:pt x="22763" y="137429"/>
                  </a:lnTo>
                  <a:lnTo>
                    <a:pt x="29507" y="145658"/>
                  </a:lnTo>
                  <a:lnTo>
                    <a:pt x="36252" y="140721"/>
                  </a:lnTo>
                  <a:lnTo>
                    <a:pt x="32880" y="125908"/>
                  </a:lnTo>
                  <a:lnTo>
                    <a:pt x="36252" y="117679"/>
                  </a:lnTo>
                  <a:lnTo>
                    <a:pt x="51428" y="94637"/>
                  </a:lnTo>
                  <a:lnTo>
                    <a:pt x="56487" y="91345"/>
                  </a:lnTo>
                  <a:lnTo>
                    <a:pt x="59860" y="92991"/>
                  </a:lnTo>
                  <a:lnTo>
                    <a:pt x="61546" y="107803"/>
                  </a:lnTo>
                  <a:lnTo>
                    <a:pt x="48056" y="132492"/>
                  </a:lnTo>
                  <a:lnTo>
                    <a:pt x="34566" y="145658"/>
                  </a:lnTo>
                  <a:lnTo>
                    <a:pt x="32880" y="155534"/>
                  </a:lnTo>
                  <a:lnTo>
                    <a:pt x="53115" y="155534"/>
                  </a:lnTo>
                  <a:lnTo>
                    <a:pt x="68291" y="134137"/>
                  </a:lnTo>
                  <a:lnTo>
                    <a:pt x="64918" y="130845"/>
                  </a:lnTo>
                  <a:lnTo>
                    <a:pt x="58173" y="132492"/>
                  </a:lnTo>
                  <a:lnTo>
                    <a:pt x="56487" y="127554"/>
                  </a:lnTo>
                  <a:lnTo>
                    <a:pt x="75036" y="104512"/>
                  </a:lnTo>
                  <a:lnTo>
                    <a:pt x="80094" y="104512"/>
                  </a:lnTo>
                  <a:lnTo>
                    <a:pt x="83467" y="109449"/>
                  </a:lnTo>
                  <a:lnTo>
                    <a:pt x="88525" y="107803"/>
                  </a:lnTo>
                  <a:lnTo>
                    <a:pt x="86839" y="101220"/>
                  </a:lnTo>
                  <a:lnTo>
                    <a:pt x="76722" y="97928"/>
                  </a:lnTo>
                  <a:lnTo>
                    <a:pt x="75036" y="86407"/>
                  </a:lnTo>
                  <a:lnTo>
                    <a:pt x="80094" y="66657"/>
                  </a:lnTo>
                  <a:lnTo>
                    <a:pt x="90212" y="50198"/>
                  </a:lnTo>
                  <a:lnTo>
                    <a:pt x="85153" y="46906"/>
                  </a:lnTo>
                  <a:lnTo>
                    <a:pt x="81780" y="50198"/>
                  </a:lnTo>
                  <a:lnTo>
                    <a:pt x="75036" y="51844"/>
                  </a:lnTo>
                  <a:lnTo>
                    <a:pt x="64918" y="46906"/>
                  </a:lnTo>
                  <a:lnTo>
                    <a:pt x="49742" y="46906"/>
                  </a:lnTo>
                  <a:lnTo>
                    <a:pt x="36252" y="60074"/>
                  </a:lnTo>
                  <a:lnTo>
                    <a:pt x="31194" y="58428"/>
                  </a:lnTo>
                  <a:lnTo>
                    <a:pt x="34566" y="58428"/>
                  </a:lnTo>
                  <a:lnTo>
                    <a:pt x="36252" y="55136"/>
                  </a:lnTo>
                  <a:lnTo>
                    <a:pt x="32880" y="53490"/>
                  </a:lnTo>
                  <a:lnTo>
                    <a:pt x="32880" y="56782"/>
                  </a:lnTo>
                  <a:lnTo>
                    <a:pt x="31194" y="53490"/>
                  </a:lnTo>
                  <a:lnTo>
                    <a:pt x="34566" y="50198"/>
                  </a:lnTo>
                  <a:lnTo>
                    <a:pt x="32880" y="53490"/>
                  </a:lnTo>
                  <a:lnTo>
                    <a:pt x="36252" y="53490"/>
                  </a:lnTo>
                  <a:lnTo>
                    <a:pt x="41311" y="46906"/>
                  </a:lnTo>
                  <a:lnTo>
                    <a:pt x="39625" y="41969"/>
                  </a:lnTo>
                  <a:lnTo>
                    <a:pt x="51428" y="37031"/>
                  </a:lnTo>
                  <a:lnTo>
                    <a:pt x="53115" y="41969"/>
                  </a:lnTo>
                  <a:lnTo>
                    <a:pt x="73349" y="38677"/>
                  </a:lnTo>
                  <a:lnTo>
                    <a:pt x="96957" y="41969"/>
                  </a:lnTo>
                  <a:lnTo>
                    <a:pt x="117191" y="37031"/>
                  </a:lnTo>
                  <a:lnTo>
                    <a:pt x="130681" y="40323"/>
                  </a:lnTo>
                  <a:lnTo>
                    <a:pt x="139112" y="18927"/>
                  </a:lnTo>
                  <a:lnTo>
                    <a:pt x="211620" y="45261"/>
                  </a:lnTo>
                  <a:lnTo>
                    <a:pt x="231855" y="28802"/>
                  </a:lnTo>
                  <a:lnTo>
                    <a:pt x="257148" y="4114"/>
                  </a:lnTo>
                  <a:lnTo>
                    <a:pt x="268951" y="12344"/>
                  </a:lnTo>
                  <a:lnTo>
                    <a:pt x="267265" y="15635"/>
                  </a:lnTo>
                  <a:lnTo>
                    <a:pt x="274010" y="27156"/>
                  </a:lnTo>
                  <a:lnTo>
                    <a:pt x="297617" y="3867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4" name="Rucphen">
              <a:extLst>
                <a:ext uri="{FF2B5EF4-FFF2-40B4-BE49-F238E27FC236}">
                  <a16:creationId xmlns:a16="http://schemas.microsoft.com/office/drawing/2014/main" id="{000B51A9-30BE-48D8-A567-4515567037C1}"/>
                </a:ext>
              </a:extLst>
            </p:cNvPr>
            <p:cNvSpPr/>
            <p:nvPr/>
          </p:nvSpPr>
          <p:spPr>
            <a:xfrm>
              <a:off x="5265688" y="4369786"/>
              <a:ext cx="176434" cy="146570"/>
            </a:xfrm>
            <a:custGeom>
              <a:avLst/>
              <a:gdLst/>
              <a:ahLst/>
              <a:cxnLst/>
              <a:rect l="l" t="t" r="r" b="b"/>
              <a:pathLst>
                <a:path w="245871" h="228600" extrusionOk="0">
                  <a:moveTo>
                    <a:pt x="76722" y="9052"/>
                  </a:moveTo>
                  <a:lnTo>
                    <a:pt x="86839" y="10697"/>
                  </a:lnTo>
                  <a:lnTo>
                    <a:pt x="73349" y="35385"/>
                  </a:lnTo>
                  <a:lnTo>
                    <a:pt x="73349" y="43615"/>
                  </a:lnTo>
                  <a:lnTo>
                    <a:pt x="76722" y="50198"/>
                  </a:lnTo>
                  <a:lnTo>
                    <a:pt x="98643" y="45260"/>
                  </a:lnTo>
                  <a:lnTo>
                    <a:pt x="100329" y="40323"/>
                  </a:lnTo>
                  <a:lnTo>
                    <a:pt x="103702" y="43615"/>
                  </a:lnTo>
                  <a:lnTo>
                    <a:pt x="155974" y="27156"/>
                  </a:lnTo>
                  <a:lnTo>
                    <a:pt x="155974" y="25510"/>
                  </a:lnTo>
                  <a:lnTo>
                    <a:pt x="161033" y="27156"/>
                  </a:lnTo>
                  <a:lnTo>
                    <a:pt x="171151" y="23864"/>
                  </a:lnTo>
                  <a:lnTo>
                    <a:pt x="171151" y="25510"/>
                  </a:lnTo>
                  <a:lnTo>
                    <a:pt x="186327" y="28802"/>
                  </a:lnTo>
                  <a:lnTo>
                    <a:pt x="198130" y="40323"/>
                  </a:lnTo>
                  <a:lnTo>
                    <a:pt x="221737" y="45260"/>
                  </a:lnTo>
                  <a:lnTo>
                    <a:pt x="223423" y="56781"/>
                  </a:lnTo>
                  <a:lnTo>
                    <a:pt x="225110" y="55136"/>
                  </a:lnTo>
                  <a:lnTo>
                    <a:pt x="228482" y="58427"/>
                  </a:lnTo>
                  <a:lnTo>
                    <a:pt x="230168" y="56781"/>
                  </a:lnTo>
                  <a:lnTo>
                    <a:pt x="231855" y="65011"/>
                  </a:lnTo>
                  <a:lnTo>
                    <a:pt x="238599" y="68302"/>
                  </a:lnTo>
                  <a:lnTo>
                    <a:pt x="245344" y="66657"/>
                  </a:lnTo>
                  <a:lnTo>
                    <a:pt x="241972" y="112741"/>
                  </a:lnTo>
                  <a:lnTo>
                    <a:pt x="230168" y="114387"/>
                  </a:lnTo>
                  <a:lnTo>
                    <a:pt x="221737" y="120970"/>
                  </a:lnTo>
                  <a:lnTo>
                    <a:pt x="223423" y="125908"/>
                  </a:lnTo>
                  <a:lnTo>
                    <a:pt x="213306" y="132491"/>
                  </a:lnTo>
                  <a:lnTo>
                    <a:pt x="214992" y="145658"/>
                  </a:lnTo>
                  <a:lnTo>
                    <a:pt x="209934" y="145658"/>
                  </a:lnTo>
                  <a:lnTo>
                    <a:pt x="208247" y="152242"/>
                  </a:lnTo>
                  <a:lnTo>
                    <a:pt x="206561" y="148950"/>
                  </a:lnTo>
                  <a:lnTo>
                    <a:pt x="199816" y="150596"/>
                  </a:lnTo>
                  <a:lnTo>
                    <a:pt x="150916" y="144012"/>
                  </a:lnTo>
                  <a:lnTo>
                    <a:pt x="166092" y="178575"/>
                  </a:lnTo>
                  <a:lnTo>
                    <a:pt x="157661" y="180221"/>
                  </a:lnTo>
                  <a:lnTo>
                    <a:pt x="145857" y="188451"/>
                  </a:lnTo>
                  <a:lnTo>
                    <a:pt x="142485" y="198326"/>
                  </a:lnTo>
                  <a:lnTo>
                    <a:pt x="144171" y="198326"/>
                  </a:lnTo>
                  <a:lnTo>
                    <a:pt x="139112" y="211493"/>
                  </a:lnTo>
                  <a:lnTo>
                    <a:pt x="113819" y="204909"/>
                  </a:lnTo>
                  <a:lnTo>
                    <a:pt x="102015" y="234535"/>
                  </a:lnTo>
                  <a:lnTo>
                    <a:pt x="86839" y="211493"/>
                  </a:lnTo>
                  <a:lnTo>
                    <a:pt x="7587" y="223014"/>
                  </a:lnTo>
                  <a:lnTo>
                    <a:pt x="4214" y="214784"/>
                  </a:lnTo>
                  <a:lnTo>
                    <a:pt x="4214" y="213138"/>
                  </a:lnTo>
                  <a:lnTo>
                    <a:pt x="16018" y="209847"/>
                  </a:lnTo>
                  <a:lnTo>
                    <a:pt x="12645" y="199972"/>
                  </a:lnTo>
                  <a:lnTo>
                    <a:pt x="26135" y="163763"/>
                  </a:lnTo>
                  <a:lnTo>
                    <a:pt x="22763" y="148950"/>
                  </a:lnTo>
                  <a:lnTo>
                    <a:pt x="31194" y="129199"/>
                  </a:lnTo>
                  <a:lnTo>
                    <a:pt x="51429" y="125908"/>
                  </a:lnTo>
                  <a:lnTo>
                    <a:pt x="49742" y="117678"/>
                  </a:lnTo>
                  <a:lnTo>
                    <a:pt x="53115" y="117678"/>
                  </a:lnTo>
                  <a:lnTo>
                    <a:pt x="56487" y="107803"/>
                  </a:lnTo>
                  <a:lnTo>
                    <a:pt x="59860" y="107803"/>
                  </a:lnTo>
                  <a:lnTo>
                    <a:pt x="63232" y="92991"/>
                  </a:lnTo>
                  <a:lnTo>
                    <a:pt x="64918" y="66657"/>
                  </a:lnTo>
                  <a:lnTo>
                    <a:pt x="53115" y="65011"/>
                  </a:lnTo>
                  <a:lnTo>
                    <a:pt x="51429" y="68302"/>
                  </a:lnTo>
                  <a:lnTo>
                    <a:pt x="46370" y="63365"/>
                  </a:lnTo>
                  <a:lnTo>
                    <a:pt x="41311" y="65011"/>
                  </a:lnTo>
                  <a:lnTo>
                    <a:pt x="27821" y="61719"/>
                  </a:lnTo>
                  <a:lnTo>
                    <a:pt x="26135" y="56781"/>
                  </a:lnTo>
                  <a:lnTo>
                    <a:pt x="32880" y="15635"/>
                  </a:lnTo>
                  <a:lnTo>
                    <a:pt x="36252" y="17281"/>
                  </a:lnTo>
                  <a:lnTo>
                    <a:pt x="37939" y="9052"/>
                  </a:lnTo>
                  <a:lnTo>
                    <a:pt x="42997" y="10697"/>
                  </a:lnTo>
                  <a:lnTo>
                    <a:pt x="44684" y="4114"/>
                  </a:lnTo>
                  <a:lnTo>
                    <a:pt x="76722"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5" name="Boxmeer">
              <a:extLst>
                <a:ext uri="{FF2B5EF4-FFF2-40B4-BE49-F238E27FC236}">
                  <a16:creationId xmlns:a16="http://schemas.microsoft.com/office/drawing/2014/main" id="{1E58451E-C1DB-44EC-BF74-FC85AFCDDE7D}"/>
                </a:ext>
              </a:extLst>
            </p:cNvPr>
            <p:cNvSpPr/>
            <p:nvPr/>
          </p:nvSpPr>
          <p:spPr>
            <a:xfrm>
              <a:off x="6723770" y="4131922"/>
              <a:ext cx="213581" cy="262955"/>
            </a:xfrm>
            <a:custGeom>
              <a:avLst/>
              <a:gdLst/>
              <a:ahLst/>
              <a:cxnLst/>
              <a:rect l="l" t="t" r="r" b="b"/>
              <a:pathLst>
                <a:path w="304412" h="400050" extrusionOk="0">
                  <a:moveTo>
                    <a:pt x="132367" y="7405"/>
                  </a:moveTo>
                  <a:lnTo>
                    <a:pt x="149230" y="13989"/>
                  </a:lnTo>
                  <a:lnTo>
                    <a:pt x="157661" y="23864"/>
                  </a:lnTo>
                  <a:lnTo>
                    <a:pt x="157661" y="45260"/>
                  </a:lnTo>
                  <a:lnTo>
                    <a:pt x="171151" y="97928"/>
                  </a:lnTo>
                  <a:lnTo>
                    <a:pt x="169464" y="139075"/>
                  </a:lnTo>
                  <a:lnTo>
                    <a:pt x="174523" y="163763"/>
                  </a:lnTo>
                  <a:lnTo>
                    <a:pt x="186326" y="176930"/>
                  </a:lnTo>
                  <a:lnTo>
                    <a:pt x="198130" y="181867"/>
                  </a:lnTo>
                  <a:lnTo>
                    <a:pt x="220051" y="195034"/>
                  </a:lnTo>
                  <a:lnTo>
                    <a:pt x="255462" y="229597"/>
                  </a:lnTo>
                  <a:lnTo>
                    <a:pt x="262207" y="237827"/>
                  </a:lnTo>
                  <a:lnTo>
                    <a:pt x="265579" y="288848"/>
                  </a:lnTo>
                  <a:lnTo>
                    <a:pt x="268951" y="297078"/>
                  </a:lnTo>
                  <a:lnTo>
                    <a:pt x="287500" y="321765"/>
                  </a:lnTo>
                  <a:lnTo>
                    <a:pt x="289186" y="329995"/>
                  </a:lnTo>
                  <a:lnTo>
                    <a:pt x="285814" y="356329"/>
                  </a:lnTo>
                  <a:lnTo>
                    <a:pt x="290872" y="369496"/>
                  </a:lnTo>
                  <a:lnTo>
                    <a:pt x="302676" y="384308"/>
                  </a:lnTo>
                  <a:lnTo>
                    <a:pt x="299303" y="385954"/>
                  </a:lnTo>
                  <a:lnTo>
                    <a:pt x="297617" y="382662"/>
                  </a:lnTo>
                  <a:lnTo>
                    <a:pt x="294245" y="382662"/>
                  </a:lnTo>
                  <a:lnTo>
                    <a:pt x="295931" y="385954"/>
                  </a:lnTo>
                  <a:lnTo>
                    <a:pt x="290872" y="387600"/>
                  </a:lnTo>
                  <a:lnTo>
                    <a:pt x="285814" y="384308"/>
                  </a:lnTo>
                  <a:lnTo>
                    <a:pt x="280755" y="385954"/>
                  </a:lnTo>
                  <a:lnTo>
                    <a:pt x="279069" y="387600"/>
                  </a:lnTo>
                  <a:lnTo>
                    <a:pt x="280755" y="390892"/>
                  </a:lnTo>
                  <a:lnTo>
                    <a:pt x="277383" y="399121"/>
                  </a:lnTo>
                  <a:lnTo>
                    <a:pt x="255462" y="372787"/>
                  </a:lnTo>
                  <a:lnTo>
                    <a:pt x="233541" y="356329"/>
                  </a:lnTo>
                  <a:lnTo>
                    <a:pt x="191385" y="377725"/>
                  </a:lnTo>
                  <a:lnTo>
                    <a:pt x="128995" y="397475"/>
                  </a:lnTo>
                  <a:lnTo>
                    <a:pt x="83467" y="400767"/>
                  </a:lnTo>
                  <a:lnTo>
                    <a:pt x="59860" y="381017"/>
                  </a:lnTo>
                  <a:lnTo>
                    <a:pt x="29507" y="376079"/>
                  </a:lnTo>
                  <a:lnTo>
                    <a:pt x="29507" y="349745"/>
                  </a:lnTo>
                  <a:lnTo>
                    <a:pt x="41311" y="343162"/>
                  </a:lnTo>
                  <a:lnTo>
                    <a:pt x="37939" y="338224"/>
                  </a:lnTo>
                  <a:lnTo>
                    <a:pt x="63232" y="325057"/>
                  </a:lnTo>
                  <a:lnTo>
                    <a:pt x="59860" y="321765"/>
                  </a:lnTo>
                  <a:lnTo>
                    <a:pt x="64918" y="318474"/>
                  </a:lnTo>
                  <a:lnTo>
                    <a:pt x="64918" y="316828"/>
                  </a:lnTo>
                  <a:lnTo>
                    <a:pt x="73349" y="311890"/>
                  </a:lnTo>
                  <a:lnTo>
                    <a:pt x="78408" y="316828"/>
                  </a:lnTo>
                  <a:lnTo>
                    <a:pt x="122250" y="292140"/>
                  </a:lnTo>
                  <a:lnTo>
                    <a:pt x="120564" y="285557"/>
                  </a:lnTo>
                  <a:lnTo>
                    <a:pt x="127309" y="282265"/>
                  </a:lnTo>
                  <a:lnTo>
                    <a:pt x="125622" y="278973"/>
                  </a:lnTo>
                  <a:lnTo>
                    <a:pt x="149230" y="265806"/>
                  </a:lnTo>
                  <a:lnTo>
                    <a:pt x="135740" y="257577"/>
                  </a:lnTo>
                  <a:lnTo>
                    <a:pt x="127309" y="246056"/>
                  </a:lnTo>
                  <a:lnTo>
                    <a:pt x="112132" y="206555"/>
                  </a:lnTo>
                  <a:lnTo>
                    <a:pt x="66605" y="178575"/>
                  </a:lnTo>
                  <a:lnTo>
                    <a:pt x="61546" y="181867"/>
                  </a:lnTo>
                  <a:lnTo>
                    <a:pt x="56487" y="175284"/>
                  </a:lnTo>
                  <a:lnTo>
                    <a:pt x="46370" y="171992"/>
                  </a:lnTo>
                  <a:lnTo>
                    <a:pt x="46370" y="175284"/>
                  </a:lnTo>
                  <a:lnTo>
                    <a:pt x="39625" y="176930"/>
                  </a:lnTo>
                  <a:lnTo>
                    <a:pt x="37939" y="180221"/>
                  </a:lnTo>
                  <a:lnTo>
                    <a:pt x="29507" y="178575"/>
                  </a:lnTo>
                  <a:lnTo>
                    <a:pt x="29507" y="160471"/>
                  </a:lnTo>
                  <a:lnTo>
                    <a:pt x="34566" y="157179"/>
                  </a:lnTo>
                  <a:lnTo>
                    <a:pt x="4214" y="135783"/>
                  </a:lnTo>
                  <a:lnTo>
                    <a:pt x="10959" y="125908"/>
                  </a:lnTo>
                  <a:lnTo>
                    <a:pt x="7587" y="120970"/>
                  </a:lnTo>
                  <a:lnTo>
                    <a:pt x="12645" y="114387"/>
                  </a:lnTo>
                  <a:lnTo>
                    <a:pt x="32880" y="99574"/>
                  </a:lnTo>
                  <a:lnTo>
                    <a:pt x="39625" y="97928"/>
                  </a:lnTo>
                  <a:lnTo>
                    <a:pt x="44684" y="101220"/>
                  </a:lnTo>
                  <a:lnTo>
                    <a:pt x="64918" y="88053"/>
                  </a:lnTo>
                  <a:lnTo>
                    <a:pt x="71663" y="79823"/>
                  </a:lnTo>
                  <a:lnTo>
                    <a:pt x="63232" y="71594"/>
                  </a:lnTo>
                  <a:lnTo>
                    <a:pt x="85153" y="43615"/>
                  </a:lnTo>
                  <a:lnTo>
                    <a:pt x="95270" y="37031"/>
                  </a:lnTo>
                  <a:lnTo>
                    <a:pt x="102015" y="25510"/>
                  </a:lnTo>
                  <a:lnTo>
                    <a:pt x="113819" y="20573"/>
                  </a:lnTo>
                  <a:lnTo>
                    <a:pt x="118878" y="10697"/>
                  </a:lnTo>
                  <a:lnTo>
                    <a:pt x="123936" y="7405"/>
                  </a:lnTo>
                  <a:lnTo>
                    <a:pt x="122250" y="4114"/>
                  </a:lnTo>
                  <a:lnTo>
                    <a:pt x="132367"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6" name="Rijssen-Holten">
              <a:extLst>
                <a:ext uri="{FF2B5EF4-FFF2-40B4-BE49-F238E27FC236}">
                  <a16:creationId xmlns:a16="http://schemas.microsoft.com/office/drawing/2014/main" id="{2B8AAE34-F6D9-4741-A19D-DDC7B9936056}"/>
                </a:ext>
              </a:extLst>
            </p:cNvPr>
            <p:cNvSpPr/>
            <p:nvPr/>
          </p:nvSpPr>
          <p:spPr>
            <a:xfrm>
              <a:off x="7209628" y="3150542"/>
              <a:ext cx="248387" cy="132285"/>
            </a:xfrm>
            <a:custGeom>
              <a:avLst/>
              <a:gdLst/>
              <a:ahLst/>
              <a:cxnLst/>
              <a:rect l="l" t="t" r="r" b="b"/>
              <a:pathLst>
                <a:path w="351245" h="205740" extrusionOk="0">
                  <a:moveTo>
                    <a:pt x="218365" y="4114"/>
                  </a:moveTo>
                  <a:lnTo>
                    <a:pt x="265579" y="9052"/>
                  </a:lnTo>
                  <a:lnTo>
                    <a:pt x="294245" y="5760"/>
                  </a:lnTo>
                  <a:lnTo>
                    <a:pt x="300989" y="9052"/>
                  </a:lnTo>
                  <a:lnTo>
                    <a:pt x="304362" y="4114"/>
                  </a:lnTo>
                  <a:lnTo>
                    <a:pt x="316166" y="25510"/>
                  </a:lnTo>
                  <a:lnTo>
                    <a:pt x="321224" y="27156"/>
                  </a:lnTo>
                  <a:lnTo>
                    <a:pt x="326283" y="27156"/>
                  </a:lnTo>
                  <a:lnTo>
                    <a:pt x="334714" y="20573"/>
                  </a:lnTo>
                  <a:lnTo>
                    <a:pt x="344832" y="45261"/>
                  </a:lnTo>
                  <a:lnTo>
                    <a:pt x="348204" y="71595"/>
                  </a:lnTo>
                  <a:lnTo>
                    <a:pt x="343145" y="94637"/>
                  </a:lnTo>
                  <a:lnTo>
                    <a:pt x="349890" y="106158"/>
                  </a:lnTo>
                  <a:lnTo>
                    <a:pt x="331342" y="107803"/>
                  </a:lnTo>
                  <a:lnTo>
                    <a:pt x="307734" y="106158"/>
                  </a:lnTo>
                  <a:lnTo>
                    <a:pt x="294245" y="107803"/>
                  </a:lnTo>
                  <a:lnTo>
                    <a:pt x="245344" y="127554"/>
                  </a:lnTo>
                  <a:lnTo>
                    <a:pt x="225110" y="140721"/>
                  </a:lnTo>
                  <a:lnTo>
                    <a:pt x="225110" y="145658"/>
                  </a:lnTo>
                  <a:lnTo>
                    <a:pt x="211620" y="155534"/>
                  </a:lnTo>
                  <a:lnTo>
                    <a:pt x="162719" y="185159"/>
                  </a:lnTo>
                  <a:lnTo>
                    <a:pt x="166092" y="186805"/>
                  </a:lnTo>
                  <a:lnTo>
                    <a:pt x="161033" y="193389"/>
                  </a:lnTo>
                  <a:lnTo>
                    <a:pt x="157661" y="191742"/>
                  </a:lnTo>
                  <a:lnTo>
                    <a:pt x="142485" y="208201"/>
                  </a:lnTo>
                  <a:lnTo>
                    <a:pt x="122250" y="204910"/>
                  </a:lnTo>
                  <a:lnTo>
                    <a:pt x="102015" y="208201"/>
                  </a:lnTo>
                  <a:lnTo>
                    <a:pt x="91898" y="204910"/>
                  </a:lnTo>
                  <a:lnTo>
                    <a:pt x="88525" y="196680"/>
                  </a:lnTo>
                  <a:lnTo>
                    <a:pt x="81780" y="190097"/>
                  </a:lnTo>
                  <a:lnTo>
                    <a:pt x="83467" y="180221"/>
                  </a:lnTo>
                  <a:lnTo>
                    <a:pt x="78408" y="175284"/>
                  </a:lnTo>
                  <a:lnTo>
                    <a:pt x="83467" y="173638"/>
                  </a:lnTo>
                  <a:lnTo>
                    <a:pt x="83467" y="168700"/>
                  </a:lnTo>
                  <a:lnTo>
                    <a:pt x="76722" y="163763"/>
                  </a:lnTo>
                  <a:lnTo>
                    <a:pt x="73349" y="165409"/>
                  </a:lnTo>
                  <a:lnTo>
                    <a:pt x="51428" y="147304"/>
                  </a:lnTo>
                  <a:lnTo>
                    <a:pt x="49742" y="148950"/>
                  </a:lnTo>
                  <a:lnTo>
                    <a:pt x="44684" y="145658"/>
                  </a:lnTo>
                  <a:lnTo>
                    <a:pt x="48056" y="144013"/>
                  </a:lnTo>
                  <a:lnTo>
                    <a:pt x="44684" y="140721"/>
                  </a:lnTo>
                  <a:lnTo>
                    <a:pt x="42997" y="144013"/>
                  </a:lnTo>
                  <a:lnTo>
                    <a:pt x="39625" y="142367"/>
                  </a:lnTo>
                  <a:lnTo>
                    <a:pt x="41311" y="137429"/>
                  </a:lnTo>
                  <a:lnTo>
                    <a:pt x="9273" y="116033"/>
                  </a:lnTo>
                  <a:lnTo>
                    <a:pt x="4214" y="66657"/>
                  </a:lnTo>
                  <a:lnTo>
                    <a:pt x="48056" y="25510"/>
                  </a:lnTo>
                  <a:lnTo>
                    <a:pt x="147543" y="5760"/>
                  </a:lnTo>
                  <a:lnTo>
                    <a:pt x="208247" y="18927"/>
                  </a:lnTo>
                  <a:lnTo>
                    <a:pt x="21836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7" name="Amstelveen">
              <a:extLst>
                <a:ext uri="{FF2B5EF4-FFF2-40B4-BE49-F238E27FC236}">
                  <a16:creationId xmlns:a16="http://schemas.microsoft.com/office/drawing/2014/main" id="{B04A2061-B186-4DD8-95F5-05099ECDBB11}"/>
                </a:ext>
              </a:extLst>
            </p:cNvPr>
            <p:cNvSpPr/>
            <p:nvPr/>
          </p:nvSpPr>
          <p:spPr>
            <a:xfrm>
              <a:off x="5607787" y="3149454"/>
              <a:ext cx="119923" cy="141750"/>
            </a:xfrm>
            <a:custGeom>
              <a:avLst/>
              <a:gdLst/>
              <a:ahLst/>
              <a:cxnLst/>
              <a:rect l="l" t="t" r="r" b="b"/>
              <a:pathLst>
                <a:path w="175622" h="217170" extrusionOk="0">
                  <a:moveTo>
                    <a:pt x="98643" y="4114"/>
                  </a:moveTo>
                  <a:lnTo>
                    <a:pt x="100329" y="25510"/>
                  </a:lnTo>
                  <a:lnTo>
                    <a:pt x="159347" y="23864"/>
                  </a:lnTo>
                  <a:lnTo>
                    <a:pt x="169464" y="27156"/>
                  </a:lnTo>
                  <a:lnTo>
                    <a:pt x="179582" y="35385"/>
                  </a:lnTo>
                  <a:lnTo>
                    <a:pt x="172836" y="40323"/>
                  </a:lnTo>
                  <a:lnTo>
                    <a:pt x="172836" y="51844"/>
                  </a:lnTo>
                  <a:lnTo>
                    <a:pt x="176209" y="63365"/>
                  </a:lnTo>
                  <a:lnTo>
                    <a:pt x="162719" y="78178"/>
                  </a:lnTo>
                  <a:lnTo>
                    <a:pt x="166092" y="88053"/>
                  </a:lnTo>
                  <a:lnTo>
                    <a:pt x="152602" y="91345"/>
                  </a:lnTo>
                  <a:lnTo>
                    <a:pt x="150916" y="99574"/>
                  </a:lnTo>
                  <a:lnTo>
                    <a:pt x="144171" y="102866"/>
                  </a:lnTo>
                  <a:lnTo>
                    <a:pt x="149230" y="107803"/>
                  </a:lnTo>
                  <a:lnTo>
                    <a:pt x="142484" y="111095"/>
                  </a:lnTo>
                  <a:lnTo>
                    <a:pt x="132367" y="127554"/>
                  </a:lnTo>
                  <a:lnTo>
                    <a:pt x="135740" y="139075"/>
                  </a:lnTo>
                  <a:lnTo>
                    <a:pt x="132367" y="157179"/>
                  </a:lnTo>
                  <a:lnTo>
                    <a:pt x="137426" y="165409"/>
                  </a:lnTo>
                  <a:lnTo>
                    <a:pt x="130681" y="171992"/>
                  </a:lnTo>
                  <a:lnTo>
                    <a:pt x="123936" y="171992"/>
                  </a:lnTo>
                  <a:lnTo>
                    <a:pt x="123936" y="180221"/>
                  </a:lnTo>
                  <a:lnTo>
                    <a:pt x="117191" y="195034"/>
                  </a:lnTo>
                  <a:lnTo>
                    <a:pt x="98643" y="204909"/>
                  </a:lnTo>
                  <a:lnTo>
                    <a:pt x="93584" y="218076"/>
                  </a:lnTo>
                  <a:lnTo>
                    <a:pt x="64918" y="198326"/>
                  </a:lnTo>
                  <a:lnTo>
                    <a:pt x="4214" y="171992"/>
                  </a:lnTo>
                  <a:lnTo>
                    <a:pt x="49742" y="101220"/>
                  </a:lnTo>
                  <a:lnTo>
                    <a:pt x="27821" y="63365"/>
                  </a:lnTo>
                  <a:lnTo>
                    <a:pt x="37939" y="50198"/>
                  </a:lnTo>
                  <a:lnTo>
                    <a:pt x="41311" y="15635"/>
                  </a:lnTo>
                  <a:lnTo>
                    <a:pt x="73349" y="12343"/>
                  </a:lnTo>
                  <a:lnTo>
                    <a:pt x="73349" y="7406"/>
                  </a:lnTo>
                  <a:lnTo>
                    <a:pt x="80094" y="4114"/>
                  </a:lnTo>
                  <a:lnTo>
                    <a:pt x="9864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8" name="Oisterwijk">
              <a:extLst>
                <a:ext uri="{FF2B5EF4-FFF2-40B4-BE49-F238E27FC236}">
                  <a16:creationId xmlns:a16="http://schemas.microsoft.com/office/drawing/2014/main" id="{B419E6C9-08C1-497E-924E-861F7A26BD68}"/>
                </a:ext>
              </a:extLst>
            </p:cNvPr>
            <p:cNvSpPr/>
            <p:nvPr/>
          </p:nvSpPr>
          <p:spPr>
            <a:xfrm>
              <a:off x="5950912" y="4319977"/>
              <a:ext cx="166535" cy="154190"/>
            </a:xfrm>
            <a:custGeom>
              <a:avLst/>
              <a:gdLst/>
              <a:ahLst/>
              <a:cxnLst/>
              <a:rect l="l" t="t" r="r" b="b"/>
              <a:pathLst>
                <a:path w="234163" h="228600" extrusionOk="0">
                  <a:moveTo>
                    <a:pt x="100329" y="20573"/>
                  </a:moveTo>
                  <a:lnTo>
                    <a:pt x="102015" y="23864"/>
                  </a:lnTo>
                  <a:lnTo>
                    <a:pt x="105388" y="18926"/>
                  </a:lnTo>
                  <a:lnTo>
                    <a:pt x="118877" y="33739"/>
                  </a:lnTo>
                  <a:lnTo>
                    <a:pt x="127309" y="28802"/>
                  </a:lnTo>
                  <a:lnTo>
                    <a:pt x="134053" y="41969"/>
                  </a:lnTo>
                  <a:lnTo>
                    <a:pt x="184640" y="38677"/>
                  </a:lnTo>
                  <a:lnTo>
                    <a:pt x="182954" y="56781"/>
                  </a:lnTo>
                  <a:lnTo>
                    <a:pt x="213306" y="112741"/>
                  </a:lnTo>
                  <a:lnTo>
                    <a:pt x="218365" y="119324"/>
                  </a:lnTo>
                  <a:lnTo>
                    <a:pt x="225109" y="122616"/>
                  </a:lnTo>
                  <a:lnTo>
                    <a:pt x="223423" y="129199"/>
                  </a:lnTo>
                  <a:lnTo>
                    <a:pt x="231854" y="132491"/>
                  </a:lnTo>
                  <a:lnTo>
                    <a:pt x="231854" y="135783"/>
                  </a:lnTo>
                  <a:lnTo>
                    <a:pt x="230168" y="140720"/>
                  </a:lnTo>
                  <a:lnTo>
                    <a:pt x="220051" y="137429"/>
                  </a:lnTo>
                  <a:lnTo>
                    <a:pt x="216678" y="145658"/>
                  </a:lnTo>
                  <a:lnTo>
                    <a:pt x="209934" y="142367"/>
                  </a:lnTo>
                  <a:lnTo>
                    <a:pt x="206561" y="150596"/>
                  </a:lnTo>
                  <a:lnTo>
                    <a:pt x="194757" y="152242"/>
                  </a:lnTo>
                  <a:lnTo>
                    <a:pt x="188013" y="173638"/>
                  </a:lnTo>
                  <a:lnTo>
                    <a:pt x="179581" y="186805"/>
                  </a:lnTo>
                  <a:lnTo>
                    <a:pt x="166092" y="175284"/>
                  </a:lnTo>
                  <a:lnTo>
                    <a:pt x="159347" y="198326"/>
                  </a:lnTo>
                  <a:lnTo>
                    <a:pt x="134053" y="221368"/>
                  </a:lnTo>
                  <a:lnTo>
                    <a:pt x="105388" y="226306"/>
                  </a:lnTo>
                  <a:lnTo>
                    <a:pt x="96956" y="231243"/>
                  </a:lnTo>
                  <a:lnTo>
                    <a:pt x="80094" y="227951"/>
                  </a:lnTo>
                  <a:lnTo>
                    <a:pt x="75036" y="221368"/>
                  </a:lnTo>
                  <a:lnTo>
                    <a:pt x="66604" y="223014"/>
                  </a:lnTo>
                  <a:lnTo>
                    <a:pt x="59859" y="213138"/>
                  </a:lnTo>
                  <a:lnTo>
                    <a:pt x="56487" y="213138"/>
                  </a:lnTo>
                  <a:lnTo>
                    <a:pt x="51428" y="206555"/>
                  </a:lnTo>
                  <a:lnTo>
                    <a:pt x="49742" y="208201"/>
                  </a:lnTo>
                  <a:lnTo>
                    <a:pt x="32880" y="191742"/>
                  </a:lnTo>
                  <a:lnTo>
                    <a:pt x="27821" y="196680"/>
                  </a:lnTo>
                  <a:lnTo>
                    <a:pt x="4214" y="175284"/>
                  </a:lnTo>
                  <a:lnTo>
                    <a:pt x="12645" y="168700"/>
                  </a:lnTo>
                  <a:lnTo>
                    <a:pt x="9273" y="163763"/>
                  </a:lnTo>
                  <a:lnTo>
                    <a:pt x="22763" y="147304"/>
                  </a:lnTo>
                  <a:lnTo>
                    <a:pt x="17704" y="137429"/>
                  </a:lnTo>
                  <a:lnTo>
                    <a:pt x="31194" y="135783"/>
                  </a:lnTo>
                  <a:lnTo>
                    <a:pt x="19390" y="127554"/>
                  </a:lnTo>
                  <a:lnTo>
                    <a:pt x="16017" y="120970"/>
                  </a:lnTo>
                  <a:lnTo>
                    <a:pt x="19390" y="101220"/>
                  </a:lnTo>
                  <a:lnTo>
                    <a:pt x="16017" y="97928"/>
                  </a:lnTo>
                  <a:lnTo>
                    <a:pt x="21076" y="86407"/>
                  </a:lnTo>
                  <a:lnTo>
                    <a:pt x="24449" y="84761"/>
                  </a:lnTo>
                  <a:lnTo>
                    <a:pt x="22763" y="84761"/>
                  </a:lnTo>
                  <a:lnTo>
                    <a:pt x="27821" y="68302"/>
                  </a:lnTo>
                  <a:lnTo>
                    <a:pt x="32880" y="66657"/>
                  </a:lnTo>
                  <a:lnTo>
                    <a:pt x="31194" y="66657"/>
                  </a:lnTo>
                  <a:lnTo>
                    <a:pt x="32880" y="61719"/>
                  </a:lnTo>
                  <a:lnTo>
                    <a:pt x="90211" y="4114"/>
                  </a:lnTo>
                  <a:lnTo>
                    <a:pt x="91897" y="4114"/>
                  </a:lnTo>
                  <a:lnTo>
                    <a:pt x="98642" y="12343"/>
                  </a:lnTo>
                  <a:lnTo>
                    <a:pt x="100329"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89" name="Delft">
              <a:extLst>
                <a:ext uri="{FF2B5EF4-FFF2-40B4-BE49-F238E27FC236}">
                  <a16:creationId xmlns:a16="http://schemas.microsoft.com/office/drawing/2014/main" id="{F28D21CB-0FE0-481B-83F5-48E181306305}"/>
                </a:ext>
              </a:extLst>
            </p:cNvPr>
            <p:cNvSpPr/>
            <p:nvPr/>
          </p:nvSpPr>
          <p:spPr>
            <a:xfrm>
              <a:off x="5103735" y="3621917"/>
              <a:ext cx="91753" cy="99299"/>
            </a:xfrm>
            <a:custGeom>
              <a:avLst/>
              <a:gdLst/>
              <a:ahLst/>
              <a:cxnLst/>
              <a:rect l="l" t="t" r="r" b="b"/>
              <a:pathLst>
                <a:path w="128789" h="160020" extrusionOk="0">
                  <a:moveTo>
                    <a:pt x="95270" y="18927"/>
                  </a:moveTo>
                  <a:lnTo>
                    <a:pt x="105388" y="27156"/>
                  </a:lnTo>
                  <a:lnTo>
                    <a:pt x="117191" y="56782"/>
                  </a:lnTo>
                  <a:lnTo>
                    <a:pt x="107074" y="61719"/>
                  </a:lnTo>
                  <a:lnTo>
                    <a:pt x="107074" y="69949"/>
                  </a:lnTo>
                  <a:lnTo>
                    <a:pt x="103702" y="71595"/>
                  </a:lnTo>
                  <a:lnTo>
                    <a:pt x="118878" y="134137"/>
                  </a:lnTo>
                  <a:lnTo>
                    <a:pt x="125622" y="135783"/>
                  </a:lnTo>
                  <a:lnTo>
                    <a:pt x="128995" y="148950"/>
                  </a:lnTo>
                  <a:lnTo>
                    <a:pt x="135740" y="160471"/>
                  </a:lnTo>
                  <a:lnTo>
                    <a:pt x="127309" y="165409"/>
                  </a:lnTo>
                  <a:lnTo>
                    <a:pt x="120564" y="145658"/>
                  </a:lnTo>
                  <a:lnTo>
                    <a:pt x="113819" y="139075"/>
                  </a:lnTo>
                  <a:lnTo>
                    <a:pt x="98643" y="142367"/>
                  </a:lnTo>
                  <a:lnTo>
                    <a:pt x="103702" y="150596"/>
                  </a:lnTo>
                  <a:lnTo>
                    <a:pt x="76722" y="158825"/>
                  </a:lnTo>
                  <a:lnTo>
                    <a:pt x="75036" y="152242"/>
                  </a:lnTo>
                  <a:lnTo>
                    <a:pt x="61546" y="155534"/>
                  </a:lnTo>
                  <a:lnTo>
                    <a:pt x="61546" y="150596"/>
                  </a:lnTo>
                  <a:lnTo>
                    <a:pt x="63232" y="150596"/>
                  </a:lnTo>
                  <a:lnTo>
                    <a:pt x="58173" y="137429"/>
                  </a:lnTo>
                  <a:lnTo>
                    <a:pt x="29508" y="145658"/>
                  </a:lnTo>
                  <a:lnTo>
                    <a:pt x="21076" y="129200"/>
                  </a:lnTo>
                  <a:lnTo>
                    <a:pt x="19390" y="120971"/>
                  </a:lnTo>
                  <a:lnTo>
                    <a:pt x="14332" y="117679"/>
                  </a:lnTo>
                  <a:lnTo>
                    <a:pt x="9273" y="107803"/>
                  </a:lnTo>
                  <a:lnTo>
                    <a:pt x="10959" y="101220"/>
                  </a:lnTo>
                  <a:lnTo>
                    <a:pt x="22763" y="99574"/>
                  </a:lnTo>
                  <a:lnTo>
                    <a:pt x="19390" y="88053"/>
                  </a:lnTo>
                  <a:lnTo>
                    <a:pt x="29508" y="86407"/>
                  </a:lnTo>
                  <a:lnTo>
                    <a:pt x="26135" y="79824"/>
                  </a:lnTo>
                  <a:lnTo>
                    <a:pt x="34566" y="76532"/>
                  </a:lnTo>
                  <a:lnTo>
                    <a:pt x="31194" y="68303"/>
                  </a:lnTo>
                  <a:lnTo>
                    <a:pt x="27821" y="71595"/>
                  </a:lnTo>
                  <a:lnTo>
                    <a:pt x="22763" y="63365"/>
                  </a:lnTo>
                  <a:lnTo>
                    <a:pt x="7587" y="71595"/>
                  </a:lnTo>
                  <a:lnTo>
                    <a:pt x="4214" y="60074"/>
                  </a:lnTo>
                  <a:lnTo>
                    <a:pt x="10959" y="56782"/>
                  </a:lnTo>
                  <a:lnTo>
                    <a:pt x="12645" y="51844"/>
                  </a:lnTo>
                  <a:lnTo>
                    <a:pt x="58173" y="20573"/>
                  </a:lnTo>
                  <a:lnTo>
                    <a:pt x="63232" y="17281"/>
                  </a:lnTo>
                  <a:lnTo>
                    <a:pt x="64918" y="18927"/>
                  </a:lnTo>
                  <a:lnTo>
                    <a:pt x="85153" y="4114"/>
                  </a:lnTo>
                  <a:lnTo>
                    <a:pt x="95270"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0" name="Goes">
              <a:extLst>
                <a:ext uri="{FF2B5EF4-FFF2-40B4-BE49-F238E27FC236}">
                  <a16:creationId xmlns:a16="http://schemas.microsoft.com/office/drawing/2014/main" id="{7A3771FA-3C87-484A-934E-06121CD294D2}"/>
                </a:ext>
              </a:extLst>
            </p:cNvPr>
            <p:cNvSpPr/>
            <p:nvPr/>
          </p:nvSpPr>
          <p:spPr>
            <a:xfrm>
              <a:off x="4434276" y="4382014"/>
              <a:ext cx="288361" cy="122878"/>
            </a:xfrm>
            <a:custGeom>
              <a:avLst/>
              <a:gdLst/>
              <a:ahLst/>
              <a:cxnLst/>
              <a:rect l="l" t="t" r="r" b="b"/>
              <a:pathLst>
                <a:path w="409785" h="182880" extrusionOk="0">
                  <a:moveTo>
                    <a:pt x="27821" y="61719"/>
                  </a:moveTo>
                  <a:lnTo>
                    <a:pt x="27821" y="60073"/>
                  </a:lnTo>
                  <a:lnTo>
                    <a:pt x="27821" y="61719"/>
                  </a:lnTo>
                  <a:close/>
                  <a:moveTo>
                    <a:pt x="29507" y="58427"/>
                  </a:moveTo>
                  <a:lnTo>
                    <a:pt x="24449" y="60073"/>
                  </a:lnTo>
                  <a:lnTo>
                    <a:pt x="27821" y="51844"/>
                  </a:lnTo>
                  <a:lnTo>
                    <a:pt x="29507" y="58427"/>
                  </a:lnTo>
                  <a:close/>
                  <a:moveTo>
                    <a:pt x="34566" y="48552"/>
                  </a:moveTo>
                  <a:lnTo>
                    <a:pt x="31194" y="48552"/>
                  </a:lnTo>
                  <a:lnTo>
                    <a:pt x="29507" y="55136"/>
                  </a:lnTo>
                  <a:lnTo>
                    <a:pt x="31194" y="46906"/>
                  </a:lnTo>
                  <a:lnTo>
                    <a:pt x="34566" y="45260"/>
                  </a:lnTo>
                  <a:lnTo>
                    <a:pt x="34566" y="48552"/>
                  </a:lnTo>
                  <a:close/>
                  <a:moveTo>
                    <a:pt x="130681" y="20573"/>
                  </a:moveTo>
                  <a:lnTo>
                    <a:pt x="134054" y="23864"/>
                  </a:lnTo>
                  <a:lnTo>
                    <a:pt x="130681" y="23864"/>
                  </a:lnTo>
                  <a:lnTo>
                    <a:pt x="130681" y="20573"/>
                  </a:lnTo>
                  <a:close/>
                  <a:moveTo>
                    <a:pt x="184640" y="13989"/>
                  </a:moveTo>
                  <a:lnTo>
                    <a:pt x="206561" y="18926"/>
                  </a:lnTo>
                  <a:lnTo>
                    <a:pt x="221737" y="27156"/>
                  </a:lnTo>
                  <a:lnTo>
                    <a:pt x="221737" y="32094"/>
                  </a:lnTo>
                  <a:lnTo>
                    <a:pt x="226796" y="37031"/>
                  </a:lnTo>
                  <a:lnTo>
                    <a:pt x="243658" y="40323"/>
                  </a:lnTo>
                  <a:lnTo>
                    <a:pt x="253775" y="38677"/>
                  </a:lnTo>
                  <a:lnTo>
                    <a:pt x="252089" y="33739"/>
                  </a:lnTo>
                  <a:lnTo>
                    <a:pt x="255462" y="32094"/>
                  </a:lnTo>
                  <a:lnTo>
                    <a:pt x="257148" y="37031"/>
                  </a:lnTo>
                  <a:lnTo>
                    <a:pt x="260520" y="35385"/>
                  </a:lnTo>
                  <a:lnTo>
                    <a:pt x="260520" y="33739"/>
                  </a:lnTo>
                  <a:lnTo>
                    <a:pt x="262207" y="35385"/>
                  </a:lnTo>
                  <a:lnTo>
                    <a:pt x="272324" y="33739"/>
                  </a:lnTo>
                  <a:lnTo>
                    <a:pt x="272324" y="28802"/>
                  </a:lnTo>
                  <a:lnTo>
                    <a:pt x="274010" y="32094"/>
                  </a:lnTo>
                  <a:lnTo>
                    <a:pt x="277383" y="30448"/>
                  </a:lnTo>
                  <a:lnTo>
                    <a:pt x="285814" y="30448"/>
                  </a:lnTo>
                  <a:lnTo>
                    <a:pt x="292559" y="35385"/>
                  </a:lnTo>
                  <a:lnTo>
                    <a:pt x="302676" y="35385"/>
                  </a:lnTo>
                  <a:lnTo>
                    <a:pt x="307735" y="28802"/>
                  </a:lnTo>
                  <a:lnTo>
                    <a:pt x="317852" y="28802"/>
                  </a:lnTo>
                  <a:lnTo>
                    <a:pt x="326283" y="23864"/>
                  </a:lnTo>
                  <a:lnTo>
                    <a:pt x="336400" y="28802"/>
                  </a:lnTo>
                  <a:lnTo>
                    <a:pt x="339773" y="25510"/>
                  </a:lnTo>
                  <a:lnTo>
                    <a:pt x="339773" y="28802"/>
                  </a:lnTo>
                  <a:lnTo>
                    <a:pt x="343145" y="30448"/>
                  </a:lnTo>
                  <a:lnTo>
                    <a:pt x="341459" y="27156"/>
                  </a:lnTo>
                  <a:lnTo>
                    <a:pt x="344832" y="28802"/>
                  </a:lnTo>
                  <a:lnTo>
                    <a:pt x="344832" y="25510"/>
                  </a:lnTo>
                  <a:lnTo>
                    <a:pt x="349890" y="28802"/>
                  </a:lnTo>
                  <a:lnTo>
                    <a:pt x="349890" y="33739"/>
                  </a:lnTo>
                  <a:lnTo>
                    <a:pt x="351576" y="32094"/>
                  </a:lnTo>
                  <a:lnTo>
                    <a:pt x="353263" y="40323"/>
                  </a:lnTo>
                  <a:lnTo>
                    <a:pt x="354949" y="40323"/>
                  </a:lnTo>
                  <a:lnTo>
                    <a:pt x="354949" y="43615"/>
                  </a:lnTo>
                  <a:lnTo>
                    <a:pt x="346518" y="45260"/>
                  </a:lnTo>
                  <a:lnTo>
                    <a:pt x="349890" y="46906"/>
                  </a:lnTo>
                  <a:lnTo>
                    <a:pt x="354949" y="45260"/>
                  </a:lnTo>
                  <a:lnTo>
                    <a:pt x="351576" y="48552"/>
                  </a:lnTo>
                  <a:lnTo>
                    <a:pt x="356635" y="58427"/>
                  </a:lnTo>
                  <a:lnTo>
                    <a:pt x="358321" y="51844"/>
                  </a:lnTo>
                  <a:lnTo>
                    <a:pt x="356635" y="60073"/>
                  </a:lnTo>
                  <a:lnTo>
                    <a:pt x="368439" y="74886"/>
                  </a:lnTo>
                  <a:lnTo>
                    <a:pt x="381929" y="66657"/>
                  </a:lnTo>
                  <a:lnTo>
                    <a:pt x="386987" y="66657"/>
                  </a:lnTo>
                  <a:lnTo>
                    <a:pt x="386987" y="61719"/>
                  </a:lnTo>
                  <a:lnTo>
                    <a:pt x="386987" y="66657"/>
                  </a:lnTo>
                  <a:lnTo>
                    <a:pt x="390360" y="65011"/>
                  </a:lnTo>
                  <a:lnTo>
                    <a:pt x="390360" y="61719"/>
                  </a:lnTo>
                  <a:lnTo>
                    <a:pt x="390360" y="63365"/>
                  </a:lnTo>
                  <a:lnTo>
                    <a:pt x="393732" y="61719"/>
                  </a:lnTo>
                  <a:lnTo>
                    <a:pt x="405536" y="65011"/>
                  </a:lnTo>
                  <a:lnTo>
                    <a:pt x="398791" y="65011"/>
                  </a:lnTo>
                  <a:lnTo>
                    <a:pt x="405536" y="65011"/>
                  </a:lnTo>
                  <a:lnTo>
                    <a:pt x="412281" y="68303"/>
                  </a:lnTo>
                  <a:lnTo>
                    <a:pt x="415653" y="68303"/>
                  </a:lnTo>
                  <a:lnTo>
                    <a:pt x="413967" y="74886"/>
                  </a:lnTo>
                  <a:lnTo>
                    <a:pt x="410594" y="73240"/>
                  </a:lnTo>
                  <a:lnTo>
                    <a:pt x="403849" y="86407"/>
                  </a:lnTo>
                  <a:lnTo>
                    <a:pt x="405536" y="120970"/>
                  </a:lnTo>
                  <a:lnTo>
                    <a:pt x="390360" y="127554"/>
                  </a:lnTo>
                  <a:lnTo>
                    <a:pt x="371811" y="142367"/>
                  </a:lnTo>
                  <a:lnTo>
                    <a:pt x="365066" y="152242"/>
                  </a:lnTo>
                  <a:lnTo>
                    <a:pt x="343145" y="155533"/>
                  </a:lnTo>
                  <a:lnTo>
                    <a:pt x="341459" y="170346"/>
                  </a:lnTo>
                  <a:lnTo>
                    <a:pt x="336400" y="171992"/>
                  </a:lnTo>
                  <a:lnTo>
                    <a:pt x="336400" y="168700"/>
                  </a:lnTo>
                  <a:lnTo>
                    <a:pt x="326283" y="171992"/>
                  </a:lnTo>
                  <a:lnTo>
                    <a:pt x="329656" y="180221"/>
                  </a:lnTo>
                  <a:lnTo>
                    <a:pt x="322911" y="185159"/>
                  </a:lnTo>
                  <a:lnTo>
                    <a:pt x="274010" y="180221"/>
                  </a:lnTo>
                  <a:lnTo>
                    <a:pt x="263893" y="181867"/>
                  </a:lnTo>
                  <a:lnTo>
                    <a:pt x="257148" y="175284"/>
                  </a:lnTo>
                  <a:lnTo>
                    <a:pt x="213306" y="168700"/>
                  </a:lnTo>
                  <a:lnTo>
                    <a:pt x="176209" y="173638"/>
                  </a:lnTo>
                  <a:lnTo>
                    <a:pt x="164405" y="171992"/>
                  </a:lnTo>
                  <a:lnTo>
                    <a:pt x="149229" y="165409"/>
                  </a:lnTo>
                  <a:lnTo>
                    <a:pt x="123936" y="144012"/>
                  </a:lnTo>
                  <a:lnTo>
                    <a:pt x="108760" y="137429"/>
                  </a:lnTo>
                  <a:lnTo>
                    <a:pt x="31194" y="124262"/>
                  </a:lnTo>
                  <a:lnTo>
                    <a:pt x="24449" y="125908"/>
                  </a:lnTo>
                  <a:lnTo>
                    <a:pt x="4214" y="122616"/>
                  </a:lnTo>
                  <a:lnTo>
                    <a:pt x="4214" y="119324"/>
                  </a:lnTo>
                  <a:lnTo>
                    <a:pt x="12645" y="119324"/>
                  </a:lnTo>
                  <a:lnTo>
                    <a:pt x="12645" y="112741"/>
                  </a:lnTo>
                  <a:lnTo>
                    <a:pt x="66605" y="99574"/>
                  </a:lnTo>
                  <a:lnTo>
                    <a:pt x="68291" y="89699"/>
                  </a:lnTo>
                  <a:lnTo>
                    <a:pt x="59860" y="84761"/>
                  </a:lnTo>
                  <a:lnTo>
                    <a:pt x="39625" y="69949"/>
                  </a:lnTo>
                  <a:lnTo>
                    <a:pt x="41311" y="68303"/>
                  </a:lnTo>
                  <a:lnTo>
                    <a:pt x="37939" y="69949"/>
                  </a:lnTo>
                  <a:lnTo>
                    <a:pt x="36252" y="66657"/>
                  </a:lnTo>
                  <a:lnTo>
                    <a:pt x="37939" y="56781"/>
                  </a:lnTo>
                  <a:lnTo>
                    <a:pt x="46370" y="43615"/>
                  </a:lnTo>
                  <a:lnTo>
                    <a:pt x="54801" y="46906"/>
                  </a:lnTo>
                  <a:lnTo>
                    <a:pt x="49742" y="43615"/>
                  </a:lnTo>
                  <a:lnTo>
                    <a:pt x="46370" y="43615"/>
                  </a:lnTo>
                  <a:lnTo>
                    <a:pt x="48056" y="35385"/>
                  </a:lnTo>
                  <a:lnTo>
                    <a:pt x="51429" y="32094"/>
                  </a:lnTo>
                  <a:lnTo>
                    <a:pt x="54801" y="33739"/>
                  </a:lnTo>
                  <a:lnTo>
                    <a:pt x="53115" y="30448"/>
                  </a:lnTo>
                  <a:lnTo>
                    <a:pt x="64918" y="22218"/>
                  </a:lnTo>
                  <a:lnTo>
                    <a:pt x="73349" y="22218"/>
                  </a:lnTo>
                  <a:lnTo>
                    <a:pt x="68291" y="32094"/>
                  </a:lnTo>
                  <a:lnTo>
                    <a:pt x="71663" y="32094"/>
                  </a:lnTo>
                  <a:lnTo>
                    <a:pt x="71663" y="33739"/>
                  </a:lnTo>
                  <a:lnTo>
                    <a:pt x="75036" y="25510"/>
                  </a:lnTo>
                  <a:lnTo>
                    <a:pt x="83467" y="27156"/>
                  </a:lnTo>
                  <a:lnTo>
                    <a:pt x="90212" y="27156"/>
                  </a:lnTo>
                  <a:lnTo>
                    <a:pt x="75036" y="25510"/>
                  </a:lnTo>
                  <a:lnTo>
                    <a:pt x="75036" y="18926"/>
                  </a:lnTo>
                  <a:lnTo>
                    <a:pt x="80094" y="15635"/>
                  </a:lnTo>
                  <a:lnTo>
                    <a:pt x="78408" y="17281"/>
                  </a:lnTo>
                  <a:lnTo>
                    <a:pt x="81780" y="15635"/>
                  </a:lnTo>
                  <a:lnTo>
                    <a:pt x="95270" y="20573"/>
                  </a:lnTo>
                  <a:lnTo>
                    <a:pt x="95270" y="25510"/>
                  </a:lnTo>
                  <a:lnTo>
                    <a:pt x="96956" y="20573"/>
                  </a:lnTo>
                  <a:lnTo>
                    <a:pt x="105388" y="20573"/>
                  </a:lnTo>
                  <a:lnTo>
                    <a:pt x="103702" y="25510"/>
                  </a:lnTo>
                  <a:lnTo>
                    <a:pt x="90212" y="27156"/>
                  </a:lnTo>
                  <a:lnTo>
                    <a:pt x="122250" y="27156"/>
                  </a:lnTo>
                  <a:lnTo>
                    <a:pt x="134054" y="30448"/>
                  </a:lnTo>
                  <a:lnTo>
                    <a:pt x="135740" y="28802"/>
                  </a:lnTo>
                  <a:lnTo>
                    <a:pt x="140798" y="32094"/>
                  </a:lnTo>
                  <a:lnTo>
                    <a:pt x="154288" y="28802"/>
                  </a:lnTo>
                  <a:lnTo>
                    <a:pt x="161033" y="22218"/>
                  </a:lnTo>
                  <a:lnTo>
                    <a:pt x="171150" y="17281"/>
                  </a:lnTo>
                  <a:lnTo>
                    <a:pt x="174523" y="18926"/>
                  </a:lnTo>
                  <a:lnTo>
                    <a:pt x="174523" y="15635"/>
                  </a:lnTo>
                  <a:lnTo>
                    <a:pt x="177895" y="20573"/>
                  </a:lnTo>
                  <a:lnTo>
                    <a:pt x="177895" y="13989"/>
                  </a:lnTo>
                  <a:lnTo>
                    <a:pt x="179582" y="17281"/>
                  </a:lnTo>
                  <a:lnTo>
                    <a:pt x="182954" y="17281"/>
                  </a:lnTo>
                  <a:lnTo>
                    <a:pt x="184640" y="20573"/>
                  </a:lnTo>
                  <a:lnTo>
                    <a:pt x="184640" y="13989"/>
                  </a:lnTo>
                  <a:close/>
                  <a:moveTo>
                    <a:pt x="118878" y="13989"/>
                  </a:moveTo>
                  <a:lnTo>
                    <a:pt x="115505" y="13989"/>
                  </a:lnTo>
                  <a:lnTo>
                    <a:pt x="107074" y="7406"/>
                  </a:lnTo>
                  <a:lnTo>
                    <a:pt x="108760" y="5760"/>
                  </a:lnTo>
                  <a:lnTo>
                    <a:pt x="118878" y="13989"/>
                  </a:lnTo>
                  <a:close/>
                  <a:moveTo>
                    <a:pt x="105388" y="4114"/>
                  </a:moveTo>
                  <a:lnTo>
                    <a:pt x="108760" y="17281"/>
                  </a:lnTo>
                  <a:lnTo>
                    <a:pt x="86839" y="13989"/>
                  </a:lnTo>
                  <a:lnTo>
                    <a:pt x="86839" y="9052"/>
                  </a:lnTo>
                  <a:lnTo>
                    <a:pt x="10538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1" name="Hoogeveen">
              <a:extLst>
                <a:ext uri="{FF2B5EF4-FFF2-40B4-BE49-F238E27FC236}">
                  <a16:creationId xmlns:a16="http://schemas.microsoft.com/office/drawing/2014/main" id="{5644E39D-32B7-457D-A5BA-EA96C876FA62}"/>
                </a:ext>
              </a:extLst>
            </p:cNvPr>
            <p:cNvSpPr/>
            <p:nvPr/>
          </p:nvSpPr>
          <p:spPr>
            <a:xfrm>
              <a:off x="7281016" y="2381736"/>
              <a:ext cx="236583" cy="234617"/>
            </a:xfrm>
            <a:custGeom>
              <a:avLst/>
              <a:gdLst/>
              <a:ahLst/>
              <a:cxnLst/>
              <a:rect l="l" t="t" r="r" b="b"/>
              <a:pathLst>
                <a:path w="339536" h="354330" extrusionOk="0">
                  <a:moveTo>
                    <a:pt x="139112" y="38677"/>
                  </a:moveTo>
                  <a:lnTo>
                    <a:pt x="130681" y="74886"/>
                  </a:lnTo>
                  <a:lnTo>
                    <a:pt x="149230" y="78178"/>
                  </a:lnTo>
                  <a:lnTo>
                    <a:pt x="152602" y="81470"/>
                  </a:lnTo>
                  <a:lnTo>
                    <a:pt x="155974" y="79824"/>
                  </a:lnTo>
                  <a:lnTo>
                    <a:pt x="164405" y="96282"/>
                  </a:lnTo>
                  <a:lnTo>
                    <a:pt x="198130" y="81470"/>
                  </a:lnTo>
                  <a:lnTo>
                    <a:pt x="201502" y="88053"/>
                  </a:lnTo>
                  <a:lnTo>
                    <a:pt x="245344" y="86407"/>
                  </a:lnTo>
                  <a:lnTo>
                    <a:pt x="231855" y="135783"/>
                  </a:lnTo>
                  <a:lnTo>
                    <a:pt x="277382" y="158825"/>
                  </a:lnTo>
                  <a:lnTo>
                    <a:pt x="262207" y="185159"/>
                  </a:lnTo>
                  <a:lnTo>
                    <a:pt x="292559" y="186805"/>
                  </a:lnTo>
                  <a:lnTo>
                    <a:pt x="290872" y="211493"/>
                  </a:lnTo>
                  <a:lnTo>
                    <a:pt x="343145" y="213139"/>
                  </a:lnTo>
                  <a:lnTo>
                    <a:pt x="341459" y="252639"/>
                  </a:lnTo>
                  <a:lnTo>
                    <a:pt x="346518" y="275682"/>
                  </a:lnTo>
                  <a:lnTo>
                    <a:pt x="346518" y="305307"/>
                  </a:lnTo>
                  <a:lnTo>
                    <a:pt x="343145" y="316828"/>
                  </a:lnTo>
                  <a:lnTo>
                    <a:pt x="321224" y="306953"/>
                  </a:lnTo>
                  <a:lnTo>
                    <a:pt x="228482" y="328349"/>
                  </a:lnTo>
                  <a:lnTo>
                    <a:pt x="218365" y="333287"/>
                  </a:lnTo>
                  <a:lnTo>
                    <a:pt x="193071" y="354683"/>
                  </a:lnTo>
                  <a:lnTo>
                    <a:pt x="194757" y="311891"/>
                  </a:lnTo>
                  <a:lnTo>
                    <a:pt x="147543" y="310245"/>
                  </a:lnTo>
                  <a:lnTo>
                    <a:pt x="149230" y="305307"/>
                  </a:lnTo>
                  <a:lnTo>
                    <a:pt x="137426" y="303661"/>
                  </a:lnTo>
                  <a:lnTo>
                    <a:pt x="139112" y="285557"/>
                  </a:lnTo>
                  <a:lnTo>
                    <a:pt x="125622" y="283911"/>
                  </a:lnTo>
                  <a:lnTo>
                    <a:pt x="127309" y="262515"/>
                  </a:lnTo>
                  <a:lnTo>
                    <a:pt x="108760" y="260869"/>
                  </a:lnTo>
                  <a:lnTo>
                    <a:pt x="93584" y="262515"/>
                  </a:lnTo>
                  <a:lnTo>
                    <a:pt x="91898" y="259223"/>
                  </a:lnTo>
                  <a:lnTo>
                    <a:pt x="71663" y="262515"/>
                  </a:lnTo>
                  <a:lnTo>
                    <a:pt x="75036" y="249348"/>
                  </a:lnTo>
                  <a:lnTo>
                    <a:pt x="71663" y="234535"/>
                  </a:lnTo>
                  <a:lnTo>
                    <a:pt x="73349" y="231243"/>
                  </a:lnTo>
                  <a:lnTo>
                    <a:pt x="41311" y="234535"/>
                  </a:lnTo>
                  <a:lnTo>
                    <a:pt x="32880" y="237827"/>
                  </a:lnTo>
                  <a:lnTo>
                    <a:pt x="27821" y="244410"/>
                  </a:lnTo>
                  <a:lnTo>
                    <a:pt x="7586" y="231243"/>
                  </a:lnTo>
                  <a:lnTo>
                    <a:pt x="4214" y="236181"/>
                  </a:lnTo>
                  <a:lnTo>
                    <a:pt x="5900" y="216430"/>
                  </a:lnTo>
                  <a:lnTo>
                    <a:pt x="17704" y="206555"/>
                  </a:lnTo>
                  <a:lnTo>
                    <a:pt x="19390" y="199972"/>
                  </a:lnTo>
                  <a:lnTo>
                    <a:pt x="7586" y="180221"/>
                  </a:lnTo>
                  <a:lnTo>
                    <a:pt x="27821" y="171992"/>
                  </a:lnTo>
                  <a:lnTo>
                    <a:pt x="19390" y="148950"/>
                  </a:lnTo>
                  <a:lnTo>
                    <a:pt x="31194" y="144012"/>
                  </a:lnTo>
                  <a:lnTo>
                    <a:pt x="26135" y="130846"/>
                  </a:lnTo>
                  <a:lnTo>
                    <a:pt x="34566" y="124262"/>
                  </a:lnTo>
                  <a:lnTo>
                    <a:pt x="24449" y="112741"/>
                  </a:lnTo>
                  <a:lnTo>
                    <a:pt x="19390" y="114387"/>
                  </a:lnTo>
                  <a:lnTo>
                    <a:pt x="10959" y="91345"/>
                  </a:lnTo>
                  <a:lnTo>
                    <a:pt x="44684" y="81470"/>
                  </a:lnTo>
                  <a:lnTo>
                    <a:pt x="64918" y="63365"/>
                  </a:lnTo>
                  <a:lnTo>
                    <a:pt x="66604" y="32094"/>
                  </a:lnTo>
                  <a:lnTo>
                    <a:pt x="76722" y="4114"/>
                  </a:lnTo>
                  <a:lnTo>
                    <a:pt x="132367" y="22218"/>
                  </a:lnTo>
                  <a:lnTo>
                    <a:pt x="139112" y="3867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2" name="Berkelland">
              <a:extLst>
                <a:ext uri="{FF2B5EF4-FFF2-40B4-BE49-F238E27FC236}">
                  <a16:creationId xmlns:a16="http://schemas.microsoft.com/office/drawing/2014/main" id="{869B8831-8CF8-423C-A59B-35CD07593226}"/>
                </a:ext>
              </a:extLst>
            </p:cNvPr>
            <p:cNvSpPr/>
            <p:nvPr/>
          </p:nvSpPr>
          <p:spPr>
            <a:xfrm>
              <a:off x="7293284" y="3373439"/>
              <a:ext cx="380490" cy="267602"/>
            </a:xfrm>
            <a:custGeom>
              <a:avLst/>
              <a:gdLst/>
              <a:ahLst/>
              <a:cxnLst/>
              <a:rect l="l" t="t" r="r" b="b"/>
              <a:pathLst>
                <a:path w="550283" h="400050" extrusionOk="0">
                  <a:moveTo>
                    <a:pt x="290872" y="5760"/>
                  </a:moveTo>
                  <a:lnTo>
                    <a:pt x="314480" y="27156"/>
                  </a:lnTo>
                  <a:lnTo>
                    <a:pt x="309421" y="35385"/>
                  </a:lnTo>
                  <a:lnTo>
                    <a:pt x="316166" y="45261"/>
                  </a:lnTo>
                  <a:lnTo>
                    <a:pt x="319538" y="45261"/>
                  </a:lnTo>
                  <a:lnTo>
                    <a:pt x="322911" y="50198"/>
                  </a:lnTo>
                  <a:lnTo>
                    <a:pt x="338087" y="37031"/>
                  </a:lnTo>
                  <a:lnTo>
                    <a:pt x="343145" y="37031"/>
                  </a:lnTo>
                  <a:lnTo>
                    <a:pt x="344832" y="30448"/>
                  </a:lnTo>
                  <a:lnTo>
                    <a:pt x="343145" y="28802"/>
                  </a:lnTo>
                  <a:lnTo>
                    <a:pt x="348204" y="28802"/>
                  </a:lnTo>
                  <a:lnTo>
                    <a:pt x="351576" y="23864"/>
                  </a:lnTo>
                  <a:lnTo>
                    <a:pt x="358322" y="27156"/>
                  </a:lnTo>
                  <a:lnTo>
                    <a:pt x="366753" y="38677"/>
                  </a:lnTo>
                  <a:lnTo>
                    <a:pt x="373497" y="22219"/>
                  </a:lnTo>
                  <a:lnTo>
                    <a:pt x="413967" y="41969"/>
                  </a:lnTo>
                  <a:lnTo>
                    <a:pt x="419026" y="60074"/>
                  </a:lnTo>
                  <a:lnTo>
                    <a:pt x="412281" y="65011"/>
                  </a:lnTo>
                  <a:lnTo>
                    <a:pt x="417339" y="68303"/>
                  </a:lnTo>
                  <a:lnTo>
                    <a:pt x="415653" y="73240"/>
                  </a:lnTo>
                  <a:lnTo>
                    <a:pt x="417339" y="74886"/>
                  </a:lnTo>
                  <a:lnTo>
                    <a:pt x="413967" y="79824"/>
                  </a:lnTo>
                  <a:lnTo>
                    <a:pt x="417339" y="84761"/>
                  </a:lnTo>
                  <a:lnTo>
                    <a:pt x="419026" y="97928"/>
                  </a:lnTo>
                  <a:lnTo>
                    <a:pt x="417339" y="106158"/>
                  </a:lnTo>
                  <a:lnTo>
                    <a:pt x="410595" y="111095"/>
                  </a:lnTo>
                  <a:lnTo>
                    <a:pt x="402163" y="129200"/>
                  </a:lnTo>
                  <a:lnTo>
                    <a:pt x="425770" y="139075"/>
                  </a:lnTo>
                  <a:lnTo>
                    <a:pt x="456122" y="144013"/>
                  </a:lnTo>
                  <a:lnTo>
                    <a:pt x="484788" y="155534"/>
                  </a:lnTo>
                  <a:lnTo>
                    <a:pt x="552237" y="153888"/>
                  </a:lnTo>
                  <a:lnTo>
                    <a:pt x="547179" y="199972"/>
                  </a:lnTo>
                  <a:lnTo>
                    <a:pt x="543806" y="209847"/>
                  </a:lnTo>
                  <a:lnTo>
                    <a:pt x="537061" y="209847"/>
                  </a:lnTo>
                  <a:lnTo>
                    <a:pt x="528630" y="216430"/>
                  </a:lnTo>
                  <a:lnTo>
                    <a:pt x="530316" y="223014"/>
                  </a:lnTo>
                  <a:lnTo>
                    <a:pt x="537061" y="229597"/>
                  </a:lnTo>
                  <a:lnTo>
                    <a:pt x="538747" y="234535"/>
                  </a:lnTo>
                  <a:lnTo>
                    <a:pt x="515140" y="260869"/>
                  </a:lnTo>
                  <a:lnTo>
                    <a:pt x="483102" y="265806"/>
                  </a:lnTo>
                  <a:lnTo>
                    <a:pt x="452750" y="274035"/>
                  </a:lnTo>
                  <a:lnTo>
                    <a:pt x="456122" y="278973"/>
                  </a:lnTo>
                  <a:lnTo>
                    <a:pt x="456122" y="287203"/>
                  </a:lnTo>
                  <a:lnTo>
                    <a:pt x="446005" y="305307"/>
                  </a:lnTo>
                  <a:lnTo>
                    <a:pt x="442633" y="308599"/>
                  </a:lnTo>
                  <a:lnTo>
                    <a:pt x="444319" y="334933"/>
                  </a:lnTo>
                  <a:lnTo>
                    <a:pt x="403849" y="318474"/>
                  </a:lnTo>
                  <a:lnTo>
                    <a:pt x="407222" y="311890"/>
                  </a:lnTo>
                  <a:lnTo>
                    <a:pt x="407222" y="303661"/>
                  </a:lnTo>
                  <a:lnTo>
                    <a:pt x="398791" y="290494"/>
                  </a:lnTo>
                  <a:lnTo>
                    <a:pt x="386987" y="288848"/>
                  </a:lnTo>
                  <a:lnTo>
                    <a:pt x="380242" y="285557"/>
                  </a:lnTo>
                  <a:lnTo>
                    <a:pt x="375184" y="298724"/>
                  </a:lnTo>
                  <a:lnTo>
                    <a:pt x="368439" y="297078"/>
                  </a:lnTo>
                  <a:lnTo>
                    <a:pt x="363380" y="310245"/>
                  </a:lnTo>
                  <a:lnTo>
                    <a:pt x="351576" y="303661"/>
                  </a:lnTo>
                  <a:lnTo>
                    <a:pt x="356635" y="288848"/>
                  </a:lnTo>
                  <a:lnTo>
                    <a:pt x="344832" y="290494"/>
                  </a:lnTo>
                  <a:lnTo>
                    <a:pt x="341459" y="285557"/>
                  </a:lnTo>
                  <a:lnTo>
                    <a:pt x="329656" y="280619"/>
                  </a:lnTo>
                  <a:lnTo>
                    <a:pt x="317852" y="287203"/>
                  </a:lnTo>
                  <a:lnTo>
                    <a:pt x="319538" y="298724"/>
                  </a:lnTo>
                  <a:lnTo>
                    <a:pt x="316166" y="310245"/>
                  </a:lnTo>
                  <a:lnTo>
                    <a:pt x="317852" y="318474"/>
                  </a:lnTo>
                  <a:lnTo>
                    <a:pt x="304362" y="329995"/>
                  </a:lnTo>
                  <a:lnTo>
                    <a:pt x="304362" y="341516"/>
                  </a:lnTo>
                  <a:lnTo>
                    <a:pt x="295931" y="344808"/>
                  </a:lnTo>
                  <a:lnTo>
                    <a:pt x="294245" y="349745"/>
                  </a:lnTo>
                  <a:lnTo>
                    <a:pt x="267265" y="369496"/>
                  </a:lnTo>
                  <a:lnTo>
                    <a:pt x="267265" y="371142"/>
                  </a:lnTo>
                  <a:lnTo>
                    <a:pt x="263893" y="371142"/>
                  </a:lnTo>
                  <a:lnTo>
                    <a:pt x="218365" y="384308"/>
                  </a:lnTo>
                  <a:lnTo>
                    <a:pt x="184640" y="344808"/>
                  </a:lnTo>
                  <a:lnTo>
                    <a:pt x="179582" y="348100"/>
                  </a:lnTo>
                  <a:lnTo>
                    <a:pt x="171151" y="339870"/>
                  </a:lnTo>
                  <a:lnTo>
                    <a:pt x="157661" y="359621"/>
                  </a:lnTo>
                  <a:lnTo>
                    <a:pt x="149230" y="356329"/>
                  </a:lnTo>
                  <a:lnTo>
                    <a:pt x="139112" y="369496"/>
                  </a:lnTo>
                  <a:lnTo>
                    <a:pt x="137426" y="364558"/>
                  </a:lnTo>
                  <a:lnTo>
                    <a:pt x="132367" y="371142"/>
                  </a:lnTo>
                  <a:lnTo>
                    <a:pt x="127309" y="367850"/>
                  </a:lnTo>
                  <a:lnTo>
                    <a:pt x="105388" y="397475"/>
                  </a:lnTo>
                  <a:lnTo>
                    <a:pt x="63232" y="387600"/>
                  </a:lnTo>
                  <a:lnTo>
                    <a:pt x="63232" y="384308"/>
                  </a:lnTo>
                  <a:lnTo>
                    <a:pt x="66605" y="382663"/>
                  </a:lnTo>
                  <a:lnTo>
                    <a:pt x="59860" y="374433"/>
                  </a:lnTo>
                  <a:lnTo>
                    <a:pt x="54801" y="362912"/>
                  </a:lnTo>
                  <a:lnTo>
                    <a:pt x="58173" y="364558"/>
                  </a:lnTo>
                  <a:lnTo>
                    <a:pt x="56487" y="356329"/>
                  </a:lnTo>
                  <a:lnTo>
                    <a:pt x="51428" y="354683"/>
                  </a:lnTo>
                  <a:lnTo>
                    <a:pt x="54801" y="349745"/>
                  </a:lnTo>
                  <a:lnTo>
                    <a:pt x="48056" y="349745"/>
                  </a:lnTo>
                  <a:lnTo>
                    <a:pt x="46370" y="344808"/>
                  </a:lnTo>
                  <a:lnTo>
                    <a:pt x="42997" y="346453"/>
                  </a:lnTo>
                  <a:lnTo>
                    <a:pt x="41311" y="341516"/>
                  </a:lnTo>
                  <a:lnTo>
                    <a:pt x="44684" y="339870"/>
                  </a:lnTo>
                  <a:lnTo>
                    <a:pt x="39625" y="333287"/>
                  </a:lnTo>
                  <a:lnTo>
                    <a:pt x="36253" y="336579"/>
                  </a:lnTo>
                  <a:lnTo>
                    <a:pt x="27821" y="326703"/>
                  </a:lnTo>
                  <a:lnTo>
                    <a:pt x="24449" y="315182"/>
                  </a:lnTo>
                  <a:lnTo>
                    <a:pt x="24449" y="297078"/>
                  </a:lnTo>
                  <a:lnTo>
                    <a:pt x="14332" y="262514"/>
                  </a:lnTo>
                  <a:lnTo>
                    <a:pt x="7587" y="257577"/>
                  </a:lnTo>
                  <a:lnTo>
                    <a:pt x="4214" y="246056"/>
                  </a:lnTo>
                  <a:lnTo>
                    <a:pt x="7587" y="236181"/>
                  </a:lnTo>
                  <a:lnTo>
                    <a:pt x="21076" y="232889"/>
                  </a:lnTo>
                  <a:lnTo>
                    <a:pt x="24449" y="236181"/>
                  </a:lnTo>
                  <a:lnTo>
                    <a:pt x="39625" y="214785"/>
                  </a:lnTo>
                  <a:lnTo>
                    <a:pt x="71663" y="191742"/>
                  </a:lnTo>
                  <a:lnTo>
                    <a:pt x="86839" y="186805"/>
                  </a:lnTo>
                  <a:lnTo>
                    <a:pt x="95270" y="190096"/>
                  </a:lnTo>
                  <a:lnTo>
                    <a:pt x="96957" y="196680"/>
                  </a:lnTo>
                  <a:lnTo>
                    <a:pt x="98643" y="193388"/>
                  </a:lnTo>
                  <a:lnTo>
                    <a:pt x="105388" y="190096"/>
                  </a:lnTo>
                  <a:lnTo>
                    <a:pt x="110446" y="191742"/>
                  </a:lnTo>
                  <a:lnTo>
                    <a:pt x="110446" y="195034"/>
                  </a:lnTo>
                  <a:lnTo>
                    <a:pt x="113819" y="196680"/>
                  </a:lnTo>
                  <a:lnTo>
                    <a:pt x="113819" y="201618"/>
                  </a:lnTo>
                  <a:lnTo>
                    <a:pt x="120564" y="204910"/>
                  </a:lnTo>
                  <a:lnTo>
                    <a:pt x="123936" y="203264"/>
                  </a:lnTo>
                  <a:lnTo>
                    <a:pt x="123936" y="195034"/>
                  </a:lnTo>
                  <a:lnTo>
                    <a:pt x="127309" y="191742"/>
                  </a:lnTo>
                  <a:lnTo>
                    <a:pt x="127309" y="178576"/>
                  </a:lnTo>
                  <a:lnTo>
                    <a:pt x="135740" y="167055"/>
                  </a:lnTo>
                  <a:lnTo>
                    <a:pt x="137426" y="158825"/>
                  </a:lnTo>
                  <a:lnTo>
                    <a:pt x="140799" y="157179"/>
                  </a:lnTo>
                  <a:lnTo>
                    <a:pt x="139112" y="155534"/>
                  </a:lnTo>
                  <a:lnTo>
                    <a:pt x="142485" y="144013"/>
                  </a:lnTo>
                  <a:lnTo>
                    <a:pt x="137426" y="140721"/>
                  </a:lnTo>
                  <a:lnTo>
                    <a:pt x="135740" y="132492"/>
                  </a:lnTo>
                  <a:lnTo>
                    <a:pt x="134054" y="129200"/>
                  </a:lnTo>
                  <a:lnTo>
                    <a:pt x="137426" y="122616"/>
                  </a:lnTo>
                  <a:lnTo>
                    <a:pt x="130681" y="116033"/>
                  </a:lnTo>
                  <a:lnTo>
                    <a:pt x="128995" y="116033"/>
                  </a:lnTo>
                  <a:lnTo>
                    <a:pt x="125622" y="102866"/>
                  </a:lnTo>
                  <a:lnTo>
                    <a:pt x="118878" y="102866"/>
                  </a:lnTo>
                  <a:lnTo>
                    <a:pt x="113819" y="97928"/>
                  </a:lnTo>
                  <a:lnTo>
                    <a:pt x="115505" y="101220"/>
                  </a:lnTo>
                  <a:lnTo>
                    <a:pt x="112133" y="99574"/>
                  </a:lnTo>
                  <a:lnTo>
                    <a:pt x="110446" y="102866"/>
                  </a:lnTo>
                  <a:lnTo>
                    <a:pt x="108760" y="94637"/>
                  </a:lnTo>
                  <a:lnTo>
                    <a:pt x="107074" y="91345"/>
                  </a:lnTo>
                  <a:lnTo>
                    <a:pt x="105388" y="92991"/>
                  </a:lnTo>
                  <a:lnTo>
                    <a:pt x="102015" y="91345"/>
                  </a:lnTo>
                  <a:lnTo>
                    <a:pt x="102015" y="86407"/>
                  </a:lnTo>
                  <a:lnTo>
                    <a:pt x="96957" y="84761"/>
                  </a:lnTo>
                  <a:lnTo>
                    <a:pt x="96957" y="81470"/>
                  </a:lnTo>
                  <a:lnTo>
                    <a:pt x="95270" y="79824"/>
                  </a:lnTo>
                  <a:lnTo>
                    <a:pt x="128995" y="68303"/>
                  </a:lnTo>
                  <a:lnTo>
                    <a:pt x="142485" y="37031"/>
                  </a:lnTo>
                  <a:lnTo>
                    <a:pt x="144171" y="28802"/>
                  </a:lnTo>
                  <a:lnTo>
                    <a:pt x="140799" y="18927"/>
                  </a:lnTo>
                  <a:lnTo>
                    <a:pt x="145857" y="18927"/>
                  </a:lnTo>
                  <a:lnTo>
                    <a:pt x="174523" y="9052"/>
                  </a:lnTo>
                  <a:lnTo>
                    <a:pt x="236913" y="17281"/>
                  </a:lnTo>
                  <a:lnTo>
                    <a:pt x="289186" y="4114"/>
                  </a:lnTo>
                  <a:lnTo>
                    <a:pt x="290872"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3" name="Sint Anthonis">
              <a:extLst>
                <a:ext uri="{FF2B5EF4-FFF2-40B4-BE49-F238E27FC236}">
                  <a16:creationId xmlns:a16="http://schemas.microsoft.com/office/drawing/2014/main" id="{12EB96C8-9A41-4F5D-A365-18D98D3A4806}"/>
                </a:ext>
              </a:extLst>
            </p:cNvPr>
            <p:cNvSpPr/>
            <p:nvPr/>
          </p:nvSpPr>
          <p:spPr>
            <a:xfrm>
              <a:off x="6605048" y="4194522"/>
              <a:ext cx="228212" cy="189252"/>
            </a:xfrm>
            <a:custGeom>
              <a:avLst/>
              <a:gdLst/>
              <a:ahLst/>
              <a:cxnLst/>
              <a:rect l="l" t="t" r="r" b="b"/>
              <a:pathLst>
                <a:path w="316120" h="285750" extrusionOk="0">
                  <a:moveTo>
                    <a:pt x="155974" y="12343"/>
                  </a:moveTo>
                  <a:lnTo>
                    <a:pt x="177895" y="28802"/>
                  </a:lnTo>
                  <a:lnTo>
                    <a:pt x="174523" y="32094"/>
                  </a:lnTo>
                  <a:lnTo>
                    <a:pt x="177895" y="37031"/>
                  </a:lnTo>
                  <a:lnTo>
                    <a:pt x="171151" y="46906"/>
                  </a:lnTo>
                  <a:lnTo>
                    <a:pt x="201503" y="68303"/>
                  </a:lnTo>
                  <a:lnTo>
                    <a:pt x="196444" y="71594"/>
                  </a:lnTo>
                  <a:lnTo>
                    <a:pt x="196444" y="89699"/>
                  </a:lnTo>
                  <a:lnTo>
                    <a:pt x="204875" y="91345"/>
                  </a:lnTo>
                  <a:lnTo>
                    <a:pt x="206561" y="88053"/>
                  </a:lnTo>
                  <a:lnTo>
                    <a:pt x="213306" y="86407"/>
                  </a:lnTo>
                  <a:lnTo>
                    <a:pt x="213306" y="83115"/>
                  </a:lnTo>
                  <a:lnTo>
                    <a:pt x="223424" y="86407"/>
                  </a:lnTo>
                  <a:lnTo>
                    <a:pt x="228482" y="92991"/>
                  </a:lnTo>
                  <a:lnTo>
                    <a:pt x="233541" y="89699"/>
                  </a:lnTo>
                  <a:lnTo>
                    <a:pt x="279069" y="117678"/>
                  </a:lnTo>
                  <a:lnTo>
                    <a:pt x="294245" y="157179"/>
                  </a:lnTo>
                  <a:lnTo>
                    <a:pt x="302676" y="168700"/>
                  </a:lnTo>
                  <a:lnTo>
                    <a:pt x="316166" y="176930"/>
                  </a:lnTo>
                  <a:lnTo>
                    <a:pt x="292559" y="190096"/>
                  </a:lnTo>
                  <a:lnTo>
                    <a:pt x="294245" y="193388"/>
                  </a:lnTo>
                  <a:lnTo>
                    <a:pt x="287500" y="196680"/>
                  </a:lnTo>
                  <a:lnTo>
                    <a:pt x="289186" y="203264"/>
                  </a:lnTo>
                  <a:lnTo>
                    <a:pt x="245345" y="227951"/>
                  </a:lnTo>
                  <a:lnTo>
                    <a:pt x="240286" y="223014"/>
                  </a:lnTo>
                  <a:lnTo>
                    <a:pt x="231855" y="227951"/>
                  </a:lnTo>
                  <a:lnTo>
                    <a:pt x="231855" y="229597"/>
                  </a:lnTo>
                  <a:lnTo>
                    <a:pt x="226796" y="232889"/>
                  </a:lnTo>
                  <a:lnTo>
                    <a:pt x="230168" y="236181"/>
                  </a:lnTo>
                  <a:lnTo>
                    <a:pt x="204875" y="249348"/>
                  </a:lnTo>
                  <a:lnTo>
                    <a:pt x="208247" y="254285"/>
                  </a:lnTo>
                  <a:lnTo>
                    <a:pt x="196444" y="260869"/>
                  </a:lnTo>
                  <a:lnTo>
                    <a:pt x="196444" y="287203"/>
                  </a:lnTo>
                  <a:lnTo>
                    <a:pt x="117191" y="272390"/>
                  </a:lnTo>
                  <a:lnTo>
                    <a:pt x="86839" y="249348"/>
                  </a:lnTo>
                  <a:lnTo>
                    <a:pt x="64918" y="201617"/>
                  </a:lnTo>
                  <a:lnTo>
                    <a:pt x="22763" y="211493"/>
                  </a:lnTo>
                  <a:lnTo>
                    <a:pt x="4214" y="119324"/>
                  </a:lnTo>
                  <a:lnTo>
                    <a:pt x="69977" y="76532"/>
                  </a:lnTo>
                  <a:lnTo>
                    <a:pt x="83467" y="50198"/>
                  </a:lnTo>
                  <a:lnTo>
                    <a:pt x="95270" y="50198"/>
                  </a:lnTo>
                  <a:lnTo>
                    <a:pt x="100329" y="38677"/>
                  </a:lnTo>
                  <a:lnTo>
                    <a:pt x="103702" y="37031"/>
                  </a:lnTo>
                  <a:lnTo>
                    <a:pt x="107074" y="40323"/>
                  </a:lnTo>
                  <a:lnTo>
                    <a:pt x="118878" y="33739"/>
                  </a:lnTo>
                  <a:lnTo>
                    <a:pt x="120564" y="35385"/>
                  </a:lnTo>
                  <a:lnTo>
                    <a:pt x="123936" y="32094"/>
                  </a:lnTo>
                  <a:lnTo>
                    <a:pt x="122250" y="30448"/>
                  </a:lnTo>
                  <a:lnTo>
                    <a:pt x="130681" y="18927"/>
                  </a:lnTo>
                  <a:lnTo>
                    <a:pt x="150916" y="4114"/>
                  </a:lnTo>
                  <a:lnTo>
                    <a:pt x="155974"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4" name="Heemstede">
              <a:extLst>
                <a:ext uri="{FF2B5EF4-FFF2-40B4-BE49-F238E27FC236}">
                  <a16:creationId xmlns:a16="http://schemas.microsoft.com/office/drawing/2014/main" id="{B746D46E-BE66-44EF-B7D0-277D1F75B3A4}"/>
                </a:ext>
              </a:extLst>
            </p:cNvPr>
            <p:cNvSpPr/>
            <p:nvPr/>
          </p:nvSpPr>
          <p:spPr>
            <a:xfrm>
              <a:off x="5400887" y="3086330"/>
              <a:ext cx="50248" cy="71021"/>
            </a:xfrm>
            <a:custGeom>
              <a:avLst/>
              <a:gdLst/>
              <a:ahLst/>
              <a:cxnLst/>
              <a:rect l="l" t="t" r="r" b="b"/>
              <a:pathLst>
                <a:path w="81957" h="102870" extrusionOk="0">
                  <a:moveTo>
                    <a:pt x="29507" y="4114"/>
                  </a:moveTo>
                  <a:lnTo>
                    <a:pt x="46370" y="9052"/>
                  </a:lnTo>
                  <a:lnTo>
                    <a:pt x="58173" y="7405"/>
                  </a:lnTo>
                  <a:lnTo>
                    <a:pt x="66604" y="10697"/>
                  </a:lnTo>
                  <a:lnTo>
                    <a:pt x="75036" y="9052"/>
                  </a:lnTo>
                  <a:lnTo>
                    <a:pt x="76722" y="13989"/>
                  </a:lnTo>
                  <a:lnTo>
                    <a:pt x="73349" y="22218"/>
                  </a:lnTo>
                  <a:lnTo>
                    <a:pt x="80094" y="37031"/>
                  </a:lnTo>
                  <a:lnTo>
                    <a:pt x="80094" y="63365"/>
                  </a:lnTo>
                  <a:lnTo>
                    <a:pt x="64918" y="66657"/>
                  </a:lnTo>
                  <a:lnTo>
                    <a:pt x="46370" y="78178"/>
                  </a:lnTo>
                  <a:lnTo>
                    <a:pt x="37939" y="92991"/>
                  </a:lnTo>
                  <a:lnTo>
                    <a:pt x="36252" y="102866"/>
                  </a:lnTo>
                  <a:lnTo>
                    <a:pt x="14331" y="89699"/>
                  </a:lnTo>
                  <a:lnTo>
                    <a:pt x="4214" y="88053"/>
                  </a:lnTo>
                  <a:lnTo>
                    <a:pt x="2950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5" name="Geertruidenberg">
              <a:extLst>
                <a:ext uri="{FF2B5EF4-FFF2-40B4-BE49-F238E27FC236}">
                  <a16:creationId xmlns:a16="http://schemas.microsoft.com/office/drawing/2014/main" id="{7F189B96-E78A-4AD9-80EE-EF5833F0A395}"/>
                </a:ext>
              </a:extLst>
            </p:cNvPr>
            <p:cNvSpPr/>
            <p:nvPr/>
          </p:nvSpPr>
          <p:spPr>
            <a:xfrm>
              <a:off x="5627007" y="4124573"/>
              <a:ext cx="119547" cy="80486"/>
            </a:xfrm>
            <a:custGeom>
              <a:avLst/>
              <a:gdLst/>
              <a:ahLst/>
              <a:cxnLst/>
              <a:rect l="l" t="t" r="r" b="b"/>
              <a:pathLst>
                <a:path w="163914" h="114300" extrusionOk="0">
                  <a:moveTo>
                    <a:pt x="91898" y="4114"/>
                  </a:moveTo>
                  <a:lnTo>
                    <a:pt x="122250" y="7406"/>
                  </a:lnTo>
                  <a:lnTo>
                    <a:pt x="149229" y="4114"/>
                  </a:lnTo>
                  <a:lnTo>
                    <a:pt x="171150" y="109449"/>
                  </a:lnTo>
                  <a:lnTo>
                    <a:pt x="159347" y="112741"/>
                  </a:lnTo>
                  <a:lnTo>
                    <a:pt x="159347" y="117678"/>
                  </a:lnTo>
                  <a:lnTo>
                    <a:pt x="147543" y="112741"/>
                  </a:lnTo>
                  <a:lnTo>
                    <a:pt x="142484" y="112741"/>
                  </a:lnTo>
                  <a:lnTo>
                    <a:pt x="140798" y="109449"/>
                  </a:lnTo>
                  <a:lnTo>
                    <a:pt x="118877" y="114387"/>
                  </a:lnTo>
                  <a:lnTo>
                    <a:pt x="90211" y="114387"/>
                  </a:lnTo>
                  <a:lnTo>
                    <a:pt x="90211" y="119324"/>
                  </a:lnTo>
                  <a:lnTo>
                    <a:pt x="83467" y="112741"/>
                  </a:lnTo>
                  <a:lnTo>
                    <a:pt x="63232" y="107803"/>
                  </a:lnTo>
                  <a:lnTo>
                    <a:pt x="53115" y="99574"/>
                  </a:lnTo>
                  <a:lnTo>
                    <a:pt x="54801" y="96282"/>
                  </a:lnTo>
                  <a:lnTo>
                    <a:pt x="34566" y="84761"/>
                  </a:lnTo>
                  <a:lnTo>
                    <a:pt x="32880" y="101220"/>
                  </a:lnTo>
                  <a:lnTo>
                    <a:pt x="14331" y="68302"/>
                  </a:lnTo>
                  <a:lnTo>
                    <a:pt x="4214" y="23864"/>
                  </a:lnTo>
                  <a:lnTo>
                    <a:pt x="29507" y="20573"/>
                  </a:lnTo>
                  <a:lnTo>
                    <a:pt x="80094" y="4114"/>
                  </a:lnTo>
                  <a:lnTo>
                    <a:pt x="9189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6" name="Wassenaar">
              <a:extLst>
                <a:ext uri="{FF2B5EF4-FFF2-40B4-BE49-F238E27FC236}">
                  <a16:creationId xmlns:a16="http://schemas.microsoft.com/office/drawing/2014/main" id="{4FA62A89-D455-459E-8532-CBE2CAC98EC0}"/>
                </a:ext>
              </a:extLst>
            </p:cNvPr>
            <p:cNvSpPr/>
            <p:nvPr/>
          </p:nvSpPr>
          <p:spPr>
            <a:xfrm>
              <a:off x="5084957" y="3367179"/>
              <a:ext cx="151901" cy="156095"/>
            </a:xfrm>
            <a:custGeom>
              <a:avLst/>
              <a:gdLst/>
              <a:ahLst/>
              <a:cxnLst/>
              <a:rect l="l" t="t" r="r" b="b"/>
              <a:pathLst>
                <a:path w="222455" h="228600" extrusionOk="0">
                  <a:moveTo>
                    <a:pt x="149229" y="38677"/>
                  </a:moveTo>
                  <a:lnTo>
                    <a:pt x="159347" y="51844"/>
                  </a:lnTo>
                  <a:lnTo>
                    <a:pt x="166092" y="46906"/>
                  </a:lnTo>
                  <a:lnTo>
                    <a:pt x="169464" y="61719"/>
                  </a:lnTo>
                  <a:lnTo>
                    <a:pt x="172837" y="60074"/>
                  </a:lnTo>
                  <a:lnTo>
                    <a:pt x="179582" y="66657"/>
                  </a:lnTo>
                  <a:lnTo>
                    <a:pt x="182954" y="65011"/>
                  </a:lnTo>
                  <a:lnTo>
                    <a:pt x="191385" y="71595"/>
                  </a:lnTo>
                  <a:lnTo>
                    <a:pt x="213306" y="81470"/>
                  </a:lnTo>
                  <a:lnTo>
                    <a:pt x="211620" y="86407"/>
                  </a:lnTo>
                  <a:lnTo>
                    <a:pt x="218365" y="104512"/>
                  </a:lnTo>
                  <a:lnTo>
                    <a:pt x="152602" y="186805"/>
                  </a:lnTo>
                  <a:lnTo>
                    <a:pt x="108760" y="226306"/>
                  </a:lnTo>
                  <a:lnTo>
                    <a:pt x="86839" y="199972"/>
                  </a:lnTo>
                  <a:lnTo>
                    <a:pt x="61546" y="219722"/>
                  </a:lnTo>
                  <a:lnTo>
                    <a:pt x="59860" y="218076"/>
                  </a:lnTo>
                  <a:lnTo>
                    <a:pt x="56487" y="219722"/>
                  </a:lnTo>
                  <a:lnTo>
                    <a:pt x="54801" y="216431"/>
                  </a:lnTo>
                  <a:lnTo>
                    <a:pt x="39625" y="224660"/>
                  </a:lnTo>
                  <a:lnTo>
                    <a:pt x="32880" y="214785"/>
                  </a:lnTo>
                  <a:lnTo>
                    <a:pt x="46370" y="206555"/>
                  </a:lnTo>
                  <a:lnTo>
                    <a:pt x="44684" y="203264"/>
                  </a:lnTo>
                  <a:lnTo>
                    <a:pt x="48056" y="199972"/>
                  </a:lnTo>
                  <a:lnTo>
                    <a:pt x="4214" y="145658"/>
                  </a:lnTo>
                  <a:lnTo>
                    <a:pt x="68291" y="68303"/>
                  </a:lnTo>
                  <a:lnTo>
                    <a:pt x="113819" y="4114"/>
                  </a:lnTo>
                  <a:lnTo>
                    <a:pt x="140798" y="33740"/>
                  </a:lnTo>
                  <a:lnTo>
                    <a:pt x="149229" y="3867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7" name="Appingedam">
              <a:extLst>
                <a:ext uri="{FF2B5EF4-FFF2-40B4-BE49-F238E27FC236}">
                  <a16:creationId xmlns:a16="http://schemas.microsoft.com/office/drawing/2014/main" id="{807297DB-1B48-4252-B054-29084B6AB5A8}"/>
                </a:ext>
              </a:extLst>
            </p:cNvPr>
            <p:cNvSpPr/>
            <p:nvPr/>
          </p:nvSpPr>
          <p:spPr>
            <a:xfrm>
              <a:off x="7676836" y="1495621"/>
              <a:ext cx="82228" cy="89894"/>
            </a:xfrm>
            <a:custGeom>
              <a:avLst/>
              <a:gdLst/>
              <a:ahLst/>
              <a:cxnLst/>
              <a:rect l="l" t="t" r="r" b="b"/>
              <a:pathLst>
                <a:path w="128789" h="137160" extrusionOk="0">
                  <a:moveTo>
                    <a:pt x="123936" y="15635"/>
                  </a:moveTo>
                  <a:lnTo>
                    <a:pt x="120564" y="27156"/>
                  </a:lnTo>
                  <a:lnTo>
                    <a:pt x="118877" y="50198"/>
                  </a:lnTo>
                  <a:lnTo>
                    <a:pt x="122250" y="61719"/>
                  </a:lnTo>
                  <a:lnTo>
                    <a:pt x="122250" y="79824"/>
                  </a:lnTo>
                  <a:lnTo>
                    <a:pt x="125622" y="96282"/>
                  </a:lnTo>
                  <a:lnTo>
                    <a:pt x="128995" y="94636"/>
                  </a:lnTo>
                  <a:lnTo>
                    <a:pt x="128995" y="124262"/>
                  </a:lnTo>
                  <a:lnTo>
                    <a:pt x="117191" y="124262"/>
                  </a:lnTo>
                  <a:lnTo>
                    <a:pt x="117191" y="127554"/>
                  </a:lnTo>
                  <a:lnTo>
                    <a:pt x="110446" y="129200"/>
                  </a:lnTo>
                  <a:lnTo>
                    <a:pt x="108760" y="127554"/>
                  </a:lnTo>
                  <a:lnTo>
                    <a:pt x="90211" y="130845"/>
                  </a:lnTo>
                  <a:lnTo>
                    <a:pt x="88526" y="129200"/>
                  </a:lnTo>
                  <a:lnTo>
                    <a:pt x="75036" y="127554"/>
                  </a:lnTo>
                  <a:lnTo>
                    <a:pt x="68291" y="144012"/>
                  </a:lnTo>
                  <a:lnTo>
                    <a:pt x="41311" y="142367"/>
                  </a:lnTo>
                  <a:lnTo>
                    <a:pt x="36252" y="125908"/>
                  </a:lnTo>
                  <a:lnTo>
                    <a:pt x="24449" y="132491"/>
                  </a:lnTo>
                  <a:lnTo>
                    <a:pt x="10959" y="109449"/>
                  </a:lnTo>
                  <a:lnTo>
                    <a:pt x="16018" y="106158"/>
                  </a:lnTo>
                  <a:lnTo>
                    <a:pt x="4214" y="83115"/>
                  </a:lnTo>
                  <a:lnTo>
                    <a:pt x="7587" y="79824"/>
                  </a:lnTo>
                  <a:lnTo>
                    <a:pt x="4214" y="71594"/>
                  </a:lnTo>
                  <a:lnTo>
                    <a:pt x="7587" y="69949"/>
                  </a:lnTo>
                  <a:lnTo>
                    <a:pt x="5900" y="63365"/>
                  </a:lnTo>
                  <a:lnTo>
                    <a:pt x="9273" y="63365"/>
                  </a:lnTo>
                  <a:lnTo>
                    <a:pt x="9273" y="58427"/>
                  </a:lnTo>
                  <a:lnTo>
                    <a:pt x="14332" y="56782"/>
                  </a:lnTo>
                  <a:lnTo>
                    <a:pt x="14332" y="60073"/>
                  </a:lnTo>
                  <a:lnTo>
                    <a:pt x="17704" y="61719"/>
                  </a:lnTo>
                  <a:lnTo>
                    <a:pt x="21076" y="56782"/>
                  </a:lnTo>
                  <a:lnTo>
                    <a:pt x="34566" y="51844"/>
                  </a:lnTo>
                  <a:lnTo>
                    <a:pt x="49742" y="55136"/>
                  </a:lnTo>
                  <a:lnTo>
                    <a:pt x="51428" y="50198"/>
                  </a:lnTo>
                  <a:lnTo>
                    <a:pt x="54801" y="48552"/>
                  </a:lnTo>
                  <a:lnTo>
                    <a:pt x="56487" y="46906"/>
                  </a:lnTo>
                  <a:lnTo>
                    <a:pt x="48056" y="32094"/>
                  </a:lnTo>
                  <a:lnTo>
                    <a:pt x="48056" y="23864"/>
                  </a:lnTo>
                  <a:lnTo>
                    <a:pt x="46370" y="18927"/>
                  </a:lnTo>
                  <a:lnTo>
                    <a:pt x="51428" y="10697"/>
                  </a:lnTo>
                  <a:lnTo>
                    <a:pt x="59859" y="10697"/>
                  </a:lnTo>
                  <a:lnTo>
                    <a:pt x="63232" y="15635"/>
                  </a:lnTo>
                  <a:lnTo>
                    <a:pt x="69977" y="12343"/>
                  </a:lnTo>
                  <a:lnTo>
                    <a:pt x="86839" y="15635"/>
                  </a:lnTo>
                  <a:lnTo>
                    <a:pt x="88526" y="12343"/>
                  </a:lnTo>
                  <a:lnTo>
                    <a:pt x="91898" y="13989"/>
                  </a:lnTo>
                  <a:lnTo>
                    <a:pt x="90211" y="17281"/>
                  </a:lnTo>
                  <a:lnTo>
                    <a:pt x="96957" y="18927"/>
                  </a:lnTo>
                  <a:lnTo>
                    <a:pt x="96957" y="13989"/>
                  </a:lnTo>
                  <a:lnTo>
                    <a:pt x="107074" y="15635"/>
                  </a:lnTo>
                  <a:lnTo>
                    <a:pt x="108760" y="4114"/>
                  </a:lnTo>
                  <a:lnTo>
                    <a:pt x="123936" y="9052"/>
                  </a:lnTo>
                  <a:lnTo>
                    <a:pt x="123936"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8" name="Horst aan de Maas">
              <a:extLst>
                <a:ext uri="{FF2B5EF4-FFF2-40B4-BE49-F238E27FC236}">
                  <a16:creationId xmlns:a16="http://schemas.microsoft.com/office/drawing/2014/main" id="{75033886-E1C1-4DE6-9C89-0A45D02DF001}"/>
                </a:ext>
              </a:extLst>
            </p:cNvPr>
            <p:cNvSpPr/>
            <p:nvPr/>
          </p:nvSpPr>
          <p:spPr>
            <a:xfrm>
              <a:off x="6751363" y="4438084"/>
              <a:ext cx="314078" cy="239263"/>
            </a:xfrm>
            <a:custGeom>
              <a:avLst/>
              <a:gdLst/>
              <a:ahLst/>
              <a:cxnLst/>
              <a:rect l="l" t="t" r="r" b="b"/>
              <a:pathLst>
                <a:path w="468326" h="354330" extrusionOk="0">
                  <a:moveTo>
                    <a:pt x="316166" y="4114"/>
                  </a:moveTo>
                  <a:lnTo>
                    <a:pt x="319538" y="5760"/>
                  </a:lnTo>
                  <a:lnTo>
                    <a:pt x="331341" y="5760"/>
                  </a:lnTo>
                  <a:lnTo>
                    <a:pt x="344832" y="9052"/>
                  </a:lnTo>
                  <a:lnTo>
                    <a:pt x="351576" y="7406"/>
                  </a:lnTo>
                  <a:lnTo>
                    <a:pt x="361694" y="9052"/>
                  </a:lnTo>
                  <a:lnTo>
                    <a:pt x="361694" y="17281"/>
                  </a:lnTo>
                  <a:lnTo>
                    <a:pt x="385301" y="37031"/>
                  </a:lnTo>
                  <a:lnTo>
                    <a:pt x="392046" y="27156"/>
                  </a:lnTo>
                  <a:lnTo>
                    <a:pt x="400477" y="33740"/>
                  </a:lnTo>
                  <a:lnTo>
                    <a:pt x="413966" y="13989"/>
                  </a:lnTo>
                  <a:lnTo>
                    <a:pt x="444319" y="30448"/>
                  </a:lnTo>
                  <a:lnTo>
                    <a:pt x="456122" y="46907"/>
                  </a:lnTo>
                  <a:lnTo>
                    <a:pt x="457808" y="60074"/>
                  </a:lnTo>
                  <a:lnTo>
                    <a:pt x="454436" y="92991"/>
                  </a:lnTo>
                  <a:lnTo>
                    <a:pt x="471298" y="124262"/>
                  </a:lnTo>
                  <a:lnTo>
                    <a:pt x="474671" y="137429"/>
                  </a:lnTo>
                  <a:lnTo>
                    <a:pt x="469612" y="152242"/>
                  </a:lnTo>
                  <a:lnTo>
                    <a:pt x="440946" y="191742"/>
                  </a:lnTo>
                  <a:lnTo>
                    <a:pt x="437574" y="203264"/>
                  </a:lnTo>
                  <a:lnTo>
                    <a:pt x="435887" y="214785"/>
                  </a:lnTo>
                  <a:lnTo>
                    <a:pt x="444319" y="247702"/>
                  </a:lnTo>
                  <a:lnTo>
                    <a:pt x="440946" y="255931"/>
                  </a:lnTo>
                  <a:lnTo>
                    <a:pt x="432515" y="267452"/>
                  </a:lnTo>
                  <a:lnTo>
                    <a:pt x="429143" y="280619"/>
                  </a:lnTo>
                  <a:lnTo>
                    <a:pt x="435887" y="311891"/>
                  </a:lnTo>
                  <a:lnTo>
                    <a:pt x="417339" y="315182"/>
                  </a:lnTo>
                  <a:lnTo>
                    <a:pt x="408908" y="264160"/>
                  </a:lnTo>
                  <a:lnTo>
                    <a:pt x="403849" y="269098"/>
                  </a:lnTo>
                  <a:lnTo>
                    <a:pt x="402163" y="267452"/>
                  </a:lnTo>
                  <a:lnTo>
                    <a:pt x="397104" y="269098"/>
                  </a:lnTo>
                  <a:lnTo>
                    <a:pt x="397104" y="267452"/>
                  </a:lnTo>
                  <a:lnTo>
                    <a:pt x="392046" y="267452"/>
                  </a:lnTo>
                  <a:lnTo>
                    <a:pt x="378556" y="250994"/>
                  </a:lnTo>
                  <a:lnTo>
                    <a:pt x="368439" y="254286"/>
                  </a:lnTo>
                  <a:lnTo>
                    <a:pt x="366752" y="255931"/>
                  </a:lnTo>
                  <a:lnTo>
                    <a:pt x="365066" y="254286"/>
                  </a:lnTo>
                  <a:lnTo>
                    <a:pt x="356635" y="255931"/>
                  </a:lnTo>
                  <a:lnTo>
                    <a:pt x="324597" y="254286"/>
                  </a:lnTo>
                  <a:lnTo>
                    <a:pt x="319538" y="254286"/>
                  </a:lnTo>
                  <a:lnTo>
                    <a:pt x="317852" y="280619"/>
                  </a:lnTo>
                  <a:lnTo>
                    <a:pt x="312793" y="288849"/>
                  </a:lnTo>
                  <a:lnTo>
                    <a:pt x="311107" y="300370"/>
                  </a:lnTo>
                  <a:lnTo>
                    <a:pt x="312793" y="313536"/>
                  </a:lnTo>
                  <a:lnTo>
                    <a:pt x="228482" y="346453"/>
                  </a:lnTo>
                  <a:lnTo>
                    <a:pt x="184640" y="357975"/>
                  </a:lnTo>
                  <a:lnTo>
                    <a:pt x="134053" y="357975"/>
                  </a:lnTo>
                  <a:lnTo>
                    <a:pt x="117191" y="346453"/>
                  </a:lnTo>
                  <a:lnTo>
                    <a:pt x="93584" y="341516"/>
                  </a:lnTo>
                  <a:lnTo>
                    <a:pt x="4214" y="193389"/>
                  </a:lnTo>
                  <a:lnTo>
                    <a:pt x="125622" y="152242"/>
                  </a:lnTo>
                  <a:lnTo>
                    <a:pt x="188013" y="122616"/>
                  </a:lnTo>
                  <a:lnTo>
                    <a:pt x="243658" y="111095"/>
                  </a:lnTo>
                  <a:lnTo>
                    <a:pt x="252089" y="104512"/>
                  </a:lnTo>
                  <a:lnTo>
                    <a:pt x="258834" y="91345"/>
                  </a:lnTo>
                  <a:lnTo>
                    <a:pt x="274010" y="84761"/>
                  </a:lnTo>
                  <a:lnTo>
                    <a:pt x="277382" y="88053"/>
                  </a:lnTo>
                  <a:lnTo>
                    <a:pt x="287500" y="89699"/>
                  </a:lnTo>
                  <a:lnTo>
                    <a:pt x="292559" y="92991"/>
                  </a:lnTo>
                  <a:lnTo>
                    <a:pt x="302676" y="91345"/>
                  </a:lnTo>
                  <a:lnTo>
                    <a:pt x="311107" y="73240"/>
                  </a:lnTo>
                  <a:lnTo>
                    <a:pt x="299303" y="43615"/>
                  </a:lnTo>
                  <a:lnTo>
                    <a:pt x="295931" y="23865"/>
                  </a:lnTo>
                  <a:lnTo>
                    <a:pt x="299303" y="4114"/>
                  </a:lnTo>
                  <a:lnTo>
                    <a:pt x="31616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299" name="Baarn">
              <a:extLst>
                <a:ext uri="{FF2B5EF4-FFF2-40B4-BE49-F238E27FC236}">
                  <a16:creationId xmlns:a16="http://schemas.microsoft.com/office/drawing/2014/main" id="{53955349-D430-4639-8748-E9132145F3E5}"/>
                </a:ext>
              </a:extLst>
            </p:cNvPr>
            <p:cNvSpPr/>
            <p:nvPr/>
          </p:nvSpPr>
          <p:spPr>
            <a:xfrm>
              <a:off x="6048115" y="3299698"/>
              <a:ext cx="129823" cy="106919"/>
            </a:xfrm>
            <a:custGeom>
              <a:avLst/>
              <a:gdLst/>
              <a:ahLst/>
              <a:cxnLst/>
              <a:rect l="l" t="t" r="r" b="b"/>
              <a:pathLst>
                <a:path w="187330" h="160020" extrusionOk="0">
                  <a:moveTo>
                    <a:pt x="164405" y="7406"/>
                  </a:moveTo>
                  <a:lnTo>
                    <a:pt x="193071" y="13989"/>
                  </a:lnTo>
                  <a:lnTo>
                    <a:pt x="191385" y="35385"/>
                  </a:lnTo>
                  <a:lnTo>
                    <a:pt x="181268" y="61719"/>
                  </a:lnTo>
                  <a:lnTo>
                    <a:pt x="184640" y="74886"/>
                  </a:lnTo>
                  <a:lnTo>
                    <a:pt x="161033" y="76532"/>
                  </a:lnTo>
                  <a:lnTo>
                    <a:pt x="159347" y="73240"/>
                  </a:lnTo>
                  <a:lnTo>
                    <a:pt x="154288" y="74886"/>
                  </a:lnTo>
                  <a:lnTo>
                    <a:pt x="150916" y="73240"/>
                  </a:lnTo>
                  <a:lnTo>
                    <a:pt x="144170" y="83116"/>
                  </a:lnTo>
                  <a:lnTo>
                    <a:pt x="90211" y="114387"/>
                  </a:lnTo>
                  <a:lnTo>
                    <a:pt x="58173" y="145658"/>
                  </a:lnTo>
                  <a:lnTo>
                    <a:pt x="46370" y="162117"/>
                  </a:lnTo>
                  <a:lnTo>
                    <a:pt x="44684" y="152242"/>
                  </a:lnTo>
                  <a:lnTo>
                    <a:pt x="41311" y="152242"/>
                  </a:lnTo>
                  <a:lnTo>
                    <a:pt x="41311" y="162117"/>
                  </a:lnTo>
                  <a:lnTo>
                    <a:pt x="22763" y="167055"/>
                  </a:lnTo>
                  <a:lnTo>
                    <a:pt x="17704" y="135783"/>
                  </a:lnTo>
                  <a:lnTo>
                    <a:pt x="4214" y="140721"/>
                  </a:lnTo>
                  <a:lnTo>
                    <a:pt x="10959" y="112741"/>
                  </a:lnTo>
                  <a:lnTo>
                    <a:pt x="7586" y="107803"/>
                  </a:lnTo>
                  <a:lnTo>
                    <a:pt x="7586" y="81470"/>
                  </a:lnTo>
                  <a:lnTo>
                    <a:pt x="24449" y="22219"/>
                  </a:lnTo>
                  <a:lnTo>
                    <a:pt x="120563" y="28802"/>
                  </a:lnTo>
                  <a:lnTo>
                    <a:pt x="140798" y="27156"/>
                  </a:lnTo>
                  <a:lnTo>
                    <a:pt x="149230" y="37031"/>
                  </a:lnTo>
                  <a:lnTo>
                    <a:pt x="157661" y="32094"/>
                  </a:lnTo>
                  <a:lnTo>
                    <a:pt x="161033" y="25510"/>
                  </a:lnTo>
                  <a:lnTo>
                    <a:pt x="159347" y="22219"/>
                  </a:lnTo>
                  <a:lnTo>
                    <a:pt x="159347" y="23864"/>
                  </a:lnTo>
                  <a:lnTo>
                    <a:pt x="155974" y="23864"/>
                  </a:lnTo>
                  <a:lnTo>
                    <a:pt x="154288" y="20573"/>
                  </a:lnTo>
                  <a:lnTo>
                    <a:pt x="155974" y="18927"/>
                  </a:lnTo>
                  <a:lnTo>
                    <a:pt x="149230" y="12343"/>
                  </a:lnTo>
                  <a:lnTo>
                    <a:pt x="149230" y="9052"/>
                  </a:lnTo>
                  <a:lnTo>
                    <a:pt x="157661" y="4114"/>
                  </a:lnTo>
                  <a:lnTo>
                    <a:pt x="164405"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0" name="Krimpen aan den Ijssel">
              <a:extLst>
                <a:ext uri="{FF2B5EF4-FFF2-40B4-BE49-F238E27FC236}">
                  <a16:creationId xmlns:a16="http://schemas.microsoft.com/office/drawing/2014/main" id="{66277222-267D-4032-A014-F1B5A5BB6BD3}"/>
                </a:ext>
              </a:extLst>
            </p:cNvPr>
            <p:cNvSpPr/>
            <p:nvPr/>
          </p:nvSpPr>
          <p:spPr>
            <a:xfrm>
              <a:off x="5341682" y="3786567"/>
              <a:ext cx="96861" cy="47271"/>
            </a:xfrm>
            <a:custGeom>
              <a:avLst/>
              <a:gdLst/>
              <a:ahLst/>
              <a:cxnLst/>
              <a:rect l="l" t="t" r="r" b="b"/>
              <a:pathLst>
                <a:path w="140498" h="68580" extrusionOk="0">
                  <a:moveTo>
                    <a:pt x="112133" y="7406"/>
                  </a:moveTo>
                  <a:lnTo>
                    <a:pt x="147543" y="48552"/>
                  </a:lnTo>
                  <a:lnTo>
                    <a:pt x="145857" y="50198"/>
                  </a:lnTo>
                  <a:lnTo>
                    <a:pt x="135740" y="55136"/>
                  </a:lnTo>
                  <a:lnTo>
                    <a:pt x="115505" y="60073"/>
                  </a:lnTo>
                  <a:lnTo>
                    <a:pt x="83467" y="61719"/>
                  </a:lnTo>
                  <a:lnTo>
                    <a:pt x="76722" y="60073"/>
                  </a:lnTo>
                  <a:lnTo>
                    <a:pt x="75036" y="61719"/>
                  </a:lnTo>
                  <a:lnTo>
                    <a:pt x="76722" y="65011"/>
                  </a:lnTo>
                  <a:lnTo>
                    <a:pt x="71663" y="68302"/>
                  </a:lnTo>
                  <a:lnTo>
                    <a:pt x="69977" y="65011"/>
                  </a:lnTo>
                  <a:lnTo>
                    <a:pt x="64918" y="68302"/>
                  </a:lnTo>
                  <a:lnTo>
                    <a:pt x="64918" y="73240"/>
                  </a:lnTo>
                  <a:lnTo>
                    <a:pt x="54801" y="68302"/>
                  </a:lnTo>
                  <a:lnTo>
                    <a:pt x="46370" y="71594"/>
                  </a:lnTo>
                  <a:lnTo>
                    <a:pt x="12645" y="65011"/>
                  </a:lnTo>
                  <a:lnTo>
                    <a:pt x="4214" y="66657"/>
                  </a:lnTo>
                  <a:lnTo>
                    <a:pt x="5900" y="61719"/>
                  </a:lnTo>
                  <a:lnTo>
                    <a:pt x="32880" y="55136"/>
                  </a:lnTo>
                  <a:lnTo>
                    <a:pt x="48056" y="41969"/>
                  </a:lnTo>
                  <a:lnTo>
                    <a:pt x="56487" y="28802"/>
                  </a:lnTo>
                  <a:lnTo>
                    <a:pt x="64918" y="25510"/>
                  </a:lnTo>
                  <a:lnTo>
                    <a:pt x="81781" y="15635"/>
                  </a:lnTo>
                  <a:lnTo>
                    <a:pt x="100329" y="17281"/>
                  </a:lnTo>
                  <a:lnTo>
                    <a:pt x="105388" y="13989"/>
                  </a:lnTo>
                  <a:lnTo>
                    <a:pt x="110446" y="4114"/>
                  </a:lnTo>
                  <a:lnTo>
                    <a:pt x="112133"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1" name="Arnhem">
              <a:extLst>
                <a:ext uri="{FF2B5EF4-FFF2-40B4-BE49-F238E27FC236}">
                  <a16:creationId xmlns:a16="http://schemas.microsoft.com/office/drawing/2014/main" id="{05677CA6-F2D1-470F-8C89-BB848447B556}"/>
                </a:ext>
              </a:extLst>
            </p:cNvPr>
            <p:cNvSpPr/>
            <p:nvPr/>
          </p:nvSpPr>
          <p:spPr>
            <a:xfrm>
              <a:off x="6664126" y="3546797"/>
              <a:ext cx="208412" cy="241168"/>
            </a:xfrm>
            <a:custGeom>
              <a:avLst/>
              <a:gdLst/>
              <a:ahLst/>
              <a:cxnLst/>
              <a:rect l="l" t="t" r="r" b="b"/>
              <a:pathLst>
                <a:path w="292704" h="354330" extrusionOk="0">
                  <a:moveTo>
                    <a:pt x="221737" y="4114"/>
                  </a:moveTo>
                  <a:lnTo>
                    <a:pt x="235227" y="15635"/>
                  </a:lnTo>
                  <a:lnTo>
                    <a:pt x="216679" y="41969"/>
                  </a:lnTo>
                  <a:lnTo>
                    <a:pt x="208247" y="76532"/>
                  </a:lnTo>
                  <a:lnTo>
                    <a:pt x="214992" y="165409"/>
                  </a:lnTo>
                  <a:lnTo>
                    <a:pt x="221737" y="167054"/>
                  </a:lnTo>
                  <a:lnTo>
                    <a:pt x="218365" y="168700"/>
                  </a:lnTo>
                  <a:lnTo>
                    <a:pt x="225110" y="176930"/>
                  </a:lnTo>
                  <a:lnTo>
                    <a:pt x="233541" y="204909"/>
                  </a:lnTo>
                  <a:lnTo>
                    <a:pt x="241972" y="218076"/>
                  </a:lnTo>
                  <a:lnTo>
                    <a:pt x="252089" y="224660"/>
                  </a:lnTo>
                  <a:lnTo>
                    <a:pt x="275697" y="237827"/>
                  </a:lnTo>
                  <a:lnTo>
                    <a:pt x="290872" y="254285"/>
                  </a:lnTo>
                  <a:lnTo>
                    <a:pt x="252089" y="262514"/>
                  </a:lnTo>
                  <a:lnTo>
                    <a:pt x="236913" y="272390"/>
                  </a:lnTo>
                  <a:lnTo>
                    <a:pt x="230168" y="282265"/>
                  </a:lnTo>
                  <a:lnTo>
                    <a:pt x="228482" y="295432"/>
                  </a:lnTo>
                  <a:lnTo>
                    <a:pt x="230168" y="306953"/>
                  </a:lnTo>
                  <a:lnTo>
                    <a:pt x="236913" y="316828"/>
                  </a:lnTo>
                  <a:lnTo>
                    <a:pt x="214992" y="298724"/>
                  </a:lnTo>
                  <a:lnTo>
                    <a:pt x="206561" y="288848"/>
                  </a:lnTo>
                  <a:lnTo>
                    <a:pt x="201503" y="290494"/>
                  </a:lnTo>
                  <a:lnTo>
                    <a:pt x="198130" y="311890"/>
                  </a:lnTo>
                  <a:lnTo>
                    <a:pt x="193072" y="311890"/>
                  </a:lnTo>
                  <a:lnTo>
                    <a:pt x="176209" y="313536"/>
                  </a:lnTo>
                  <a:lnTo>
                    <a:pt x="171151" y="320120"/>
                  </a:lnTo>
                  <a:lnTo>
                    <a:pt x="169464" y="323411"/>
                  </a:lnTo>
                  <a:lnTo>
                    <a:pt x="172837" y="325057"/>
                  </a:lnTo>
                  <a:lnTo>
                    <a:pt x="155974" y="354683"/>
                  </a:lnTo>
                  <a:lnTo>
                    <a:pt x="134054" y="348099"/>
                  </a:lnTo>
                  <a:lnTo>
                    <a:pt x="105388" y="333287"/>
                  </a:lnTo>
                  <a:lnTo>
                    <a:pt x="76722" y="328349"/>
                  </a:lnTo>
                  <a:lnTo>
                    <a:pt x="76722" y="331641"/>
                  </a:lnTo>
                  <a:lnTo>
                    <a:pt x="56487" y="328349"/>
                  </a:lnTo>
                  <a:lnTo>
                    <a:pt x="56487" y="326703"/>
                  </a:lnTo>
                  <a:lnTo>
                    <a:pt x="46370" y="326703"/>
                  </a:lnTo>
                  <a:lnTo>
                    <a:pt x="44684" y="315182"/>
                  </a:lnTo>
                  <a:lnTo>
                    <a:pt x="48056" y="293786"/>
                  </a:lnTo>
                  <a:lnTo>
                    <a:pt x="44684" y="288848"/>
                  </a:lnTo>
                  <a:lnTo>
                    <a:pt x="53115" y="280619"/>
                  </a:lnTo>
                  <a:lnTo>
                    <a:pt x="53115" y="257577"/>
                  </a:lnTo>
                  <a:lnTo>
                    <a:pt x="90212" y="267452"/>
                  </a:lnTo>
                  <a:lnTo>
                    <a:pt x="100329" y="264160"/>
                  </a:lnTo>
                  <a:lnTo>
                    <a:pt x="108760" y="254285"/>
                  </a:lnTo>
                  <a:lnTo>
                    <a:pt x="100329" y="252639"/>
                  </a:lnTo>
                  <a:lnTo>
                    <a:pt x="96957" y="247702"/>
                  </a:lnTo>
                  <a:lnTo>
                    <a:pt x="102015" y="241118"/>
                  </a:lnTo>
                  <a:lnTo>
                    <a:pt x="100329" y="232889"/>
                  </a:lnTo>
                  <a:lnTo>
                    <a:pt x="95270" y="229597"/>
                  </a:lnTo>
                  <a:lnTo>
                    <a:pt x="98643" y="214785"/>
                  </a:lnTo>
                  <a:lnTo>
                    <a:pt x="95270" y="214785"/>
                  </a:lnTo>
                  <a:lnTo>
                    <a:pt x="96957" y="203264"/>
                  </a:lnTo>
                  <a:lnTo>
                    <a:pt x="85153" y="203264"/>
                  </a:lnTo>
                  <a:lnTo>
                    <a:pt x="71663" y="198326"/>
                  </a:lnTo>
                  <a:lnTo>
                    <a:pt x="39625" y="195034"/>
                  </a:lnTo>
                  <a:lnTo>
                    <a:pt x="4214" y="185159"/>
                  </a:lnTo>
                  <a:lnTo>
                    <a:pt x="10959" y="165409"/>
                  </a:lnTo>
                  <a:lnTo>
                    <a:pt x="12645" y="148950"/>
                  </a:lnTo>
                  <a:lnTo>
                    <a:pt x="31194" y="116033"/>
                  </a:lnTo>
                  <a:lnTo>
                    <a:pt x="56487" y="81470"/>
                  </a:lnTo>
                  <a:lnTo>
                    <a:pt x="75036" y="69949"/>
                  </a:lnTo>
                  <a:lnTo>
                    <a:pt x="90212" y="68303"/>
                  </a:lnTo>
                  <a:lnTo>
                    <a:pt x="123936" y="74886"/>
                  </a:lnTo>
                  <a:lnTo>
                    <a:pt x="150916" y="73240"/>
                  </a:lnTo>
                  <a:lnTo>
                    <a:pt x="147543" y="40323"/>
                  </a:lnTo>
                  <a:lnTo>
                    <a:pt x="166092" y="43615"/>
                  </a:lnTo>
                  <a:lnTo>
                    <a:pt x="22173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2" name="Westervoort">
              <a:extLst>
                <a:ext uri="{FF2B5EF4-FFF2-40B4-BE49-F238E27FC236}">
                  <a16:creationId xmlns:a16="http://schemas.microsoft.com/office/drawing/2014/main" id="{68BC5875-432F-4E3D-8D7E-68067F84AB82}"/>
                </a:ext>
              </a:extLst>
            </p:cNvPr>
            <p:cNvSpPr/>
            <p:nvPr/>
          </p:nvSpPr>
          <p:spPr>
            <a:xfrm>
              <a:off x="6823902" y="3709267"/>
              <a:ext cx="50248" cy="66142"/>
            </a:xfrm>
            <a:custGeom>
              <a:avLst/>
              <a:gdLst/>
              <a:ahLst/>
              <a:cxnLst/>
              <a:rect l="l" t="t" r="r" b="b"/>
              <a:pathLst>
                <a:path w="81957" h="102870" extrusionOk="0">
                  <a:moveTo>
                    <a:pt x="78408" y="17281"/>
                  </a:moveTo>
                  <a:lnTo>
                    <a:pt x="66604" y="23864"/>
                  </a:lnTo>
                  <a:lnTo>
                    <a:pt x="56487" y="23864"/>
                  </a:lnTo>
                  <a:lnTo>
                    <a:pt x="61546" y="33740"/>
                  </a:lnTo>
                  <a:lnTo>
                    <a:pt x="58173" y="43615"/>
                  </a:lnTo>
                  <a:lnTo>
                    <a:pt x="63232" y="46906"/>
                  </a:lnTo>
                  <a:lnTo>
                    <a:pt x="58173" y="73240"/>
                  </a:lnTo>
                  <a:lnTo>
                    <a:pt x="63232" y="76532"/>
                  </a:lnTo>
                  <a:lnTo>
                    <a:pt x="58173" y="86407"/>
                  </a:lnTo>
                  <a:lnTo>
                    <a:pt x="59859" y="86407"/>
                  </a:lnTo>
                  <a:lnTo>
                    <a:pt x="58173" y="94637"/>
                  </a:lnTo>
                  <a:lnTo>
                    <a:pt x="42997" y="97928"/>
                  </a:lnTo>
                  <a:lnTo>
                    <a:pt x="36252" y="104512"/>
                  </a:lnTo>
                  <a:lnTo>
                    <a:pt x="22763" y="104512"/>
                  </a:lnTo>
                  <a:lnTo>
                    <a:pt x="19390" y="89699"/>
                  </a:lnTo>
                  <a:lnTo>
                    <a:pt x="4214" y="65011"/>
                  </a:lnTo>
                  <a:lnTo>
                    <a:pt x="4214" y="53490"/>
                  </a:lnTo>
                  <a:lnTo>
                    <a:pt x="9273" y="43615"/>
                  </a:lnTo>
                  <a:lnTo>
                    <a:pt x="22763" y="28802"/>
                  </a:lnTo>
                  <a:lnTo>
                    <a:pt x="66604" y="18927"/>
                  </a:lnTo>
                  <a:lnTo>
                    <a:pt x="78408" y="12343"/>
                  </a:lnTo>
                  <a:lnTo>
                    <a:pt x="83467" y="4114"/>
                  </a:lnTo>
                  <a:lnTo>
                    <a:pt x="85153" y="5760"/>
                  </a:lnTo>
                  <a:lnTo>
                    <a:pt x="78408"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3" name="Kapelle">
              <a:extLst>
                <a:ext uri="{FF2B5EF4-FFF2-40B4-BE49-F238E27FC236}">
                  <a16:creationId xmlns:a16="http://schemas.microsoft.com/office/drawing/2014/main" id="{3C024AF3-50B8-4E36-A016-D0B614DC02B5}"/>
                </a:ext>
              </a:extLst>
            </p:cNvPr>
            <p:cNvSpPr/>
            <p:nvPr/>
          </p:nvSpPr>
          <p:spPr>
            <a:xfrm>
              <a:off x="4651853" y="4420119"/>
              <a:ext cx="126561" cy="135259"/>
            </a:xfrm>
            <a:custGeom>
              <a:avLst/>
              <a:gdLst/>
              <a:ahLst/>
              <a:cxnLst/>
              <a:rect l="l" t="t" r="r" b="b"/>
              <a:pathLst>
                <a:path w="175622" h="205740" extrusionOk="0">
                  <a:moveTo>
                    <a:pt x="113819" y="13989"/>
                  </a:moveTo>
                  <a:lnTo>
                    <a:pt x="132367" y="20573"/>
                  </a:lnTo>
                  <a:lnTo>
                    <a:pt x="140798" y="27156"/>
                  </a:lnTo>
                  <a:lnTo>
                    <a:pt x="144171" y="27156"/>
                  </a:lnTo>
                  <a:lnTo>
                    <a:pt x="149230" y="28802"/>
                  </a:lnTo>
                  <a:lnTo>
                    <a:pt x="154288" y="27156"/>
                  </a:lnTo>
                  <a:lnTo>
                    <a:pt x="152602" y="41969"/>
                  </a:lnTo>
                  <a:lnTo>
                    <a:pt x="155974" y="45260"/>
                  </a:lnTo>
                  <a:lnTo>
                    <a:pt x="152602" y="37031"/>
                  </a:lnTo>
                  <a:lnTo>
                    <a:pt x="155974" y="35385"/>
                  </a:lnTo>
                  <a:lnTo>
                    <a:pt x="157661" y="46906"/>
                  </a:lnTo>
                  <a:lnTo>
                    <a:pt x="159347" y="33740"/>
                  </a:lnTo>
                  <a:lnTo>
                    <a:pt x="155974" y="28802"/>
                  </a:lnTo>
                  <a:lnTo>
                    <a:pt x="169464" y="37031"/>
                  </a:lnTo>
                  <a:lnTo>
                    <a:pt x="169464" y="32094"/>
                  </a:lnTo>
                  <a:lnTo>
                    <a:pt x="171150" y="40323"/>
                  </a:lnTo>
                  <a:lnTo>
                    <a:pt x="176209" y="50198"/>
                  </a:lnTo>
                  <a:lnTo>
                    <a:pt x="169464" y="61719"/>
                  </a:lnTo>
                  <a:lnTo>
                    <a:pt x="157661" y="68302"/>
                  </a:lnTo>
                  <a:lnTo>
                    <a:pt x="155974" y="68302"/>
                  </a:lnTo>
                  <a:lnTo>
                    <a:pt x="157661" y="180221"/>
                  </a:lnTo>
                  <a:lnTo>
                    <a:pt x="144171" y="185159"/>
                  </a:lnTo>
                  <a:lnTo>
                    <a:pt x="135740" y="196680"/>
                  </a:lnTo>
                  <a:lnTo>
                    <a:pt x="127309" y="191742"/>
                  </a:lnTo>
                  <a:lnTo>
                    <a:pt x="125622" y="195034"/>
                  </a:lnTo>
                  <a:lnTo>
                    <a:pt x="117191" y="176930"/>
                  </a:lnTo>
                  <a:lnTo>
                    <a:pt x="107074" y="170346"/>
                  </a:lnTo>
                  <a:lnTo>
                    <a:pt x="86839" y="185159"/>
                  </a:lnTo>
                  <a:lnTo>
                    <a:pt x="69977" y="185159"/>
                  </a:lnTo>
                  <a:lnTo>
                    <a:pt x="42997" y="203264"/>
                  </a:lnTo>
                  <a:lnTo>
                    <a:pt x="31194" y="195034"/>
                  </a:lnTo>
                  <a:lnTo>
                    <a:pt x="36252" y="176930"/>
                  </a:lnTo>
                  <a:lnTo>
                    <a:pt x="17704" y="165409"/>
                  </a:lnTo>
                  <a:lnTo>
                    <a:pt x="4214" y="150596"/>
                  </a:lnTo>
                  <a:lnTo>
                    <a:pt x="12645" y="130845"/>
                  </a:lnTo>
                  <a:lnTo>
                    <a:pt x="12645" y="127554"/>
                  </a:lnTo>
                  <a:lnTo>
                    <a:pt x="19390" y="122616"/>
                  </a:lnTo>
                  <a:lnTo>
                    <a:pt x="16018" y="114387"/>
                  </a:lnTo>
                  <a:lnTo>
                    <a:pt x="26135" y="111095"/>
                  </a:lnTo>
                  <a:lnTo>
                    <a:pt x="26135" y="114387"/>
                  </a:lnTo>
                  <a:lnTo>
                    <a:pt x="31194" y="114387"/>
                  </a:lnTo>
                  <a:lnTo>
                    <a:pt x="32880" y="97928"/>
                  </a:lnTo>
                  <a:lnTo>
                    <a:pt x="54801" y="94636"/>
                  </a:lnTo>
                  <a:lnTo>
                    <a:pt x="61546" y="84761"/>
                  </a:lnTo>
                  <a:lnTo>
                    <a:pt x="80094" y="69949"/>
                  </a:lnTo>
                  <a:lnTo>
                    <a:pt x="95270" y="63365"/>
                  </a:lnTo>
                  <a:lnTo>
                    <a:pt x="93584" y="28802"/>
                  </a:lnTo>
                  <a:lnTo>
                    <a:pt x="105388" y="12343"/>
                  </a:lnTo>
                  <a:lnTo>
                    <a:pt x="113819" y="13989"/>
                  </a:lnTo>
                  <a:close/>
                  <a:moveTo>
                    <a:pt x="105388" y="10698"/>
                  </a:moveTo>
                  <a:lnTo>
                    <a:pt x="105388" y="10698"/>
                  </a:lnTo>
                  <a:close/>
                  <a:moveTo>
                    <a:pt x="102015" y="9052"/>
                  </a:moveTo>
                  <a:lnTo>
                    <a:pt x="100329" y="9052"/>
                  </a:lnTo>
                  <a:lnTo>
                    <a:pt x="102015" y="9052"/>
                  </a:lnTo>
                  <a:close/>
                  <a:moveTo>
                    <a:pt x="100329" y="9052"/>
                  </a:moveTo>
                  <a:lnTo>
                    <a:pt x="100329" y="9052"/>
                  </a:lnTo>
                  <a:close/>
                  <a:moveTo>
                    <a:pt x="95270" y="7406"/>
                  </a:moveTo>
                  <a:lnTo>
                    <a:pt x="96957" y="7406"/>
                  </a:lnTo>
                  <a:lnTo>
                    <a:pt x="95270" y="7406"/>
                  </a:lnTo>
                  <a:lnTo>
                    <a:pt x="95270" y="7406"/>
                  </a:lnTo>
                  <a:close/>
                  <a:moveTo>
                    <a:pt x="95270" y="7406"/>
                  </a:moveTo>
                  <a:lnTo>
                    <a:pt x="96957" y="7406"/>
                  </a:lnTo>
                  <a:lnTo>
                    <a:pt x="93584" y="7406"/>
                  </a:lnTo>
                  <a:lnTo>
                    <a:pt x="95270" y="7406"/>
                  </a:lnTo>
                  <a:close/>
                  <a:moveTo>
                    <a:pt x="90212" y="5760"/>
                  </a:moveTo>
                  <a:lnTo>
                    <a:pt x="91898" y="5760"/>
                  </a:lnTo>
                  <a:lnTo>
                    <a:pt x="88525" y="5760"/>
                  </a:lnTo>
                  <a:lnTo>
                    <a:pt x="90212" y="5760"/>
                  </a:lnTo>
                  <a:close/>
                  <a:moveTo>
                    <a:pt x="85153" y="4114"/>
                  </a:moveTo>
                  <a:lnTo>
                    <a:pt x="88525" y="5760"/>
                  </a:lnTo>
                  <a:lnTo>
                    <a:pt x="85153" y="4114"/>
                  </a:lnTo>
                  <a:lnTo>
                    <a:pt x="85153"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4" name="Overbetuwe">
              <a:extLst>
                <a:ext uri="{FF2B5EF4-FFF2-40B4-BE49-F238E27FC236}">
                  <a16:creationId xmlns:a16="http://schemas.microsoft.com/office/drawing/2014/main" id="{1FA63157-AAFA-4668-8305-19A414460B0F}"/>
                </a:ext>
              </a:extLst>
            </p:cNvPr>
            <p:cNvSpPr/>
            <p:nvPr/>
          </p:nvSpPr>
          <p:spPr>
            <a:xfrm>
              <a:off x="6498719" y="3723148"/>
              <a:ext cx="268561" cy="165501"/>
            </a:xfrm>
            <a:custGeom>
              <a:avLst/>
              <a:gdLst/>
              <a:ahLst/>
              <a:cxnLst/>
              <a:rect l="l" t="t" r="r" b="b"/>
              <a:pathLst>
                <a:path w="386369" h="251460" extrusionOk="0">
                  <a:moveTo>
                    <a:pt x="284127" y="35385"/>
                  </a:moveTo>
                  <a:lnTo>
                    <a:pt x="287500" y="40323"/>
                  </a:lnTo>
                  <a:lnTo>
                    <a:pt x="284127" y="61719"/>
                  </a:lnTo>
                  <a:lnTo>
                    <a:pt x="285813" y="73240"/>
                  </a:lnTo>
                  <a:lnTo>
                    <a:pt x="295931" y="73240"/>
                  </a:lnTo>
                  <a:lnTo>
                    <a:pt x="295931" y="74886"/>
                  </a:lnTo>
                  <a:lnTo>
                    <a:pt x="316166" y="78178"/>
                  </a:lnTo>
                  <a:lnTo>
                    <a:pt x="316166" y="74886"/>
                  </a:lnTo>
                  <a:lnTo>
                    <a:pt x="344832" y="79824"/>
                  </a:lnTo>
                  <a:lnTo>
                    <a:pt x="373497" y="94636"/>
                  </a:lnTo>
                  <a:lnTo>
                    <a:pt x="390359" y="97928"/>
                  </a:lnTo>
                  <a:lnTo>
                    <a:pt x="376870" y="120970"/>
                  </a:lnTo>
                  <a:lnTo>
                    <a:pt x="388673" y="130845"/>
                  </a:lnTo>
                  <a:lnTo>
                    <a:pt x="381928" y="142367"/>
                  </a:lnTo>
                  <a:lnTo>
                    <a:pt x="385301" y="145658"/>
                  </a:lnTo>
                  <a:lnTo>
                    <a:pt x="380242" y="163763"/>
                  </a:lnTo>
                  <a:lnTo>
                    <a:pt x="353262" y="162117"/>
                  </a:lnTo>
                  <a:lnTo>
                    <a:pt x="349890" y="176930"/>
                  </a:lnTo>
                  <a:lnTo>
                    <a:pt x="354949" y="176930"/>
                  </a:lnTo>
                  <a:lnTo>
                    <a:pt x="354949" y="186805"/>
                  </a:lnTo>
                  <a:lnTo>
                    <a:pt x="327969" y="188451"/>
                  </a:lnTo>
                  <a:lnTo>
                    <a:pt x="326283" y="195034"/>
                  </a:lnTo>
                  <a:lnTo>
                    <a:pt x="285813" y="196680"/>
                  </a:lnTo>
                  <a:lnTo>
                    <a:pt x="285813" y="201617"/>
                  </a:lnTo>
                  <a:lnTo>
                    <a:pt x="294245" y="208201"/>
                  </a:lnTo>
                  <a:lnTo>
                    <a:pt x="297617" y="221368"/>
                  </a:lnTo>
                  <a:lnTo>
                    <a:pt x="290872" y="234535"/>
                  </a:lnTo>
                  <a:lnTo>
                    <a:pt x="294245" y="236181"/>
                  </a:lnTo>
                  <a:lnTo>
                    <a:pt x="292559" y="241118"/>
                  </a:lnTo>
                  <a:lnTo>
                    <a:pt x="289186" y="249348"/>
                  </a:lnTo>
                  <a:lnTo>
                    <a:pt x="284127" y="246056"/>
                  </a:lnTo>
                  <a:lnTo>
                    <a:pt x="277382" y="247702"/>
                  </a:lnTo>
                  <a:lnTo>
                    <a:pt x="267265" y="254285"/>
                  </a:lnTo>
                  <a:lnTo>
                    <a:pt x="241972" y="241118"/>
                  </a:lnTo>
                  <a:lnTo>
                    <a:pt x="199816" y="234535"/>
                  </a:lnTo>
                  <a:lnTo>
                    <a:pt x="162719" y="221368"/>
                  </a:lnTo>
                  <a:lnTo>
                    <a:pt x="132367" y="216430"/>
                  </a:lnTo>
                  <a:lnTo>
                    <a:pt x="96956" y="199972"/>
                  </a:lnTo>
                  <a:lnTo>
                    <a:pt x="103701" y="190096"/>
                  </a:lnTo>
                  <a:lnTo>
                    <a:pt x="96956" y="188451"/>
                  </a:lnTo>
                  <a:lnTo>
                    <a:pt x="100329" y="180221"/>
                  </a:lnTo>
                  <a:lnTo>
                    <a:pt x="95270" y="173638"/>
                  </a:lnTo>
                  <a:lnTo>
                    <a:pt x="96956" y="163763"/>
                  </a:lnTo>
                  <a:lnTo>
                    <a:pt x="86839" y="148950"/>
                  </a:lnTo>
                  <a:lnTo>
                    <a:pt x="75036" y="139075"/>
                  </a:lnTo>
                  <a:lnTo>
                    <a:pt x="81780" y="132491"/>
                  </a:lnTo>
                  <a:lnTo>
                    <a:pt x="78408" y="130845"/>
                  </a:lnTo>
                  <a:lnTo>
                    <a:pt x="58173" y="139075"/>
                  </a:lnTo>
                  <a:lnTo>
                    <a:pt x="49742" y="132491"/>
                  </a:lnTo>
                  <a:lnTo>
                    <a:pt x="51428" y="129200"/>
                  </a:lnTo>
                  <a:lnTo>
                    <a:pt x="49742" y="127554"/>
                  </a:lnTo>
                  <a:lnTo>
                    <a:pt x="53115" y="124262"/>
                  </a:lnTo>
                  <a:lnTo>
                    <a:pt x="49742" y="120970"/>
                  </a:lnTo>
                  <a:lnTo>
                    <a:pt x="53115" y="112741"/>
                  </a:lnTo>
                  <a:lnTo>
                    <a:pt x="63232" y="111095"/>
                  </a:lnTo>
                  <a:lnTo>
                    <a:pt x="71663" y="104512"/>
                  </a:lnTo>
                  <a:lnTo>
                    <a:pt x="81780" y="107803"/>
                  </a:lnTo>
                  <a:lnTo>
                    <a:pt x="76722" y="99574"/>
                  </a:lnTo>
                  <a:lnTo>
                    <a:pt x="69977" y="97928"/>
                  </a:lnTo>
                  <a:lnTo>
                    <a:pt x="42997" y="109449"/>
                  </a:lnTo>
                  <a:lnTo>
                    <a:pt x="26135" y="111095"/>
                  </a:lnTo>
                  <a:lnTo>
                    <a:pt x="24449" y="94636"/>
                  </a:lnTo>
                  <a:lnTo>
                    <a:pt x="37938" y="89699"/>
                  </a:lnTo>
                  <a:lnTo>
                    <a:pt x="34566" y="83116"/>
                  </a:lnTo>
                  <a:lnTo>
                    <a:pt x="31194" y="84761"/>
                  </a:lnTo>
                  <a:lnTo>
                    <a:pt x="27821" y="78178"/>
                  </a:lnTo>
                  <a:lnTo>
                    <a:pt x="17704" y="83116"/>
                  </a:lnTo>
                  <a:lnTo>
                    <a:pt x="16018" y="79824"/>
                  </a:lnTo>
                  <a:lnTo>
                    <a:pt x="5900" y="86407"/>
                  </a:lnTo>
                  <a:lnTo>
                    <a:pt x="4214" y="84761"/>
                  </a:lnTo>
                  <a:lnTo>
                    <a:pt x="10959" y="68303"/>
                  </a:lnTo>
                  <a:lnTo>
                    <a:pt x="12645" y="66657"/>
                  </a:lnTo>
                  <a:lnTo>
                    <a:pt x="17704" y="71594"/>
                  </a:lnTo>
                  <a:lnTo>
                    <a:pt x="54801" y="41969"/>
                  </a:lnTo>
                  <a:lnTo>
                    <a:pt x="85153" y="33739"/>
                  </a:lnTo>
                  <a:lnTo>
                    <a:pt x="122250" y="27156"/>
                  </a:lnTo>
                  <a:lnTo>
                    <a:pt x="132367" y="18927"/>
                  </a:lnTo>
                  <a:lnTo>
                    <a:pt x="149229" y="13989"/>
                  </a:lnTo>
                  <a:lnTo>
                    <a:pt x="159347" y="13989"/>
                  </a:lnTo>
                  <a:lnTo>
                    <a:pt x="196443" y="37031"/>
                  </a:lnTo>
                  <a:lnTo>
                    <a:pt x="209934" y="40323"/>
                  </a:lnTo>
                  <a:lnTo>
                    <a:pt x="218365" y="37031"/>
                  </a:lnTo>
                  <a:lnTo>
                    <a:pt x="267265" y="9052"/>
                  </a:lnTo>
                  <a:lnTo>
                    <a:pt x="292559" y="4114"/>
                  </a:lnTo>
                  <a:lnTo>
                    <a:pt x="292559" y="27156"/>
                  </a:lnTo>
                  <a:lnTo>
                    <a:pt x="284127" y="3538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5" name="Maasdriel">
              <a:extLst>
                <a:ext uri="{FF2B5EF4-FFF2-40B4-BE49-F238E27FC236}">
                  <a16:creationId xmlns:a16="http://schemas.microsoft.com/office/drawing/2014/main" id="{3976EBE6-C1A1-4847-9108-E0280EFD8B67}"/>
                </a:ext>
              </a:extLst>
            </p:cNvPr>
            <p:cNvSpPr/>
            <p:nvPr/>
          </p:nvSpPr>
          <p:spPr>
            <a:xfrm>
              <a:off x="6000025" y="3935428"/>
              <a:ext cx="258662" cy="173121"/>
            </a:xfrm>
            <a:custGeom>
              <a:avLst/>
              <a:gdLst/>
              <a:ahLst/>
              <a:cxnLst/>
              <a:rect l="l" t="t" r="r" b="b"/>
              <a:pathLst>
                <a:path w="374661" h="251460" extrusionOk="0">
                  <a:moveTo>
                    <a:pt x="360008" y="15635"/>
                  </a:moveTo>
                  <a:lnTo>
                    <a:pt x="376870" y="40323"/>
                  </a:lnTo>
                  <a:lnTo>
                    <a:pt x="375184" y="43615"/>
                  </a:lnTo>
                  <a:lnTo>
                    <a:pt x="363380" y="40323"/>
                  </a:lnTo>
                  <a:lnTo>
                    <a:pt x="354949" y="43615"/>
                  </a:lnTo>
                  <a:lnTo>
                    <a:pt x="344832" y="61719"/>
                  </a:lnTo>
                  <a:lnTo>
                    <a:pt x="326283" y="83116"/>
                  </a:lnTo>
                  <a:lnTo>
                    <a:pt x="306049" y="116033"/>
                  </a:lnTo>
                  <a:lnTo>
                    <a:pt x="292559" y="148950"/>
                  </a:lnTo>
                  <a:lnTo>
                    <a:pt x="290872" y="190096"/>
                  </a:lnTo>
                  <a:lnTo>
                    <a:pt x="280755" y="201618"/>
                  </a:lnTo>
                  <a:lnTo>
                    <a:pt x="231855" y="224660"/>
                  </a:lnTo>
                  <a:lnTo>
                    <a:pt x="203189" y="244410"/>
                  </a:lnTo>
                  <a:lnTo>
                    <a:pt x="194758" y="247702"/>
                  </a:lnTo>
                  <a:lnTo>
                    <a:pt x="184640" y="246056"/>
                  </a:lnTo>
                  <a:lnTo>
                    <a:pt x="171151" y="239473"/>
                  </a:lnTo>
                  <a:lnTo>
                    <a:pt x="155974" y="239473"/>
                  </a:lnTo>
                  <a:lnTo>
                    <a:pt x="142485" y="242764"/>
                  </a:lnTo>
                  <a:lnTo>
                    <a:pt x="128995" y="250993"/>
                  </a:lnTo>
                  <a:lnTo>
                    <a:pt x="118878" y="254285"/>
                  </a:lnTo>
                  <a:lnTo>
                    <a:pt x="112133" y="252639"/>
                  </a:lnTo>
                  <a:lnTo>
                    <a:pt x="93584" y="237827"/>
                  </a:lnTo>
                  <a:lnTo>
                    <a:pt x="80094" y="231243"/>
                  </a:lnTo>
                  <a:lnTo>
                    <a:pt x="66605" y="231243"/>
                  </a:lnTo>
                  <a:lnTo>
                    <a:pt x="39625" y="237827"/>
                  </a:lnTo>
                  <a:lnTo>
                    <a:pt x="22763" y="234535"/>
                  </a:lnTo>
                  <a:lnTo>
                    <a:pt x="21076" y="204910"/>
                  </a:lnTo>
                  <a:lnTo>
                    <a:pt x="14332" y="195034"/>
                  </a:lnTo>
                  <a:lnTo>
                    <a:pt x="5901" y="188451"/>
                  </a:lnTo>
                  <a:lnTo>
                    <a:pt x="4214" y="181867"/>
                  </a:lnTo>
                  <a:lnTo>
                    <a:pt x="9273" y="178576"/>
                  </a:lnTo>
                  <a:lnTo>
                    <a:pt x="14332" y="175284"/>
                  </a:lnTo>
                  <a:lnTo>
                    <a:pt x="29507" y="176930"/>
                  </a:lnTo>
                  <a:lnTo>
                    <a:pt x="32880" y="175284"/>
                  </a:lnTo>
                  <a:lnTo>
                    <a:pt x="32880" y="173638"/>
                  </a:lnTo>
                  <a:lnTo>
                    <a:pt x="56487" y="168700"/>
                  </a:lnTo>
                  <a:lnTo>
                    <a:pt x="75036" y="168700"/>
                  </a:lnTo>
                  <a:lnTo>
                    <a:pt x="102015" y="162117"/>
                  </a:lnTo>
                  <a:lnTo>
                    <a:pt x="107074" y="163763"/>
                  </a:lnTo>
                  <a:lnTo>
                    <a:pt x="118878" y="163763"/>
                  </a:lnTo>
                  <a:lnTo>
                    <a:pt x="139112" y="158825"/>
                  </a:lnTo>
                  <a:lnTo>
                    <a:pt x="140799" y="155534"/>
                  </a:lnTo>
                  <a:lnTo>
                    <a:pt x="152602" y="157179"/>
                  </a:lnTo>
                  <a:lnTo>
                    <a:pt x="147543" y="111095"/>
                  </a:lnTo>
                  <a:lnTo>
                    <a:pt x="161033" y="106158"/>
                  </a:lnTo>
                  <a:lnTo>
                    <a:pt x="181268" y="96282"/>
                  </a:lnTo>
                  <a:lnTo>
                    <a:pt x="169464" y="89699"/>
                  </a:lnTo>
                  <a:lnTo>
                    <a:pt x="172837" y="86407"/>
                  </a:lnTo>
                  <a:lnTo>
                    <a:pt x="172837" y="79824"/>
                  </a:lnTo>
                  <a:lnTo>
                    <a:pt x="174523" y="78178"/>
                  </a:lnTo>
                  <a:lnTo>
                    <a:pt x="169464" y="69949"/>
                  </a:lnTo>
                  <a:lnTo>
                    <a:pt x="172837" y="65011"/>
                  </a:lnTo>
                  <a:lnTo>
                    <a:pt x="172837" y="53490"/>
                  </a:lnTo>
                  <a:lnTo>
                    <a:pt x="174523" y="51844"/>
                  </a:lnTo>
                  <a:lnTo>
                    <a:pt x="169464" y="43615"/>
                  </a:lnTo>
                  <a:lnTo>
                    <a:pt x="194758" y="37031"/>
                  </a:lnTo>
                  <a:lnTo>
                    <a:pt x="214992" y="38677"/>
                  </a:lnTo>
                  <a:lnTo>
                    <a:pt x="233541" y="50198"/>
                  </a:lnTo>
                  <a:lnTo>
                    <a:pt x="258834" y="78178"/>
                  </a:lnTo>
                  <a:lnTo>
                    <a:pt x="265579" y="83116"/>
                  </a:lnTo>
                  <a:lnTo>
                    <a:pt x="279069" y="84761"/>
                  </a:lnTo>
                  <a:lnTo>
                    <a:pt x="289186" y="83116"/>
                  </a:lnTo>
                  <a:lnTo>
                    <a:pt x="299304" y="74886"/>
                  </a:lnTo>
                  <a:lnTo>
                    <a:pt x="329656" y="27156"/>
                  </a:lnTo>
                  <a:lnTo>
                    <a:pt x="341459" y="12343"/>
                  </a:lnTo>
                  <a:lnTo>
                    <a:pt x="353263" y="4114"/>
                  </a:lnTo>
                  <a:lnTo>
                    <a:pt x="360008" y="10698"/>
                  </a:lnTo>
                  <a:lnTo>
                    <a:pt x="360008"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6" name="Utrecht">
              <a:extLst>
                <a:ext uri="{FF2B5EF4-FFF2-40B4-BE49-F238E27FC236}">
                  <a16:creationId xmlns:a16="http://schemas.microsoft.com/office/drawing/2014/main" id="{CF25F51B-39F4-4A9F-BFAB-E7132A988946}"/>
                </a:ext>
              </a:extLst>
            </p:cNvPr>
            <p:cNvSpPr/>
            <p:nvPr/>
          </p:nvSpPr>
          <p:spPr>
            <a:xfrm>
              <a:off x="5784751" y="3447471"/>
              <a:ext cx="233754" cy="191994"/>
            </a:xfrm>
            <a:custGeom>
              <a:avLst/>
              <a:gdLst/>
              <a:ahLst/>
              <a:cxnLst/>
              <a:rect l="l" t="t" r="r" b="b"/>
              <a:pathLst>
                <a:path w="339536" h="285750" extrusionOk="0">
                  <a:moveTo>
                    <a:pt x="54801" y="4114"/>
                  </a:moveTo>
                  <a:lnTo>
                    <a:pt x="68291" y="33740"/>
                  </a:lnTo>
                  <a:lnTo>
                    <a:pt x="98643" y="65011"/>
                  </a:lnTo>
                  <a:lnTo>
                    <a:pt x="112132" y="43615"/>
                  </a:lnTo>
                  <a:lnTo>
                    <a:pt x="122250" y="32094"/>
                  </a:lnTo>
                  <a:lnTo>
                    <a:pt x="142484" y="50198"/>
                  </a:lnTo>
                  <a:lnTo>
                    <a:pt x="155974" y="40323"/>
                  </a:lnTo>
                  <a:lnTo>
                    <a:pt x="159347" y="43615"/>
                  </a:lnTo>
                  <a:lnTo>
                    <a:pt x="166092" y="40323"/>
                  </a:lnTo>
                  <a:lnTo>
                    <a:pt x="182954" y="18927"/>
                  </a:lnTo>
                  <a:lnTo>
                    <a:pt x="203189" y="33740"/>
                  </a:lnTo>
                  <a:lnTo>
                    <a:pt x="206561" y="33740"/>
                  </a:lnTo>
                  <a:lnTo>
                    <a:pt x="211620" y="25510"/>
                  </a:lnTo>
                  <a:lnTo>
                    <a:pt x="241972" y="45261"/>
                  </a:lnTo>
                  <a:lnTo>
                    <a:pt x="262207" y="55136"/>
                  </a:lnTo>
                  <a:lnTo>
                    <a:pt x="272324" y="56782"/>
                  </a:lnTo>
                  <a:lnTo>
                    <a:pt x="277383" y="61719"/>
                  </a:lnTo>
                  <a:lnTo>
                    <a:pt x="275696" y="68303"/>
                  </a:lnTo>
                  <a:lnTo>
                    <a:pt x="277383" y="79824"/>
                  </a:lnTo>
                  <a:lnTo>
                    <a:pt x="295931" y="88053"/>
                  </a:lnTo>
                  <a:lnTo>
                    <a:pt x="287500" y="109449"/>
                  </a:lnTo>
                  <a:lnTo>
                    <a:pt x="295931" y="119324"/>
                  </a:lnTo>
                  <a:lnTo>
                    <a:pt x="324597" y="122616"/>
                  </a:lnTo>
                  <a:lnTo>
                    <a:pt x="324597" y="119324"/>
                  </a:lnTo>
                  <a:lnTo>
                    <a:pt x="333028" y="122616"/>
                  </a:lnTo>
                  <a:lnTo>
                    <a:pt x="338087" y="139075"/>
                  </a:lnTo>
                  <a:lnTo>
                    <a:pt x="343145" y="139075"/>
                  </a:lnTo>
                  <a:lnTo>
                    <a:pt x="346518" y="160471"/>
                  </a:lnTo>
                  <a:lnTo>
                    <a:pt x="341459" y="158825"/>
                  </a:lnTo>
                  <a:lnTo>
                    <a:pt x="324597" y="163763"/>
                  </a:lnTo>
                  <a:lnTo>
                    <a:pt x="321224" y="158825"/>
                  </a:lnTo>
                  <a:lnTo>
                    <a:pt x="309421" y="157179"/>
                  </a:lnTo>
                  <a:lnTo>
                    <a:pt x="302676" y="162117"/>
                  </a:lnTo>
                  <a:lnTo>
                    <a:pt x="292559" y="153888"/>
                  </a:lnTo>
                  <a:lnTo>
                    <a:pt x="292559" y="158825"/>
                  </a:lnTo>
                  <a:lnTo>
                    <a:pt x="285814" y="175284"/>
                  </a:lnTo>
                  <a:lnTo>
                    <a:pt x="287500" y="180221"/>
                  </a:lnTo>
                  <a:lnTo>
                    <a:pt x="290872" y="185159"/>
                  </a:lnTo>
                  <a:lnTo>
                    <a:pt x="287500" y="193388"/>
                  </a:lnTo>
                  <a:lnTo>
                    <a:pt x="289186" y="206555"/>
                  </a:lnTo>
                  <a:lnTo>
                    <a:pt x="279069" y="211493"/>
                  </a:lnTo>
                  <a:lnTo>
                    <a:pt x="270638" y="219722"/>
                  </a:lnTo>
                  <a:lnTo>
                    <a:pt x="238599" y="213139"/>
                  </a:lnTo>
                  <a:lnTo>
                    <a:pt x="233541" y="216431"/>
                  </a:lnTo>
                  <a:lnTo>
                    <a:pt x="228482" y="209847"/>
                  </a:lnTo>
                  <a:lnTo>
                    <a:pt x="218365" y="206555"/>
                  </a:lnTo>
                  <a:lnTo>
                    <a:pt x="211620" y="226306"/>
                  </a:lnTo>
                  <a:lnTo>
                    <a:pt x="208247" y="226306"/>
                  </a:lnTo>
                  <a:lnTo>
                    <a:pt x="196444" y="203264"/>
                  </a:lnTo>
                  <a:lnTo>
                    <a:pt x="191385" y="204910"/>
                  </a:lnTo>
                  <a:lnTo>
                    <a:pt x="184640" y="199972"/>
                  </a:lnTo>
                  <a:lnTo>
                    <a:pt x="155974" y="196680"/>
                  </a:lnTo>
                  <a:lnTo>
                    <a:pt x="145857" y="219722"/>
                  </a:lnTo>
                  <a:lnTo>
                    <a:pt x="144171" y="282265"/>
                  </a:lnTo>
                  <a:lnTo>
                    <a:pt x="140798" y="282265"/>
                  </a:lnTo>
                  <a:lnTo>
                    <a:pt x="132367" y="277327"/>
                  </a:lnTo>
                  <a:lnTo>
                    <a:pt x="132367" y="274036"/>
                  </a:lnTo>
                  <a:lnTo>
                    <a:pt x="123936" y="270744"/>
                  </a:lnTo>
                  <a:lnTo>
                    <a:pt x="107074" y="239473"/>
                  </a:lnTo>
                  <a:lnTo>
                    <a:pt x="91898" y="224660"/>
                  </a:lnTo>
                  <a:lnTo>
                    <a:pt x="90212" y="213139"/>
                  </a:lnTo>
                  <a:lnTo>
                    <a:pt x="80094" y="209847"/>
                  </a:lnTo>
                  <a:lnTo>
                    <a:pt x="75036" y="198326"/>
                  </a:lnTo>
                  <a:lnTo>
                    <a:pt x="76722" y="196680"/>
                  </a:lnTo>
                  <a:lnTo>
                    <a:pt x="48056" y="186805"/>
                  </a:lnTo>
                  <a:lnTo>
                    <a:pt x="56487" y="132492"/>
                  </a:lnTo>
                  <a:lnTo>
                    <a:pt x="39625" y="127554"/>
                  </a:lnTo>
                  <a:lnTo>
                    <a:pt x="32880" y="102866"/>
                  </a:lnTo>
                  <a:lnTo>
                    <a:pt x="12645" y="104512"/>
                  </a:lnTo>
                  <a:lnTo>
                    <a:pt x="7587" y="99574"/>
                  </a:lnTo>
                  <a:lnTo>
                    <a:pt x="12645" y="84761"/>
                  </a:lnTo>
                  <a:lnTo>
                    <a:pt x="17704" y="83116"/>
                  </a:lnTo>
                  <a:lnTo>
                    <a:pt x="19390" y="74886"/>
                  </a:lnTo>
                  <a:lnTo>
                    <a:pt x="16018" y="73240"/>
                  </a:lnTo>
                  <a:lnTo>
                    <a:pt x="4214" y="50198"/>
                  </a:lnTo>
                  <a:lnTo>
                    <a:pt x="9273" y="32094"/>
                  </a:lnTo>
                  <a:lnTo>
                    <a:pt x="26135" y="25510"/>
                  </a:lnTo>
                  <a:lnTo>
                    <a:pt x="29507" y="18927"/>
                  </a:lnTo>
                  <a:lnTo>
                    <a:pt x="5480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7" name="Dantumadiel">
              <a:extLst>
                <a:ext uri="{FF2B5EF4-FFF2-40B4-BE49-F238E27FC236}">
                  <a16:creationId xmlns:a16="http://schemas.microsoft.com/office/drawing/2014/main" id="{07618668-E3D9-4C31-A01C-9CD86AD5AD0B}"/>
                </a:ext>
              </a:extLst>
            </p:cNvPr>
            <p:cNvSpPr/>
            <p:nvPr/>
          </p:nvSpPr>
          <p:spPr>
            <a:xfrm>
              <a:off x="6736791" y="1550308"/>
              <a:ext cx="201775" cy="151157"/>
            </a:xfrm>
            <a:custGeom>
              <a:avLst/>
              <a:gdLst/>
              <a:ahLst/>
              <a:cxnLst/>
              <a:rect l="l" t="t" r="r" b="b"/>
              <a:pathLst>
                <a:path w="292704" h="240030" extrusionOk="0">
                  <a:moveTo>
                    <a:pt x="228482" y="4114"/>
                  </a:moveTo>
                  <a:lnTo>
                    <a:pt x="230168" y="5760"/>
                  </a:lnTo>
                  <a:lnTo>
                    <a:pt x="233540" y="4114"/>
                  </a:lnTo>
                  <a:lnTo>
                    <a:pt x="245344" y="7406"/>
                  </a:lnTo>
                  <a:lnTo>
                    <a:pt x="255461" y="4114"/>
                  </a:lnTo>
                  <a:lnTo>
                    <a:pt x="277382" y="7406"/>
                  </a:lnTo>
                  <a:lnTo>
                    <a:pt x="285813" y="4114"/>
                  </a:lnTo>
                  <a:lnTo>
                    <a:pt x="292558" y="10697"/>
                  </a:lnTo>
                  <a:lnTo>
                    <a:pt x="287500" y="12343"/>
                  </a:lnTo>
                  <a:lnTo>
                    <a:pt x="289186" y="22218"/>
                  </a:lnTo>
                  <a:lnTo>
                    <a:pt x="284127" y="25510"/>
                  </a:lnTo>
                  <a:lnTo>
                    <a:pt x="284127" y="73240"/>
                  </a:lnTo>
                  <a:lnTo>
                    <a:pt x="280755" y="71594"/>
                  </a:lnTo>
                  <a:lnTo>
                    <a:pt x="287500" y="83115"/>
                  </a:lnTo>
                  <a:lnTo>
                    <a:pt x="275696" y="83115"/>
                  </a:lnTo>
                  <a:lnTo>
                    <a:pt x="258834" y="86407"/>
                  </a:lnTo>
                  <a:lnTo>
                    <a:pt x="257148" y="112741"/>
                  </a:lnTo>
                  <a:lnTo>
                    <a:pt x="260520" y="114387"/>
                  </a:lnTo>
                  <a:lnTo>
                    <a:pt x="257148" y="114387"/>
                  </a:lnTo>
                  <a:lnTo>
                    <a:pt x="255461" y="145658"/>
                  </a:lnTo>
                  <a:lnTo>
                    <a:pt x="253775" y="145658"/>
                  </a:lnTo>
                  <a:lnTo>
                    <a:pt x="243658" y="201618"/>
                  </a:lnTo>
                  <a:lnTo>
                    <a:pt x="221737" y="203264"/>
                  </a:lnTo>
                  <a:lnTo>
                    <a:pt x="220051" y="206555"/>
                  </a:lnTo>
                  <a:lnTo>
                    <a:pt x="211620" y="203264"/>
                  </a:lnTo>
                  <a:lnTo>
                    <a:pt x="208247" y="208201"/>
                  </a:lnTo>
                  <a:lnTo>
                    <a:pt x="203188" y="206555"/>
                  </a:lnTo>
                  <a:lnTo>
                    <a:pt x="154288" y="234535"/>
                  </a:lnTo>
                  <a:lnTo>
                    <a:pt x="139112" y="239473"/>
                  </a:lnTo>
                  <a:lnTo>
                    <a:pt x="113819" y="239473"/>
                  </a:lnTo>
                  <a:lnTo>
                    <a:pt x="93584" y="185159"/>
                  </a:lnTo>
                  <a:lnTo>
                    <a:pt x="68290" y="181867"/>
                  </a:lnTo>
                  <a:lnTo>
                    <a:pt x="68290" y="175284"/>
                  </a:lnTo>
                  <a:lnTo>
                    <a:pt x="64918" y="168700"/>
                  </a:lnTo>
                  <a:lnTo>
                    <a:pt x="51428" y="165409"/>
                  </a:lnTo>
                  <a:lnTo>
                    <a:pt x="4214" y="122616"/>
                  </a:lnTo>
                  <a:lnTo>
                    <a:pt x="17704" y="114387"/>
                  </a:lnTo>
                  <a:lnTo>
                    <a:pt x="26135" y="102866"/>
                  </a:lnTo>
                  <a:lnTo>
                    <a:pt x="39625" y="96282"/>
                  </a:lnTo>
                  <a:lnTo>
                    <a:pt x="34566" y="79824"/>
                  </a:lnTo>
                  <a:lnTo>
                    <a:pt x="24449" y="61719"/>
                  </a:lnTo>
                  <a:lnTo>
                    <a:pt x="59859" y="38677"/>
                  </a:lnTo>
                  <a:lnTo>
                    <a:pt x="63232" y="35385"/>
                  </a:lnTo>
                  <a:lnTo>
                    <a:pt x="80094" y="28802"/>
                  </a:lnTo>
                  <a:lnTo>
                    <a:pt x="102015" y="23864"/>
                  </a:lnTo>
                  <a:lnTo>
                    <a:pt x="108760" y="15635"/>
                  </a:lnTo>
                  <a:lnTo>
                    <a:pt x="123936" y="10697"/>
                  </a:lnTo>
                  <a:lnTo>
                    <a:pt x="135740" y="13989"/>
                  </a:lnTo>
                  <a:lnTo>
                    <a:pt x="139112" y="27156"/>
                  </a:lnTo>
                  <a:lnTo>
                    <a:pt x="134053" y="32094"/>
                  </a:lnTo>
                  <a:lnTo>
                    <a:pt x="142484" y="48552"/>
                  </a:lnTo>
                  <a:lnTo>
                    <a:pt x="162719" y="40323"/>
                  </a:lnTo>
                  <a:lnTo>
                    <a:pt x="174522" y="40323"/>
                  </a:lnTo>
                  <a:lnTo>
                    <a:pt x="208247" y="45261"/>
                  </a:lnTo>
                  <a:lnTo>
                    <a:pt x="209933" y="7406"/>
                  </a:lnTo>
                  <a:lnTo>
                    <a:pt x="22848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8" name="Hellevoetsluis">
              <a:extLst>
                <a:ext uri="{FF2B5EF4-FFF2-40B4-BE49-F238E27FC236}">
                  <a16:creationId xmlns:a16="http://schemas.microsoft.com/office/drawing/2014/main" id="{F92FBB7D-DB2F-4F02-8914-AFCD4B5A61BA}"/>
                </a:ext>
              </a:extLst>
            </p:cNvPr>
            <p:cNvSpPr/>
            <p:nvPr/>
          </p:nvSpPr>
          <p:spPr>
            <a:xfrm>
              <a:off x="4818538" y="3862483"/>
              <a:ext cx="152276" cy="94480"/>
            </a:xfrm>
            <a:custGeom>
              <a:avLst/>
              <a:gdLst/>
              <a:ahLst/>
              <a:cxnLst/>
              <a:rect l="l" t="t" r="r" b="b"/>
              <a:pathLst>
                <a:path w="234163" h="148590" extrusionOk="0">
                  <a:moveTo>
                    <a:pt x="107074" y="140721"/>
                  </a:moveTo>
                  <a:lnTo>
                    <a:pt x="105388" y="140721"/>
                  </a:lnTo>
                  <a:lnTo>
                    <a:pt x="102015" y="135783"/>
                  </a:lnTo>
                  <a:lnTo>
                    <a:pt x="107074" y="140721"/>
                  </a:lnTo>
                  <a:close/>
                  <a:moveTo>
                    <a:pt x="98643" y="137429"/>
                  </a:moveTo>
                  <a:lnTo>
                    <a:pt x="100329" y="137429"/>
                  </a:lnTo>
                  <a:lnTo>
                    <a:pt x="91898" y="135783"/>
                  </a:lnTo>
                  <a:lnTo>
                    <a:pt x="98643" y="137429"/>
                  </a:lnTo>
                  <a:close/>
                  <a:moveTo>
                    <a:pt x="171150" y="7406"/>
                  </a:moveTo>
                  <a:lnTo>
                    <a:pt x="174523" y="12344"/>
                  </a:lnTo>
                  <a:lnTo>
                    <a:pt x="166092" y="18927"/>
                  </a:lnTo>
                  <a:lnTo>
                    <a:pt x="176209" y="38677"/>
                  </a:lnTo>
                  <a:lnTo>
                    <a:pt x="182954" y="37031"/>
                  </a:lnTo>
                  <a:lnTo>
                    <a:pt x="216679" y="50198"/>
                  </a:lnTo>
                  <a:lnTo>
                    <a:pt x="199816" y="68303"/>
                  </a:lnTo>
                  <a:lnTo>
                    <a:pt x="209934" y="73240"/>
                  </a:lnTo>
                  <a:lnTo>
                    <a:pt x="209934" y="81470"/>
                  </a:lnTo>
                  <a:lnTo>
                    <a:pt x="223423" y="83116"/>
                  </a:lnTo>
                  <a:lnTo>
                    <a:pt x="228482" y="81470"/>
                  </a:lnTo>
                  <a:lnTo>
                    <a:pt x="233541" y="81470"/>
                  </a:lnTo>
                  <a:lnTo>
                    <a:pt x="233541" y="88053"/>
                  </a:lnTo>
                  <a:lnTo>
                    <a:pt x="216679" y="107803"/>
                  </a:lnTo>
                  <a:lnTo>
                    <a:pt x="214992" y="116033"/>
                  </a:lnTo>
                  <a:lnTo>
                    <a:pt x="186326" y="137429"/>
                  </a:lnTo>
                  <a:lnTo>
                    <a:pt x="182954" y="137429"/>
                  </a:lnTo>
                  <a:lnTo>
                    <a:pt x="172837" y="144013"/>
                  </a:lnTo>
                  <a:lnTo>
                    <a:pt x="174523" y="147304"/>
                  </a:lnTo>
                  <a:lnTo>
                    <a:pt x="172837" y="150596"/>
                  </a:lnTo>
                  <a:lnTo>
                    <a:pt x="167778" y="147304"/>
                  </a:lnTo>
                  <a:lnTo>
                    <a:pt x="154288" y="148950"/>
                  </a:lnTo>
                  <a:lnTo>
                    <a:pt x="147543" y="145658"/>
                  </a:lnTo>
                  <a:lnTo>
                    <a:pt x="142485" y="145658"/>
                  </a:lnTo>
                  <a:lnTo>
                    <a:pt x="142485" y="152242"/>
                  </a:lnTo>
                  <a:lnTo>
                    <a:pt x="137426" y="153888"/>
                  </a:lnTo>
                  <a:lnTo>
                    <a:pt x="137426" y="150596"/>
                  </a:lnTo>
                  <a:lnTo>
                    <a:pt x="125622" y="153888"/>
                  </a:lnTo>
                  <a:lnTo>
                    <a:pt x="125622" y="150596"/>
                  </a:lnTo>
                  <a:lnTo>
                    <a:pt x="128995" y="150596"/>
                  </a:lnTo>
                  <a:lnTo>
                    <a:pt x="132367" y="145658"/>
                  </a:lnTo>
                  <a:lnTo>
                    <a:pt x="128995" y="145658"/>
                  </a:lnTo>
                  <a:lnTo>
                    <a:pt x="128995" y="150596"/>
                  </a:lnTo>
                  <a:lnTo>
                    <a:pt x="125622" y="148950"/>
                  </a:lnTo>
                  <a:lnTo>
                    <a:pt x="128995" y="130845"/>
                  </a:lnTo>
                  <a:lnTo>
                    <a:pt x="125622" y="129200"/>
                  </a:lnTo>
                  <a:lnTo>
                    <a:pt x="125622" y="153888"/>
                  </a:lnTo>
                  <a:lnTo>
                    <a:pt x="118877" y="147304"/>
                  </a:lnTo>
                  <a:lnTo>
                    <a:pt x="115505" y="150596"/>
                  </a:lnTo>
                  <a:lnTo>
                    <a:pt x="118877" y="137429"/>
                  </a:lnTo>
                  <a:lnTo>
                    <a:pt x="115505" y="135783"/>
                  </a:lnTo>
                  <a:lnTo>
                    <a:pt x="112133" y="135783"/>
                  </a:lnTo>
                  <a:lnTo>
                    <a:pt x="108760" y="147304"/>
                  </a:lnTo>
                  <a:lnTo>
                    <a:pt x="112133" y="150596"/>
                  </a:lnTo>
                  <a:lnTo>
                    <a:pt x="108760" y="147304"/>
                  </a:lnTo>
                  <a:lnTo>
                    <a:pt x="108760" y="139075"/>
                  </a:lnTo>
                  <a:lnTo>
                    <a:pt x="105388" y="135783"/>
                  </a:lnTo>
                  <a:lnTo>
                    <a:pt x="80094" y="129200"/>
                  </a:lnTo>
                  <a:lnTo>
                    <a:pt x="86839" y="132492"/>
                  </a:lnTo>
                  <a:lnTo>
                    <a:pt x="86839" y="135783"/>
                  </a:lnTo>
                  <a:lnTo>
                    <a:pt x="73349" y="129200"/>
                  </a:lnTo>
                  <a:lnTo>
                    <a:pt x="42997" y="96283"/>
                  </a:lnTo>
                  <a:lnTo>
                    <a:pt x="12645" y="111095"/>
                  </a:lnTo>
                  <a:lnTo>
                    <a:pt x="4214" y="120971"/>
                  </a:lnTo>
                  <a:lnTo>
                    <a:pt x="16018" y="104512"/>
                  </a:lnTo>
                  <a:lnTo>
                    <a:pt x="32880" y="92991"/>
                  </a:lnTo>
                  <a:lnTo>
                    <a:pt x="32880" y="89699"/>
                  </a:lnTo>
                  <a:lnTo>
                    <a:pt x="56487" y="84761"/>
                  </a:lnTo>
                  <a:lnTo>
                    <a:pt x="59860" y="78178"/>
                  </a:lnTo>
                  <a:lnTo>
                    <a:pt x="66604" y="71595"/>
                  </a:lnTo>
                  <a:lnTo>
                    <a:pt x="80094" y="71595"/>
                  </a:lnTo>
                  <a:lnTo>
                    <a:pt x="110446" y="60074"/>
                  </a:lnTo>
                  <a:lnTo>
                    <a:pt x="108760" y="56782"/>
                  </a:lnTo>
                  <a:lnTo>
                    <a:pt x="115505" y="53490"/>
                  </a:lnTo>
                  <a:lnTo>
                    <a:pt x="113819" y="40323"/>
                  </a:lnTo>
                  <a:lnTo>
                    <a:pt x="125622" y="30448"/>
                  </a:lnTo>
                  <a:lnTo>
                    <a:pt x="130681" y="17281"/>
                  </a:lnTo>
                  <a:lnTo>
                    <a:pt x="140798" y="12344"/>
                  </a:lnTo>
                  <a:lnTo>
                    <a:pt x="140798" y="9052"/>
                  </a:lnTo>
                  <a:lnTo>
                    <a:pt x="145857" y="10698"/>
                  </a:lnTo>
                  <a:lnTo>
                    <a:pt x="169464" y="4114"/>
                  </a:lnTo>
                  <a:lnTo>
                    <a:pt x="171150"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09" name="Nissewaard">
              <a:extLst>
                <a:ext uri="{FF2B5EF4-FFF2-40B4-BE49-F238E27FC236}">
                  <a16:creationId xmlns:a16="http://schemas.microsoft.com/office/drawing/2014/main" id="{A00FD2B0-CABB-4AC2-9DAD-19F8163D3F52}"/>
                </a:ext>
              </a:extLst>
            </p:cNvPr>
            <p:cNvSpPr/>
            <p:nvPr/>
          </p:nvSpPr>
          <p:spPr>
            <a:xfrm>
              <a:off x="4924867" y="3872010"/>
              <a:ext cx="293902" cy="141750"/>
            </a:xfrm>
            <a:custGeom>
              <a:avLst/>
              <a:gdLst/>
              <a:ahLst/>
              <a:cxnLst/>
              <a:rect l="l" t="t" r="r" b="b"/>
              <a:pathLst>
                <a:path w="433202" h="217170" extrusionOk="0">
                  <a:moveTo>
                    <a:pt x="10959" y="171992"/>
                  </a:moveTo>
                  <a:lnTo>
                    <a:pt x="14332" y="173638"/>
                  </a:lnTo>
                  <a:lnTo>
                    <a:pt x="10959" y="175284"/>
                  </a:lnTo>
                  <a:lnTo>
                    <a:pt x="4214" y="171992"/>
                  </a:lnTo>
                  <a:lnTo>
                    <a:pt x="10959" y="171992"/>
                  </a:lnTo>
                  <a:close/>
                  <a:moveTo>
                    <a:pt x="306048" y="56782"/>
                  </a:moveTo>
                  <a:lnTo>
                    <a:pt x="319538" y="68303"/>
                  </a:lnTo>
                  <a:lnTo>
                    <a:pt x="344832" y="79824"/>
                  </a:lnTo>
                  <a:lnTo>
                    <a:pt x="370125" y="81470"/>
                  </a:lnTo>
                  <a:lnTo>
                    <a:pt x="398791" y="79824"/>
                  </a:lnTo>
                  <a:lnTo>
                    <a:pt x="412281" y="83116"/>
                  </a:lnTo>
                  <a:lnTo>
                    <a:pt x="434202" y="94637"/>
                  </a:lnTo>
                  <a:lnTo>
                    <a:pt x="420712" y="107803"/>
                  </a:lnTo>
                  <a:lnTo>
                    <a:pt x="412281" y="112741"/>
                  </a:lnTo>
                  <a:lnTo>
                    <a:pt x="380242" y="107803"/>
                  </a:lnTo>
                  <a:lnTo>
                    <a:pt x="336400" y="142367"/>
                  </a:lnTo>
                  <a:lnTo>
                    <a:pt x="314480" y="135783"/>
                  </a:lnTo>
                  <a:lnTo>
                    <a:pt x="289186" y="142367"/>
                  </a:lnTo>
                  <a:lnTo>
                    <a:pt x="277383" y="150596"/>
                  </a:lnTo>
                  <a:lnTo>
                    <a:pt x="240286" y="158825"/>
                  </a:lnTo>
                  <a:lnTo>
                    <a:pt x="223423" y="175284"/>
                  </a:lnTo>
                  <a:lnTo>
                    <a:pt x="181268" y="168700"/>
                  </a:lnTo>
                  <a:lnTo>
                    <a:pt x="172837" y="173638"/>
                  </a:lnTo>
                  <a:lnTo>
                    <a:pt x="147543" y="214785"/>
                  </a:lnTo>
                  <a:lnTo>
                    <a:pt x="144171" y="213139"/>
                  </a:lnTo>
                  <a:lnTo>
                    <a:pt x="137426" y="216431"/>
                  </a:lnTo>
                  <a:lnTo>
                    <a:pt x="122250" y="208201"/>
                  </a:lnTo>
                  <a:lnTo>
                    <a:pt x="117191" y="201618"/>
                  </a:lnTo>
                  <a:lnTo>
                    <a:pt x="122250" y="195034"/>
                  </a:lnTo>
                  <a:lnTo>
                    <a:pt x="115505" y="201618"/>
                  </a:lnTo>
                  <a:lnTo>
                    <a:pt x="107074" y="191742"/>
                  </a:lnTo>
                  <a:lnTo>
                    <a:pt x="108760" y="188451"/>
                  </a:lnTo>
                  <a:lnTo>
                    <a:pt x="103701" y="186805"/>
                  </a:lnTo>
                  <a:lnTo>
                    <a:pt x="105388" y="183513"/>
                  </a:lnTo>
                  <a:lnTo>
                    <a:pt x="102015" y="186805"/>
                  </a:lnTo>
                  <a:lnTo>
                    <a:pt x="96957" y="180221"/>
                  </a:lnTo>
                  <a:lnTo>
                    <a:pt x="91898" y="178576"/>
                  </a:lnTo>
                  <a:lnTo>
                    <a:pt x="93584" y="173638"/>
                  </a:lnTo>
                  <a:lnTo>
                    <a:pt x="90212" y="178576"/>
                  </a:lnTo>
                  <a:lnTo>
                    <a:pt x="78408" y="171992"/>
                  </a:lnTo>
                  <a:lnTo>
                    <a:pt x="80094" y="165409"/>
                  </a:lnTo>
                  <a:lnTo>
                    <a:pt x="76722" y="171992"/>
                  </a:lnTo>
                  <a:lnTo>
                    <a:pt x="68291" y="168700"/>
                  </a:lnTo>
                  <a:lnTo>
                    <a:pt x="69977" y="165409"/>
                  </a:lnTo>
                  <a:lnTo>
                    <a:pt x="66605" y="170346"/>
                  </a:lnTo>
                  <a:lnTo>
                    <a:pt x="54801" y="168700"/>
                  </a:lnTo>
                  <a:lnTo>
                    <a:pt x="51429" y="170346"/>
                  </a:lnTo>
                  <a:lnTo>
                    <a:pt x="53115" y="168700"/>
                  </a:lnTo>
                  <a:lnTo>
                    <a:pt x="48056" y="167055"/>
                  </a:lnTo>
                  <a:lnTo>
                    <a:pt x="26135" y="135783"/>
                  </a:lnTo>
                  <a:lnTo>
                    <a:pt x="14332" y="127554"/>
                  </a:lnTo>
                  <a:lnTo>
                    <a:pt x="16018" y="124262"/>
                  </a:lnTo>
                  <a:lnTo>
                    <a:pt x="14332" y="120971"/>
                  </a:lnTo>
                  <a:lnTo>
                    <a:pt x="24449" y="114387"/>
                  </a:lnTo>
                  <a:lnTo>
                    <a:pt x="27821" y="114387"/>
                  </a:lnTo>
                  <a:lnTo>
                    <a:pt x="56487" y="92991"/>
                  </a:lnTo>
                  <a:lnTo>
                    <a:pt x="58173" y="84761"/>
                  </a:lnTo>
                  <a:lnTo>
                    <a:pt x="75036" y="65011"/>
                  </a:lnTo>
                  <a:lnTo>
                    <a:pt x="75036" y="58428"/>
                  </a:lnTo>
                  <a:lnTo>
                    <a:pt x="64918" y="60074"/>
                  </a:lnTo>
                  <a:lnTo>
                    <a:pt x="54801" y="58428"/>
                  </a:lnTo>
                  <a:lnTo>
                    <a:pt x="139112" y="4114"/>
                  </a:lnTo>
                  <a:lnTo>
                    <a:pt x="169464" y="20573"/>
                  </a:lnTo>
                  <a:lnTo>
                    <a:pt x="179582" y="23864"/>
                  </a:lnTo>
                  <a:lnTo>
                    <a:pt x="285814" y="27156"/>
                  </a:lnTo>
                  <a:lnTo>
                    <a:pt x="297617" y="46906"/>
                  </a:lnTo>
                  <a:lnTo>
                    <a:pt x="306048" y="5678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0" name="Noordenveld">
              <a:extLst>
                <a:ext uri="{FF2B5EF4-FFF2-40B4-BE49-F238E27FC236}">
                  <a16:creationId xmlns:a16="http://schemas.microsoft.com/office/drawing/2014/main" id="{3BC79EAF-4A38-4DDD-A454-6EAA9802FCB1}"/>
                </a:ext>
              </a:extLst>
            </p:cNvPr>
            <p:cNvSpPr/>
            <p:nvPr/>
          </p:nvSpPr>
          <p:spPr>
            <a:xfrm>
              <a:off x="7170480" y="1734010"/>
              <a:ext cx="248387" cy="348029"/>
            </a:xfrm>
            <a:custGeom>
              <a:avLst/>
              <a:gdLst/>
              <a:ahLst/>
              <a:cxnLst/>
              <a:rect l="l" t="t" r="r" b="b"/>
              <a:pathLst>
                <a:path w="351245" h="525780" extrusionOk="0">
                  <a:moveTo>
                    <a:pt x="275696" y="7406"/>
                  </a:moveTo>
                  <a:lnTo>
                    <a:pt x="279069" y="10697"/>
                  </a:lnTo>
                  <a:lnTo>
                    <a:pt x="282441" y="17281"/>
                  </a:lnTo>
                  <a:lnTo>
                    <a:pt x="300990" y="12343"/>
                  </a:lnTo>
                  <a:lnTo>
                    <a:pt x="312793" y="17281"/>
                  </a:lnTo>
                  <a:lnTo>
                    <a:pt x="309421" y="22218"/>
                  </a:lnTo>
                  <a:lnTo>
                    <a:pt x="316166" y="37031"/>
                  </a:lnTo>
                  <a:lnTo>
                    <a:pt x="316166" y="41969"/>
                  </a:lnTo>
                  <a:lnTo>
                    <a:pt x="322911" y="46907"/>
                  </a:lnTo>
                  <a:lnTo>
                    <a:pt x="329656" y="65011"/>
                  </a:lnTo>
                  <a:lnTo>
                    <a:pt x="338087" y="76532"/>
                  </a:lnTo>
                  <a:lnTo>
                    <a:pt x="336401" y="79824"/>
                  </a:lnTo>
                  <a:lnTo>
                    <a:pt x="344832" y="81470"/>
                  </a:lnTo>
                  <a:lnTo>
                    <a:pt x="341459" y="86407"/>
                  </a:lnTo>
                  <a:lnTo>
                    <a:pt x="346518" y="89699"/>
                  </a:lnTo>
                  <a:lnTo>
                    <a:pt x="344832" y="94637"/>
                  </a:lnTo>
                  <a:lnTo>
                    <a:pt x="348204" y="96282"/>
                  </a:lnTo>
                  <a:lnTo>
                    <a:pt x="343145" y="106158"/>
                  </a:lnTo>
                  <a:lnTo>
                    <a:pt x="348204" y="112741"/>
                  </a:lnTo>
                  <a:lnTo>
                    <a:pt x="348204" y="119324"/>
                  </a:lnTo>
                  <a:lnTo>
                    <a:pt x="343145" y="129200"/>
                  </a:lnTo>
                  <a:lnTo>
                    <a:pt x="348204" y="135783"/>
                  </a:lnTo>
                  <a:lnTo>
                    <a:pt x="349890" y="144012"/>
                  </a:lnTo>
                  <a:lnTo>
                    <a:pt x="348204" y="150596"/>
                  </a:lnTo>
                  <a:lnTo>
                    <a:pt x="353263" y="158825"/>
                  </a:lnTo>
                  <a:lnTo>
                    <a:pt x="351576" y="175284"/>
                  </a:lnTo>
                  <a:lnTo>
                    <a:pt x="309421" y="180221"/>
                  </a:lnTo>
                  <a:lnTo>
                    <a:pt x="312793" y="193388"/>
                  </a:lnTo>
                  <a:lnTo>
                    <a:pt x="294245" y="204909"/>
                  </a:lnTo>
                  <a:lnTo>
                    <a:pt x="290872" y="198326"/>
                  </a:lnTo>
                  <a:lnTo>
                    <a:pt x="263893" y="204909"/>
                  </a:lnTo>
                  <a:lnTo>
                    <a:pt x="270638" y="226306"/>
                  </a:lnTo>
                  <a:lnTo>
                    <a:pt x="272324" y="239473"/>
                  </a:lnTo>
                  <a:lnTo>
                    <a:pt x="279069" y="260869"/>
                  </a:lnTo>
                  <a:lnTo>
                    <a:pt x="316166" y="321766"/>
                  </a:lnTo>
                  <a:lnTo>
                    <a:pt x="317852" y="338224"/>
                  </a:lnTo>
                  <a:lnTo>
                    <a:pt x="314480" y="359621"/>
                  </a:lnTo>
                  <a:lnTo>
                    <a:pt x="295931" y="404059"/>
                  </a:lnTo>
                  <a:lnTo>
                    <a:pt x="300990" y="418872"/>
                  </a:lnTo>
                  <a:lnTo>
                    <a:pt x="290872" y="422163"/>
                  </a:lnTo>
                  <a:lnTo>
                    <a:pt x="302676" y="456726"/>
                  </a:lnTo>
                  <a:lnTo>
                    <a:pt x="312793" y="455081"/>
                  </a:lnTo>
                  <a:lnTo>
                    <a:pt x="317852" y="469893"/>
                  </a:lnTo>
                  <a:lnTo>
                    <a:pt x="306049" y="471539"/>
                  </a:lnTo>
                  <a:lnTo>
                    <a:pt x="169464" y="532436"/>
                  </a:lnTo>
                  <a:lnTo>
                    <a:pt x="91898" y="417226"/>
                  </a:lnTo>
                  <a:lnTo>
                    <a:pt x="98643" y="336579"/>
                  </a:lnTo>
                  <a:lnTo>
                    <a:pt x="4214" y="303661"/>
                  </a:lnTo>
                  <a:lnTo>
                    <a:pt x="19390" y="272390"/>
                  </a:lnTo>
                  <a:lnTo>
                    <a:pt x="63232" y="288848"/>
                  </a:lnTo>
                  <a:lnTo>
                    <a:pt x="80094" y="241118"/>
                  </a:lnTo>
                  <a:lnTo>
                    <a:pt x="90212" y="239473"/>
                  </a:lnTo>
                  <a:lnTo>
                    <a:pt x="93584" y="203264"/>
                  </a:lnTo>
                  <a:lnTo>
                    <a:pt x="117191" y="137429"/>
                  </a:lnTo>
                  <a:lnTo>
                    <a:pt x="115505" y="127554"/>
                  </a:lnTo>
                  <a:lnTo>
                    <a:pt x="130681" y="114387"/>
                  </a:lnTo>
                  <a:lnTo>
                    <a:pt x="135740" y="102866"/>
                  </a:lnTo>
                  <a:lnTo>
                    <a:pt x="147543" y="94637"/>
                  </a:lnTo>
                  <a:lnTo>
                    <a:pt x="149230" y="78178"/>
                  </a:lnTo>
                  <a:lnTo>
                    <a:pt x="152602" y="69949"/>
                  </a:lnTo>
                  <a:lnTo>
                    <a:pt x="177895" y="60073"/>
                  </a:lnTo>
                  <a:lnTo>
                    <a:pt x="193071" y="48552"/>
                  </a:lnTo>
                  <a:lnTo>
                    <a:pt x="199816" y="48552"/>
                  </a:lnTo>
                  <a:lnTo>
                    <a:pt x="206561" y="43615"/>
                  </a:lnTo>
                  <a:lnTo>
                    <a:pt x="213306" y="22218"/>
                  </a:lnTo>
                  <a:lnTo>
                    <a:pt x="262207" y="5760"/>
                  </a:lnTo>
                  <a:lnTo>
                    <a:pt x="268951" y="4114"/>
                  </a:lnTo>
                  <a:lnTo>
                    <a:pt x="275696"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1" name="Cranendonck">
              <a:extLst>
                <a:ext uri="{FF2B5EF4-FFF2-40B4-BE49-F238E27FC236}">
                  <a16:creationId xmlns:a16="http://schemas.microsoft.com/office/drawing/2014/main" id="{10189417-226F-451B-8B31-0673E2DCD5EC}"/>
                </a:ext>
              </a:extLst>
            </p:cNvPr>
            <p:cNvSpPr/>
            <p:nvPr/>
          </p:nvSpPr>
          <p:spPr>
            <a:xfrm>
              <a:off x="6368964" y="4717320"/>
              <a:ext cx="162176" cy="208126"/>
            </a:xfrm>
            <a:custGeom>
              <a:avLst/>
              <a:gdLst/>
              <a:ahLst/>
              <a:cxnLst/>
              <a:rect l="l" t="t" r="r" b="b"/>
              <a:pathLst>
                <a:path w="245871" h="320040" extrusionOk="0">
                  <a:moveTo>
                    <a:pt x="218365" y="4114"/>
                  </a:moveTo>
                  <a:lnTo>
                    <a:pt x="236913" y="69949"/>
                  </a:lnTo>
                  <a:lnTo>
                    <a:pt x="245344" y="76532"/>
                  </a:lnTo>
                  <a:lnTo>
                    <a:pt x="243658" y="91345"/>
                  </a:lnTo>
                  <a:lnTo>
                    <a:pt x="245344" y="97928"/>
                  </a:lnTo>
                  <a:lnTo>
                    <a:pt x="174523" y="198326"/>
                  </a:lnTo>
                  <a:lnTo>
                    <a:pt x="171151" y="257577"/>
                  </a:lnTo>
                  <a:lnTo>
                    <a:pt x="164405" y="305307"/>
                  </a:lnTo>
                  <a:lnTo>
                    <a:pt x="125622" y="316829"/>
                  </a:lnTo>
                  <a:lnTo>
                    <a:pt x="125622" y="313536"/>
                  </a:lnTo>
                  <a:lnTo>
                    <a:pt x="81780" y="325058"/>
                  </a:lnTo>
                  <a:lnTo>
                    <a:pt x="73349" y="321766"/>
                  </a:lnTo>
                  <a:lnTo>
                    <a:pt x="64918" y="269098"/>
                  </a:lnTo>
                  <a:lnTo>
                    <a:pt x="68291" y="226306"/>
                  </a:lnTo>
                  <a:lnTo>
                    <a:pt x="66605" y="216430"/>
                  </a:lnTo>
                  <a:lnTo>
                    <a:pt x="48056" y="204910"/>
                  </a:lnTo>
                  <a:lnTo>
                    <a:pt x="24449" y="178576"/>
                  </a:lnTo>
                  <a:lnTo>
                    <a:pt x="9273" y="160471"/>
                  </a:lnTo>
                  <a:lnTo>
                    <a:pt x="4214" y="145658"/>
                  </a:lnTo>
                  <a:lnTo>
                    <a:pt x="31194" y="120971"/>
                  </a:lnTo>
                  <a:lnTo>
                    <a:pt x="81780" y="84761"/>
                  </a:lnTo>
                  <a:lnTo>
                    <a:pt x="142485" y="58428"/>
                  </a:lnTo>
                  <a:lnTo>
                    <a:pt x="164405" y="65011"/>
                  </a:lnTo>
                  <a:lnTo>
                    <a:pt x="166092" y="58428"/>
                  </a:lnTo>
                  <a:lnTo>
                    <a:pt x="182954" y="68303"/>
                  </a:lnTo>
                  <a:lnTo>
                    <a:pt x="188013" y="61719"/>
                  </a:lnTo>
                  <a:lnTo>
                    <a:pt x="184640" y="58428"/>
                  </a:lnTo>
                  <a:lnTo>
                    <a:pt x="188013" y="53490"/>
                  </a:lnTo>
                  <a:lnTo>
                    <a:pt x="193072" y="56782"/>
                  </a:lnTo>
                  <a:lnTo>
                    <a:pt x="198130" y="51844"/>
                  </a:lnTo>
                  <a:lnTo>
                    <a:pt x="201503" y="53490"/>
                  </a:lnTo>
                  <a:lnTo>
                    <a:pt x="203189" y="50199"/>
                  </a:lnTo>
                  <a:lnTo>
                    <a:pt x="201503" y="50199"/>
                  </a:lnTo>
                  <a:lnTo>
                    <a:pt x="203189" y="46907"/>
                  </a:lnTo>
                  <a:lnTo>
                    <a:pt x="199816" y="43615"/>
                  </a:lnTo>
                  <a:lnTo>
                    <a:pt x="191385" y="43615"/>
                  </a:lnTo>
                  <a:lnTo>
                    <a:pt x="191385" y="35386"/>
                  </a:lnTo>
                  <a:lnTo>
                    <a:pt x="196444" y="37031"/>
                  </a:lnTo>
                  <a:lnTo>
                    <a:pt x="196444" y="22219"/>
                  </a:lnTo>
                  <a:lnTo>
                    <a:pt x="209934" y="13989"/>
                  </a:lnTo>
                  <a:lnTo>
                    <a:pt x="206561" y="9052"/>
                  </a:lnTo>
                  <a:lnTo>
                    <a:pt x="21836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2" name="Bergen (L.)">
              <a:extLst>
                <a:ext uri="{FF2B5EF4-FFF2-40B4-BE49-F238E27FC236}">
                  <a16:creationId xmlns:a16="http://schemas.microsoft.com/office/drawing/2014/main" id="{F4317D41-9C6C-456C-B6F5-57D172AF31B2}"/>
                </a:ext>
              </a:extLst>
            </p:cNvPr>
            <p:cNvSpPr/>
            <p:nvPr/>
          </p:nvSpPr>
          <p:spPr>
            <a:xfrm>
              <a:off x="6854237" y="4191257"/>
              <a:ext cx="252024" cy="281887"/>
            </a:xfrm>
            <a:custGeom>
              <a:avLst/>
              <a:gdLst/>
              <a:ahLst/>
              <a:cxnLst/>
              <a:rect l="l" t="t" r="r" b="b"/>
              <a:pathLst>
                <a:path w="374661" h="422910" extrusionOk="0">
                  <a:moveTo>
                    <a:pt x="93584" y="7406"/>
                  </a:moveTo>
                  <a:lnTo>
                    <a:pt x="88525" y="7406"/>
                  </a:lnTo>
                  <a:lnTo>
                    <a:pt x="96957" y="12344"/>
                  </a:lnTo>
                  <a:lnTo>
                    <a:pt x="150916" y="33740"/>
                  </a:lnTo>
                  <a:lnTo>
                    <a:pt x="155974" y="30448"/>
                  </a:lnTo>
                  <a:lnTo>
                    <a:pt x="162719" y="33740"/>
                  </a:lnTo>
                  <a:lnTo>
                    <a:pt x="162719" y="38678"/>
                  </a:lnTo>
                  <a:lnTo>
                    <a:pt x="171150" y="35386"/>
                  </a:lnTo>
                  <a:lnTo>
                    <a:pt x="176209" y="43615"/>
                  </a:lnTo>
                  <a:lnTo>
                    <a:pt x="186326" y="43615"/>
                  </a:lnTo>
                  <a:lnTo>
                    <a:pt x="193071" y="46907"/>
                  </a:lnTo>
                  <a:lnTo>
                    <a:pt x="198130" y="41969"/>
                  </a:lnTo>
                  <a:lnTo>
                    <a:pt x="221737" y="51844"/>
                  </a:lnTo>
                  <a:lnTo>
                    <a:pt x="218365" y="58428"/>
                  </a:lnTo>
                  <a:lnTo>
                    <a:pt x="221737" y="65011"/>
                  </a:lnTo>
                  <a:lnTo>
                    <a:pt x="208247" y="73240"/>
                  </a:lnTo>
                  <a:lnTo>
                    <a:pt x="213306" y="79824"/>
                  </a:lnTo>
                  <a:lnTo>
                    <a:pt x="206561" y="86407"/>
                  </a:lnTo>
                  <a:lnTo>
                    <a:pt x="194757" y="129200"/>
                  </a:lnTo>
                  <a:lnTo>
                    <a:pt x="191385" y="137429"/>
                  </a:lnTo>
                  <a:lnTo>
                    <a:pt x="186326" y="134137"/>
                  </a:lnTo>
                  <a:lnTo>
                    <a:pt x="186326" y="150596"/>
                  </a:lnTo>
                  <a:lnTo>
                    <a:pt x="182954" y="173638"/>
                  </a:lnTo>
                  <a:lnTo>
                    <a:pt x="228482" y="204910"/>
                  </a:lnTo>
                  <a:lnTo>
                    <a:pt x="243658" y="232889"/>
                  </a:lnTo>
                  <a:lnTo>
                    <a:pt x="268951" y="257577"/>
                  </a:lnTo>
                  <a:lnTo>
                    <a:pt x="284127" y="267452"/>
                  </a:lnTo>
                  <a:lnTo>
                    <a:pt x="316166" y="334933"/>
                  </a:lnTo>
                  <a:lnTo>
                    <a:pt x="351576" y="361267"/>
                  </a:lnTo>
                  <a:lnTo>
                    <a:pt x="370125" y="394184"/>
                  </a:lnTo>
                  <a:lnTo>
                    <a:pt x="373497" y="407351"/>
                  </a:lnTo>
                  <a:lnTo>
                    <a:pt x="358321" y="417226"/>
                  </a:lnTo>
                  <a:lnTo>
                    <a:pt x="334714" y="415580"/>
                  </a:lnTo>
                  <a:lnTo>
                    <a:pt x="304362" y="420518"/>
                  </a:lnTo>
                  <a:lnTo>
                    <a:pt x="300989" y="408997"/>
                  </a:lnTo>
                  <a:lnTo>
                    <a:pt x="292559" y="399122"/>
                  </a:lnTo>
                  <a:lnTo>
                    <a:pt x="267265" y="385954"/>
                  </a:lnTo>
                  <a:lnTo>
                    <a:pt x="228482" y="351391"/>
                  </a:lnTo>
                  <a:lnTo>
                    <a:pt x="218365" y="321766"/>
                  </a:lnTo>
                  <a:lnTo>
                    <a:pt x="213306" y="315182"/>
                  </a:lnTo>
                  <a:lnTo>
                    <a:pt x="201502" y="311891"/>
                  </a:lnTo>
                  <a:lnTo>
                    <a:pt x="164405" y="315182"/>
                  </a:lnTo>
                  <a:lnTo>
                    <a:pt x="139112" y="293786"/>
                  </a:lnTo>
                  <a:lnTo>
                    <a:pt x="128995" y="290494"/>
                  </a:lnTo>
                  <a:lnTo>
                    <a:pt x="117191" y="288849"/>
                  </a:lnTo>
                  <a:lnTo>
                    <a:pt x="108760" y="278973"/>
                  </a:lnTo>
                  <a:lnTo>
                    <a:pt x="100329" y="260869"/>
                  </a:lnTo>
                  <a:lnTo>
                    <a:pt x="102015" y="229597"/>
                  </a:lnTo>
                  <a:lnTo>
                    <a:pt x="96957" y="218076"/>
                  </a:lnTo>
                  <a:lnTo>
                    <a:pt x="83467" y="201618"/>
                  </a:lnTo>
                  <a:lnTo>
                    <a:pt x="78408" y="190097"/>
                  </a:lnTo>
                  <a:lnTo>
                    <a:pt x="78408" y="152242"/>
                  </a:lnTo>
                  <a:lnTo>
                    <a:pt x="75036" y="140721"/>
                  </a:lnTo>
                  <a:lnTo>
                    <a:pt x="34566" y="99574"/>
                  </a:lnTo>
                  <a:lnTo>
                    <a:pt x="4214" y="83116"/>
                  </a:lnTo>
                  <a:lnTo>
                    <a:pt x="42997" y="55136"/>
                  </a:lnTo>
                  <a:lnTo>
                    <a:pt x="42997" y="56782"/>
                  </a:lnTo>
                  <a:lnTo>
                    <a:pt x="51428" y="53490"/>
                  </a:lnTo>
                  <a:lnTo>
                    <a:pt x="61546" y="43615"/>
                  </a:lnTo>
                  <a:lnTo>
                    <a:pt x="63232" y="38678"/>
                  </a:lnTo>
                  <a:lnTo>
                    <a:pt x="78408" y="43615"/>
                  </a:lnTo>
                  <a:lnTo>
                    <a:pt x="88525" y="35386"/>
                  </a:lnTo>
                  <a:lnTo>
                    <a:pt x="76722" y="20573"/>
                  </a:lnTo>
                  <a:lnTo>
                    <a:pt x="88525" y="4114"/>
                  </a:lnTo>
                  <a:lnTo>
                    <a:pt x="93584"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3" name="Deurne">
              <a:extLst>
                <a:ext uri="{FF2B5EF4-FFF2-40B4-BE49-F238E27FC236}">
                  <a16:creationId xmlns:a16="http://schemas.microsoft.com/office/drawing/2014/main" id="{6B53735C-D13D-4BD2-836A-DD877DB07C5D}"/>
                </a:ext>
              </a:extLst>
            </p:cNvPr>
            <p:cNvSpPr/>
            <p:nvPr/>
          </p:nvSpPr>
          <p:spPr>
            <a:xfrm>
              <a:off x="6577016" y="4469930"/>
              <a:ext cx="238486" cy="248729"/>
            </a:xfrm>
            <a:custGeom>
              <a:avLst/>
              <a:gdLst/>
              <a:ahLst/>
              <a:cxnLst/>
              <a:rect l="l" t="t" r="r" b="b"/>
              <a:pathLst>
                <a:path w="339536" h="365760" extrusionOk="0">
                  <a:moveTo>
                    <a:pt x="211620" y="4114"/>
                  </a:moveTo>
                  <a:lnTo>
                    <a:pt x="225110" y="33739"/>
                  </a:lnTo>
                  <a:lnTo>
                    <a:pt x="241972" y="134137"/>
                  </a:lnTo>
                  <a:lnTo>
                    <a:pt x="336401" y="290494"/>
                  </a:lnTo>
                  <a:lnTo>
                    <a:pt x="248717" y="367850"/>
                  </a:lnTo>
                  <a:lnTo>
                    <a:pt x="241972" y="369496"/>
                  </a:lnTo>
                  <a:lnTo>
                    <a:pt x="235227" y="364558"/>
                  </a:lnTo>
                  <a:lnTo>
                    <a:pt x="220051" y="366204"/>
                  </a:lnTo>
                  <a:lnTo>
                    <a:pt x="214992" y="320120"/>
                  </a:lnTo>
                  <a:lnTo>
                    <a:pt x="216678" y="311890"/>
                  </a:lnTo>
                  <a:lnTo>
                    <a:pt x="191385" y="267452"/>
                  </a:lnTo>
                  <a:lnTo>
                    <a:pt x="182954" y="260869"/>
                  </a:lnTo>
                  <a:lnTo>
                    <a:pt x="181268" y="255931"/>
                  </a:lnTo>
                  <a:lnTo>
                    <a:pt x="113819" y="224660"/>
                  </a:lnTo>
                  <a:lnTo>
                    <a:pt x="107074" y="216430"/>
                  </a:lnTo>
                  <a:lnTo>
                    <a:pt x="95270" y="209847"/>
                  </a:lnTo>
                  <a:lnTo>
                    <a:pt x="86839" y="198326"/>
                  </a:lnTo>
                  <a:lnTo>
                    <a:pt x="80094" y="195034"/>
                  </a:lnTo>
                  <a:lnTo>
                    <a:pt x="73349" y="181867"/>
                  </a:lnTo>
                  <a:lnTo>
                    <a:pt x="63232" y="173638"/>
                  </a:lnTo>
                  <a:lnTo>
                    <a:pt x="31194" y="162117"/>
                  </a:lnTo>
                  <a:lnTo>
                    <a:pt x="5900" y="162117"/>
                  </a:lnTo>
                  <a:lnTo>
                    <a:pt x="5900" y="148950"/>
                  </a:lnTo>
                  <a:lnTo>
                    <a:pt x="24449" y="148950"/>
                  </a:lnTo>
                  <a:lnTo>
                    <a:pt x="12645" y="127554"/>
                  </a:lnTo>
                  <a:lnTo>
                    <a:pt x="14332" y="125908"/>
                  </a:lnTo>
                  <a:lnTo>
                    <a:pt x="10959" y="124262"/>
                  </a:lnTo>
                  <a:lnTo>
                    <a:pt x="7587" y="117678"/>
                  </a:lnTo>
                  <a:lnTo>
                    <a:pt x="4214" y="91345"/>
                  </a:lnTo>
                  <a:lnTo>
                    <a:pt x="12645" y="92991"/>
                  </a:lnTo>
                  <a:lnTo>
                    <a:pt x="14332" y="86407"/>
                  </a:lnTo>
                  <a:lnTo>
                    <a:pt x="31194" y="89699"/>
                  </a:lnTo>
                  <a:lnTo>
                    <a:pt x="32880" y="83115"/>
                  </a:lnTo>
                  <a:lnTo>
                    <a:pt x="10959" y="50198"/>
                  </a:lnTo>
                  <a:lnTo>
                    <a:pt x="16018" y="53490"/>
                  </a:lnTo>
                  <a:lnTo>
                    <a:pt x="24449" y="48552"/>
                  </a:lnTo>
                  <a:lnTo>
                    <a:pt x="31194" y="51844"/>
                  </a:lnTo>
                  <a:lnTo>
                    <a:pt x="66605" y="43615"/>
                  </a:lnTo>
                  <a:lnTo>
                    <a:pt x="91898" y="41969"/>
                  </a:lnTo>
                  <a:lnTo>
                    <a:pt x="21162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4" name="Sliedrecht">
              <a:extLst>
                <a:ext uri="{FF2B5EF4-FFF2-40B4-BE49-F238E27FC236}">
                  <a16:creationId xmlns:a16="http://schemas.microsoft.com/office/drawing/2014/main" id="{F3242684-26DB-4D23-B03C-5AF633193DCD}"/>
                </a:ext>
              </a:extLst>
            </p:cNvPr>
            <p:cNvSpPr/>
            <p:nvPr/>
          </p:nvSpPr>
          <p:spPr>
            <a:xfrm>
              <a:off x="5534097" y="3923725"/>
              <a:ext cx="91753" cy="54831"/>
            </a:xfrm>
            <a:custGeom>
              <a:avLst/>
              <a:gdLst/>
              <a:ahLst/>
              <a:cxnLst/>
              <a:rect l="l" t="t" r="r" b="b"/>
              <a:pathLst>
                <a:path w="128789" h="80010" extrusionOk="0">
                  <a:moveTo>
                    <a:pt x="91898" y="9052"/>
                  </a:moveTo>
                  <a:lnTo>
                    <a:pt x="105388" y="9052"/>
                  </a:lnTo>
                  <a:lnTo>
                    <a:pt x="117191" y="5760"/>
                  </a:lnTo>
                  <a:lnTo>
                    <a:pt x="118877" y="65011"/>
                  </a:lnTo>
                  <a:lnTo>
                    <a:pt x="128995" y="66657"/>
                  </a:lnTo>
                  <a:lnTo>
                    <a:pt x="128995" y="73240"/>
                  </a:lnTo>
                  <a:lnTo>
                    <a:pt x="90212" y="79824"/>
                  </a:lnTo>
                  <a:lnTo>
                    <a:pt x="68291" y="79824"/>
                  </a:lnTo>
                  <a:lnTo>
                    <a:pt x="58173" y="78178"/>
                  </a:lnTo>
                  <a:lnTo>
                    <a:pt x="34566" y="63365"/>
                  </a:lnTo>
                  <a:lnTo>
                    <a:pt x="4214" y="63365"/>
                  </a:lnTo>
                  <a:lnTo>
                    <a:pt x="22763" y="18927"/>
                  </a:lnTo>
                  <a:lnTo>
                    <a:pt x="44684" y="9052"/>
                  </a:lnTo>
                  <a:lnTo>
                    <a:pt x="53115" y="10698"/>
                  </a:lnTo>
                  <a:lnTo>
                    <a:pt x="63232" y="10698"/>
                  </a:lnTo>
                  <a:lnTo>
                    <a:pt x="81780" y="4114"/>
                  </a:lnTo>
                  <a:lnTo>
                    <a:pt x="91898"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5" name="Pekela">
              <a:extLst>
                <a:ext uri="{FF2B5EF4-FFF2-40B4-BE49-F238E27FC236}">
                  <a16:creationId xmlns:a16="http://schemas.microsoft.com/office/drawing/2014/main" id="{C473906E-592D-4ED5-AD10-25006591812C}"/>
                </a:ext>
              </a:extLst>
            </p:cNvPr>
            <p:cNvSpPr/>
            <p:nvPr/>
          </p:nvSpPr>
          <p:spPr>
            <a:xfrm>
              <a:off x="7789675" y="1862205"/>
              <a:ext cx="132102" cy="174968"/>
            </a:xfrm>
            <a:custGeom>
              <a:avLst/>
              <a:gdLst/>
              <a:ahLst/>
              <a:cxnLst/>
              <a:rect l="l" t="t" r="r" b="b"/>
              <a:pathLst>
                <a:path w="199038" h="262890" extrusionOk="0">
                  <a:moveTo>
                    <a:pt x="110447" y="4114"/>
                  </a:moveTo>
                  <a:lnTo>
                    <a:pt x="113819" y="5760"/>
                  </a:lnTo>
                  <a:lnTo>
                    <a:pt x="115505" y="4114"/>
                  </a:lnTo>
                  <a:lnTo>
                    <a:pt x="122251" y="12343"/>
                  </a:lnTo>
                  <a:lnTo>
                    <a:pt x="182955" y="10697"/>
                  </a:lnTo>
                  <a:lnTo>
                    <a:pt x="184640" y="12343"/>
                  </a:lnTo>
                  <a:lnTo>
                    <a:pt x="179582" y="18927"/>
                  </a:lnTo>
                  <a:lnTo>
                    <a:pt x="182955" y="20573"/>
                  </a:lnTo>
                  <a:lnTo>
                    <a:pt x="186327" y="28802"/>
                  </a:lnTo>
                  <a:lnTo>
                    <a:pt x="204875" y="45261"/>
                  </a:lnTo>
                  <a:lnTo>
                    <a:pt x="162720" y="122616"/>
                  </a:lnTo>
                  <a:lnTo>
                    <a:pt x="157661" y="112741"/>
                  </a:lnTo>
                  <a:lnTo>
                    <a:pt x="135740" y="157179"/>
                  </a:lnTo>
                  <a:lnTo>
                    <a:pt x="130682" y="158825"/>
                  </a:lnTo>
                  <a:lnTo>
                    <a:pt x="127309" y="173638"/>
                  </a:lnTo>
                  <a:lnTo>
                    <a:pt x="80095" y="259223"/>
                  </a:lnTo>
                  <a:lnTo>
                    <a:pt x="48056" y="244410"/>
                  </a:lnTo>
                  <a:lnTo>
                    <a:pt x="14332" y="209847"/>
                  </a:lnTo>
                  <a:lnTo>
                    <a:pt x="4214" y="188451"/>
                  </a:lnTo>
                  <a:lnTo>
                    <a:pt x="26136" y="185159"/>
                  </a:lnTo>
                  <a:lnTo>
                    <a:pt x="24449" y="175284"/>
                  </a:lnTo>
                  <a:lnTo>
                    <a:pt x="44684" y="173638"/>
                  </a:lnTo>
                  <a:lnTo>
                    <a:pt x="44684" y="163763"/>
                  </a:lnTo>
                  <a:lnTo>
                    <a:pt x="31194" y="153888"/>
                  </a:lnTo>
                  <a:lnTo>
                    <a:pt x="37939" y="117679"/>
                  </a:lnTo>
                  <a:lnTo>
                    <a:pt x="59860" y="96282"/>
                  </a:lnTo>
                  <a:lnTo>
                    <a:pt x="78409" y="65011"/>
                  </a:lnTo>
                  <a:lnTo>
                    <a:pt x="83467" y="61719"/>
                  </a:lnTo>
                  <a:lnTo>
                    <a:pt x="85153" y="27156"/>
                  </a:lnTo>
                  <a:lnTo>
                    <a:pt x="91898" y="23864"/>
                  </a:lnTo>
                  <a:lnTo>
                    <a:pt x="11044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6" name="Dronten">
              <a:extLst>
                <a:ext uri="{FF2B5EF4-FFF2-40B4-BE49-F238E27FC236}">
                  <a16:creationId xmlns:a16="http://schemas.microsoft.com/office/drawing/2014/main" id="{62B8B85E-9D7B-43A5-826A-0F3F2C83CA6F}"/>
                </a:ext>
              </a:extLst>
            </p:cNvPr>
            <p:cNvSpPr/>
            <p:nvPr/>
          </p:nvSpPr>
          <p:spPr>
            <a:xfrm>
              <a:off x="6410457" y="2692252"/>
              <a:ext cx="318435" cy="395299"/>
            </a:xfrm>
            <a:custGeom>
              <a:avLst/>
              <a:gdLst/>
              <a:ahLst/>
              <a:cxnLst/>
              <a:rect l="l" t="t" r="r" b="b"/>
              <a:pathLst>
                <a:path w="456618" h="594360" extrusionOk="0">
                  <a:moveTo>
                    <a:pt x="262207" y="33739"/>
                  </a:moveTo>
                  <a:lnTo>
                    <a:pt x="268951" y="30448"/>
                  </a:lnTo>
                  <a:lnTo>
                    <a:pt x="274010" y="30448"/>
                  </a:lnTo>
                  <a:lnTo>
                    <a:pt x="262207" y="33739"/>
                  </a:lnTo>
                  <a:close/>
                  <a:moveTo>
                    <a:pt x="287500" y="46906"/>
                  </a:moveTo>
                  <a:lnTo>
                    <a:pt x="284128" y="35385"/>
                  </a:lnTo>
                  <a:lnTo>
                    <a:pt x="274010" y="30448"/>
                  </a:lnTo>
                  <a:lnTo>
                    <a:pt x="282441" y="32094"/>
                  </a:lnTo>
                  <a:lnTo>
                    <a:pt x="289186" y="40323"/>
                  </a:lnTo>
                  <a:lnTo>
                    <a:pt x="289186" y="37031"/>
                  </a:lnTo>
                  <a:lnTo>
                    <a:pt x="290872" y="41969"/>
                  </a:lnTo>
                  <a:lnTo>
                    <a:pt x="287500" y="46906"/>
                  </a:lnTo>
                  <a:close/>
                  <a:moveTo>
                    <a:pt x="282441" y="56782"/>
                  </a:moveTo>
                  <a:lnTo>
                    <a:pt x="277383" y="55136"/>
                  </a:lnTo>
                  <a:lnTo>
                    <a:pt x="280755" y="55136"/>
                  </a:lnTo>
                  <a:lnTo>
                    <a:pt x="282441" y="46906"/>
                  </a:lnTo>
                  <a:lnTo>
                    <a:pt x="280755" y="33739"/>
                  </a:lnTo>
                  <a:lnTo>
                    <a:pt x="285814" y="37031"/>
                  </a:lnTo>
                  <a:lnTo>
                    <a:pt x="287500" y="46906"/>
                  </a:lnTo>
                  <a:lnTo>
                    <a:pt x="282441" y="56782"/>
                  </a:lnTo>
                  <a:close/>
                  <a:moveTo>
                    <a:pt x="282441" y="66657"/>
                  </a:moveTo>
                  <a:lnTo>
                    <a:pt x="279069" y="58427"/>
                  </a:lnTo>
                  <a:lnTo>
                    <a:pt x="280755" y="55136"/>
                  </a:lnTo>
                  <a:lnTo>
                    <a:pt x="282441" y="58427"/>
                  </a:lnTo>
                  <a:lnTo>
                    <a:pt x="282441" y="56782"/>
                  </a:lnTo>
                  <a:lnTo>
                    <a:pt x="282441" y="66657"/>
                  </a:lnTo>
                  <a:close/>
                  <a:moveTo>
                    <a:pt x="284128" y="68303"/>
                  </a:moveTo>
                  <a:lnTo>
                    <a:pt x="280755" y="66657"/>
                  </a:lnTo>
                  <a:lnTo>
                    <a:pt x="279069" y="61719"/>
                  </a:lnTo>
                  <a:lnTo>
                    <a:pt x="274010" y="56782"/>
                  </a:lnTo>
                  <a:lnTo>
                    <a:pt x="270638" y="56782"/>
                  </a:lnTo>
                  <a:lnTo>
                    <a:pt x="265579" y="61719"/>
                  </a:lnTo>
                  <a:lnTo>
                    <a:pt x="275696" y="66657"/>
                  </a:lnTo>
                  <a:lnTo>
                    <a:pt x="265579" y="63365"/>
                  </a:lnTo>
                  <a:lnTo>
                    <a:pt x="258834" y="56782"/>
                  </a:lnTo>
                  <a:lnTo>
                    <a:pt x="257148" y="37031"/>
                  </a:lnTo>
                  <a:lnTo>
                    <a:pt x="265579" y="32094"/>
                  </a:lnTo>
                  <a:lnTo>
                    <a:pt x="270638" y="30448"/>
                  </a:lnTo>
                  <a:lnTo>
                    <a:pt x="262207" y="33739"/>
                  </a:lnTo>
                  <a:lnTo>
                    <a:pt x="258834" y="40323"/>
                  </a:lnTo>
                  <a:lnTo>
                    <a:pt x="262207" y="35385"/>
                  </a:lnTo>
                  <a:lnTo>
                    <a:pt x="268951" y="32094"/>
                  </a:lnTo>
                  <a:lnTo>
                    <a:pt x="275696" y="32094"/>
                  </a:lnTo>
                  <a:lnTo>
                    <a:pt x="282441" y="38677"/>
                  </a:lnTo>
                  <a:lnTo>
                    <a:pt x="282441" y="48552"/>
                  </a:lnTo>
                  <a:lnTo>
                    <a:pt x="275696" y="55136"/>
                  </a:lnTo>
                  <a:lnTo>
                    <a:pt x="277383" y="58427"/>
                  </a:lnTo>
                  <a:lnTo>
                    <a:pt x="277383" y="55136"/>
                  </a:lnTo>
                  <a:lnTo>
                    <a:pt x="279069" y="55136"/>
                  </a:lnTo>
                  <a:lnTo>
                    <a:pt x="277383" y="58427"/>
                  </a:lnTo>
                  <a:lnTo>
                    <a:pt x="284128" y="68303"/>
                  </a:lnTo>
                  <a:close/>
                  <a:moveTo>
                    <a:pt x="270638" y="53490"/>
                  </a:moveTo>
                  <a:lnTo>
                    <a:pt x="277383" y="51844"/>
                  </a:lnTo>
                  <a:lnTo>
                    <a:pt x="280755" y="45261"/>
                  </a:lnTo>
                  <a:lnTo>
                    <a:pt x="279069" y="38677"/>
                  </a:lnTo>
                  <a:lnTo>
                    <a:pt x="272324" y="33739"/>
                  </a:lnTo>
                  <a:lnTo>
                    <a:pt x="263893" y="37031"/>
                  </a:lnTo>
                  <a:lnTo>
                    <a:pt x="260520" y="43615"/>
                  </a:lnTo>
                  <a:lnTo>
                    <a:pt x="263893" y="50198"/>
                  </a:lnTo>
                  <a:lnTo>
                    <a:pt x="270638" y="53490"/>
                  </a:lnTo>
                  <a:close/>
                  <a:moveTo>
                    <a:pt x="289186" y="68303"/>
                  </a:moveTo>
                  <a:lnTo>
                    <a:pt x="287500" y="66657"/>
                  </a:lnTo>
                  <a:lnTo>
                    <a:pt x="290872" y="68303"/>
                  </a:lnTo>
                  <a:lnTo>
                    <a:pt x="285814" y="65011"/>
                  </a:lnTo>
                  <a:lnTo>
                    <a:pt x="284128" y="60073"/>
                  </a:lnTo>
                  <a:lnTo>
                    <a:pt x="285814" y="53490"/>
                  </a:lnTo>
                  <a:lnTo>
                    <a:pt x="290872" y="48552"/>
                  </a:lnTo>
                  <a:lnTo>
                    <a:pt x="292559" y="50198"/>
                  </a:lnTo>
                  <a:lnTo>
                    <a:pt x="290872" y="51844"/>
                  </a:lnTo>
                  <a:lnTo>
                    <a:pt x="292559" y="53490"/>
                  </a:lnTo>
                  <a:lnTo>
                    <a:pt x="294245" y="63365"/>
                  </a:lnTo>
                  <a:lnTo>
                    <a:pt x="292559" y="68303"/>
                  </a:lnTo>
                  <a:lnTo>
                    <a:pt x="289186" y="68303"/>
                  </a:lnTo>
                  <a:close/>
                  <a:moveTo>
                    <a:pt x="442633" y="176930"/>
                  </a:moveTo>
                  <a:lnTo>
                    <a:pt x="442633" y="170346"/>
                  </a:lnTo>
                  <a:lnTo>
                    <a:pt x="444319" y="173638"/>
                  </a:lnTo>
                  <a:lnTo>
                    <a:pt x="440946" y="173638"/>
                  </a:lnTo>
                  <a:lnTo>
                    <a:pt x="442633" y="176930"/>
                  </a:lnTo>
                  <a:close/>
                  <a:moveTo>
                    <a:pt x="447691" y="232889"/>
                  </a:moveTo>
                  <a:lnTo>
                    <a:pt x="446005" y="223014"/>
                  </a:lnTo>
                  <a:lnTo>
                    <a:pt x="449378" y="219722"/>
                  </a:lnTo>
                  <a:lnTo>
                    <a:pt x="452750" y="226306"/>
                  </a:lnTo>
                  <a:lnTo>
                    <a:pt x="447691" y="232889"/>
                  </a:lnTo>
                  <a:close/>
                  <a:moveTo>
                    <a:pt x="440946" y="280619"/>
                  </a:moveTo>
                  <a:lnTo>
                    <a:pt x="439260" y="277327"/>
                  </a:lnTo>
                  <a:lnTo>
                    <a:pt x="442633" y="272390"/>
                  </a:lnTo>
                  <a:lnTo>
                    <a:pt x="444319" y="277327"/>
                  </a:lnTo>
                  <a:lnTo>
                    <a:pt x="440946" y="280619"/>
                  </a:lnTo>
                  <a:close/>
                  <a:moveTo>
                    <a:pt x="424084" y="326703"/>
                  </a:moveTo>
                  <a:lnTo>
                    <a:pt x="420712" y="321766"/>
                  </a:lnTo>
                  <a:lnTo>
                    <a:pt x="424084" y="313536"/>
                  </a:lnTo>
                  <a:lnTo>
                    <a:pt x="425770" y="315182"/>
                  </a:lnTo>
                  <a:lnTo>
                    <a:pt x="425770" y="313536"/>
                  </a:lnTo>
                  <a:lnTo>
                    <a:pt x="427457" y="316828"/>
                  </a:lnTo>
                  <a:lnTo>
                    <a:pt x="424084" y="326703"/>
                  </a:lnTo>
                  <a:close/>
                  <a:moveTo>
                    <a:pt x="390360" y="405705"/>
                  </a:moveTo>
                  <a:lnTo>
                    <a:pt x="392046" y="404059"/>
                  </a:lnTo>
                  <a:lnTo>
                    <a:pt x="390360" y="405705"/>
                  </a:lnTo>
                  <a:close/>
                  <a:moveTo>
                    <a:pt x="388674" y="408997"/>
                  </a:moveTo>
                  <a:lnTo>
                    <a:pt x="390360" y="407350"/>
                  </a:lnTo>
                  <a:lnTo>
                    <a:pt x="388674" y="408997"/>
                  </a:lnTo>
                  <a:close/>
                  <a:moveTo>
                    <a:pt x="388674" y="408997"/>
                  </a:moveTo>
                  <a:lnTo>
                    <a:pt x="388674" y="408997"/>
                  </a:lnTo>
                  <a:close/>
                  <a:moveTo>
                    <a:pt x="267265" y="502811"/>
                  </a:moveTo>
                  <a:lnTo>
                    <a:pt x="267265" y="501165"/>
                  </a:lnTo>
                  <a:lnTo>
                    <a:pt x="274010" y="501165"/>
                  </a:lnTo>
                  <a:lnTo>
                    <a:pt x="267265" y="502811"/>
                  </a:lnTo>
                  <a:close/>
                  <a:moveTo>
                    <a:pt x="258834" y="506102"/>
                  </a:moveTo>
                  <a:lnTo>
                    <a:pt x="253776" y="504456"/>
                  </a:lnTo>
                  <a:lnTo>
                    <a:pt x="253776" y="501165"/>
                  </a:lnTo>
                  <a:lnTo>
                    <a:pt x="253776" y="502811"/>
                  </a:lnTo>
                  <a:lnTo>
                    <a:pt x="257148" y="501165"/>
                  </a:lnTo>
                  <a:lnTo>
                    <a:pt x="258834" y="504456"/>
                  </a:lnTo>
                  <a:lnTo>
                    <a:pt x="258834" y="506102"/>
                  </a:lnTo>
                  <a:close/>
                  <a:moveTo>
                    <a:pt x="241972" y="507748"/>
                  </a:moveTo>
                  <a:lnTo>
                    <a:pt x="238599" y="506102"/>
                  </a:lnTo>
                  <a:lnTo>
                    <a:pt x="241972" y="506102"/>
                  </a:lnTo>
                  <a:lnTo>
                    <a:pt x="241972" y="507748"/>
                  </a:lnTo>
                  <a:close/>
                  <a:moveTo>
                    <a:pt x="265579" y="527498"/>
                  </a:moveTo>
                  <a:lnTo>
                    <a:pt x="265579" y="519269"/>
                  </a:lnTo>
                  <a:lnTo>
                    <a:pt x="267265" y="520915"/>
                  </a:lnTo>
                  <a:lnTo>
                    <a:pt x="265579" y="527498"/>
                  </a:lnTo>
                  <a:close/>
                  <a:moveTo>
                    <a:pt x="194758" y="548895"/>
                  </a:moveTo>
                  <a:lnTo>
                    <a:pt x="191385" y="542311"/>
                  </a:lnTo>
                  <a:lnTo>
                    <a:pt x="194758" y="548895"/>
                  </a:lnTo>
                  <a:lnTo>
                    <a:pt x="198130" y="545603"/>
                  </a:lnTo>
                  <a:lnTo>
                    <a:pt x="196444" y="542311"/>
                  </a:lnTo>
                  <a:lnTo>
                    <a:pt x="199816" y="542311"/>
                  </a:lnTo>
                  <a:lnTo>
                    <a:pt x="199816" y="547249"/>
                  </a:lnTo>
                  <a:lnTo>
                    <a:pt x="194758" y="548895"/>
                  </a:lnTo>
                  <a:close/>
                  <a:moveTo>
                    <a:pt x="220051" y="557124"/>
                  </a:moveTo>
                  <a:lnTo>
                    <a:pt x="220051" y="555478"/>
                  </a:lnTo>
                  <a:lnTo>
                    <a:pt x="220051" y="557124"/>
                  </a:lnTo>
                  <a:lnTo>
                    <a:pt x="220051" y="557124"/>
                  </a:lnTo>
                  <a:close/>
                  <a:moveTo>
                    <a:pt x="214992" y="560416"/>
                  </a:moveTo>
                  <a:lnTo>
                    <a:pt x="213306" y="560416"/>
                  </a:lnTo>
                  <a:lnTo>
                    <a:pt x="214992" y="560416"/>
                  </a:lnTo>
                  <a:lnTo>
                    <a:pt x="214992" y="560416"/>
                  </a:lnTo>
                  <a:close/>
                  <a:moveTo>
                    <a:pt x="213306" y="562062"/>
                  </a:moveTo>
                  <a:lnTo>
                    <a:pt x="213306" y="560416"/>
                  </a:lnTo>
                  <a:lnTo>
                    <a:pt x="213306" y="562062"/>
                  </a:lnTo>
                  <a:close/>
                  <a:moveTo>
                    <a:pt x="209934" y="565353"/>
                  </a:moveTo>
                  <a:lnTo>
                    <a:pt x="209934" y="563708"/>
                  </a:lnTo>
                  <a:lnTo>
                    <a:pt x="209934" y="565353"/>
                  </a:lnTo>
                  <a:lnTo>
                    <a:pt x="209934" y="565353"/>
                  </a:lnTo>
                  <a:close/>
                  <a:moveTo>
                    <a:pt x="199816" y="570291"/>
                  </a:moveTo>
                  <a:lnTo>
                    <a:pt x="199816" y="568645"/>
                  </a:lnTo>
                  <a:lnTo>
                    <a:pt x="199816" y="570291"/>
                  </a:lnTo>
                  <a:close/>
                  <a:moveTo>
                    <a:pt x="174523" y="576874"/>
                  </a:moveTo>
                  <a:lnTo>
                    <a:pt x="174523" y="575229"/>
                  </a:lnTo>
                  <a:lnTo>
                    <a:pt x="176209" y="575229"/>
                  </a:lnTo>
                  <a:lnTo>
                    <a:pt x="174523" y="576874"/>
                  </a:lnTo>
                  <a:close/>
                  <a:moveTo>
                    <a:pt x="174523" y="576874"/>
                  </a:moveTo>
                  <a:lnTo>
                    <a:pt x="174523" y="576874"/>
                  </a:lnTo>
                  <a:close/>
                  <a:moveTo>
                    <a:pt x="115505" y="578520"/>
                  </a:moveTo>
                  <a:lnTo>
                    <a:pt x="117191" y="575229"/>
                  </a:lnTo>
                  <a:lnTo>
                    <a:pt x="115505" y="578520"/>
                  </a:lnTo>
                  <a:close/>
                  <a:moveTo>
                    <a:pt x="107074" y="593333"/>
                  </a:moveTo>
                  <a:lnTo>
                    <a:pt x="113819" y="588395"/>
                  </a:lnTo>
                  <a:lnTo>
                    <a:pt x="110446" y="593333"/>
                  </a:lnTo>
                  <a:lnTo>
                    <a:pt x="107074" y="593333"/>
                  </a:lnTo>
                  <a:close/>
                  <a:moveTo>
                    <a:pt x="80094" y="596625"/>
                  </a:moveTo>
                  <a:lnTo>
                    <a:pt x="80094" y="596625"/>
                  </a:lnTo>
                  <a:close/>
                  <a:moveTo>
                    <a:pt x="78408" y="596625"/>
                  </a:moveTo>
                  <a:lnTo>
                    <a:pt x="75036" y="586750"/>
                  </a:lnTo>
                  <a:lnTo>
                    <a:pt x="83467" y="562062"/>
                  </a:lnTo>
                  <a:lnTo>
                    <a:pt x="91898" y="504456"/>
                  </a:lnTo>
                  <a:lnTo>
                    <a:pt x="39625" y="497873"/>
                  </a:lnTo>
                  <a:lnTo>
                    <a:pt x="37939" y="489643"/>
                  </a:lnTo>
                  <a:lnTo>
                    <a:pt x="5900" y="438622"/>
                  </a:lnTo>
                  <a:lnTo>
                    <a:pt x="17704" y="432039"/>
                  </a:lnTo>
                  <a:lnTo>
                    <a:pt x="29507" y="415580"/>
                  </a:lnTo>
                  <a:lnTo>
                    <a:pt x="36252" y="410642"/>
                  </a:lnTo>
                  <a:lnTo>
                    <a:pt x="4214" y="356329"/>
                  </a:lnTo>
                  <a:lnTo>
                    <a:pt x="64918" y="321766"/>
                  </a:lnTo>
                  <a:lnTo>
                    <a:pt x="42997" y="283911"/>
                  </a:lnTo>
                  <a:lnTo>
                    <a:pt x="37939" y="250993"/>
                  </a:lnTo>
                  <a:lnTo>
                    <a:pt x="42997" y="250993"/>
                  </a:lnTo>
                  <a:lnTo>
                    <a:pt x="36252" y="130845"/>
                  </a:lnTo>
                  <a:lnTo>
                    <a:pt x="14332" y="51844"/>
                  </a:lnTo>
                  <a:lnTo>
                    <a:pt x="98643" y="28802"/>
                  </a:lnTo>
                  <a:lnTo>
                    <a:pt x="118878" y="17281"/>
                  </a:lnTo>
                  <a:lnTo>
                    <a:pt x="130681" y="4114"/>
                  </a:lnTo>
                  <a:lnTo>
                    <a:pt x="132367" y="5760"/>
                  </a:lnTo>
                  <a:lnTo>
                    <a:pt x="118878" y="17281"/>
                  </a:lnTo>
                  <a:lnTo>
                    <a:pt x="115505" y="23864"/>
                  </a:lnTo>
                  <a:lnTo>
                    <a:pt x="132367" y="43615"/>
                  </a:lnTo>
                  <a:lnTo>
                    <a:pt x="140798" y="50198"/>
                  </a:lnTo>
                  <a:lnTo>
                    <a:pt x="290872" y="84761"/>
                  </a:lnTo>
                  <a:lnTo>
                    <a:pt x="292559" y="91345"/>
                  </a:lnTo>
                  <a:lnTo>
                    <a:pt x="294245" y="86407"/>
                  </a:lnTo>
                  <a:lnTo>
                    <a:pt x="299303" y="83115"/>
                  </a:lnTo>
                  <a:lnTo>
                    <a:pt x="294245" y="86407"/>
                  </a:lnTo>
                  <a:lnTo>
                    <a:pt x="294245" y="92991"/>
                  </a:lnTo>
                  <a:lnTo>
                    <a:pt x="297617" y="86407"/>
                  </a:lnTo>
                  <a:lnTo>
                    <a:pt x="302676" y="86407"/>
                  </a:lnTo>
                  <a:lnTo>
                    <a:pt x="299303" y="86407"/>
                  </a:lnTo>
                  <a:lnTo>
                    <a:pt x="299303" y="91345"/>
                  </a:lnTo>
                  <a:lnTo>
                    <a:pt x="302676" y="91345"/>
                  </a:lnTo>
                  <a:lnTo>
                    <a:pt x="302676" y="88053"/>
                  </a:lnTo>
                  <a:lnTo>
                    <a:pt x="302676" y="91345"/>
                  </a:lnTo>
                  <a:lnTo>
                    <a:pt x="361694" y="89699"/>
                  </a:lnTo>
                  <a:lnTo>
                    <a:pt x="375184" y="94636"/>
                  </a:lnTo>
                  <a:lnTo>
                    <a:pt x="435888" y="160471"/>
                  </a:lnTo>
                  <a:lnTo>
                    <a:pt x="440946" y="175284"/>
                  </a:lnTo>
                  <a:lnTo>
                    <a:pt x="444319" y="234535"/>
                  </a:lnTo>
                  <a:lnTo>
                    <a:pt x="437574" y="257577"/>
                  </a:lnTo>
                  <a:lnTo>
                    <a:pt x="439260" y="267452"/>
                  </a:lnTo>
                  <a:lnTo>
                    <a:pt x="434201" y="283911"/>
                  </a:lnTo>
                  <a:lnTo>
                    <a:pt x="434201" y="292140"/>
                  </a:lnTo>
                  <a:lnTo>
                    <a:pt x="381928" y="387600"/>
                  </a:lnTo>
                  <a:lnTo>
                    <a:pt x="378556" y="387600"/>
                  </a:lnTo>
                  <a:lnTo>
                    <a:pt x="373497" y="392538"/>
                  </a:lnTo>
                  <a:lnTo>
                    <a:pt x="366753" y="412288"/>
                  </a:lnTo>
                  <a:lnTo>
                    <a:pt x="363380" y="412288"/>
                  </a:lnTo>
                  <a:lnTo>
                    <a:pt x="361694" y="415580"/>
                  </a:lnTo>
                  <a:lnTo>
                    <a:pt x="363380" y="417226"/>
                  </a:lnTo>
                  <a:lnTo>
                    <a:pt x="366753" y="413934"/>
                  </a:lnTo>
                  <a:lnTo>
                    <a:pt x="354949" y="427101"/>
                  </a:lnTo>
                  <a:lnTo>
                    <a:pt x="354949" y="432039"/>
                  </a:lnTo>
                  <a:lnTo>
                    <a:pt x="351576" y="432039"/>
                  </a:lnTo>
                  <a:lnTo>
                    <a:pt x="339773" y="443559"/>
                  </a:lnTo>
                  <a:lnTo>
                    <a:pt x="326283" y="453435"/>
                  </a:lnTo>
                  <a:lnTo>
                    <a:pt x="326283" y="455081"/>
                  </a:lnTo>
                  <a:lnTo>
                    <a:pt x="294245" y="478123"/>
                  </a:lnTo>
                  <a:lnTo>
                    <a:pt x="294245" y="481414"/>
                  </a:lnTo>
                  <a:lnTo>
                    <a:pt x="282441" y="486352"/>
                  </a:lnTo>
                  <a:lnTo>
                    <a:pt x="279069" y="491290"/>
                  </a:lnTo>
                  <a:lnTo>
                    <a:pt x="279069" y="489643"/>
                  </a:lnTo>
                  <a:lnTo>
                    <a:pt x="274010" y="489643"/>
                  </a:lnTo>
                  <a:lnTo>
                    <a:pt x="275696" y="487998"/>
                  </a:lnTo>
                  <a:lnTo>
                    <a:pt x="272324" y="487998"/>
                  </a:lnTo>
                  <a:lnTo>
                    <a:pt x="274010" y="491290"/>
                  </a:lnTo>
                  <a:lnTo>
                    <a:pt x="270638" y="491290"/>
                  </a:lnTo>
                  <a:lnTo>
                    <a:pt x="268951" y="487998"/>
                  </a:lnTo>
                  <a:lnTo>
                    <a:pt x="250403" y="483060"/>
                  </a:lnTo>
                  <a:lnTo>
                    <a:pt x="240286" y="484706"/>
                  </a:lnTo>
                  <a:lnTo>
                    <a:pt x="147543" y="530790"/>
                  </a:lnTo>
                  <a:lnTo>
                    <a:pt x="125622" y="547249"/>
                  </a:lnTo>
                  <a:lnTo>
                    <a:pt x="125622" y="552187"/>
                  </a:lnTo>
                  <a:lnTo>
                    <a:pt x="115505" y="557124"/>
                  </a:lnTo>
                  <a:lnTo>
                    <a:pt x="115505" y="562062"/>
                  </a:lnTo>
                  <a:lnTo>
                    <a:pt x="112133" y="565353"/>
                  </a:lnTo>
                  <a:lnTo>
                    <a:pt x="115505" y="562062"/>
                  </a:lnTo>
                  <a:lnTo>
                    <a:pt x="112133" y="558770"/>
                  </a:lnTo>
                  <a:lnTo>
                    <a:pt x="110446" y="562062"/>
                  </a:lnTo>
                  <a:lnTo>
                    <a:pt x="112133" y="563708"/>
                  </a:lnTo>
                  <a:lnTo>
                    <a:pt x="108760" y="562062"/>
                  </a:lnTo>
                  <a:lnTo>
                    <a:pt x="107074" y="563708"/>
                  </a:lnTo>
                  <a:lnTo>
                    <a:pt x="108760" y="566999"/>
                  </a:lnTo>
                  <a:lnTo>
                    <a:pt x="112133" y="565353"/>
                  </a:lnTo>
                  <a:lnTo>
                    <a:pt x="112133" y="566999"/>
                  </a:lnTo>
                  <a:lnTo>
                    <a:pt x="105388" y="563708"/>
                  </a:lnTo>
                  <a:lnTo>
                    <a:pt x="95270" y="571937"/>
                  </a:lnTo>
                  <a:lnTo>
                    <a:pt x="91898" y="578520"/>
                  </a:lnTo>
                  <a:lnTo>
                    <a:pt x="93584" y="581812"/>
                  </a:lnTo>
                  <a:lnTo>
                    <a:pt x="88525" y="583458"/>
                  </a:lnTo>
                  <a:lnTo>
                    <a:pt x="81780" y="593333"/>
                  </a:lnTo>
                  <a:lnTo>
                    <a:pt x="83467" y="594979"/>
                  </a:lnTo>
                  <a:lnTo>
                    <a:pt x="78408" y="596625"/>
                  </a:lnTo>
                  <a:close/>
                  <a:moveTo>
                    <a:pt x="81780" y="598271"/>
                  </a:moveTo>
                  <a:lnTo>
                    <a:pt x="80094" y="596625"/>
                  </a:lnTo>
                  <a:lnTo>
                    <a:pt x="81780" y="596625"/>
                  </a:lnTo>
                  <a:lnTo>
                    <a:pt x="81780" y="59827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7" name="Lingewaard">
              <a:extLst>
                <a:ext uri="{FF2B5EF4-FFF2-40B4-BE49-F238E27FC236}">
                  <a16:creationId xmlns:a16="http://schemas.microsoft.com/office/drawing/2014/main" id="{7738F3E4-CC9B-42E5-B334-1DF36FE2870A}"/>
                </a:ext>
              </a:extLst>
            </p:cNvPr>
            <p:cNvSpPr/>
            <p:nvPr/>
          </p:nvSpPr>
          <p:spPr>
            <a:xfrm>
              <a:off x="6722619" y="3740024"/>
              <a:ext cx="201775" cy="174967"/>
            </a:xfrm>
            <a:custGeom>
              <a:avLst/>
              <a:gdLst/>
              <a:ahLst/>
              <a:cxnLst/>
              <a:rect l="l" t="t" r="r" b="b"/>
              <a:pathLst>
                <a:path w="292704" h="262890" extrusionOk="0">
                  <a:moveTo>
                    <a:pt x="147543" y="27156"/>
                  </a:moveTo>
                  <a:lnTo>
                    <a:pt x="159347" y="38677"/>
                  </a:lnTo>
                  <a:lnTo>
                    <a:pt x="162719" y="55136"/>
                  </a:lnTo>
                  <a:lnTo>
                    <a:pt x="169464" y="55136"/>
                  </a:lnTo>
                  <a:lnTo>
                    <a:pt x="172837" y="65011"/>
                  </a:lnTo>
                  <a:lnTo>
                    <a:pt x="179582" y="74886"/>
                  </a:lnTo>
                  <a:lnTo>
                    <a:pt x="179582" y="79824"/>
                  </a:lnTo>
                  <a:lnTo>
                    <a:pt x="174523" y="81470"/>
                  </a:lnTo>
                  <a:lnTo>
                    <a:pt x="189699" y="96282"/>
                  </a:lnTo>
                  <a:lnTo>
                    <a:pt x="209934" y="125908"/>
                  </a:lnTo>
                  <a:lnTo>
                    <a:pt x="252089" y="152242"/>
                  </a:lnTo>
                  <a:lnTo>
                    <a:pt x="258834" y="163763"/>
                  </a:lnTo>
                  <a:lnTo>
                    <a:pt x="268951" y="196680"/>
                  </a:lnTo>
                  <a:lnTo>
                    <a:pt x="294245" y="218076"/>
                  </a:lnTo>
                  <a:lnTo>
                    <a:pt x="272324" y="211493"/>
                  </a:lnTo>
                  <a:lnTo>
                    <a:pt x="248716" y="195034"/>
                  </a:lnTo>
                  <a:lnTo>
                    <a:pt x="230168" y="195034"/>
                  </a:lnTo>
                  <a:lnTo>
                    <a:pt x="218365" y="201617"/>
                  </a:lnTo>
                  <a:lnTo>
                    <a:pt x="208247" y="214785"/>
                  </a:lnTo>
                  <a:lnTo>
                    <a:pt x="194757" y="244410"/>
                  </a:lnTo>
                  <a:lnTo>
                    <a:pt x="189699" y="252639"/>
                  </a:lnTo>
                  <a:lnTo>
                    <a:pt x="172837" y="259223"/>
                  </a:lnTo>
                  <a:lnTo>
                    <a:pt x="155974" y="254285"/>
                  </a:lnTo>
                  <a:lnTo>
                    <a:pt x="127309" y="218076"/>
                  </a:lnTo>
                  <a:lnTo>
                    <a:pt x="118877" y="213139"/>
                  </a:lnTo>
                  <a:lnTo>
                    <a:pt x="102015" y="211493"/>
                  </a:lnTo>
                  <a:lnTo>
                    <a:pt x="83467" y="213139"/>
                  </a:lnTo>
                  <a:lnTo>
                    <a:pt x="63232" y="221368"/>
                  </a:lnTo>
                  <a:lnTo>
                    <a:pt x="49742" y="234535"/>
                  </a:lnTo>
                  <a:lnTo>
                    <a:pt x="46370" y="229597"/>
                  </a:lnTo>
                  <a:lnTo>
                    <a:pt x="42997" y="231243"/>
                  </a:lnTo>
                  <a:lnTo>
                    <a:pt x="32880" y="206555"/>
                  </a:lnTo>
                  <a:lnTo>
                    <a:pt x="27821" y="180221"/>
                  </a:lnTo>
                  <a:lnTo>
                    <a:pt x="26135" y="178575"/>
                  </a:lnTo>
                  <a:lnTo>
                    <a:pt x="4214" y="178575"/>
                  </a:lnTo>
                  <a:lnTo>
                    <a:pt x="4214" y="157179"/>
                  </a:lnTo>
                  <a:lnTo>
                    <a:pt x="31194" y="155533"/>
                  </a:lnTo>
                  <a:lnTo>
                    <a:pt x="31194" y="145658"/>
                  </a:lnTo>
                  <a:lnTo>
                    <a:pt x="26135" y="145658"/>
                  </a:lnTo>
                  <a:lnTo>
                    <a:pt x="29507" y="130845"/>
                  </a:lnTo>
                  <a:lnTo>
                    <a:pt x="56487" y="132491"/>
                  </a:lnTo>
                  <a:lnTo>
                    <a:pt x="61546" y="114387"/>
                  </a:lnTo>
                  <a:lnTo>
                    <a:pt x="58173" y="111095"/>
                  </a:lnTo>
                  <a:lnTo>
                    <a:pt x="64918" y="99574"/>
                  </a:lnTo>
                  <a:lnTo>
                    <a:pt x="53115" y="89699"/>
                  </a:lnTo>
                  <a:lnTo>
                    <a:pt x="66604" y="66657"/>
                  </a:lnTo>
                  <a:lnTo>
                    <a:pt x="73349" y="68303"/>
                  </a:lnTo>
                  <a:lnTo>
                    <a:pt x="88525" y="40323"/>
                  </a:lnTo>
                  <a:lnTo>
                    <a:pt x="85153" y="38677"/>
                  </a:lnTo>
                  <a:lnTo>
                    <a:pt x="86839" y="35385"/>
                  </a:lnTo>
                  <a:lnTo>
                    <a:pt x="91898" y="28802"/>
                  </a:lnTo>
                  <a:lnTo>
                    <a:pt x="108760" y="27156"/>
                  </a:lnTo>
                  <a:lnTo>
                    <a:pt x="113819" y="27156"/>
                  </a:lnTo>
                  <a:lnTo>
                    <a:pt x="117191" y="5760"/>
                  </a:lnTo>
                  <a:lnTo>
                    <a:pt x="122250" y="4114"/>
                  </a:lnTo>
                  <a:lnTo>
                    <a:pt x="130681" y="13989"/>
                  </a:lnTo>
                  <a:lnTo>
                    <a:pt x="147543" y="2715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8" name="Weert">
              <a:extLst>
                <a:ext uri="{FF2B5EF4-FFF2-40B4-BE49-F238E27FC236}">
                  <a16:creationId xmlns:a16="http://schemas.microsoft.com/office/drawing/2014/main" id="{C9F00505-25F2-459E-8E52-614F3B9F20BF}"/>
                </a:ext>
              </a:extLst>
            </p:cNvPr>
            <p:cNvSpPr/>
            <p:nvPr/>
          </p:nvSpPr>
          <p:spPr>
            <a:xfrm>
              <a:off x="6416214" y="4819639"/>
              <a:ext cx="243654" cy="174967"/>
            </a:xfrm>
            <a:custGeom>
              <a:avLst/>
              <a:gdLst/>
              <a:ahLst/>
              <a:cxnLst/>
              <a:rect l="l" t="t" r="r" b="b"/>
              <a:pathLst>
                <a:path w="351245" h="262890" extrusionOk="0">
                  <a:moveTo>
                    <a:pt x="130681" y="13989"/>
                  </a:moveTo>
                  <a:lnTo>
                    <a:pt x="145857" y="30448"/>
                  </a:lnTo>
                  <a:lnTo>
                    <a:pt x="162720" y="35386"/>
                  </a:lnTo>
                  <a:lnTo>
                    <a:pt x="172837" y="37031"/>
                  </a:lnTo>
                  <a:lnTo>
                    <a:pt x="198130" y="25510"/>
                  </a:lnTo>
                  <a:lnTo>
                    <a:pt x="223424" y="20573"/>
                  </a:lnTo>
                  <a:lnTo>
                    <a:pt x="248717" y="22219"/>
                  </a:lnTo>
                  <a:lnTo>
                    <a:pt x="262207" y="28802"/>
                  </a:lnTo>
                  <a:lnTo>
                    <a:pt x="284128" y="68303"/>
                  </a:lnTo>
                  <a:lnTo>
                    <a:pt x="311107" y="86407"/>
                  </a:lnTo>
                  <a:lnTo>
                    <a:pt x="317852" y="88053"/>
                  </a:lnTo>
                  <a:lnTo>
                    <a:pt x="333028" y="101220"/>
                  </a:lnTo>
                  <a:lnTo>
                    <a:pt x="354949" y="130845"/>
                  </a:lnTo>
                  <a:lnTo>
                    <a:pt x="339773" y="171993"/>
                  </a:lnTo>
                  <a:lnTo>
                    <a:pt x="329656" y="176930"/>
                  </a:lnTo>
                  <a:lnTo>
                    <a:pt x="327970" y="185159"/>
                  </a:lnTo>
                  <a:lnTo>
                    <a:pt x="319538" y="186805"/>
                  </a:lnTo>
                  <a:lnTo>
                    <a:pt x="307735" y="181867"/>
                  </a:lnTo>
                  <a:lnTo>
                    <a:pt x="300990" y="183513"/>
                  </a:lnTo>
                  <a:lnTo>
                    <a:pt x="292559" y="188451"/>
                  </a:lnTo>
                  <a:lnTo>
                    <a:pt x="289186" y="201618"/>
                  </a:lnTo>
                  <a:lnTo>
                    <a:pt x="299304" y="204910"/>
                  </a:lnTo>
                  <a:lnTo>
                    <a:pt x="294245" y="209847"/>
                  </a:lnTo>
                  <a:lnTo>
                    <a:pt x="295931" y="213139"/>
                  </a:lnTo>
                  <a:lnTo>
                    <a:pt x="294245" y="221368"/>
                  </a:lnTo>
                  <a:lnTo>
                    <a:pt x="284128" y="236181"/>
                  </a:lnTo>
                  <a:lnTo>
                    <a:pt x="285814" y="239472"/>
                  </a:lnTo>
                  <a:lnTo>
                    <a:pt x="285814" y="244410"/>
                  </a:lnTo>
                  <a:lnTo>
                    <a:pt x="275697" y="254285"/>
                  </a:lnTo>
                  <a:lnTo>
                    <a:pt x="274010" y="259223"/>
                  </a:lnTo>
                  <a:lnTo>
                    <a:pt x="272324" y="254285"/>
                  </a:lnTo>
                  <a:lnTo>
                    <a:pt x="258834" y="259223"/>
                  </a:lnTo>
                  <a:lnTo>
                    <a:pt x="257148" y="255931"/>
                  </a:lnTo>
                  <a:lnTo>
                    <a:pt x="252089" y="259223"/>
                  </a:lnTo>
                  <a:lnTo>
                    <a:pt x="243658" y="259223"/>
                  </a:lnTo>
                  <a:lnTo>
                    <a:pt x="235227" y="262514"/>
                  </a:lnTo>
                  <a:lnTo>
                    <a:pt x="226796" y="269098"/>
                  </a:lnTo>
                  <a:lnTo>
                    <a:pt x="225110" y="265807"/>
                  </a:lnTo>
                  <a:lnTo>
                    <a:pt x="214992" y="264161"/>
                  </a:lnTo>
                  <a:lnTo>
                    <a:pt x="214992" y="260869"/>
                  </a:lnTo>
                  <a:lnTo>
                    <a:pt x="206561" y="260869"/>
                  </a:lnTo>
                  <a:lnTo>
                    <a:pt x="204875" y="264161"/>
                  </a:lnTo>
                  <a:lnTo>
                    <a:pt x="196444" y="257577"/>
                  </a:lnTo>
                  <a:lnTo>
                    <a:pt x="188013" y="260869"/>
                  </a:lnTo>
                  <a:lnTo>
                    <a:pt x="182954" y="259223"/>
                  </a:lnTo>
                  <a:lnTo>
                    <a:pt x="176209" y="264161"/>
                  </a:lnTo>
                  <a:lnTo>
                    <a:pt x="176209" y="259223"/>
                  </a:lnTo>
                  <a:lnTo>
                    <a:pt x="167778" y="257577"/>
                  </a:lnTo>
                  <a:lnTo>
                    <a:pt x="157661" y="255931"/>
                  </a:lnTo>
                  <a:lnTo>
                    <a:pt x="147543" y="259223"/>
                  </a:lnTo>
                  <a:lnTo>
                    <a:pt x="134054" y="237827"/>
                  </a:lnTo>
                  <a:lnTo>
                    <a:pt x="140799" y="236181"/>
                  </a:lnTo>
                  <a:lnTo>
                    <a:pt x="139112" y="227952"/>
                  </a:lnTo>
                  <a:lnTo>
                    <a:pt x="113819" y="216430"/>
                  </a:lnTo>
                  <a:lnTo>
                    <a:pt x="4214" y="171993"/>
                  </a:lnTo>
                  <a:lnTo>
                    <a:pt x="48056" y="160471"/>
                  </a:lnTo>
                  <a:lnTo>
                    <a:pt x="48056" y="163763"/>
                  </a:lnTo>
                  <a:lnTo>
                    <a:pt x="86839" y="152242"/>
                  </a:lnTo>
                  <a:lnTo>
                    <a:pt x="93584" y="104512"/>
                  </a:lnTo>
                  <a:lnTo>
                    <a:pt x="96957" y="45261"/>
                  </a:lnTo>
                  <a:lnTo>
                    <a:pt x="125622" y="4114"/>
                  </a:lnTo>
                  <a:lnTo>
                    <a:pt x="130681"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19" name="Beverwijk">
              <a:extLst>
                <a:ext uri="{FF2B5EF4-FFF2-40B4-BE49-F238E27FC236}">
                  <a16:creationId xmlns:a16="http://schemas.microsoft.com/office/drawing/2014/main" id="{63F58F2F-5AB9-45A9-9F30-28EBA996DDBF}"/>
                </a:ext>
              </a:extLst>
            </p:cNvPr>
            <p:cNvSpPr/>
            <p:nvPr/>
          </p:nvSpPr>
          <p:spPr>
            <a:xfrm>
              <a:off x="5394376" y="2871871"/>
              <a:ext cx="122203" cy="75608"/>
            </a:xfrm>
            <a:custGeom>
              <a:avLst/>
              <a:gdLst/>
              <a:ahLst/>
              <a:cxnLst/>
              <a:rect l="l" t="t" r="r" b="b"/>
              <a:pathLst>
                <a:path w="187330" h="114300" extrusionOk="0">
                  <a:moveTo>
                    <a:pt x="130681" y="7406"/>
                  </a:moveTo>
                  <a:lnTo>
                    <a:pt x="147543" y="25510"/>
                  </a:lnTo>
                  <a:lnTo>
                    <a:pt x="161033" y="28802"/>
                  </a:lnTo>
                  <a:lnTo>
                    <a:pt x="161033" y="27156"/>
                  </a:lnTo>
                  <a:lnTo>
                    <a:pt x="166092" y="32094"/>
                  </a:lnTo>
                  <a:lnTo>
                    <a:pt x="172837" y="30448"/>
                  </a:lnTo>
                  <a:lnTo>
                    <a:pt x="174523" y="40323"/>
                  </a:lnTo>
                  <a:lnTo>
                    <a:pt x="177895" y="40323"/>
                  </a:lnTo>
                  <a:lnTo>
                    <a:pt x="181268" y="33740"/>
                  </a:lnTo>
                  <a:lnTo>
                    <a:pt x="193071" y="41969"/>
                  </a:lnTo>
                  <a:lnTo>
                    <a:pt x="189699" y="53490"/>
                  </a:lnTo>
                  <a:lnTo>
                    <a:pt x="181268" y="56782"/>
                  </a:lnTo>
                  <a:lnTo>
                    <a:pt x="177895" y="79824"/>
                  </a:lnTo>
                  <a:lnTo>
                    <a:pt x="172837" y="84761"/>
                  </a:lnTo>
                  <a:lnTo>
                    <a:pt x="155974" y="97928"/>
                  </a:lnTo>
                  <a:lnTo>
                    <a:pt x="157661" y="99574"/>
                  </a:lnTo>
                  <a:lnTo>
                    <a:pt x="142485" y="116033"/>
                  </a:lnTo>
                  <a:lnTo>
                    <a:pt x="122250" y="101220"/>
                  </a:lnTo>
                  <a:lnTo>
                    <a:pt x="132367" y="84761"/>
                  </a:lnTo>
                  <a:lnTo>
                    <a:pt x="110446" y="63365"/>
                  </a:lnTo>
                  <a:lnTo>
                    <a:pt x="103701" y="65011"/>
                  </a:lnTo>
                  <a:lnTo>
                    <a:pt x="100329" y="63365"/>
                  </a:lnTo>
                  <a:lnTo>
                    <a:pt x="100329" y="60074"/>
                  </a:lnTo>
                  <a:lnTo>
                    <a:pt x="49742" y="46906"/>
                  </a:lnTo>
                  <a:lnTo>
                    <a:pt x="36252" y="53490"/>
                  </a:lnTo>
                  <a:lnTo>
                    <a:pt x="31194" y="45261"/>
                  </a:lnTo>
                  <a:lnTo>
                    <a:pt x="4214" y="33740"/>
                  </a:lnTo>
                  <a:lnTo>
                    <a:pt x="10959" y="10698"/>
                  </a:lnTo>
                  <a:lnTo>
                    <a:pt x="17704" y="12343"/>
                  </a:lnTo>
                  <a:lnTo>
                    <a:pt x="24449" y="12343"/>
                  </a:lnTo>
                  <a:lnTo>
                    <a:pt x="27821" y="15635"/>
                  </a:lnTo>
                  <a:lnTo>
                    <a:pt x="29508" y="13989"/>
                  </a:lnTo>
                  <a:lnTo>
                    <a:pt x="27821" y="17281"/>
                  </a:lnTo>
                  <a:lnTo>
                    <a:pt x="36252" y="22219"/>
                  </a:lnTo>
                  <a:lnTo>
                    <a:pt x="41311" y="20573"/>
                  </a:lnTo>
                  <a:lnTo>
                    <a:pt x="48056" y="15635"/>
                  </a:lnTo>
                  <a:lnTo>
                    <a:pt x="83467" y="9052"/>
                  </a:lnTo>
                  <a:lnTo>
                    <a:pt x="98643" y="9052"/>
                  </a:lnTo>
                  <a:lnTo>
                    <a:pt x="113819" y="13989"/>
                  </a:lnTo>
                  <a:lnTo>
                    <a:pt x="130681" y="4114"/>
                  </a:lnTo>
                  <a:lnTo>
                    <a:pt x="130681"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0" name="Olst-Wijhe">
              <a:extLst>
                <a:ext uri="{FF2B5EF4-FFF2-40B4-BE49-F238E27FC236}">
                  <a16:creationId xmlns:a16="http://schemas.microsoft.com/office/drawing/2014/main" id="{3FD0B810-A390-45E5-B37A-6E263CF448C9}"/>
                </a:ext>
              </a:extLst>
            </p:cNvPr>
            <p:cNvSpPr/>
            <p:nvPr/>
          </p:nvSpPr>
          <p:spPr>
            <a:xfrm>
              <a:off x="6940196" y="2949170"/>
              <a:ext cx="172076" cy="245929"/>
            </a:xfrm>
            <a:custGeom>
              <a:avLst/>
              <a:gdLst/>
              <a:ahLst/>
              <a:cxnLst/>
              <a:rect l="l" t="t" r="r" b="b"/>
              <a:pathLst>
                <a:path w="257579" h="377190" extrusionOk="0">
                  <a:moveTo>
                    <a:pt x="145857" y="15635"/>
                  </a:moveTo>
                  <a:lnTo>
                    <a:pt x="169464" y="56781"/>
                  </a:lnTo>
                  <a:lnTo>
                    <a:pt x="189699" y="53490"/>
                  </a:lnTo>
                  <a:lnTo>
                    <a:pt x="189699" y="58427"/>
                  </a:lnTo>
                  <a:lnTo>
                    <a:pt x="193071" y="56781"/>
                  </a:lnTo>
                  <a:lnTo>
                    <a:pt x="193071" y="63365"/>
                  </a:lnTo>
                  <a:lnTo>
                    <a:pt x="198130" y="66657"/>
                  </a:lnTo>
                  <a:lnTo>
                    <a:pt x="213306" y="63365"/>
                  </a:lnTo>
                  <a:lnTo>
                    <a:pt x="216678" y="65011"/>
                  </a:lnTo>
                  <a:lnTo>
                    <a:pt x="214992" y="69949"/>
                  </a:lnTo>
                  <a:lnTo>
                    <a:pt x="250403" y="74886"/>
                  </a:lnTo>
                  <a:lnTo>
                    <a:pt x="236913" y="109449"/>
                  </a:lnTo>
                  <a:lnTo>
                    <a:pt x="252089" y="137429"/>
                  </a:lnTo>
                  <a:lnTo>
                    <a:pt x="250403" y="137429"/>
                  </a:lnTo>
                  <a:lnTo>
                    <a:pt x="253775" y="147304"/>
                  </a:lnTo>
                  <a:lnTo>
                    <a:pt x="250403" y="155533"/>
                  </a:lnTo>
                  <a:lnTo>
                    <a:pt x="233541" y="167054"/>
                  </a:lnTo>
                  <a:lnTo>
                    <a:pt x="230168" y="165409"/>
                  </a:lnTo>
                  <a:lnTo>
                    <a:pt x="211620" y="163763"/>
                  </a:lnTo>
                  <a:lnTo>
                    <a:pt x="208247" y="168700"/>
                  </a:lnTo>
                  <a:lnTo>
                    <a:pt x="214992" y="168700"/>
                  </a:lnTo>
                  <a:lnTo>
                    <a:pt x="216678" y="171992"/>
                  </a:lnTo>
                  <a:lnTo>
                    <a:pt x="206561" y="171992"/>
                  </a:lnTo>
                  <a:lnTo>
                    <a:pt x="206561" y="180221"/>
                  </a:lnTo>
                  <a:lnTo>
                    <a:pt x="203188" y="180221"/>
                  </a:lnTo>
                  <a:lnTo>
                    <a:pt x="209934" y="185159"/>
                  </a:lnTo>
                  <a:lnTo>
                    <a:pt x="209934" y="190096"/>
                  </a:lnTo>
                  <a:lnTo>
                    <a:pt x="204875" y="193388"/>
                  </a:lnTo>
                  <a:lnTo>
                    <a:pt x="206561" y="195034"/>
                  </a:lnTo>
                  <a:lnTo>
                    <a:pt x="206561" y="201617"/>
                  </a:lnTo>
                  <a:lnTo>
                    <a:pt x="199816" y="199972"/>
                  </a:lnTo>
                  <a:lnTo>
                    <a:pt x="198130" y="195034"/>
                  </a:lnTo>
                  <a:lnTo>
                    <a:pt x="189699" y="190096"/>
                  </a:lnTo>
                  <a:lnTo>
                    <a:pt x="188013" y="203264"/>
                  </a:lnTo>
                  <a:lnTo>
                    <a:pt x="188013" y="218076"/>
                  </a:lnTo>
                  <a:lnTo>
                    <a:pt x="196443" y="231243"/>
                  </a:lnTo>
                  <a:lnTo>
                    <a:pt x="199816" y="232889"/>
                  </a:lnTo>
                  <a:lnTo>
                    <a:pt x="198130" y="239472"/>
                  </a:lnTo>
                  <a:lnTo>
                    <a:pt x="201502" y="247702"/>
                  </a:lnTo>
                  <a:lnTo>
                    <a:pt x="240286" y="259223"/>
                  </a:lnTo>
                  <a:lnTo>
                    <a:pt x="260520" y="277327"/>
                  </a:lnTo>
                  <a:lnTo>
                    <a:pt x="253775" y="287203"/>
                  </a:lnTo>
                  <a:lnTo>
                    <a:pt x="255461" y="302015"/>
                  </a:lnTo>
                  <a:lnTo>
                    <a:pt x="260520" y="303661"/>
                  </a:lnTo>
                  <a:lnTo>
                    <a:pt x="260520" y="325057"/>
                  </a:lnTo>
                  <a:lnTo>
                    <a:pt x="216678" y="321766"/>
                  </a:lnTo>
                  <a:lnTo>
                    <a:pt x="211620" y="325057"/>
                  </a:lnTo>
                  <a:lnTo>
                    <a:pt x="211620" y="331641"/>
                  </a:lnTo>
                  <a:lnTo>
                    <a:pt x="206561" y="334932"/>
                  </a:lnTo>
                  <a:lnTo>
                    <a:pt x="179582" y="338224"/>
                  </a:lnTo>
                  <a:lnTo>
                    <a:pt x="179582" y="353037"/>
                  </a:lnTo>
                  <a:lnTo>
                    <a:pt x="161033" y="353037"/>
                  </a:lnTo>
                  <a:lnTo>
                    <a:pt x="71663" y="381017"/>
                  </a:lnTo>
                  <a:lnTo>
                    <a:pt x="68291" y="381017"/>
                  </a:lnTo>
                  <a:lnTo>
                    <a:pt x="68291" y="377725"/>
                  </a:lnTo>
                  <a:lnTo>
                    <a:pt x="59859" y="372787"/>
                  </a:lnTo>
                  <a:lnTo>
                    <a:pt x="53115" y="372787"/>
                  </a:lnTo>
                  <a:lnTo>
                    <a:pt x="54801" y="374433"/>
                  </a:lnTo>
                  <a:lnTo>
                    <a:pt x="37938" y="374433"/>
                  </a:lnTo>
                  <a:lnTo>
                    <a:pt x="34566" y="371141"/>
                  </a:lnTo>
                  <a:lnTo>
                    <a:pt x="31194" y="371141"/>
                  </a:lnTo>
                  <a:lnTo>
                    <a:pt x="29507" y="357975"/>
                  </a:lnTo>
                  <a:lnTo>
                    <a:pt x="32880" y="346453"/>
                  </a:lnTo>
                  <a:lnTo>
                    <a:pt x="26135" y="346453"/>
                  </a:lnTo>
                  <a:lnTo>
                    <a:pt x="24449" y="333287"/>
                  </a:lnTo>
                  <a:lnTo>
                    <a:pt x="12645" y="333287"/>
                  </a:lnTo>
                  <a:lnTo>
                    <a:pt x="4214" y="333287"/>
                  </a:lnTo>
                  <a:lnTo>
                    <a:pt x="4214" y="329995"/>
                  </a:lnTo>
                  <a:lnTo>
                    <a:pt x="5900" y="325057"/>
                  </a:lnTo>
                  <a:lnTo>
                    <a:pt x="10959" y="323411"/>
                  </a:lnTo>
                  <a:lnTo>
                    <a:pt x="17704" y="295432"/>
                  </a:lnTo>
                  <a:lnTo>
                    <a:pt x="16018" y="292140"/>
                  </a:lnTo>
                  <a:lnTo>
                    <a:pt x="17704" y="292140"/>
                  </a:lnTo>
                  <a:lnTo>
                    <a:pt x="19390" y="282265"/>
                  </a:lnTo>
                  <a:lnTo>
                    <a:pt x="17704" y="252639"/>
                  </a:lnTo>
                  <a:lnTo>
                    <a:pt x="21076" y="249348"/>
                  </a:lnTo>
                  <a:lnTo>
                    <a:pt x="34566" y="246056"/>
                  </a:lnTo>
                  <a:lnTo>
                    <a:pt x="46370" y="237827"/>
                  </a:lnTo>
                  <a:lnTo>
                    <a:pt x="39625" y="229597"/>
                  </a:lnTo>
                  <a:lnTo>
                    <a:pt x="22763" y="223014"/>
                  </a:lnTo>
                  <a:lnTo>
                    <a:pt x="21076" y="209847"/>
                  </a:lnTo>
                  <a:lnTo>
                    <a:pt x="22763" y="204909"/>
                  </a:lnTo>
                  <a:lnTo>
                    <a:pt x="29507" y="199972"/>
                  </a:lnTo>
                  <a:lnTo>
                    <a:pt x="73349" y="188451"/>
                  </a:lnTo>
                  <a:lnTo>
                    <a:pt x="86839" y="181867"/>
                  </a:lnTo>
                  <a:lnTo>
                    <a:pt x="93584" y="170346"/>
                  </a:lnTo>
                  <a:lnTo>
                    <a:pt x="91898" y="150596"/>
                  </a:lnTo>
                  <a:lnTo>
                    <a:pt x="98643" y="132491"/>
                  </a:lnTo>
                  <a:lnTo>
                    <a:pt x="95270" y="134137"/>
                  </a:lnTo>
                  <a:lnTo>
                    <a:pt x="88525" y="129199"/>
                  </a:lnTo>
                  <a:lnTo>
                    <a:pt x="81780" y="127554"/>
                  </a:lnTo>
                  <a:lnTo>
                    <a:pt x="75036" y="116033"/>
                  </a:lnTo>
                  <a:lnTo>
                    <a:pt x="69977" y="114387"/>
                  </a:lnTo>
                  <a:lnTo>
                    <a:pt x="75036" y="99574"/>
                  </a:lnTo>
                  <a:lnTo>
                    <a:pt x="73349" y="86407"/>
                  </a:lnTo>
                  <a:lnTo>
                    <a:pt x="80094" y="68303"/>
                  </a:lnTo>
                  <a:lnTo>
                    <a:pt x="76722" y="60073"/>
                  </a:lnTo>
                  <a:lnTo>
                    <a:pt x="81780" y="53490"/>
                  </a:lnTo>
                  <a:lnTo>
                    <a:pt x="66604" y="35385"/>
                  </a:lnTo>
                  <a:lnTo>
                    <a:pt x="83467" y="30448"/>
                  </a:lnTo>
                  <a:lnTo>
                    <a:pt x="107074" y="32094"/>
                  </a:lnTo>
                  <a:lnTo>
                    <a:pt x="108760" y="35385"/>
                  </a:lnTo>
                  <a:lnTo>
                    <a:pt x="112132" y="32094"/>
                  </a:lnTo>
                  <a:lnTo>
                    <a:pt x="113819" y="25510"/>
                  </a:lnTo>
                  <a:lnTo>
                    <a:pt x="115505" y="27156"/>
                  </a:lnTo>
                  <a:lnTo>
                    <a:pt x="123936" y="25510"/>
                  </a:lnTo>
                  <a:lnTo>
                    <a:pt x="134053" y="4114"/>
                  </a:lnTo>
                  <a:lnTo>
                    <a:pt x="139112" y="4114"/>
                  </a:lnTo>
                  <a:lnTo>
                    <a:pt x="145857"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1" name="Helmond">
              <a:extLst>
                <a:ext uri="{FF2B5EF4-FFF2-40B4-BE49-F238E27FC236}">
                  <a16:creationId xmlns:a16="http://schemas.microsoft.com/office/drawing/2014/main" id="{57DC50DD-B934-4B51-A7DF-4A3AA71CEFA6}"/>
                </a:ext>
              </a:extLst>
            </p:cNvPr>
            <p:cNvSpPr/>
            <p:nvPr/>
          </p:nvSpPr>
          <p:spPr>
            <a:xfrm>
              <a:off x="6421573" y="4469928"/>
              <a:ext cx="172076" cy="108765"/>
            </a:xfrm>
            <a:custGeom>
              <a:avLst/>
              <a:gdLst/>
              <a:ahLst/>
              <a:cxnLst/>
              <a:rect l="l" t="t" r="r" b="b"/>
              <a:pathLst>
                <a:path w="257579" h="171450" extrusionOk="0">
                  <a:moveTo>
                    <a:pt x="66605" y="5760"/>
                  </a:moveTo>
                  <a:lnTo>
                    <a:pt x="68291" y="7406"/>
                  </a:lnTo>
                  <a:lnTo>
                    <a:pt x="66605" y="15635"/>
                  </a:lnTo>
                  <a:lnTo>
                    <a:pt x="73349" y="25510"/>
                  </a:lnTo>
                  <a:lnTo>
                    <a:pt x="78408" y="30448"/>
                  </a:lnTo>
                  <a:lnTo>
                    <a:pt x="90212" y="30448"/>
                  </a:lnTo>
                  <a:lnTo>
                    <a:pt x="91898" y="35385"/>
                  </a:lnTo>
                  <a:lnTo>
                    <a:pt x="98643" y="38677"/>
                  </a:lnTo>
                  <a:lnTo>
                    <a:pt x="105388" y="38677"/>
                  </a:lnTo>
                  <a:lnTo>
                    <a:pt x="118878" y="22218"/>
                  </a:lnTo>
                  <a:lnTo>
                    <a:pt x="132367" y="17281"/>
                  </a:lnTo>
                  <a:lnTo>
                    <a:pt x="137426" y="9052"/>
                  </a:lnTo>
                  <a:lnTo>
                    <a:pt x="147543" y="20573"/>
                  </a:lnTo>
                  <a:lnTo>
                    <a:pt x="166092" y="28802"/>
                  </a:lnTo>
                  <a:lnTo>
                    <a:pt x="157661" y="17281"/>
                  </a:lnTo>
                  <a:lnTo>
                    <a:pt x="162719" y="13989"/>
                  </a:lnTo>
                  <a:lnTo>
                    <a:pt x="177895" y="15635"/>
                  </a:lnTo>
                  <a:lnTo>
                    <a:pt x="179582" y="7406"/>
                  </a:lnTo>
                  <a:lnTo>
                    <a:pt x="216678" y="22218"/>
                  </a:lnTo>
                  <a:lnTo>
                    <a:pt x="216678" y="28802"/>
                  </a:lnTo>
                  <a:lnTo>
                    <a:pt x="213306" y="27156"/>
                  </a:lnTo>
                  <a:lnTo>
                    <a:pt x="211620" y="32094"/>
                  </a:lnTo>
                  <a:lnTo>
                    <a:pt x="223424" y="38677"/>
                  </a:lnTo>
                  <a:lnTo>
                    <a:pt x="223424" y="48552"/>
                  </a:lnTo>
                  <a:lnTo>
                    <a:pt x="236913" y="56781"/>
                  </a:lnTo>
                  <a:lnTo>
                    <a:pt x="240286" y="68302"/>
                  </a:lnTo>
                  <a:lnTo>
                    <a:pt x="260520" y="92991"/>
                  </a:lnTo>
                  <a:lnTo>
                    <a:pt x="258834" y="101220"/>
                  </a:lnTo>
                  <a:lnTo>
                    <a:pt x="241972" y="97928"/>
                  </a:lnTo>
                  <a:lnTo>
                    <a:pt x="240286" y="104512"/>
                  </a:lnTo>
                  <a:lnTo>
                    <a:pt x="231855" y="102866"/>
                  </a:lnTo>
                  <a:lnTo>
                    <a:pt x="235227" y="129199"/>
                  </a:lnTo>
                  <a:lnTo>
                    <a:pt x="238599" y="135783"/>
                  </a:lnTo>
                  <a:lnTo>
                    <a:pt x="241972" y="137429"/>
                  </a:lnTo>
                  <a:lnTo>
                    <a:pt x="240286" y="139075"/>
                  </a:lnTo>
                  <a:lnTo>
                    <a:pt x="252089" y="160471"/>
                  </a:lnTo>
                  <a:lnTo>
                    <a:pt x="233541" y="160471"/>
                  </a:lnTo>
                  <a:lnTo>
                    <a:pt x="233541" y="173638"/>
                  </a:lnTo>
                  <a:lnTo>
                    <a:pt x="216678" y="170346"/>
                  </a:lnTo>
                  <a:lnTo>
                    <a:pt x="201503" y="175284"/>
                  </a:lnTo>
                  <a:lnTo>
                    <a:pt x="194758" y="173638"/>
                  </a:lnTo>
                  <a:lnTo>
                    <a:pt x="161033" y="129199"/>
                  </a:lnTo>
                  <a:lnTo>
                    <a:pt x="157661" y="130845"/>
                  </a:lnTo>
                  <a:lnTo>
                    <a:pt x="117191" y="132491"/>
                  </a:lnTo>
                  <a:lnTo>
                    <a:pt x="73349" y="150596"/>
                  </a:lnTo>
                  <a:lnTo>
                    <a:pt x="73349" y="147304"/>
                  </a:lnTo>
                  <a:lnTo>
                    <a:pt x="63232" y="148950"/>
                  </a:lnTo>
                  <a:lnTo>
                    <a:pt x="63232" y="144012"/>
                  </a:lnTo>
                  <a:lnTo>
                    <a:pt x="56487" y="137429"/>
                  </a:lnTo>
                  <a:lnTo>
                    <a:pt x="51428" y="142367"/>
                  </a:lnTo>
                  <a:lnTo>
                    <a:pt x="46370" y="132491"/>
                  </a:lnTo>
                  <a:lnTo>
                    <a:pt x="39625" y="127554"/>
                  </a:lnTo>
                  <a:lnTo>
                    <a:pt x="36253" y="129199"/>
                  </a:lnTo>
                  <a:lnTo>
                    <a:pt x="26135" y="122616"/>
                  </a:lnTo>
                  <a:lnTo>
                    <a:pt x="31194" y="114387"/>
                  </a:lnTo>
                  <a:lnTo>
                    <a:pt x="24449" y="109449"/>
                  </a:lnTo>
                  <a:lnTo>
                    <a:pt x="39625" y="106157"/>
                  </a:lnTo>
                  <a:lnTo>
                    <a:pt x="58174" y="96282"/>
                  </a:lnTo>
                  <a:lnTo>
                    <a:pt x="56487" y="92991"/>
                  </a:lnTo>
                  <a:lnTo>
                    <a:pt x="27822" y="76532"/>
                  </a:lnTo>
                  <a:lnTo>
                    <a:pt x="4214" y="33739"/>
                  </a:lnTo>
                  <a:lnTo>
                    <a:pt x="14332" y="28802"/>
                  </a:lnTo>
                  <a:lnTo>
                    <a:pt x="19390" y="30448"/>
                  </a:lnTo>
                  <a:lnTo>
                    <a:pt x="64918" y="4114"/>
                  </a:lnTo>
                  <a:lnTo>
                    <a:pt x="66605"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2" name="Steenwijkerland">
              <a:extLst>
                <a:ext uri="{FF2B5EF4-FFF2-40B4-BE49-F238E27FC236}">
                  <a16:creationId xmlns:a16="http://schemas.microsoft.com/office/drawing/2014/main" id="{969E9AC7-6405-4EED-A2B6-376A99F31949}"/>
                </a:ext>
              </a:extLst>
            </p:cNvPr>
            <p:cNvSpPr/>
            <p:nvPr/>
          </p:nvSpPr>
          <p:spPr>
            <a:xfrm>
              <a:off x="6644197" y="2298178"/>
              <a:ext cx="420462" cy="348088"/>
            </a:xfrm>
            <a:custGeom>
              <a:avLst/>
              <a:gdLst/>
              <a:ahLst/>
              <a:cxnLst/>
              <a:rect l="l" t="t" r="r" b="b"/>
              <a:pathLst>
                <a:path w="608824" h="514350" extrusionOk="0">
                  <a:moveTo>
                    <a:pt x="515140" y="41969"/>
                  </a:moveTo>
                  <a:lnTo>
                    <a:pt x="538747" y="65011"/>
                  </a:lnTo>
                  <a:lnTo>
                    <a:pt x="535375" y="66657"/>
                  </a:lnTo>
                  <a:lnTo>
                    <a:pt x="547178" y="74886"/>
                  </a:lnTo>
                  <a:lnTo>
                    <a:pt x="569099" y="97928"/>
                  </a:lnTo>
                  <a:lnTo>
                    <a:pt x="569099" y="96282"/>
                  </a:lnTo>
                  <a:lnTo>
                    <a:pt x="577530" y="101220"/>
                  </a:lnTo>
                  <a:lnTo>
                    <a:pt x="614627" y="148950"/>
                  </a:lnTo>
                  <a:lnTo>
                    <a:pt x="602824" y="167054"/>
                  </a:lnTo>
                  <a:lnTo>
                    <a:pt x="572472" y="198326"/>
                  </a:lnTo>
                  <a:lnTo>
                    <a:pt x="565727" y="214785"/>
                  </a:lnTo>
                  <a:lnTo>
                    <a:pt x="558982" y="216430"/>
                  </a:lnTo>
                  <a:lnTo>
                    <a:pt x="547178" y="224660"/>
                  </a:lnTo>
                  <a:lnTo>
                    <a:pt x="503337" y="239473"/>
                  </a:lnTo>
                  <a:lnTo>
                    <a:pt x="493219" y="249348"/>
                  </a:lnTo>
                  <a:lnTo>
                    <a:pt x="493219" y="255931"/>
                  </a:lnTo>
                  <a:lnTo>
                    <a:pt x="537061" y="357975"/>
                  </a:lnTo>
                  <a:lnTo>
                    <a:pt x="547178" y="390892"/>
                  </a:lnTo>
                  <a:lnTo>
                    <a:pt x="548864" y="395829"/>
                  </a:lnTo>
                  <a:lnTo>
                    <a:pt x="552237" y="395829"/>
                  </a:lnTo>
                  <a:lnTo>
                    <a:pt x="545492" y="399121"/>
                  </a:lnTo>
                  <a:lnTo>
                    <a:pt x="545492" y="408996"/>
                  </a:lnTo>
                  <a:lnTo>
                    <a:pt x="538747" y="417226"/>
                  </a:lnTo>
                  <a:lnTo>
                    <a:pt x="518512" y="432038"/>
                  </a:lnTo>
                  <a:lnTo>
                    <a:pt x="518512" y="438622"/>
                  </a:lnTo>
                  <a:lnTo>
                    <a:pt x="511768" y="445205"/>
                  </a:lnTo>
                  <a:lnTo>
                    <a:pt x="506709" y="445205"/>
                  </a:lnTo>
                  <a:lnTo>
                    <a:pt x="498278" y="453435"/>
                  </a:lnTo>
                  <a:lnTo>
                    <a:pt x="476357" y="460018"/>
                  </a:lnTo>
                  <a:lnTo>
                    <a:pt x="467926" y="464956"/>
                  </a:lnTo>
                  <a:lnTo>
                    <a:pt x="464553" y="471539"/>
                  </a:lnTo>
                  <a:lnTo>
                    <a:pt x="461181" y="463310"/>
                  </a:lnTo>
                  <a:lnTo>
                    <a:pt x="442632" y="466602"/>
                  </a:lnTo>
                  <a:lnTo>
                    <a:pt x="397104" y="497873"/>
                  </a:lnTo>
                  <a:lnTo>
                    <a:pt x="371811" y="499519"/>
                  </a:lnTo>
                  <a:lnTo>
                    <a:pt x="351576" y="517623"/>
                  </a:lnTo>
                  <a:lnTo>
                    <a:pt x="346518" y="519269"/>
                  </a:lnTo>
                  <a:lnTo>
                    <a:pt x="321224" y="492935"/>
                  </a:lnTo>
                  <a:lnTo>
                    <a:pt x="314479" y="487998"/>
                  </a:lnTo>
                  <a:lnTo>
                    <a:pt x="290872" y="481414"/>
                  </a:lnTo>
                  <a:lnTo>
                    <a:pt x="290872" y="479768"/>
                  </a:lnTo>
                  <a:lnTo>
                    <a:pt x="290872" y="481414"/>
                  </a:lnTo>
                  <a:lnTo>
                    <a:pt x="263892" y="460018"/>
                  </a:lnTo>
                  <a:lnTo>
                    <a:pt x="245344" y="456726"/>
                  </a:lnTo>
                  <a:lnTo>
                    <a:pt x="226795" y="450143"/>
                  </a:lnTo>
                  <a:lnTo>
                    <a:pt x="223423" y="450143"/>
                  </a:lnTo>
                  <a:lnTo>
                    <a:pt x="223423" y="455081"/>
                  </a:lnTo>
                  <a:lnTo>
                    <a:pt x="216678" y="453435"/>
                  </a:lnTo>
                  <a:lnTo>
                    <a:pt x="213306" y="448497"/>
                  </a:lnTo>
                  <a:lnTo>
                    <a:pt x="214992" y="438622"/>
                  </a:lnTo>
                  <a:lnTo>
                    <a:pt x="230168" y="420517"/>
                  </a:lnTo>
                  <a:lnTo>
                    <a:pt x="238599" y="413934"/>
                  </a:lnTo>
                  <a:lnTo>
                    <a:pt x="243658" y="413934"/>
                  </a:lnTo>
                  <a:lnTo>
                    <a:pt x="252089" y="402413"/>
                  </a:lnTo>
                  <a:lnTo>
                    <a:pt x="257148" y="402413"/>
                  </a:lnTo>
                  <a:lnTo>
                    <a:pt x="262206" y="394184"/>
                  </a:lnTo>
                  <a:lnTo>
                    <a:pt x="260520" y="382663"/>
                  </a:lnTo>
                  <a:lnTo>
                    <a:pt x="252089" y="369496"/>
                  </a:lnTo>
                  <a:lnTo>
                    <a:pt x="245344" y="369496"/>
                  </a:lnTo>
                  <a:lnTo>
                    <a:pt x="247030" y="361266"/>
                  </a:lnTo>
                  <a:lnTo>
                    <a:pt x="240286" y="349745"/>
                  </a:lnTo>
                  <a:lnTo>
                    <a:pt x="226795" y="343162"/>
                  </a:lnTo>
                  <a:lnTo>
                    <a:pt x="216678" y="306953"/>
                  </a:lnTo>
                  <a:lnTo>
                    <a:pt x="196443" y="257577"/>
                  </a:lnTo>
                  <a:lnTo>
                    <a:pt x="171150" y="231243"/>
                  </a:lnTo>
                  <a:lnTo>
                    <a:pt x="162719" y="231243"/>
                  </a:lnTo>
                  <a:lnTo>
                    <a:pt x="155974" y="227951"/>
                  </a:lnTo>
                  <a:lnTo>
                    <a:pt x="154288" y="223014"/>
                  </a:lnTo>
                  <a:lnTo>
                    <a:pt x="139112" y="213139"/>
                  </a:lnTo>
                  <a:lnTo>
                    <a:pt x="132367" y="203264"/>
                  </a:lnTo>
                  <a:lnTo>
                    <a:pt x="102015" y="181867"/>
                  </a:lnTo>
                  <a:lnTo>
                    <a:pt x="86839" y="175284"/>
                  </a:lnTo>
                  <a:lnTo>
                    <a:pt x="76722" y="176930"/>
                  </a:lnTo>
                  <a:lnTo>
                    <a:pt x="66604" y="173638"/>
                  </a:lnTo>
                  <a:lnTo>
                    <a:pt x="39625" y="175284"/>
                  </a:lnTo>
                  <a:lnTo>
                    <a:pt x="39625" y="168700"/>
                  </a:lnTo>
                  <a:lnTo>
                    <a:pt x="21076" y="152242"/>
                  </a:lnTo>
                  <a:lnTo>
                    <a:pt x="4214" y="122616"/>
                  </a:lnTo>
                  <a:lnTo>
                    <a:pt x="26135" y="106158"/>
                  </a:lnTo>
                  <a:lnTo>
                    <a:pt x="41311" y="97928"/>
                  </a:lnTo>
                  <a:lnTo>
                    <a:pt x="48056" y="106158"/>
                  </a:lnTo>
                  <a:lnTo>
                    <a:pt x="54801" y="106158"/>
                  </a:lnTo>
                  <a:lnTo>
                    <a:pt x="61546" y="111095"/>
                  </a:lnTo>
                  <a:lnTo>
                    <a:pt x="68290" y="119324"/>
                  </a:lnTo>
                  <a:lnTo>
                    <a:pt x="66604" y="124262"/>
                  </a:lnTo>
                  <a:lnTo>
                    <a:pt x="75036" y="120970"/>
                  </a:lnTo>
                  <a:lnTo>
                    <a:pt x="76722" y="125908"/>
                  </a:lnTo>
                  <a:lnTo>
                    <a:pt x="86839" y="124262"/>
                  </a:lnTo>
                  <a:lnTo>
                    <a:pt x="93584" y="125908"/>
                  </a:lnTo>
                  <a:lnTo>
                    <a:pt x="96956" y="120970"/>
                  </a:lnTo>
                  <a:lnTo>
                    <a:pt x="100329" y="127554"/>
                  </a:lnTo>
                  <a:lnTo>
                    <a:pt x="110446" y="127554"/>
                  </a:lnTo>
                  <a:lnTo>
                    <a:pt x="113819" y="132491"/>
                  </a:lnTo>
                  <a:lnTo>
                    <a:pt x="128995" y="135783"/>
                  </a:lnTo>
                  <a:lnTo>
                    <a:pt x="135740" y="129200"/>
                  </a:lnTo>
                  <a:lnTo>
                    <a:pt x="157661" y="119324"/>
                  </a:lnTo>
                  <a:lnTo>
                    <a:pt x="162719" y="109449"/>
                  </a:lnTo>
                  <a:lnTo>
                    <a:pt x="176209" y="104512"/>
                  </a:lnTo>
                  <a:lnTo>
                    <a:pt x="182954" y="91345"/>
                  </a:lnTo>
                  <a:lnTo>
                    <a:pt x="198130" y="81470"/>
                  </a:lnTo>
                  <a:lnTo>
                    <a:pt x="194757" y="71594"/>
                  </a:lnTo>
                  <a:lnTo>
                    <a:pt x="201502" y="69949"/>
                  </a:lnTo>
                  <a:lnTo>
                    <a:pt x="196443" y="66657"/>
                  </a:lnTo>
                  <a:lnTo>
                    <a:pt x="194757" y="63365"/>
                  </a:lnTo>
                  <a:lnTo>
                    <a:pt x="206561" y="60073"/>
                  </a:lnTo>
                  <a:lnTo>
                    <a:pt x="201502" y="58427"/>
                  </a:lnTo>
                  <a:lnTo>
                    <a:pt x="201502" y="56782"/>
                  </a:lnTo>
                  <a:lnTo>
                    <a:pt x="208247" y="51844"/>
                  </a:lnTo>
                  <a:lnTo>
                    <a:pt x="221737" y="51844"/>
                  </a:lnTo>
                  <a:lnTo>
                    <a:pt x="230168" y="46906"/>
                  </a:lnTo>
                  <a:lnTo>
                    <a:pt x="245344" y="56782"/>
                  </a:lnTo>
                  <a:lnTo>
                    <a:pt x="245344" y="46906"/>
                  </a:lnTo>
                  <a:lnTo>
                    <a:pt x="248716" y="41969"/>
                  </a:lnTo>
                  <a:lnTo>
                    <a:pt x="265579" y="35385"/>
                  </a:lnTo>
                  <a:lnTo>
                    <a:pt x="270638" y="35385"/>
                  </a:lnTo>
                  <a:lnTo>
                    <a:pt x="275696" y="53490"/>
                  </a:lnTo>
                  <a:lnTo>
                    <a:pt x="284127" y="66657"/>
                  </a:lnTo>
                  <a:lnTo>
                    <a:pt x="290872" y="84761"/>
                  </a:lnTo>
                  <a:lnTo>
                    <a:pt x="297617" y="84761"/>
                  </a:lnTo>
                  <a:lnTo>
                    <a:pt x="306048" y="96282"/>
                  </a:lnTo>
                  <a:lnTo>
                    <a:pt x="322911" y="88053"/>
                  </a:lnTo>
                  <a:lnTo>
                    <a:pt x="348204" y="81470"/>
                  </a:lnTo>
                  <a:lnTo>
                    <a:pt x="358321" y="99574"/>
                  </a:lnTo>
                  <a:lnTo>
                    <a:pt x="400477" y="73240"/>
                  </a:lnTo>
                  <a:lnTo>
                    <a:pt x="393732" y="61719"/>
                  </a:lnTo>
                  <a:lnTo>
                    <a:pt x="390359" y="46906"/>
                  </a:lnTo>
                  <a:lnTo>
                    <a:pt x="402163" y="41969"/>
                  </a:lnTo>
                  <a:lnTo>
                    <a:pt x="434201" y="41969"/>
                  </a:lnTo>
                  <a:lnTo>
                    <a:pt x="440946" y="32094"/>
                  </a:lnTo>
                  <a:lnTo>
                    <a:pt x="489847" y="4114"/>
                  </a:lnTo>
                  <a:lnTo>
                    <a:pt x="503337" y="20573"/>
                  </a:lnTo>
                  <a:lnTo>
                    <a:pt x="505023" y="28802"/>
                  </a:lnTo>
                  <a:lnTo>
                    <a:pt x="515140" y="4196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3" name="Dinkelland">
              <a:extLst>
                <a:ext uri="{FF2B5EF4-FFF2-40B4-BE49-F238E27FC236}">
                  <a16:creationId xmlns:a16="http://schemas.microsoft.com/office/drawing/2014/main" id="{31FECD42-A943-41C4-9B7E-84C8662F95AF}"/>
                </a:ext>
              </a:extLst>
            </p:cNvPr>
            <p:cNvSpPr/>
            <p:nvPr/>
          </p:nvSpPr>
          <p:spPr>
            <a:xfrm>
              <a:off x="7659209" y="2909976"/>
              <a:ext cx="358902" cy="312072"/>
            </a:xfrm>
            <a:custGeom>
              <a:avLst/>
              <a:gdLst/>
              <a:ahLst/>
              <a:cxnLst/>
              <a:rect l="l" t="t" r="r" b="b"/>
              <a:pathLst>
                <a:path w="480034" h="480060" extrusionOk="0">
                  <a:moveTo>
                    <a:pt x="353263" y="13989"/>
                  </a:moveTo>
                  <a:lnTo>
                    <a:pt x="354949" y="22219"/>
                  </a:lnTo>
                  <a:lnTo>
                    <a:pt x="371811" y="61720"/>
                  </a:lnTo>
                  <a:lnTo>
                    <a:pt x="380242" y="101220"/>
                  </a:lnTo>
                  <a:lnTo>
                    <a:pt x="398791" y="116033"/>
                  </a:lnTo>
                  <a:lnTo>
                    <a:pt x="420712" y="163763"/>
                  </a:lnTo>
                  <a:lnTo>
                    <a:pt x="429143" y="163763"/>
                  </a:lnTo>
                  <a:lnTo>
                    <a:pt x="444319" y="170346"/>
                  </a:lnTo>
                  <a:lnTo>
                    <a:pt x="449378" y="167055"/>
                  </a:lnTo>
                  <a:lnTo>
                    <a:pt x="454437" y="170346"/>
                  </a:lnTo>
                  <a:lnTo>
                    <a:pt x="454437" y="178576"/>
                  </a:lnTo>
                  <a:lnTo>
                    <a:pt x="462868" y="193389"/>
                  </a:lnTo>
                  <a:lnTo>
                    <a:pt x="476357" y="234535"/>
                  </a:lnTo>
                  <a:lnTo>
                    <a:pt x="380242" y="259223"/>
                  </a:lnTo>
                  <a:lnTo>
                    <a:pt x="344832" y="239473"/>
                  </a:lnTo>
                  <a:lnTo>
                    <a:pt x="322911" y="221368"/>
                  </a:lnTo>
                  <a:lnTo>
                    <a:pt x="311107" y="260869"/>
                  </a:lnTo>
                  <a:lnTo>
                    <a:pt x="324597" y="297078"/>
                  </a:lnTo>
                  <a:lnTo>
                    <a:pt x="311107" y="300370"/>
                  </a:lnTo>
                  <a:lnTo>
                    <a:pt x="297618" y="316828"/>
                  </a:lnTo>
                  <a:lnTo>
                    <a:pt x="295931" y="323412"/>
                  </a:lnTo>
                  <a:lnTo>
                    <a:pt x="299303" y="333287"/>
                  </a:lnTo>
                  <a:lnTo>
                    <a:pt x="287500" y="336579"/>
                  </a:lnTo>
                  <a:lnTo>
                    <a:pt x="267265" y="336579"/>
                  </a:lnTo>
                  <a:lnTo>
                    <a:pt x="265580" y="344808"/>
                  </a:lnTo>
                  <a:lnTo>
                    <a:pt x="235227" y="341516"/>
                  </a:lnTo>
                  <a:lnTo>
                    <a:pt x="218365" y="334933"/>
                  </a:lnTo>
                  <a:lnTo>
                    <a:pt x="209934" y="356329"/>
                  </a:lnTo>
                  <a:lnTo>
                    <a:pt x="198130" y="362912"/>
                  </a:lnTo>
                  <a:lnTo>
                    <a:pt x="194757" y="372788"/>
                  </a:lnTo>
                  <a:lnTo>
                    <a:pt x="188013" y="371142"/>
                  </a:lnTo>
                  <a:lnTo>
                    <a:pt x="184641" y="387600"/>
                  </a:lnTo>
                  <a:lnTo>
                    <a:pt x="172837" y="387600"/>
                  </a:lnTo>
                  <a:lnTo>
                    <a:pt x="169464" y="392538"/>
                  </a:lnTo>
                  <a:lnTo>
                    <a:pt x="169464" y="399121"/>
                  </a:lnTo>
                  <a:lnTo>
                    <a:pt x="161034" y="402413"/>
                  </a:lnTo>
                  <a:lnTo>
                    <a:pt x="159347" y="420518"/>
                  </a:lnTo>
                  <a:lnTo>
                    <a:pt x="167778" y="423809"/>
                  </a:lnTo>
                  <a:lnTo>
                    <a:pt x="181268" y="423809"/>
                  </a:lnTo>
                  <a:lnTo>
                    <a:pt x="189699" y="428747"/>
                  </a:lnTo>
                  <a:lnTo>
                    <a:pt x="189699" y="432039"/>
                  </a:lnTo>
                  <a:lnTo>
                    <a:pt x="196444" y="432039"/>
                  </a:lnTo>
                  <a:lnTo>
                    <a:pt x="204875" y="435330"/>
                  </a:lnTo>
                  <a:lnTo>
                    <a:pt x="211620" y="432039"/>
                  </a:lnTo>
                  <a:lnTo>
                    <a:pt x="238599" y="450143"/>
                  </a:lnTo>
                  <a:lnTo>
                    <a:pt x="213307" y="455081"/>
                  </a:lnTo>
                  <a:lnTo>
                    <a:pt x="206561" y="460018"/>
                  </a:lnTo>
                  <a:lnTo>
                    <a:pt x="204875" y="461664"/>
                  </a:lnTo>
                  <a:lnTo>
                    <a:pt x="201503" y="456726"/>
                  </a:lnTo>
                  <a:lnTo>
                    <a:pt x="194757" y="456726"/>
                  </a:lnTo>
                  <a:lnTo>
                    <a:pt x="194757" y="460018"/>
                  </a:lnTo>
                  <a:lnTo>
                    <a:pt x="189699" y="461664"/>
                  </a:lnTo>
                  <a:lnTo>
                    <a:pt x="193072" y="466602"/>
                  </a:lnTo>
                  <a:lnTo>
                    <a:pt x="186326" y="478123"/>
                  </a:lnTo>
                  <a:lnTo>
                    <a:pt x="172837" y="483060"/>
                  </a:lnTo>
                  <a:lnTo>
                    <a:pt x="130681" y="474831"/>
                  </a:lnTo>
                  <a:lnTo>
                    <a:pt x="140799" y="469894"/>
                  </a:lnTo>
                  <a:lnTo>
                    <a:pt x="139112" y="466602"/>
                  </a:lnTo>
                  <a:lnTo>
                    <a:pt x="147543" y="461664"/>
                  </a:lnTo>
                  <a:lnTo>
                    <a:pt x="145857" y="456726"/>
                  </a:lnTo>
                  <a:lnTo>
                    <a:pt x="149230" y="453435"/>
                  </a:lnTo>
                  <a:lnTo>
                    <a:pt x="139112" y="438622"/>
                  </a:lnTo>
                  <a:lnTo>
                    <a:pt x="110446" y="430393"/>
                  </a:lnTo>
                  <a:lnTo>
                    <a:pt x="98643" y="422163"/>
                  </a:lnTo>
                  <a:lnTo>
                    <a:pt x="96957" y="415580"/>
                  </a:lnTo>
                  <a:lnTo>
                    <a:pt x="107074" y="402413"/>
                  </a:lnTo>
                  <a:lnTo>
                    <a:pt x="103701" y="397475"/>
                  </a:lnTo>
                  <a:lnTo>
                    <a:pt x="86839" y="392538"/>
                  </a:lnTo>
                  <a:lnTo>
                    <a:pt x="81781" y="394184"/>
                  </a:lnTo>
                  <a:lnTo>
                    <a:pt x="80094" y="387600"/>
                  </a:lnTo>
                  <a:lnTo>
                    <a:pt x="44684" y="377725"/>
                  </a:lnTo>
                  <a:lnTo>
                    <a:pt x="46370" y="376079"/>
                  </a:lnTo>
                  <a:lnTo>
                    <a:pt x="36253" y="376079"/>
                  </a:lnTo>
                  <a:lnTo>
                    <a:pt x="27822" y="374433"/>
                  </a:lnTo>
                  <a:lnTo>
                    <a:pt x="10959" y="354683"/>
                  </a:lnTo>
                  <a:lnTo>
                    <a:pt x="9273" y="346454"/>
                  </a:lnTo>
                  <a:lnTo>
                    <a:pt x="4214" y="343162"/>
                  </a:lnTo>
                  <a:lnTo>
                    <a:pt x="5901" y="318474"/>
                  </a:lnTo>
                  <a:lnTo>
                    <a:pt x="9273" y="315182"/>
                  </a:lnTo>
                  <a:lnTo>
                    <a:pt x="26135" y="306953"/>
                  </a:lnTo>
                  <a:lnTo>
                    <a:pt x="32880" y="298724"/>
                  </a:lnTo>
                  <a:lnTo>
                    <a:pt x="39625" y="274036"/>
                  </a:lnTo>
                  <a:lnTo>
                    <a:pt x="75036" y="269098"/>
                  </a:lnTo>
                  <a:lnTo>
                    <a:pt x="91898" y="260869"/>
                  </a:lnTo>
                  <a:lnTo>
                    <a:pt x="118877" y="267452"/>
                  </a:lnTo>
                  <a:lnTo>
                    <a:pt x="144171" y="267452"/>
                  </a:lnTo>
                  <a:lnTo>
                    <a:pt x="149230" y="272390"/>
                  </a:lnTo>
                  <a:lnTo>
                    <a:pt x="161034" y="264160"/>
                  </a:lnTo>
                  <a:lnTo>
                    <a:pt x="157661" y="157179"/>
                  </a:lnTo>
                  <a:lnTo>
                    <a:pt x="140799" y="140721"/>
                  </a:lnTo>
                  <a:lnTo>
                    <a:pt x="142485" y="111095"/>
                  </a:lnTo>
                  <a:lnTo>
                    <a:pt x="208248" y="96282"/>
                  </a:lnTo>
                  <a:lnTo>
                    <a:pt x="255462" y="91345"/>
                  </a:lnTo>
                  <a:lnTo>
                    <a:pt x="272324" y="94637"/>
                  </a:lnTo>
                  <a:lnTo>
                    <a:pt x="287500" y="94637"/>
                  </a:lnTo>
                  <a:lnTo>
                    <a:pt x="284128" y="84762"/>
                  </a:lnTo>
                  <a:lnTo>
                    <a:pt x="306049" y="66657"/>
                  </a:lnTo>
                  <a:lnTo>
                    <a:pt x="327969" y="13989"/>
                  </a:lnTo>
                  <a:lnTo>
                    <a:pt x="343145" y="4114"/>
                  </a:lnTo>
                  <a:lnTo>
                    <a:pt x="353263"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4" name="Boekel">
              <a:extLst>
                <a:ext uri="{FF2B5EF4-FFF2-40B4-BE49-F238E27FC236}">
                  <a16:creationId xmlns:a16="http://schemas.microsoft.com/office/drawing/2014/main" id="{7002FA73-4ACA-4D08-9BD8-FF9C2DECC21E}"/>
                </a:ext>
              </a:extLst>
            </p:cNvPr>
            <p:cNvSpPr/>
            <p:nvPr/>
          </p:nvSpPr>
          <p:spPr>
            <a:xfrm>
              <a:off x="6476486" y="4273434"/>
              <a:ext cx="149622" cy="75608"/>
            </a:xfrm>
            <a:custGeom>
              <a:avLst/>
              <a:gdLst/>
              <a:ahLst/>
              <a:cxnLst/>
              <a:rect l="l" t="t" r="r" b="b"/>
              <a:pathLst>
                <a:path w="210747" h="114300" extrusionOk="0">
                  <a:moveTo>
                    <a:pt x="88525" y="4114"/>
                  </a:moveTo>
                  <a:lnTo>
                    <a:pt x="88525" y="7406"/>
                  </a:lnTo>
                  <a:lnTo>
                    <a:pt x="96957" y="7406"/>
                  </a:lnTo>
                  <a:lnTo>
                    <a:pt x="179582" y="20573"/>
                  </a:lnTo>
                  <a:lnTo>
                    <a:pt x="194758" y="18927"/>
                  </a:lnTo>
                  <a:lnTo>
                    <a:pt x="208247" y="88053"/>
                  </a:lnTo>
                  <a:lnTo>
                    <a:pt x="167778" y="97928"/>
                  </a:lnTo>
                  <a:lnTo>
                    <a:pt x="132367" y="109449"/>
                  </a:lnTo>
                  <a:lnTo>
                    <a:pt x="127309" y="106158"/>
                  </a:lnTo>
                  <a:lnTo>
                    <a:pt x="117191" y="112741"/>
                  </a:lnTo>
                  <a:lnTo>
                    <a:pt x="42997" y="117679"/>
                  </a:lnTo>
                  <a:lnTo>
                    <a:pt x="37939" y="89699"/>
                  </a:lnTo>
                  <a:lnTo>
                    <a:pt x="29507" y="60074"/>
                  </a:lnTo>
                  <a:lnTo>
                    <a:pt x="4214" y="18927"/>
                  </a:lnTo>
                  <a:lnTo>
                    <a:pt x="17704" y="13989"/>
                  </a:lnTo>
                  <a:lnTo>
                    <a:pt x="41311" y="12343"/>
                  </a:lnTo>
                  <a:lnTo>
                    <a:pt x="42997" y="10698"/>
                  </a:lnTo>
                  <a:lnTo>
                    <a:pt x="63232" y="4114"/>
                  </a:lnTo>
                  <a:lnTo>
                    <a:pt x="75036" y="5760"/>
                  </a:lnTo>
                  <a:lnTo>
                    <a:pt x="75036" y="9052"/>
                  </a:lnTo>
                  <a:lnTo>
                    <a:pt x="8852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5" name="Winterswijk">
              <a:extLst>
                <a:ext uri="{FF2B5EF4-FFF2-40B4-BE49-F238E27FC236}">
                  <a16:creationId xmlns:a16="http://schemas.microsoft.com/office/drawing/2014/main" id="{791D07C2-1D94-404D-A49A-546524E18032}"/>
                </a:ext>
              </a:extLst>
            </p:cNvPr>
            <p:cNvSpPr/>
            <p:nvPr/>
          </p:nvSpPr>
          <p:spPr>
            <a:xfrm>
              <a:off x="7534101" y="3601777"/>
              <a:ext cx="221575" cy="231643"/>
            </a:xfrm>
            <a:custGeom>
              <a:avLst/>
              <a:gdLst/>
              <a:ahLst/>
              <a:cxnLst/>
              <a:rect l="l" t="t" r="r" b="b"/>
              <a:pathLst>
                <a:path w="316120" h="354330" extrusionOk="0">
                  <a:moveTo>
                    <a:pt x="189699" y="30448"/>
                  </a:moveTo>
                  <a:lnTo>
                    <a:pt x="206561" y="45261"/>
                  </a:lnTo>
                  <a:lnTo>
                    <a:pt x="211620" y="53490"/>
                  </a:lnTo>
                  <a:lnTo>
                    <a:pt x="220051" y="55136"/>
                  </a:lnTo>
                  <a:lnTo>
                    <a:pt x="280755" y="102866"/>
                  </a:lnTo>
                  <a:lnTo>
                    <a:pt x="275696" y="111095"/>
                  </a:lnTo>
                  <a:lnTo>
                    <a:pt x="304362" y="112741"/>
                  </a:lnTo>
                  <a:lnTo>
                    <a:pt x="309420" y="130845"/>
                  </a:lnTo>
                  <a:lnTo>
                    <a:pt x="309420" y="147304"/>
                  </a:lnTo>
                  <a:lnTo>
                    <a:pt x="314479" y="162117"/>
                  </a:lnTo>
                  <a:lnTo>
                    <a:pt x="314479" y="170346"/>
                  </a:lnTo>
                  <a:lnTo>
                    <a:pt x="307735" y="183513"/>
                  </a:lnTo>
                  <a:lnTo>
                    <a:pt x="285814" y="185159"/>
                  </a:lnTo>
                  <a:lnTo>
                    <a:pt x="284127" y="190096"/>
                  </a:lnTo>
                  <a:lnTo>
                    <a:pt x="263893" y="198326"/>
                  </a:lnTo>
                  <a:lnTo>
                    <a:pt x="260520" y="234535"/>
                  </a:lnTo>
                  <a:lnTo>
                    <a:pt x="262207" y="237827"/>
                  </a:lnTo>
                  <a:lnTo>
                    <a:pt x="257148" y="254285"/>
                  </a:lnTo>
                  <a:lnTo>
                    <a:pt x="245344" y="264160"/>
                  </a:lnTo>
                  <a:lnTo>
                    <a:pt x="250403" y="269098"/>
                  </a:lnTo>
                  <a:lnTo>
                    <a:pt x="221737" y="302015"/>
                  </a:lnTo>
                  <a:lnTo>
                    <a:pt x="198130" y="310245"/>
                  </a:lnTo>
                  <a:lnTo>
                    <a:pt x="198130" y="316828"/>
                  </a:lnTo>
                  <a:lnTo>
                    <a:pt x="193071" y="323411"/>
                  </a:lnTo>
                  <a:lnTo>
                    <a:pt x="171150" y="329995"/>
                  </a:lnTo>
                  <a:lnTo>
                    <a:pt x="164405" y="344808"/>
                  </a:lnTo>
                  <a:lnTo>
                    <a:pt x="149229" y="351391"/>
                  </a:lnTo>
                  <a:lnTo>
                    <a:pt x="118877" y="326703"/>
                  </a:lnTo>
                  <a:lnTo>
                    <a:pt x="118877" y="318474"/>
                  </a:lnTo>
                  <a:lnTo>
                    <a:pt x="113819" y="320120"/>
                  </a:lnTo>
                  <a:lnTo>
                    <a:pt x="110446" y="318474"/>
                  </a:lnTo>
                  <a:lnTo>
                    <a:pt x="107074" y="303661"/>
                  </a:lnTo>
                  <a:lnTo>
                    <a:pt x="103701" y="306953"/>
                  </a:lnTo>
                  <a:lnTo>
                    <a:pt x="98643" y="306953"/>
                  </a:lnTo>
                  <a:lnTo>
                    <a:pt x="90211" y="303661"/>
                  </a:lnTo>
                  <a:lnTo>
                    <a:pt x="90211" y="300369"/>
                  </a:lnTo>
                  <a:lnTo>
                    <a:pt x="66604" y="310245"/>
                  </a:lnTo>
                  <a:lnTo>
                    <a:pt x="59859" y="303661"/>
                  </a:lnTo>
                  <a:lnTo>
                    <a:pt x="54801" y="305307"/>
                  </a:lnTo>
                  <a:lnTo>
                    <a:pt x="54801" y="298724"/>
                  </a:lnTo>
                  <a:lnTo>
                    <a:pt x="58173" y="298724"/>
                  </a:lnTo>
                  <a:lnTo>
                    <a:pt x="58173" y="295432"/>
                  </a:lnTo>
                  <a:lnTo>
                    <a:pt x="49742" y="285557"/>
                  </a:lnTo>
                  <a:lnTo>
                    <a:pt x="51428" y="274035"/>
                  </a:lnTo>
                  <a:lnTo>
                    <a:pt x="48056" y="275682"/>
                  </a:lnTo>
                  <a:lnTo>
                    <a:pt x="48056" y="270744"/>
                  </a:lnTo>
                  <a:lnTo>
                    <a:pt x="42997" y="270744"/>
                  </a:lnTo>
                  <a:lnTo>
                    <a:pt x="39625" y="275682"/>
                  </a:lnTo>
                  <a:lnTo>
                    <a:pt x="27821" y="270744"/>
                  </a:lnTo>
                  <a:lnTo>
                    <a:pt x="12645" y="259223"/>
                  </a:lnTo>
                  <a:lnTo>
                    <a:pt x="12645" y="254285"/>
                  </a:lnTo>
                  <a:lnTo>
                    <a:pt x="9273" y="252639"/>
                  </a:lnTo>
                  <a:lnTo>
                    <a:pt x="12645" y="236181"/>
                  </a:lnTo>
                  <a:lnTo>
                    <a:pt x="10959" y="229597"/>
                  </a:lnTo>
                  <a:lnTo>
                    <a:pt x="4214" y="223014"/>
                  </a:lnTo>
                  <a:lnTo>
                    <a:pt x="19390" y="199972"/>
                  </a:lnTo>
                  <a:lnTo>
                    <a:pt x="16018" y="186805"/>
                  </a:lnTo>
                  <a:lnTo>
                    <a:pt x="24449" y="185159"/>
                  </a:lnTo>
                  <a:lnTo>
                    <a:pt x="29507" y="173638"/>
                  </a:lnTo>
                  <a:lnTo>
                    <a:pt x="42997" y="163763"/>
                  </a:lnTo>
                  <a:lnTo>
                    <a:pt x="44684" y="162117"/>
                  </a:lnTo>
                  <a:lnTo>
                    <a:pt x="41311" y="160471"/>
                  </a:lnTo>
                  <a:lnTo>
                    <a:pt x="46370" y="157179"/>
                  </a:lnTo>
                  <a:lnTo>
                    <a:pt x="42997" y="152242"/>
                  </a:lnTo>
                  <a:lnTo>
                    <a:pt x="37938" y="107803"/>
                  </a:lnTo>
                  <a:lnTo>
                    <a:pt x="46370" y="74886"/>
                  </a:lnTo>
                  <a:lnTo>
                    <a:pt x="41311" y="68303"/>
                  </a:lnTo>
                  <a:lnTo>
                    <a:pt x="51428" y="65011"/>
                  </a:lnTo>
                  <a:lnTo>
                    <a:pt x="51428" y="60074"/>
                  </a:lnTo>
                  <a:lnTo>
                    <a:pt x="66604" y="46906"/>
                  </a:lnTo>
                  <a:lnTo>
                    <a:pt x="75036" y="33740"/>
                  </a:lnTo>
                  <a:lnTo>
                    <a:pt x="83467" y="33740"/>
                  </a:lnTo>
                  <a:lnTo>
                    <a:pt x="90211" y="5760"/>
                  </a:lnTo>
                  <a:lnTo>
                    <a:pt x="130681" y="4114"/>
                  </a:lnTo>
                  <a:lnTo>
                    <a:pt x="189699" y="3044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6" name="Coevorden">
              <a:extLst>
                <a:ext uri="{FF2B5EF4-FFF2-40B4-BE49-F238E27FC236}">
                  <a16:creationId xmlns:a16="http://schemas.microsoft.com/office/drawing/2014/main" id="{3F9CFBD1-3B63-4281-933C-917356F737C2}"/>
                </a:ext>
              </a:extLst>
            </p:cNvPr>
            <p:cNvSpPr/>
            <p:nvPr/>
          </p:nvSpPr>
          <p:spPr>
            <a:xfrm>
              <a:off x="7458108" y="2257894"/>
              <a:ext cx="303427" cy="395241"/>
            </a:xfrm>
            <a:custGeom>
              <a:avLst/>
              <a:gdLst/>
              <a:ahLst/>
              <a:cxnLst/>
              <a:rect l="l" t="t" r="r" b="b"/>
              <a:pathLst>
                <a:path w="433202" h="605790" extrusionOk="0">
                  <a:moveTo>
                    <a:pt x="240286" y="17281"/>
                  </a:moveTo>
                  <a:lnTo>
                    <a:pt x="243658" y="23864"/>
                  </a:lnTo>
                  <a:lnTo>
                    <a:pt x="250403" y="20573"/>
                  </a:lnTo>
                  <a:lnTo>
                    <a:pt x="253775" y="25510"/>
                  </a:lnTo>
                  <a:lnTo>
                    <a:pt x="262207" y="45261"/>
                  </a:lnTo>
                  <a:lnTo>
                    <a:pt x="262207" y="51844"/>
                  </a:lnTo>
                  <a:lnTo>
                    <a:pt x="287500" y="69949"/>
                  </a:lnTo>
                  <a:lnTo>
                    <a:pt x="282441" y="73240"/>
                  </a:lnTo>
                  <a:lnTo>
                    <a:pt x="370125" y="140721"/>
                  </a:lnTo>
                  <a:lnTo>
                    <a:pt x="410594" y="180221"/>
                  </a:lnTo>
                  <a:lnTo>
                    <a:pt x="383614" y="244410"/>
                  </a:lnTo>
                  <a:lnTo>
                    <a:pt x="388673" y="260869"/>
                  </a:lnTo>
                  <a:lnTo>
                    <a:pt x="383614" y="272390"/>
                  </a:lnTo>
                  <a:lnTo>
                    <a:pt x="388673" y="278973"/>
                  </a:lnTo>
                  <a:lnTo>
                    <a:pt x="397105" y="285557"/>
                  </a:lnTo>
                  <a:lnTo>
                    <a:pt x="390360" y="298724"/>
                  </a:lnTo>
                  <a:lnTo>
                    <a:pt x="395418" y="298724"/>
                  </a:lnTo>
                  <a:lnTo>
                    <a:pt x="395418" y="310245"/>
                  </a:lnTo>
                  <a:lnTo>
                    <a:pt x="388673" y="318474"/>
                  </a:lnTo>
                  <a:lnTo>
                    <a:pt x="385301" y="331641"/>
                  </a:lnTo>
                  <a:lnTo>
                    <a:pt x="395418" y="349745"/>
                  </a:lnTo>
                  <a:lnTo>
                    <a:pt x="378556" y="359621"/>
                  </a:lnTo>
                  <a:lnTo>
                    <a:pt x="381928" y="371141"/>
                  </a:lnTo>
                  <a:lnTo>
                    <a:pt x="383614" y="371141"/>
                  </a:lnTo>
                  <a:lnTo>
                    <a:pt x="402163" y="433684"/>
                  </a:lnTo>
                  <a:lnTo>
                    <a:pt x="415653" y="435330"/>
                  </a:lnTo>
                  <a:lnTo>
                    <a:pt x="435887" y="553832"/>
                  </a:lnTo>
                  <a:lnTo>
                    <a:pt x="419026" y="557124"/>
                  </a:lnTo>
                  <a:lnTo>
                    <a:pt x="398791" y="548895"/>
                  </a:lnTo>
                  <a:lnTo>
                    <a:pt x="390360" y="550541"/>
                  </a:lnTo>
                  <a:lnTo>
                    <a:pt x="385301" y="557124"/>
                  </a:lnTo>
                  <a:lnTo>
                    <a:pt x="371811" y="560416"/>
                  </a:lnTo>
                  <a:lnTo>
                    <a:pt x="354949" y="557124"/>
                  </a:lnTo>
                  <a:lnTo>
                    <a:pt x="348204" y="550541"/>
                  </a:lnTo>
                  <a:lnTo>
                    <a:pt x="334714" y="553832"/>
                  </a:lnTo>
                  <a:lnTo>
                    <a:pt x="327969" y="548895"/>
                  </a:lnTo>
                  <a:lnTo>
                    <a:pt x="309421" y="552187"/>
                  </a:lnTo>
                  <a:lnTo>
                    <a:pt x="300989" y="555478"/>
                  </a:lnTo>
                  <a:lnTo>
                    <a:pt x="294245" y="563708"/>
                  </a:lnTo>
                  <a:lnTo>
                    <a:pt x="280755" y="558770"/>
                  </a:lnTo>
                  <a:lnTo>
                    <a:pt x="274010" y="566999"/>
                  </a:lnTo>
                  <a:lnTo>
                    <a:pt x="270638" y="563708"/>
                  </a:lnTo>
                  <a:lnTo>
                    <a:pt x="272324" y="560416"/>
                  </a:lnTo>
                  <a:lnTo>
                    <a:pt x="255462" y="568645"/>
                  </a:lnTo>
                  <a:lnTo>
                    <a:pt x="233541" y="598271"/>
                  </a:lnTo>
                  <a:lnTo>
                    <a:pt x="216678" y="604854"/>
                  </a:lnTo>
                  <a:lnTo>
                    <a:pt x="208247" y="611438"/>
                  </a:lnTo>
                  <a:lnTo>
                    <a:pt x="204875" y="611438"/>
                  </a:lnTo>
                  <a:lnTo>
                    <a:pt x="204875" y="613084"/>
                  </a:lnTo>
                  <a:lnTo>
                    <a:pt x="196444" y="613084"/>
                  </a:lnTo>
                  <a:lnTo>
                    <a:pt x="194757" y="609792"/>
                  </a:lnTo>
                  <a:lnTo>
                    <a:pt x="199816" y="599917"/>
                  </a:lnTo>
                  <a:lnTo>
                    <a:pt x="198130" y="591687"/>
                  </a:lnTo>
                  <a:lnTo>
                    <a:pt x="203189" y="583458"/>
                  </a:lnTo>
                  <a:lnTo>
                    <a:pt x="201502" y="580166"/>
                  </a:lnTo>
                  <a:lnTo>
                    <a:pt x="194757" y="578520"/>
                  </a:lnTo>
                  <a:lnTo>
                    <a:pt x="201502" y="573583"/>
                  </a:lnTo>
                  <a:lnTo>
                    <a:pt x="201502" y="568645"/>
                  </a:lnTo>
                  <a:lnTo>
                    <a:pt x="204875" y="560416"/>
                  </a:lnTo>
                  <a:lnTo>
                    <a:pt x="166092" y="548895"/>
                  </a:lnTo>
                  <a:lnTo>
                    <a:pt x="85153" y="512686"/>
                  </a:lnTo>
                  <a:lnTo>
                    <a:pt x="88525" y="501165"/>
                  </a:lnTo>
                  <a:lnTo>
                    <a:pt x="88525" y="471539"/>
                  </a:lnTo>
                  <a:lnTo>
                    <a:pt x="83467" y="448497"/>
                  </a:lnTo>
                  <a:lnTo>
                    <a:pt x="85153" y="408996"/>
                  </a:lnTo>
                  <a:lnTo>
                    <a:pt x="32880" y="407350"/>
                  </a:lnTo>
                  <a:lnTo>
                    <a:pt x="34566" y="382663"/>
                  </a:lnTo>
                  <a:lnTo>
                    <a:pt x="4214" y="381017"/>
                  </a:lnTo>
                  <a:lnTo>
                    <a:pt x="4214" y="379371"/>
                  </a:lnTo>
                  <a:lnTo>
                    <a:pt x="61546" y="287203"/>
                  </a:lnTo>
                  <a:lnTo>
                    <a:pt x="127309" y="193388"/>
                  </a:lnTo>
                  <a:lnTo>
                    <a:pt x="149229" y="203264"/>
                  </a:lnTo>
                  <a:lnTo>
                    <a:pt x="152602" y="198326"/>
                  </a:lnTo>
                  <a:lnTo>
                    <a:pt x="149229" y="195034"/>
                  </a:lnTo>
                  <a:lnTo>
                    <a:pt x="154288" y="190097"/>
                  </a:lnTo>
                  <a:lnTo>
                    <a:pt x="157661" y="176930"/>
                  </a:lnTo>
                  <a:lnTo>
                    <a:pt x="172836" y="171992"/>
                  </a:lnTo>
                  <a:lnTo>
                    <a:pt x="176209" y="160471"/>
                  </a:lnTo>
                  <a:lnTo>
                    <a:pt x="167778" y="140721"/>
                  </a:lnTo>
                  <a:lnTo>
                    <a:pt x="169464" y="134137"/>
                  </a:lnTo>
                  <a:lnTo>
                    <a:pt x="176209" y="129200"/>
                  </a:lnTo>
                  <a:lnTo>
                    <a:pt x="177895" y="130845"/>
                  </a:lnTo>
                  <a:lnTo>
                    <a:pt x="196444" y="107803"/>
                  </a:lnTo>
                  <a:lnTo>
                    <a:pt x="189699" y="81470"/>
                  </a:lnTo>
                  <a:lnTo>
                    <a:pt x="213306" y="76532"/>
                  </a:lnTo>
                  <a:lnTo>
                    <a:pt x="226796" y="65011"/>
                  </a:lnTo>
                  <a:lnTo>
                    <a:pt x="213306" y="46906"/>
                  </a:lnTo>
                  <a:lnTo>
                    <a:pt x="214992" y="35386"/>
                  </a:lnTo>
                  <a:lnTo>
                    <a:pt x="204875" y="30448"/>
                  </a:lnTo>
                  <a:lnTo>
                    <a:pt x="236913" y="4114"/>
                  </a:lnTo>
                  <a:lnTo>
                    <a:pt x="240286"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7" name="Nijkerk">
              <a:extLst>
                <a:ext uri="{FF2B5EF4-FFF2-40B4-BE49-F238E27FC236}">
                  <a16:creationId xmlns:a16="http://schemas.microsoft.com/office/drawing/2014/main" id="{379AF0D6-A424-4A22-8C2B-04E8D2D252BD}"/>
                </a:ext>
              </a:extLst>
            </p:cNvPr>
            <p:cNvSpPr/>
            <p:nvPr/>
          </p:nvSpPr>
          <p:spPr>
            <a:xfrm>
              <a:off x="6235043" y="3256421"/>
              <a:ext cx="253929" cy="156035"/>
            </a:xfrm>
            <a:custGeom>
              <a:avLst/>
              <a:gdLst/>
              <a:ahLst/>
              <a:cxnLst/>
              <a:rect l="l" t="t" r="r" b="b"/>
              <a:pathLst>
                <a:path w="374661" h="240030" extrusionOk="0">
                  <a:moveTo>
                    <a:pt x="132367" y="12343"/>
                  </a:moveTo>
                  <a:lnTo>
                    <a:pt x="132367" y="12343"/>
                  </a:lnTo>
                  <a:close/>
                  <a:moveTo>
                    <a:pt x="125622" y="7406"/>
                  </a:moveTo>
                  <a:lnTo>
                    <a:pt x="127309" y="7406"/>
                  </a:lnTo>
                  <a:lnTo>
                    <a:pt x="123936" y="9052"/>
                  </a:lnTo>
                  <a:lnTo>
                    <a:pt x="125622" y="18927"/>
                  </a:lnTo>
                  <a:lnTo>
                    <a:pt x="134053" y="17281"/>
                  </a:lnTo>
                  <a:lnTo>
                    <a:pt x="127309" y="20573"/>
                  </a:lnTo>
                  <a:lnTo>
                    <a:pt x="140798" y="63365"/>
                  </a:lnTo>
                  <a:lnTo>
                    <a:pt x="150916" y="71595"/>
                  </a:lnTo>
                  <a:lnTo>
                    <a:pt x="162719" y="69949"/>
                  </a:lnTo>
                  <a:lnTo>
                    <a:pt x="164405" y="76532"/>
                  </a:lnTo>
                  <a:lnTo>
                    <a:pt x="176209" y="81470"/>
                  </a:lnTo>
                  <a:lnTo>
                    <a:pt x="181268" y="78178"/>
                  </a:lnTo>
                  <a:lnTo>
                    <a:pt x="181268" y="71595"/>
                  </a:lnTo>
                  <a:lnTo>
                    <a:pt x="186326" y="71595"/>
                  </a:lnTo>
                  <a:lnTo>
                    <a:pt x="184640" y="73240"/>
                  </a:lnTo>
                  <a:lnTo>
                    <a:pt x="189699" y="74886"/>
                  </a:lnTo>
                  <a:lnTo>
                    <a:pt x="188013" y="83115"/>
                  </a:lnTo>
                  <a:lnTo>
                    <a:pt x="194757" y="83115"/>
                  </a:lnTo>
                  <a:lnTo>
                    <a:pt x="206561" y="101220"/>
                  </a:lnTo>
                  <a:lnTo>
                    <a:pt x="216678" y="111095"/>
                  </a:lnTo>
                  <a:lnTo>
                    <a:pt x="218365" y="111095"/>
                  </a:lnTo>
                  <a:lnTo>
                    <a:pt x="241972" y="152242"/>
                  </a:lnTo>
                  <a:lnTo>
                    <a:pt x="326283" y="145658"/>
                  </a:lnTo>
                  <a:lnTo>
                    <a:pt x="368439" y="137429"/>
                  </a:lnTo>
                  <a:lnTo>
                    <a:pt x="371811" y="147304"/>
                  </a:lnTo>
                  <a:lnTo>
                    <a:pt x="356635" y="175284"/>
                  </a:lnTo>
                  <a:lnTo>
                    <a:pt x="348204" y="173638"/>
                  </a:lnTo>
                  <a:lnTo>
                    <a:pt x="344832" y="178575"/>
                  </a:lnTo>
                  <a:lnTo>
                    <a:pt x="344832" y="170346"/>
                  </a:lnTo>
                  <a:lnTo>
                    <a:pt x="329655" y="171992"/>
                  </a:lnTo>
                  <a:lnTo>
                    <a:pt x="329655" y="168700"/>
                  </a:lnTo>
                  <a:lnTo>
                    <a:pt x="317852" y="162117"/>
                  </a:lnTo>
                  <a:lnTo>
                    <a:pt x="300990" y="170346"/>
                  </a:lnTo>
                  <a:lnTo>
                    <a:pt x="284127" y="170346"/>
                  </a:lnTo>
                  <a:lnTo>
                    <a:pt x="280755" y="175284"/>
                  </a:lnTo>
                  <a:lnTo>
                    <a:pt x="282441" y="176930"/>
                  </a:lnTo>
                  <a:lnTo>
                    <a:pt x="284127" y="190096"/>
                  </a:lnTo>
                  <a:lnTo>
                    <a:pt x="280755" y="188451"/>
                  </a:lnTo>
                  <a:lnTo>
                    <a:pt x="277382" y="191742"/>
                  </a:lnTo>
                  <a:lnTo>
                    <a:pt x="267265" y="190096"/>
                  </a:lnTo>
                  <a:lnTo>
                    <a:pt x="263893" y="193388"/>
                  </a:lnTo>
                  <a:lnTo>
                    <a:pt x="265579" y="203264"/>
                  </a:lnTo>
                  <a:lnTo>
                    <a:pt x="270638" y="206555"/>
                  </a:lnTo>
                  <a:lnTo>
                    <a:pt x="270638" y="211493"/>
                  </a:lnTo>
                  <a:lnTo>
                    <a:pt x="240286" y="216430"/>
                  </a:lnTo>
                  <a:lnTo>
                    <a:pt x="228482" y="209847"/>
                  </a:lnTo>
                  <a:lnTo>
                    <a:pt x="213306" y="178575"/>
                  </a:lnTo>
                  <a:lnTo>
                    <a:pt x="198130" y="176930"/>
                  </a:lnTo>
                  <a:lnTo>
                    <a:pt x="184640" y="185159"/>
                  </a:lnTo>
                  <a:lnTo>
                    <a:pt x="167778" y="185159"/>
                  </a:lnTo>
                  <a:lnTo>
                    <a:pt x="144171" y="201617"/>
                  </a:lnTo>
                  <a:lnTo>
                    <a:pt x="144171" y="226306"/>
                  </a:lnTo>
                  <a:lnTo>
                    <a:pt x="135740" y="239472"/>
                  </a:lnTo>
                  <a:lnTo>
                    <a:pt x="90211" y="236181"/>
                  </a:lnTo>
                  <a:lnTo>
                    <a:pt x="80094" y="232889"/>
                  </a:lnTo>
                  <a:lnTo>
                    <a:pt x="73349" y="223014"/>
                  </a:lnTo>
                  <a:lnTo>
                    <a:pt x="75036" y="223014"/>
                  </a:lnTo>
                  <a:lnTo>
                    <a:pt x="71663" y="195034"/>
                  </a:lnTo>
                  <a:lnTo>
                    <a:pt x="75036" y="181867"/>
                  </a:lnTo>
                  <a:lnTo>
                    <a:pt x="73349" y="153888"/>
                  </a:lnTo>
                  <a:lnTo>
                    <a:pt x="76722" y="144012"/>
                  </a:lnTo>
                  <a:lnTo>
                    <a:pt x="75036" y="144012"/>
                  </a:lnTo>
                  <a:lnTo>
                    <a:pt x="73349" y="147304"/>
                  </a:lnTo>
                  <a:lnTo>
                    <a:pt x="66605" y="144012"/>
                  </a:lnTo>
                  <a:lnTo>
                    <a:pt x="29507" y="112741"/>
                  </a:lnTo>
                  <a:lnTo>
                    <a:pt x="24449" y="125908"/>
                  </a:lnTo>
                  <a:lnTo>
                    <a:pt x="4214" y="107803"/>
                  </a:lnTo>
                  <a:lnTo>
                    <a:pt x="19390" y="45261"/>
                  </a:lnTo>
                  <a:lnTo>
                    <a:pt x="36252" y="48552"/>
                  </a:lnTo>
                  <a:lnTo>
                    <a:pt x="68291" y="32094"/>
                  </a:lnTo>
                  <a:lnTo>
                    <a:pt x="96957" y="28802"/>
                  </a:lnTo>
                  <a:lnTo>
                    <a:pt x="108760" y="23864"/>
                  </a:lnTo>
                  <a:lnTo>
                    <a:pt x="112132" y="13989"/>
                  </a:lnTo>
                  <a:lnTo>
                    <a:pt x="117191" y="15635"/>
                  </a:lnTo>
                  <a:lnTo>
                    <a:pt x="122250" y="13989"/>
                  </a:lnTo>
                  <a:lnTo>
                    <a:pt x="117191" y="13989"/>
                  </a:lnTo>
                  <a:lnTo>
                    <a:pt x="122250" y="12343"/>
                  </a:lnTo>
                  <a:lnTo>
                    <a:pt x="120563" y="9052"/>
                  </a:lnTo>
                  <a:lnTo>
                    <a:pt x="125622" y="7406"/>
                  </a:lnTo>
                  <a:close/>
                  <a:moveTo>
                    <a:pt x="125622" y="5760"/>
                  </a:moveTo>
                  <a:lnTo>
                    <a:pt x="117191" y="9052"/>
                  </a:lnTo>
                  <a:lnTo>
                    <a:pt x="122250" y="5760"/>
                  </a:lnTo>
                  <a:lnTo>
                    <a:pt x="125622" y="5760"/>
                  </a:lnTo>
                  <a:close/>
                  <a:moveTo>
                    <a:pt x="122250" y="4114"/>
                  </a:moveTo>
                  <a:lnTo>
                    <a:pt x="120563" y="4114"/>
                  </a:lnTo>
                  <a:lnTo>
                    <a:pt x="122250" y="4114"/>
                  </a:lnTo>
                  <a:lnTo>
                    <a:pt x="122250"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8" name="Hillegom">
              <a:extLst>
                <a:ext uri="{FF2B5EF4-FFF2-40B4-BE49-F238E27FC236}">
                  <a16:creationId xmlns:a16="http://schemas.microsoft.com/office/drawing/2014/main" id="{EF21DD4A-94F3-49E1-BB23-40B6333F54C3}"/>
                </a:ext>
              </a:extLst>
            </p:cNvPr>
            <p:cNvSpPr/>
            <p:nvPr/>
          </p:nvSpPr>
          <p:spPr>
            <a:xfrm>
              <a:off x="5341682" y="3161158"/>
              <a:ext cx="76687" cy="75608"/>
            </a:xfrm>
            <a:custGeom>
              <a:avLst/>
              <a:gdLst/>
              <a:ahLst/>
              <a:cxnLst/>
              <a:rect l="l" t="t" r="r" b="b"/>
              <a:pathLst>
                <a:path w="105373" h="114300" extrusionOk="0">
                  <a:moveTo>
                    <a:pt x="73349" y="7406"/>
                  </a:moveTo>
                  <a:lnTo>
                    <a:pt x="75036" y="4114"/>
                  </a:lnTo>
                  <a:lnTo>
                    <a:pt x="86839" y="5760"/>
                  </a:lnTo>
                  <a:lnTo>
                    <a:pt x="110446" y="15635"/>
                  </a:lnTo>
                  <a:lnTo>
                    <a:pt x="110446" y="18927"/>
                  </a:lnTo>
                  <a:lnTo>
                    <a:pt x="98643" y="33740"/>
                  </a:lnTo>
                  <a:lnTo>
                    <a:pt x="88525" y="56782"/>
                  </a:lnTo>
                  <a:lnTo>
                    <a:pt x="86839" y="68302"/>
                  </a:lnTo>
                  <a:lnTo>
                    <a:pt x="75036" y="94636"/>
                  </a:lnTo>
                  <a:lnTo>
                    <a:pt x="49742" y="117678"/>
                  </a:lnTo>
                  <a:lnTo>
                    <a:pt x="4214" y="78178"/>
                  </a:lnTo>
                  <a:lnTo>
                    <a:pt x="17704" y="55136"/>
                  </a:lnTo>
                  <a:lnTo>
                    <a:pt x="24449" y="50198"/>
                  </a:lnTo>
                  <a:lnTo>
                    <a:pt x="46370" y="7406"/>
                  </a:lnTo>
                  <a:lnTo>
                    <a:pt x="53115" y="10698"/>
                  </a:lnTo>
                  <a:lnTo>
                    <a:pt x="68291" y="4114"/>
                  </a:lnTo>
                  <a:lnTo>
                    <a:pt x="73349"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29" name="De Bilt">
              <a:extLst>
                <a:ext uri="{FF2B5EF4-FFF2-40B4-BE49-F238E27FC236}">
                  <a16:creationId xmlns:a16="http://schemas.microsoft.com/office/drawing/2014/main" id="{300A32F4-1AF5-4070-924E-9F4B0522D8DB}"/>
                </a:ext>
              </a:extLst>
            </p:cNvPr>
            <p:cNvSpPr/>
            <p:nvPr/>
          </p:nvSpPr>
          <p:spPr>
            <a:xfrm>
              <a:off x="5918671" y="3352208"/>
              <a:ext cx="148641" cy="191994"/>
            </a:xfrm>
            <a:custGeom>
              <a:avLst/>
              <a:gdLst/>
              <a:ahLst/>
              <a:cxnLst/>
              <a:rect l="l" t="t" r="r" b="b"/>
              <a:pathLst>
                <a:path w="210747" h="285750" extrusionOk="0">
                  <a:moveTo>
                    <a:pt x="188013" y="43615"/>
                  </a:moveTo>
                  <a:lnTo>
                    <a:pt x="181268" y="71595"/>
                  </a:lnTo>
                  <a:lnTo>
                    <a:pt x="194758" y="66657"/>
                  </a:lnTo>
                  <a:lnTo>
                    <a:pt x="196444" y="74886"/>
                  </a:lnTo>
                  <a:lnTo>
                    <a:pt x="198130" y="74886"/>
                  </a:lnTo>
                  <a:lnTo>
                    <a:pt x="208247" y="170346"/>
                  </a:lnTo>
                  <a:lnTo>
                    <a:pt x="209934" y="214785"/>
                  </a:lnTo>
                  <a:lnTo>
                    <a:pt x="191385" y="223014"/>
                  </a:lnTo>
                  <a:lnTo>
                    <a:pt x="196444" y="246056"/>
                  </a:lnTo>
                  <a:lnTo>
                    <a:pt x="179582" y="254285"/>
                  </a:lnTo>
                  <a:lnTo>
                    <a:pt x="182954" y="260869"/>
                  </a:lnTo>
                  <a:lnTo>
                    <a:pt x="176209" y="270744"/>
                  </a:lnTo>
                  <a:lnTo>
                    <a:pt x="179582" y="278973"/>
                  </a:lnTo>
                  <a:lnTo>
                    <a:pt x="174523" y="288849"/>
                  </a:lnTo>
                  <a:lnTo>
                    <a:pt x="171151" y="287203"/>
                  </a:lnTo>
                  <a:lnTo>
                    <a:pt x="172837" y="288849"/>
                  </a:lnTo>
                  <a:lnTo>
                    <a:pt x="171151" y="292140"/>
                  </a:lnTo>
                  <a:lnTo>
                    <a:pt x="147543" y="288849"/>
                  </a:lnTo>
                  <a:lnTo>
                    <a:pt x="142485" y="272390"/>
                  </a:lnTo>
                  <a:lnTo>
                    <a:pt x="135740" y="269098"/>
                  </a:lnTo>
                  <a:lnTo>
                    <a:pt x="134054" y="269098"/>
                  </a:lnTo>
                  <a:lnTo>
                    <a:pt x="134054" y="272390"/>
                  </a:lnTo>
                  <a:lnTo>
                    <a:pt x="103701" y="269098"/>
                  </a:lnTo>
                  <a:lnTo>
                    <a:pt x="96957" y="259223"/>
                  </a:lnTo>
                  <a:lnTo>
                    <a:pt x="105388" y="237827"/>
                  </a:lnTo>
                  <a:lnTo>
                    <a:pt x="86839" y="229597"/>
                  </a:lnTo>
                  <a:lnTo>
                    <a:pt x="83467" y="208201"/>
                  </a:lnTo>
                  <a:lnTo>
                    <a:pt x="76722" y="204910"/>
                  </a:lnTo>
                  <a:lnTo>
                    <a:pt x="75036" y="206555"/>
                  </a:lnTo>
                  <a:lnTo>
                    <a:pt x="73349" y="204910"/>
                  </a:lnTo>
                  <a:lnTo>
                    <a:pt x="71663" y="204910"/>
                  </a:lnTo>
                  <a:lnTo>
                    <a:pt x="51429" y="195034"/>
                  </a:lnTo>
                  <a:lnTo>
                    <a:pt x="21076" y="175284"/>
                  </a:lnTo>
                  <a:lnTo>
                    <a:pt x="42997" y="145658"/>
                  </a:lnTo>
                  <a:lnTo>
                    <a:pt x="4214" y="120971"/>
                  </a:lnTo>
                  <a:lnTo>
                    <a:pt x="39625" y="79824"/>
                  </a:lnTo>
                  <a:lnTo>
                    <a:pt x="34566" y="61719"/>
                  </a:lnTo>
                  <a:lnTo>
                    <a:pt x="44684" y="60074"/>
                  </a:lnTo>
                  <a:lnTo>
                    <a:pt x="152602" y="68303"/>
                  </a:lnTo>
                  <a:lnTo>
                    <a:pt x="188013" y="4114"/>
                  </a:lnTo>
                  <a:lnTo>
                    <a:pt x="184640" y="38677"/>
                  </a:lnTo>
                  <a:lnTo>
                    <a:pt x="188013" y="4361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0" name="Dongen">
              <a:extLst>
                <a:ext uri="{FF2B5EF4-FFF2-40B4-BE49-F238E27FC236}">
                  <a16:creationId xmlns:a16="http://schemas.microsoft.com/office/drawing/2014/main" id="{88F63F9C-A52D-44E9-9115-2E526A18A34E}"/>
                </a:ext>
              </a:extLst>
            </p:cNvPr>
            <p:cNvSpPr/>
            <p:nvPr/>
          </p:nvSpPr>
          <p:spPr>
            <a:xfrm>
              <a:off x="5711814" y="4189080"/>
              <a:ext cx="109647" cy="116385"/>
            </a:xfrm>
            <a:custGeom>
              <a:avLst/>
              <a:gdLst/>
              <a:ahLst/>
              <a:cxnLst/>
              <a:rect l="l" t="t" r="r" b="b"/>
              <a:pathLst>
                <a:path w="152206" h="171450" extrusionOk="0">
                  <a:moveTo>
                    <a:pt x="69977" y="7405"/>
                  </a:moveTo>
                  <a:lnTo>
                    <a:pt x="73349" y="9052"/>
                  </a:lnTo>
                  <a:lnTo>
                    <a:pt x="81781" y="22218"/>
                  </a:lnTo>
                  <a:lnTo>
                    <a:pt x="88526" y="55136"/>
                  </a:lnTo>
                  <a:lnTo>
                    <a:pt x="88526" y="69949"/>
                  </a:lnTo>
                  <a:lnTo>
                    <a:pt x="132367" y="61719"/>
                  </a:lnTo>
                  <a:lnTo>
                    <a:pt x="159347" y="176930"/>
                  </a:lnTo>
                  <a:lnTo>
                    <a:pt x="137426" y="175284"/>
                  </a:lnTo>
                  <a:lnTo>
                    <a:pt x="127309" y="176930"/>
                  </a:lnTo>
                  <a:lnTo>
                    <a:pt x="125622" y="173638"/>
                  </a:lnTo>
                  <a:lnTo>
                    <a:pt x="117191" y="171992"/>
                  </a:lnTo>
                  <a:lnTo>
                    <a:pt x="98643" y="162117"/>
                  </a:lnTo>
                  <a:lnTo>
                    <a:pt x="81781" y="158825"/>
                  </a:lnTo>
                  <a:lnTo>
                    <a:pt x="73349" y="167054"/>
                  </a:lnTo>
                  <a:lnTo>
                    <a:pt x="66605" y="165409"/>
                  </a:lnTo>
                  <a:lnTo>
                    <a:pt x="64918" y="170346"/>
                  </a:lnTo>
                  <a:lnTo>
                    <a:pt x="39625" y="162117"/>
                  </a:lnTo>
                  <a:lnTo>
                    <a:pt x="26135" y="153888"/>
                  </a:lnTo>
                  <a:lnTo>
                    <a:pt x="16018" y="155533"/>
                  </a:lnTo>
                  <a:lnTo>
                    <a:pt x="16018" y="150596"/>
                  </a:lnTo>
                  <a:lnTo>
                    <a:pt x="14332" y="148950"/>
                  </a:lnTo>
                  <a:lnTo>
                    <a:pt x="19390" y="145658"/>
                  </a:lnTo>
                  <a:lnTo>
                    <a:pt x="22763" y="139075"/>
                  </a:lnTo>
                  <a:lnTo>
                    <a:pt x="4214" y="134137"/>
                  </a:lnTo>
                  <a:lnTo>
                    <a:pt x="16018" y="129199"/>
                  </a:lnTo>
                  <a:lnTo>
                    <a:pt x="14332" y="122616"/>
                  </a:lnTo>
                  <a:lnTo>
                    <a:pt x="17704" y="112741"/>
                  </a:lnTo>
                  <a:lnTo>
                    <a:pt x="49742" y="71594"/>
                  </a:lnTo>
                  <a:lnTo>
                    <a:pt x="48056" y="58427"/>
                  </a:lnTo>
                  <a:lnTo>
                    <a:pt x="51428" y="55136"/>
                  </a:lnTo>
                  <a:lnTo>
                    <a:pt x="46370" y="40323"/>
                  </a:lnTo>
                  <a:lnTo>
                    <a:pt x="46370" y="32094"/>
                  </a:lnTo>
                  <a:lnTo>
                    <a:pt x="39625" y="27156"/>
                  </a:lnTo>
                  <a:lnTo>
                    <a:pt x="37939" y="12343"/>
                  </a:lnTo>
                  <a:lnTo>
                    <a:pt x="64918" y="4114"/>
                  </a:lnTo>
                  <a:lnTo>
                    <a:pt x="69977"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1" name="Diemen">
              <a:extLst>
                <a:ext uri="{FF2B5EF4-FFF2-40B4-BE49-F238E27FC236}">
                  <a16:creationId xmlns:a16="http://schemas.microsoft.com/office/drawing/2014/main" id="{50325CC0-BEE0-42C9-B22F-990A69B0A251}"/>
                </a:ext>
              </a:extLst>
            </p:cNvPr>
            <p:cNvSpPr/>
            <p:nvPr/>
          </p:nvSpPr>
          <p:spPr>
            <a:xfrm>
              <a:off x="5762078" y="3104291"/>
              <a:ext cx="92128" cy="71021"/>
            </a:xfrm>
            <a:custGeom>
              <a:avLst/>
              <a:gdLst/>
              <a:ahLst/>
              <a:cxnLst/>
              <a:rect l="l" t="t" r="r" b="b"/>
              <a:pathLst>
                <a:path w="140498" h="102870" extrusionOk="0">
                  <a:moveTo>
                    <a:pt x="137426" y="20573"/>
                  </a:moveTo>
                  <a:lnTo>
                    <a:pt x="135740" y="20573"/>
                  </a:lnTo>
                  <a:lnTo>
                    <a:pt x="137426" y="15635"/>
                  </a:lnTo>
                  <a:lnTo>
                    <a:pt x="142484" y="15635"/>
                  </a:lnTo>
                  <a:lnTo>
                    <a:pt x="137426" y="20573"/>
                  </a:lnTo>
                  <a:close/>
                  <a:moveTo>
                    <a:pt x="53115" y="7406"/>
                  </a:moveTo>
                  <a:lnTo>
                    <a:pt x="90211" y="40323"/>
                  </a:lnTo>
                  <a:lnTo>
                    <a:pt x="96956" y="37031"/>
                  </a:lnTo>
                  <a:lnTo>
                    <a:pt x="105388" y="38677"/>
                  </a:lnTo>
                  <a:lnTo>
                    <a:pt x="113819" y="25510"/>
                  </a:lnTo>
                  <a:lnTo>
                    <a:pt x="117191" y="28802"/>
                  </a:lnTo>
                  <a:lnTo>
                    <a:pt x="120563" y="25510"/>
                  </a:lnTo>
                  <a:lnTo>
                    <a:pt x="132367" y="22219"/>
                  </a:lnTo>
                  <a:lnTo>
                    <a:pt x="144170" y="33740"/>
                  </a:lnTo>
                  <a:lnTo>
                    <a:pt x="142484" y="41969"/>
                  </a:lnTo>
                  <a:lnTo>
                    <a:pt x="130681" y="46906"/>
                  </a:lnTo>
                  <a:lnTo>
                    <a:pt x="134053" y="46906"/>
                  </a:lnTo>
                  <a:lnTo>
                    <a:pt x="128995" y="50198"/>
                  </a:lnTo>
                  <a:lnTo>
                    <a:pt x="132367" y="48552"/>
                  </a:lnTo>
                  <a:lnTo>
                    <a:pt x="118877" y="58427"/>
                  </a:lnTo>
                  <a:lnTo>
                    <a:pt x="110446" y="66657"/>
                  </a:lnTo>
                  <a:lnTo>
                    <a:pt x="115505" y="81470"/>
                  </a:lnTo>
                  <a:lnTo>
                    <a:pt x="86839" y="106158"/>
                  </a:lnTo>
                  <a:lnTo>
                    <a:pt x="86839" y="97928"/>
                  </a:lnTo>
                  <a:lnTo>
                    <a:pt x="76722" y="76532"/>
                  </a:lnTo>
                  <a:lnTo>
                    <a:pt x="68290" y="66657"/>
                  </a:lnTo>
                  <a:lnTo>
                    <a:pt x="53115" y="66657"/>
                  </a:lnTo>
                  <a:lnTo>
                    <a:pt x="46370" y="76532"/>
                  </a:lnTo>
                  <a:lnTo>
                    <a:pt x="41311" y="73240"/>
                  </a:lnTo>
                  <a:lnTo>
                    <a:pt x="19390" y="84761"/>
                  </a:lnTo>
                  <a:lnTo>
                    <a:pt x="10959" y="71595"/>
                  </a:lnTo>
                  <a:lnTo>
                    <a:pt x="7586" y="74886"/>
                  </a:lnTo>
                  <a:lnTo>
                    <a:pt x="4214" y="68303"/>
                  </a:lnTo>
                  <a:lnTo>
                    <a:pt x="12645" y="63365"/>
                  </a:lnTo>
                  <a:lnTo>
                    <a:pt x="9273" y="58427"/>
                  </a:lnTo>
                  <a:lnTo>
                    <a:pt x="39625" y="7406"/>
                  </a:lnTo>
                  <a:lnTo>
                    <a:pt x="44683" y="4114"/>
                  </a:lnTo>
                  <a:lnTo>
                    <a:pt x="53115"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2" name="Zwijndrecht">
              <a:extLst>
                <a:ext uri="{FF2B5EF4-FFF2-40B4-BE49-F238E27FC236}">
                  <a16:creationId xmlns:a16="http://schemas.microsoft.com/office/drawing/2014/main" id="{17620420-4F51-44B0-B976-A81DE16CEAB9}"/>
                </a:ext>
              </a:extLst>
            </p:cNvPr>
            <p:cNvSpPr/>
            <p:nvPr/>
          </p:nvSpPr>
          <p:spPr>
            <a:xfrm>
              <a:off x="5347041" y="3919642"/>
              <a:ext cx="126936" cy="75608"/>
            </a:xfrm>
            <a:custGeom>
              <a:avLst/>
              <a:gdLst/>
              <a:ahLst/>
              <a:cxnLst/>
              <a:rect l="l" t="t" r="r" b="b"/>
              <a:pathLst>
                <a:path w="187330" h="114300" extrusionOk="0">
                  <a:moveTo>
                    <a:pt x="85153" y="30448"/>
                  </a:moveTo>
                  <a:lnTo>
                    <a:pt x="132367" y="56781"/>
                  </a:lnTo>
                  <a:lnTo>
                    <a:pt x="169464" y="41969"/>
                  </a:lnTo>
                  <a:lnTo>
                    <a:pt x="184640" y="68302"/>
                  </a:lnTo>
                  <a:lnTo>
                    <a:pt x="169464" y="74886"/>
                  </a:lnTo>
                  <a:lnTo>
                    <a:pt x="135740" y="107803"/>
                  </a:lnTo>
                  <a:lnTo>
                    <a:pt x="113819" y="116033"/>
                  </a:lnTo>
                  <a:lnTo>
                    <a:pt x="103701" y="116033"/>
                  </a:lnTo>
                  <a:lnTo>
                    <a:pt x="68291" y="102866"/>
                  </a:lnTo>
                  <a:lnTo>
                    <a:pt x="42997" y="97928"/>
                  </a:lnTo>
                  <a:lnTo>
                    <a:pt x="22763" y="86407"/>
                  </a:lnTo>
                  <a:lnTo>
                    <a:pt x="14332" y="74886"/>
                  </a:lnTo>
                  <a:lnTo>
                    <a:pt x="9273" y="51844"/>
                  </a:lnTo>
                  <a:lnTo>
                    <a:pt x="4214" y="45260"/>
                  </a:lnTo>
                  <a:lnTo>
                    <a:pt x="14332" y="23864"/>
                  </a:lnTo>
                  <a:lnTo>
                    <a:pt x="31194" y="4114"/>
                  </a:lnTo>
                  <a:lnTo>
                    <a:pt x="85153" y="3044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3" name="Goirle">
              <a:extLst>
                <a:ext uri="{FF2B5EF4-FFF2-40B4-BE49-F238E27FC236}">
                  <a16:creationId xmlns:a16="http://schemas.microsoft.com/office/drawing/2014/main" id="{59BAB590-2B2C-4E40-8CEE-29994C593087}"/>
                </a:ext>
              </a:extLst>
            </p:cNvPr>
            <p:cNvSpPr/>
            <p:nvPr/>
          </p:nvSpPr>
          <p:spPr>
            <a:xfrm>
              <a:off x="5778553" y="4416037"/>
              <a:ext cx="151901" cy="113412"/>
            </a:xfrm>
            <a:custGeom>
              <a:avLst/>
              <a:gdLst/>
              <a:ahLst/>
              <a:cxnLst/>
              <a:rect l="l" t="t" r="r" b="b"/>
              <a:pathLst>
                <a:path w="222455" h="171450" extrusionOk="0">
                  <a:moveTo>
                    <a:pt x="24449" y="4114"/>
                  </a:moveTo>
                  <a:lnTo>
                    <a:pt x="42997" y="4114"/>
                  </a:lnTo>
                  <a:lnTo>
                    <a:pt x="64918" y="10698"/>
                  </a:lnTo>
                  <a:lnTo>
                    <a:pt x="93584" y="7406"/>
                  </a:lnTo>
                  <a:lnTo>
                    <a:pt x="103701" y="18927"/>
                  </a:lnTo>
                  <a:lnTo>
                    <a:pt x="108760" y="30448"/>
                  </a:lnTo>
                  <a:lnTo>
                    <a:pt x="125622" y="27156"/>
                  </a:lnTo>
                  <a:lnTo>
                    <a:pt x="142484" y="30448"/>
                  </a:lnTo>
                  <a:lnTo>
                    <a:pt x="140798" y="17281"/>
                  </a:lnTo>
                  <a:lnTo>
                    <a:pt x="157661" y="10698"/>
                  </a:lnTo>
                  <a:lnTo>
                    <a:pt x="174523" y="13989"/>
                  </a:lnTo>
                  <a:lnTo>
                    <a:pt x="179582" y="15635"/>
                  </a:lnTo>
                  <a:lnTo>
                    <a:pt x="174523" y="22219"/>
                  </a:lnTo>
                  <a:lnTo>
                    <a:pt x="176209" y="28802"/>
                  </a:lnTo>
                  <a:lnTo>
                    <a:pt x="191385" y="27156"/>
                  </a:lnTo>
                  <a:lnTo>
                    <a:pt x="194757" y="23864"/>
                  </a:lnTo>
                  <a:lnTo>
                    <a:pt x="216678" y="27156"/>
                  </a:lnTo>
                  <a:lnTo>
                    <a:pt x="223423" y="33740"/>
                  </a:lnTo>
                  <a:lnTo>
                    <a:pt x="213306" y="41969"/>
                  </a:lnTo>
                  <a:lnTo>
                    <a:pt x="216678" y="46906"/>
                  </a:lnTo>
                  <a:lnTo>
                    <a:pt x="213306" y="48552"/>
                  </a:lnTo>
                  <a:lnTo>
                    <a:pt x="216678" y="53490"/>
                  </a:lnTo>
                  <a:lnTo>
                    <a:pt x="208247" y="60074"/>
                  </a:lnTo>
                  <a:lnTo>
                    <a:pt x="213306" y="65011"/>
                  </a:lnTo>
                  <a:lnTo>
                    <a:pt x="209934" y="78178"/>
                  </a:lnTo>
                  <a:lnTo>
                    <a:pt x="198130" y="74886"/>
                  </a:lnTo>
                  <a:lnTo>
                    <a:pt x="174523" y="94636"/>
                  </a:lnTo>
                  <a:lnTo>
                    <a:pt x="179582" y="99574"/>
                  </a:lnTo>
                  <a:lnTo>
                    <a:pt x="157661" y="119324"/>
                  </a:lnTo>
                  <a:lnTo>
                    <a:pt x="167778" y="134137"/>
                  </a:lnTo>
                  <a:lnTo>
                    <a:pt x="166092" y="137429"/>
                  </a:lnTo>
                  <a:lnTo>
                    <a:pt x="140798" y="132491"/>
                  </a:lnTo>
                  <a:lnTo>
                    <a:pt x="137426" y="171992"/>
                  </a:lnTo>
                  <a:lnTo>
                    <a:pt x="132367" y="171992"/>
                  </a:lnTo>
                  <a:lnTo>
                    <a:pt x="118877" y="152242"/>
                  </a:lnTo>
                  <a:lnTo>
                    <a:pt x="122250" y="137429"/>
                  </a:lnTo>
                  <a:lnTo>
                    <a:pt x="120563" y="132491"/>
                  </a:lnTo>
                  <a:lnTo>
                    <a:pt x="112132" y="132491"/>
                  </a:lnTo>
                  <a:lnTo>
                    <a:pt x="110446" y="135783"/>
                  </a:lnTo>
                  <a:lnTo>
                    <a:pt x="95270" y="145658"/>
                  </a:lnTo>
                  <a:lnTo>
                    <a:pt x="86839" y="160471"/>
                  </a:lnTo>
                  <a:lnTo>
                    <a:pt x="85153" y="158825"/>
                  </a:lnTo>
                  <a:lnTo>
                    <a:pt x="73349" y="165409"/>
                  </a:lnTo>
                  <a:lnTo>
                    <a:pt x="59859" y="150596"/>
                  </a:lnTo>
                  <a:lnTo>
                    <a:pt x="59859" y="145658"/>
                  </a:lnTo>
                  <a:lnTo>
                    <a:pt x="42997" y="142367"/>
                  </a:lnTo>
                  <a:lnTo>
                    <a:pt x="46370" y="137429"/>
                  </a:lnTo>
                  <a:lnTo>
                    <a:pt x="48056" y="139075"/>
                  </a:lnTo>
                  <a:lnTo>
                    <a:pt x="51428" y="135783"/>
                  </a:lnTo>
                  <a:lnTo>
                    <a:pt x="48056" y="134137"/>
                  </a:lnTo>
                  <a:lnTo>
                    <a:pt x="49742" y="130845"/>
                  </a:lnTo>
                  <a:lnTo>
                    <a:pt x="56487" y="130845"/>
                  </a:lnTo>
                  <a:lnTo>
                    <a:pt x="61546" y="120970"/>
                  </a:lnTo>
                  <a:lnTo>
                    <a:pt x="49742" y="116033"/>
                  </a:lnTo>
                  <a:lnTo>
                    <a:pt x="56487" y="109449"/>
                  </a:lnTo>
                  <a:lnTo>
                    <a:pt x="53115" y="107803"/>
                  </a:lnTo>
                  <a:lnTo>
                    <a:pt x="41311" y="112741"/>
                  </a:lnTo>
                  <a:lnTo>
                    <a:pt x="39625" y="102866"/>
                  </a:lnTo>
                  <a:lnTo>
                    <a:pt x="44684" y="92991"/>
                  </a:lnTo>
                  <a:lnTo>
                    <a:pt x="49742" y="71594"/>
                  </a:lnTo>
                  <a:lnTo>
                    <a:pt x="34566" y="66657"/>
                  </a:lnTo>
                  <a:lnTo>
                    <a:pt x="37938" y="58427"/>
                  </a:lnTo>
                  <a:lnTo>
                    <a:pt x="31194" y="56782"/>
                  </a:lnTo>
                  <a:lnTo>
                    <a:pt x="27821" y="48552"/>
                  </a:lnTo>
                  <a:lnTo>
                    <a:pt x="14331" y="51844"/>
                  </a:lnTo>
                  <a:lnTo>
                    <a:pt x="4214" y="38677"/>
                  </a:lnTo>
                  <a:lnTo>
                    <a:pt x="2444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4" name="Valkenburg aan de Geul">
              <a:extLst>
                <a:ext uri="{FF2B5EF4-FFF2-40B4-BE49-F238E27FC236}">
                  <a16:creationId xmlns:a16="http://schemas.microsoft.com/office/drawing/2014/main" id="{C542F619-CA52-4856-9EDF-D439A6951997}"/>
                </a:ext>
              </a:extLst>
            </p:cNvPr>
            <p:cNvSpPr/>
            <p:nvPr/>
          </p:nvSpPr>
          <p:spPr>
            <a:xfrm>
              <a:off x="6616164" y="5460540"/>
              <a:ext cx="156633" cy="94480"/>
            </a:xfrm>
            <a:custGeom>
              <a:avLst/>
              <a:gdLst/>
              <a:ahLst/>
              <a:cxnLst/>
              <a:rect l="l" t="t" r="r" b="b"/>
              <a:pathLst>
                <a:path w="222455" h="148590" extrusionOk="0">
                  <a:moveTo>
                    <a:pt x="139112" y="9051"/>
                  </a:moveTo>
                  <a:lnTo>
                    <a:pt x="134053" y="20573"/>
                  </a:lnTo>
                  <a:lnTo>
                    <a:pt x="134053" y="27156"/>
                  </a:lnTo>
                  <a:lnTo>
                    <a:pt x="137426" y="28802"/>
                  </a:lnTo>
                  <a:lnTo>
                    <a:pt x="137426" y="32093"/>
                  </a:lnTo>
                  <a:lnTo>
                    <a:pt x="159347" y="25510"/>
                  </a:lnTo>
                  <a:lnTo>
                    <a:pt x="162719" y="28802"/>
                  </a:lnTo>
                  <a:lnTo>
                    <a:pt x="179582" y="28802"/>
                  </a:lnTo>
                  <a:lnTo>
                    <a:pt x="182954" y="41969"/>
                  </a:lnTo>
                  <a:lnTo>
                    <a:pt x="193071" y="50198"/>
                  </a:lnTo>
                  <a:lnTo>
                    <a:pt x="191385" y="53490"/>
                  </a:lnTo>
                  <a:lnTo>
                    <a:pt x="193071" y="56782"/>
                  </a:lnTo>
                  <a:lnTo>
                    <a:pt x="191385" y="61719"/>
                  </a:lnTo>
                  <a:lnTo>
                    <a:pt x="194757" y="63365"/>
                  </a:lnTo>
                  <a:lnTo>
                    <a:pt x="198130" y="71595"/>
                  </a:lnTo>
                  <a:lnTo>
                    <a:pt x="194757" y="74886"/>
                  </a:lnTo>
                  <a:lnTo>
                    <a:pt x="191385" y="89699"/>
                  </a:lnTo>
                  <a:lnTo>
                    <a:pt x="201503" y="89699"/>
                  </a:lnTo>
                  <a:lnTo>
                    <a:pt x="201503" y="92990"/>
                  </a:lnTo>
                  <a:lnTo>
                    <a:pt x="211620" y="101220"/>
                  </a:lnTo>
                  <a:lnTo>
                    <a:pt x="220051" y="112741"/>
                  </a:lnTo>
                  <a:lnTo>
                    <a:pt x="203189" y="116032"/>
                  </a:lnTo>
                  <a:lnTo>
                    <a:pt x="201503" y="112741"/>
                  </a:lnTo>
                  <a:lnTo>
                    <a:pt x="204875" y="127554"/>
                  </a:lnTo>
                  <a:lnTo>
                    <a:pt x="194757" y="139074"/>
                  </a:lnTo>
                  <a:lnTo>
                    <a:pt x="194757" y="134137"/>
                  </a:lnTo>
                  <a:lnTo>
                    <a:pt x="186326" y="134137"/>
                  </a:lnTo>
                  <a:lnTo>
                    <a:pt x="172837" y="150596"/>
                  </a:lnTo>
                  <a:lnTo>
                    <a:pt x="167778" y="150596"/>
                  </a:lnTo>
                  <a:lnTo>
                    <a:pt x="166092" y="148950"/>
                  </a:lnTo>
                  <a:lnTo>
                    <a:pt x="162719" y="150596"/>
                  </a:lnTo>
                  <a:lnTo>
                    <a:pt x="152602" y="145658"/>
                  </a:lnTo>
                  <a:lnTo>
                    <a:pt x="150916" y="147304"/>
                  </a:lnTo>
                  <a:lnTo>
                    <a:pt x="139112" y="140721"/>
                  </a:lnTo>
                  <a:lnTo>
                    <a:pt x="142484" y="152242"/>
                  </a:lnTo>
                  <a:lnTo>
                    <a:pt x="140798" y="155534"/>
                  </a:lnTo>
                  <a:lnTo>
                    <a:pt x="122250" y="155534"/>
                  </a:lnTo>
                  <a:lnTo>
                    <a:pt x="115505" y="150596"/>
                  </a:lnTo>
                  <a:lnTo>
                    <a:pt x="117191" y="134137"/>
                  </a:lnTo>
                  <a:lnTo>
                    <a:pt x="103701" y="127554"/>
                  </a:lnTo>
                  <a:lnTo>
                    <a:pt x="100329" y="130845"/>
                  </a:lnTo>
                  <a:lnTo>
                    <a:pt x="95270" y="127554"/>
                  </a:lnTo>
                  <a:lnTo>
                    <a:pt x="85153" y="107803"/>
                  </a:lnTo>
                  <a:lnTo>
                    <a:pt x="83467" y="111095"/>
                  </a:lnTo>
                  <a:lnTo>
                    <a:pt x="69977" y="107803"/>
                  </a:lnTo>
                  <a:lnTo>
                    <a:pt x="53115" y="107803"/>
                  </a:lnTo>
                  <a:lnTo>
                    <a:pt x="49742" y="101220"/>
                  </a:lnTo>
                  <a:lnTo>
                    <a:pt x="44684" y="99574"/>
                  </a:lnTo>
                  <a:lnTo>
                    <a:pt x="37939" y="101220"/>
                  </a:lnTo>
                  <a:lnTo>
                    <a:pt x="26135" y="96282"/>
                  </a:lnTo>
                  <a:lnTo>
                    <a:pt x="4214" y="91345"/>
                  </a:lnTo>
                  <a:lnTo>
                    <a:pt x="24449" y="73240"/>
                  </a:lnTo>
                  <a:lnTo>
                    <a:pt x="24449" y="68302"/>
                  </a:lnTo>
                  <a:lnTo>
                    <a:pt x="27821" y="66657"/>
                  </a:lnTo>
                  <a:lnTo>
                    <a:pt x="26135" y="60073"/>
                  </a:lnTo>
                  <a:lnTo>
                    <a:pt x="31194" y="51844"/>
                  </a:lnTo>
                  <a:lnTo>
                    <a:pt x="39625" y="53490"/>
                  </a:lnTo>
                  <a:lnTo>
                    <a:pt x="42997" y="50198"/>
                  </a:lnTo>
                  <a:lnTo>
                    <a:pt x="39625" y="50198"/>
                  </a:lnTo>
                  <a:lnTo>
                    <a:pt x="41311" y="48552"/>
                  </a:lnTo>
                  <a:lnTo>
                    <a:pt x="39625" y="45260"/>
                  </a:lnTo>
                  <a:lnTo>
                    <a:pt x="48056" y="25510"/>
                  </a:lnTo>
                  <a:lnTo>
                    <a:pt x="58173" y="28802"/>
                  </a:lnTo>
                  <a:lnTo>
                    <a:pt x="64918" y="25510"/>
                  </a:lnTo>
                  <a:lnTo>
                    <a:pt x="66605" y="28802"/>
                  </a:lnTo>
                  <a:lnTo>
                    <a:pt x="80094" y="27156"/>
                  </a:lnTo>
                  <a:lnTo>
                    <a:pt x="85153" y="17281"/>
                  </a:lnTo>
                  <a:lnTo>
                    <a:pt x="96957" y="15635"/>
                  </a:lnTo>
                  <a:lnTo>
                    <a:pt x="112132" y="25510"/>
                  </a:lnTo>
                  <a:lnTo>
                    <a:pt x="115505" y="18927"/>
                  </a:lnTo>
                  <a:lnTo>
                    <a:pt x="134053" y="4114"/>
                  </a:lnTo>
                  <a:lnTo>
                    <a:pt x="139112" y="5760"/>
                  </a:lnTo>
                  <a:lnTo>
                    <a:pt x="139112" y="905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5" name="Zeewolde">
              <a:extLst>
                <a:ext uri="{FF2B5EF4-FFF2-40B4-BE49-F238E27FC236}">
                  <a16:creationId xmlns:a16="http://schemas.microsoft.com/office/drawing/2014/main" id="{5212D236-08B7-48E3-93B3-3BB8A6E04276}"/>
                </a:ext>
              </a:extLst>
            </p:cNvPr>
            <p:cNvSpPr/>
            <p:nvPr/>
          </p:nvSpPr>
          <p:spPr>
            <a:xfrm>
              <a:off x="6135666" y="2970924"/>
              <a:ext cx="343402" cy="295882"/>
            </a:xfrm>
            <a:custGeom>
              <a:avLst/>
              <a:gdLst/>
              <a:ahLst/>
              <a:cxnLst/>
              <a:rect l="l" t="t" r="r" b="b"/>
              <a:pathLst>
                <a:path w="491743" h="457200" extrusionOk="0">
                  <a:moveTo>
                    <a:pt x="481416" y="183513"/>
                  </a:moveTo>
                  <a:lnTo>
                    <a:pt x="479730" y="176930"/>
                  </a:lnTo>
                  <a:lnTo>
                    <a:pt x="481416" y="181867"/>
                  </a:lnTo>
                  <a:lnTo>
                    <a:pt x="481416" y="183513"/>
                  </a:lnTo>
                  <a:close/>
                  <a:moveTo>
                    <a:pt x="484788" y="195034"/>
                  </a:moveTo>
                  <a:lnTo>
                    <a:pt x="478043" y="191742"/>
                  </a:lnTo>
                  <a:lnTo>
                    <a:pt x="483102" y="188451"/>
                  </a:lnTo>
                  <a:lnTo>
                    <a:pt x="484788" y="195034"/>
                  </a:lnTo>
                  <a:close/>
                  <a:moveTo>
                    <a:pt x="478043" y="198326"/>
                  </a:moveTo>
                  <a:lnTo>
                    <a:pt x="474671" y="195034"/>
                  </a:lnTo>
                  <a:lnTo>
                    <a:pt x="478043" y="193388"/>
                  </a:lnTo>
                  <a:lnTo>
                    <a:pt x="479730" y="196680"/>
                  </a:lnTo>
                  <a:lnTo>
                    <a:pt x="478043" y="198326"/>
                  </a:lnTo>
                  <a:close/>
                  <a:moveTo>
                    <a:pt x="405535" y="199972"/>
                  </a:moveTo>
                  <a:lnTo>
                    <a:pt x="402163" y="198326"/>
                  </a:lnTo>
                  <a:lnTo>
                    <a:pt x="403849" y="195034"/>
                  </a:lnTo>
                  <a:lnTo>
                    <a:pt x="407222" y="196680"/>
                  </a:lnTo>
                  <a:lnTo>
                    <a:pt x="403849" y="198326"/>
                  </a:lnTo>
                  <a:lnTo>
                    <a:pt x="405535" y="199972"/>
                  </a:lnTo>
                  <a:close/>
                  <a:moveTo>
                    <a:pt x="375184" y="270744"/>
                  </a:moveTo>
                  <a:lnTo>
                    <a:pt x="376870" y="267452"/>
                  </a:lnTo>
                  <a:lnTo>
                    <a:pt x="380242" y="270744"/>
                  </a:lnTo>
                  <a:lnTo>
                    <a:pt x="375184" y="270744"/>
                  </a:lnTo>
                  <a:close/>
                  <a:moveTo>
                    <a:pt x="375184" y="274035"/>
                  </a:moveTo>
                  <a:lnTo>
                    <a:pt x="375184" y="272390"/>
                  </a:lnTo>
                  <a:lnTo>
                    <a:pt x="380242" y="272390"/>
                  </a:lnTo>
                  <a:lnTo>
                    <a:pt x="375184" y="274035"/>
                  </a:lnTo>
                  <a:close/>
                  <a:moveTo>
                    <a:pt x="398791" y="275682"/>
                  </a:moveTo>
                  <a:lnTo>
                    <a:pt x="397105" y="270744"/>
                  </a:lnTo>
                  <a:lnTo>
                    <a:pt x="397105" y="274035"/>
                  </a:lnTo>
                  <a:lnTo>
                    <a:pt x="392046" y="270744"/>
                  </a:lnTo>
                  <a:lnTo>
                    <a:pt x="393732" y="269098"/>
                  </a:lnTo>
                  <a:lnTo>
                    <a:pt x="400477" y="272390"/>
                  </a:lnTo>
                  <a:lnTo>
                    <a:pt x="398791" y="275682"/>
                  </a:lnTo>
                  <a:close/>
                  <a:moveTo>
                    <a:pt x="370125" y="354683"/>
                  </a:moveTo>
                  <a:lnTo>
                    <a:pt x="371811" y="349745"/>
                  </a:lnTo>
                  <a:lnTo>
                    <a:pt x="371811" y="353037"/>
                  </a:lnTo>
                  <a:lnTo>
                    <a:pt x="370125" y="354683"/>
                  </a:lnTo>
                  <a:close/>
                  <a:moveTo>
                    <a:pt x="366753" y="364558"/>
                  </a:moveTo>
                  <a:lnTo>
                    <a:pt x="365066" y="364558"/>
                  </a:lnTo>
                  <a:lnTo>
                    <a:pt x="366753" y="359621"/>
                  </a:lnTo>
                  <a:lnTo>
                    <a:pt x="368439" y="362912"/>
                  </a:lnTo>
                  <a:lnTo>
                    <a:pt x="366753" y="364558"/>
                  </a:lnTo>
                  <a:close/>
                  <a:moveTo>
                    <a:pt x="172837" y="463310"/>
                  </a:moveTo>
                  <a:lnTo>
                    <a:pt x="155974" y="461664"/>
                  </a:lnTo>
                  <a:lnTo>
                    <a:pt x="145857" y="451789"/>
                  </a:lnTo>
                  <a:lnTo>
                    <a:pt x="144171" y="453435"/>
                  </a:lnTo>
                  <a:lnTo>
                    <a:pt x="147543" y="455081"/>
                  </a:lnTo>
                  <a:lnTo>
                    <a:pt x="144171" y="451789"/>
                  </a:lnTo>
                  <a:lnTo>
                    <a:pt x="144171" y="448497"/>
                  </a:lnTo>
                  <a:lnTo>
                    <a:pt x="137426" y="445205"/>
                  </a:lnTo>
                  <a:lnTo>
                    <a:pt x="137426" y="441914"/>
                  </a:lnTo>
                  <a:lnTo>
                    <a:pt x="130681" y="435330"/>
                  </a:lnTo>
                  <a:lnTo>
                    <a:pt x="27821" y="339870"/>
                  </a:lnTo>
                  <a:lnTo>
                    <a:pt x="53115" y="315182"/>
                  </a:lnTo>
                  <a:lnTo>
                    <a:pt x="76722" y="326703"/>
                  </a:lnTo>
                  <a:lnTo>
                    <a:pt x="122250" y="315182"/>
                  </a:lnTo>
                  <a:lnTo>
                    <a:pt x="4214" y="150596"/>
                  </a:lnTo>
                  <a:lnTo>
                    <a:pt x="61546" y="117678"/>
                  </a:lnTo>
                  <a:lnTo>
                    <a:pt x="73349" y="117678"/>
                  </a:lnTo>
                  <a:lnTo>
                    <a:pt x="78408" y="107803"/>
                  </a:lnTo>
                  <a:lnTo>
                    <a:pt x="130681" y="73240"/>
                  </a:lnTo>
                  <a:lnTo>
                    <a:pt x="189699" y="28802"/>
                  </a:lnTo>
                  <a:lnTo>
                    <a:pt x="211620" y="4114"/>
                  </a:lnTo>
                  <a:lnTo>
                    <a:pt x="319538" y="112741"/>
                  </a:lnTo>
                  <a:lnTo>
                    <a:pt x="354949" y="145658"/>
                  </a:lnTo>
                  <a:lnTo>
                    <a:pt x="361694" y="144012"/>
                  </a:lnTo>
                  <a:lnTo>
                    <a:pt x="402163" y="101220"/>
                  </a:lnTo>
                  <a:lnTo>
                    <a:pt x="427457" y="81470"/>
                  </a:lnTo>
                  <a:lnTo>
                    <a:pt x="435887" y="79824"/>
                  </a:lnTo>
                  <a:lnTo>
                    <a:pt x="491533" y="86407"/>
                  </a:lnTo>
                  <a:lnTo>
                    <a:pt x="483102" y="144012"/>
                  </a:lnTo>
                  <a:lnTo>
                    <a:pt x="474671" y="168700"/>
                  </a:lnTo>
                  <a:lnTo>
                    <a:pt x="479730" y="180221"/>
                  </a:lnTo>
                  <a:lnTo>
                    <a:pt x="472985" y="188451"/>
                  </a:lnTo>
                  <a:lnTo>
                    <a:pt x="474671" y="190097"/>
                  </a:lnTo>
                  <a:lnTo>
                    <a:pt x="479730" y="185159"/>
                  </a:lnTo>
                  <a:lnTo>
                    <a:pt x="476357" y="188451"/>
                  </a:lnTo>
                  <a:lnTo>
                    <a:pt x="478043" y="190097"/>
                  </a:lnTo>
                  <a:lnTo>
                    <a:pt x="472985" y="193388"/>
                  </a:lnTo>
                  <a:lnTo>
                    <a:pt x="469612" y="190097"/>
                  </a:lnTo>
                  <a:lnTo>
                    <a:pt x="467926" y="193388"/>
                  </a:lnTo>
                  <a:lnTo>
                    <a:pt x="457808" y="190097"/>
                  </a:lnTo>
                  <a:lnTo>
                    <a:pt x="434201" y="196680"/>
                  </a:lnTo>
                  <a:lnTo>
                    <a:pt x="402163" y="185159"/>
                  </a:lnTo>
                  <a:lnTo>
                    <a:pt x="363380" y="229597"/>
                  </a:lnTo>
                  <a:lnTo>
                    <a:pt x="361694" y="237827"/>
                  </a:lnTo>
                  <a:lnTo>
                    <a:pt x="370125" y="260869"/>
                  </a:lnTo>
                  <a:lnTo>
                    <a:pt x="373497" y="264160"/>
                  </a:lnTo>
                  <a:lnTo>
                    <a:pt x="378556" y="262514"/>
                  </a:lnTo>
                  <a:lnTo>
                    <a:pt x="385301" y="265806"/>
                  </a:lnTo>
                  <a:lnTo>
                    <a:pt x="385301" y="272390"/>
                  </a:lnTo>
                  <a:lnTo>
                    <a:pt x="380242" y="269098"/>
                  </a:lnTo>
                  <a:lnTo>
                    <a:pt x="383614" y="269098"/>
                  </a:lnTo>
                  <a:lnTo>
                    <a:pt x="385301" y="267452"/>
                  </a:lnTo>
                  <a:lnTo>
                    <a:pt x="380242" y="264160"/>
                  </a:lnTo>
                  <a:lnTo>
                    <a:pt x="380242" y="267452"/>
                  </a:lnTo>
                  <a:lnTo>
                    <a:pt x="378556" y="264160"/>
                  </a:lnTo>
                  <a:lnTo>
                    <a:pt x="373497" y="265806"/>
                  </a:lnTo>
                  <a:lnTo>
                    <a:pt x="376870" y="277327"/>
                  </a:lnTo>
                  <a:lnTo>
                    <a:pt x="383614" y="272390"/>
                  </a:lnTo>
                  <a:lnTo>
                    <a:pt x="378556" y="282265"/>
                  </a:lnTo>
                  <a:lnTo>
                    <a:pt x="385301" y="298724"/>
                  </a:lnTo>
                  <a:lnTo>
                    <a:pt x="380242" y="310245"/>
                  </a:lnTo>
                  <a:lnTo>
                    <a:pt x="380242" y="320120"/>
                  </a:lnTo>
                  <a:lnTo>
                    <a:pt x="376870" y="320120"/>
                  </a:lnTo>
                  <a:lnTo>
                    <a:pt x="376870" y="323411"/>
                  </a:lnTo>
                  <a:lnTo>
                    <a:pt x="380242" y="321766"/>
                  </a:lnTo>
                  <a:lnTo>
                    <a:pt x="375184" y="326703"/>
                  </a:lnTo>
                  <a:lnTo>
                    <a:pt x="370125" y="348100"/>
                  </a:lnTo>
                  <a:lnTo>
                    <a:pt x="361694" y="364558"/>
                  </a:lnTo>
                  <a:lnTo>
                    <a:pt x="365066" y="371142"/>
                  </a:lnTo>
                  <a:lnTo>
                    <a:pt x="363380" y="374433"/>
                  </a:lnTo>
                  <a:lnTo>
                    <a:pt x="365066" y="369496"/>
                  </a:lnTo>
                  <a:lnTo>
                    <a:pt x="361694" y="366204"/>
                  </a:lnTo>
                  <a:lnTo>
                    <a:pt x="363380" y="371142"/>
                  </a:lnTo>
                  <a:lnTo>
                    <a:pt x="361694" y="369496"/>
                  </a:lnTo>
                  <a:lnTo>
                    <a:pt x="360008" y="371142"/>
                  </a:lnTo>
                  <a:lnTo>
                    <a:pt x="363380" y="374433"/>
                  </a:lnTo>
                  <a:lnTo>
                    <a:pt x="358321" y="377725"/>
                  </a:lnTo>
                  <a:lnTo>
                    <a:pt x="349890" y="408996"/>
                  </a:lnTo>
                  <a:lnTo>
                    <a:pt x="344832" y="413934"/>
                  </a:lnTo>
                  <a:lnTo>
                    <a:pt x="299303" y="423809"/>
                  </a:lnTo>
                  <a:lnTo>
                    <a:pt x="287500" y="430393"/>
                  </a:lnTo>
                  <a:lnTo>
                    <a:pt x="287500" y="428747"/>
                  </a:lnTo>
                  <a:lnTo>
                    <a:pt x="285814" y="428747"/>
                  </a:lnTo>
                  <a:lnTo>
                    <a:pt x="287500" y="432039"/>
                  </a:lnTo>
                  <a:lnTo>
                    <a:pt x="248717" y="440268"/>
                  </a:lnTo>
                  <a:lnTo>
                    <a:pt x="233541" y="445205"/>
                  </a:lnTo>
                  <a:lnTo>
                    <a:pt x="233541" y="448497"/>
                  </a:lnTo>
                  <a:lnTo>
                    <a:pt x="216678" y="450143"/>
                  </a:lnTo>
                  <a:lnTo>
                    <a:pt x="172837" y="463310"/>
                  </a:lnTo>
                  <a:close/>
                  <a:moveTo>
                    <a:pt x="467926" y="191742"/>
                  </a:moveTo>
                  <a:lnTo>
                    <a:pt x="467926" y="190097"/>
                  </a:lnTo>
                  <a:lnTo>
                    <a:pt x="466240" y="188451"/>
                  </a:lnTo>
                  <a:lnTo>
                    <a:pt x="459495" y="190097"/>
                  </a:lnTo>
                  <a:lnTo>
                    <a:pt x="467926" y="19174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6" name="Apeldoorn">
              <a:extLst>
                <a:ext uri="{FF2B5EF4-FFF2-40B4-BE49-F238E27FC236}">
                  <a16:creationId xmlns:a16="http://schemas.microsoft.com/office/drawing/2014/main" id="{E72AE1BD-BC82-4A08-8470-CBA6811EC693}"/>
                </a:ext>
              </a:extLst>
            </p:cNvPr>
            <p:cNvSpPr/>
            <p:nvPr/>
          </p:nvSpPr>
          <p:spPr>
            <a:xfrm>
              <a:off x="6582375" y="3218316"/>
              <a:ext cx="368683" cy="340468"/>
            </a:xfrm>
            <a:custGeom>
              <a:avLst/>
              <a:gdLst/>
              <a:ahLst/>
              <a:cxnLst/>
              <a:rect l="l" t="t" r="r" b="b"/>
              <a:pathLst>
                <a:path w="538575" h="514350" extrusionOk="0">
                  <a:moveTo>
                    <a:pt x="397105" y="4114"/>
                  </a:moveTo>
                  <a:lnTo>
                    <a:pt x="407222" y="5760"/>
                  </a:lnTo>
                  <a:lnTo>
                    <a:pt x="402163" y="32094"/>
                  </a:lnTo>
                  <a:lnTo>
                    <a:pt x="432515" y="27156"/>
                  </a:lnTo>
                  <a:lnTo>
                    <a:pt x="462867" y="25510"/>
                  </a:lnTo>
                  <a:lnTo>
                    <a:pt x="466240" y="28802"/>
                  </a:lnTo>
                  <a:lnTo>
                    <a:pt x="462867" y="40323"/>
                  </a:lnTo>
                  <a:lnTo>
                    <a:pt x="466240" y="40323"/>
                  </a:lnTo>
                  <a:lnTo>
                    <a:pt x="464553" y="43615"/>
                  </a:lnTo>
                  <a:lnTo>
                    <a:pt x="474671" y="45261"/>
                  </a:lnTo>
                  <a:lnTo>
                    <a:pt x="471299" y="51844"/>
                  </a:lnTo>
                  <a:lnTo>
                    <a:pt x="476357" y="56782"/>
                  </a:lnTo>
                  <a:lnTo>
                    <a:pt x="476357" y="63365"/>
                  </a:lnTo>
                  <a:lnTo>
                    <a:pt x="472985" y="69949"/>
                  </a:lnTo>
                  <a:lnTo>
                    <a:pt x="467926" y="69949"/>
                  </a:lnTo>
                  <a:lnTo>
                    <a:pt x="466240" y="84761"/>
                  </a:lnTo>
                  <a:lnTo>
                    <a:pt x="462867" y="92991"/>
                  </a:lnTo>
                  <a:lnTo>
                    <a:pt x="457808" y="92991"/>
                  </a:lnTo>
                  <a:lnTo>
                    <a:pt x="462867" y="104512"/>
                  </a:lnTo>
                  <a:lnTo>
                    <a:pt x="459495" y="107803"/>
                  </a:lnTo>
                  <a:lnTo>
                    <a:pt x="462867" y="109449"/>
                  </a:lnTo>
                  <a:lnTo>
                    <a:pt x="462867" y="116033"/>
                  </a:lnTo>
                  <a:lnTo>
                    <a:pt x="474671" y="134137"/>
                  </a:lnTo>
                  <a:lnTo>
                    <a:pt x="471299" y="134137"/>
                  </a:lnTo>
                  <a:lnTo>
                    <a:pt x="471299" y="152242"/>
                  </a:lnTo>
                  <a:lnTo>
                    <a:pt x="481416" y="152242"/>
                  </a:lnTo>
                  <a:lnTo>
                    <a:pt x="484788" y="157179"/>
                  </a:lnTo>
                  <a:lnTo>
                    <a:pt x="491533" y="158825"/>
                  </a:lnTo>
                  <a:lnTo>
                    <a:pt x="493219" y="180221"/>
                  </a:lnTo>
                  <a:lnTo>
                    <a:pt x="501651" y="208201"/>
                  </a:lnTo>
                  <a:lnTo>
                    <a:pt x="508395" y="219722"/>
                  </a:lnTo>
                  <a:lnTo>
                    <a:pt x="501651" y="223014"/>
                  </a:lnTo>
                  <a:lnTo>
                    <a:pt x="496592" y="249348"/>
                  </a:lnTo>
                  <a:lnTo>
                    <a:pt x="513454" y="270744"/>
                  </a:lnTo>
                  <a:lnTo>
                    <a:pt x="520199" y="293786"/>
                  </a:lnTo>
                  <a:lnTo>
                    <a:pt x="521885" y="303661"/>
                  </a:lnTo>
                  <a:lnTo>
                    <a:pt x="518513" y="315182"/>
                  </a:lnTo>
                  <a:lnTo>
                    <a:pt x="535375" y="334932"/>
                  </a:lnTo>
                  <a:lnTo>
                    <a:pt x="540434" y="357975"/>
                  </a:lnTo>
                  <a:lnTo>
                    <a:pt x="530316" y="367850"/>
                  </a:lnTo>
                  <a:lnTo>
                    <a:pt x="526944" y="376079"/>
                  </a:lnTo>
                  <a:lnTo>
                    <a:pt x="499964" y="394184"/>
                  </a:lnTo>
                  <a:lnTo>
                    <a:pt x="494906" y="405705"/>
                  </a:lnTo>
                  <a:lnTo>
                    <a:pt x="483102" y="417226"/>
                  </a:lnTo>
                  <a:lnTo>
                    <a:pt x="484788" y="422163"/>
                  </a:lnTo>
                  <a:lnTo>
                    <a:pt x="476357" y="430393"/>
                  </a:lnTo>
                  <a:lnTo>
                    <a:pt x="474671" y="438622"/>
                  </a:lnTo>
                  <a:lnTo>
                    <a:pt x="474671" y="445205"/>
                  </a:lnTo>
                  <a:lnTo>
                    <a:pt x="471299" y="448497"/>
                  </a:lnTo>
                  <a:lnTo>
                    <a:pt x="474671" y="463310"/>
                  </a:lnTo>
                  <a:lnTo>
                    <a:pt x="471299" y="463310"/>
                  </a:lnTo>
                  <a:lnTo>
                    <a:pt x="435888" y="515977"/>
                  </a:lnTo>
                  <a:lnTo>
                    <a:pt x="408908" y="502811"/>
                  </a:lnTo>
                  <a:lnTo>
                    <a:pt x="368439" y="511040"/>
                  </a:lnTo>
                  <a:lnTo>
                    <a:pt x="354949" y="517623"/>
                  </a:lnTo>
                  <a:lnTo>
                    <a:pt x="339773" y="506102"/>
                  </a:lnTo>
                  <a:lnTo>
                    <a:pt x="348204" y="453435"/>
                  </a:lnTo>
                  <a:lnTo>
                    <a:pt x="287500" y="453435"/>
                  </a:lnTo>
                  <a:lnTo>
                    <a:pt x="270638" y="445205"/>
                  </a:lnTo>
                  <a:lnTo>
                    <a:pt x="245344" y="438622"/>
                  </a:lnTo>
                  <a:lnTo>
                    <a:pt x="216678" y="392538"/>
                  </a:lnTo>
                  <a:lnTo>
                    <a:pt x="208247" y="336579"/>
                  </a:lnTo>
                  <a:lnTo>
                    <a:pt x="186326" y="329995"/>
                  </a:lnTo>
                  <a:lnTo>
                    <a:pt x="132367" y="329995"/>
                  </a:lnTo>
                  <a:lnTo>
                    <a:pt x="130681" y="293786"/>
                  </a:lnTo>
                  <a:lnTo>
                    <a:pt x="118878" y="267452"/>
                  </a:lnTo>
                  <a:lnTo>
                    <a:pt x="134053" y="249348"/>
                  </a:lnTo>
                  <a:lnTo>
                    <a:pt x="115505" y="226306"/>
                  </a:lnTo>
                  <a:lnTo>
                    <a:pt x="103701" y="221368"/>
                  </a:lnTo>
                  <a:lnTo>
                    <a:pt x="41311" y="229597"/>
                  </a:lnTo>
                  <a:lnTo>
                    <a:pt x="10959" y="193388"/>
                  </a:lnTo>
                  <a:lnTo>
                    <a:pt x="5900" y="167054"/>
                  </a:lnTo>
                  <a:lnTo>
                    <a:pt x="27821" y="165409"/>
                  </a:lnTo>
                  <a:lnTo>
                    <a:pt x="29507" y="157179"/>
                  </a:lnTo>
                  <a:lnTo>
                    <a:pt x="22763" y="137429"/>
                  </a:lnTo>
                  <a:lnTo>
                    <a:pt x="10959" y="137429"/>
                  </a:lnTo>
                  <a:lnTo>
                    <a:pt x="9273" y="119324"/>
                  </a:lnTo>
                  <a:lnTo>
                    <a:pt x="4214" y="111095"/>
                  </a:lnTo>
                  <a:lnTo>
                    <a:pt x="56487" y="97928"/>
                  </a:lnTo>
                  <a:lnTo>
                    <a:pt x="37939" y="48552"/>
                  </a:lnTo>
                  <a:lnTo>
                    <a:pt x="41311" y="45261"/>
                  </a:lnTo>
                  <a:lnTo>
                    <a:pt x="85153" y="43615"/>
                  </a:lnTo>
                  <a:lnTo>
                    <a:pt x="110446" y="45261"/>
                  </a:lnTo>
                  <a:lnTo>
                    <a:pt x="132367" y="43615"/>
                  </a:lnTo>
                  <a:lnTo>
                    <a:pt x="147543" y="38677"/>
                  </a:lnTo>
                  <a:lnTo>
                    <a:pt x="161033" y="41969"/>
                  </a:lnTo>
                  <a:lnTo>
                    <a:pt x="179582" y="51844"/>
                  </a:lnTo>
                  <a:lnTo>
                    <a:pt x="193071" y="46906"/>
                  </a:lnTo>
                  <a:lnTo>
                    <a:pt x="198130" y="68303"/>
                  </a:lnTo>
                  <a:lnTo>
                    <a:pt x="208247" y="78178"/>
                  </a:lnTo>
                  <a:lnTo>
                    <a:pt x="218365" y="68303"/>
                  </a:lnTo>
                  <a:lnTo>
                    <a:pt x="236913" y="55136"/>
                  </a:lnTo>
                  <a:lnTo>
                    <a:pt x="321224" y="32094"/>
                  </a:lnTo>
                  <a:lnTo>
                    <a:pt x="354949" y="37031"/>
                  </a:lnTo>
                  <a:lnTo>
                    <a:pt x="378556" y="35385"/>
                  </a:lnTo>
                  <a:lnTo>
                    <a:pt x="390360" y="17281"/>
                  </a:lnTo>
                  <a:lnTo>
                    <a:pt x="392046" y="9052"/>
                  </a:lnTo>
                  <a:lnTo>
                    <a:pt x="39710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7" name="Vught">
              <a:extLst>
                <a:ext uri="{FF2B5EF4-FFF2-40B4-BE49-F238E27FC236}">
                  <a16:creationId xmlns:a16="http://schemas.microsoft.com/office/drawing/2014/main" id="{7AD8CF1F-1434-49E1-B3A9-0334007CD0DE}"/>
                </a:ext>
              </a:extLst>
            </p:cNvPr>
            <p:cNvSpPr/>
            <p:nvPr/>
          </p:nvSpPr>
          <p:spPr>
            <a:xfrm>
              <a:off x="6028057" y="4175471"/>
              <a:ext cx="136462" cy="118290"/>
            </a:xfrm>
            <a:custGeom>
              <a:avLst/>
              <a:gdLst/>
              <a:ahLst/>
              <a:cxnLst/>
              <a:rect l="l" t="t" r="r" b="b"/>
              <a:pathLst>
                <a:path w="187330" h="171450" extrusionOk="0">
                  <a:moveTo>
                    <a:pt x="66604" y="18927"/>
                  </a:moveTo>
                  <a:lnTo>
                    <a:pt x="71663" y="20573"/>
                  </a:lnTo>
                  <a:lnTo>
                    <a:pt x="102015" y="17281"/>
                  </a:lnTo>
                  <a:lnTo>
                    <a:pt x="123936" y="25510"/>
                  </a:lnTo>
                  <a:lnTo>
                    <a:pt x="142484" y="43615"/>
                  </a:lnTo>
                  <a:lnTo>
                    <a:pt x="152602" y="60073"/>
                  </a:lnTo>
                  <a:lnTo>
                    <a:pt x="154288" y="56781"/>
                  </a:lnTo>
                  <a:lnTo>
                    <a:pt x="159347" y="60073"/>
                  </a:lnTo>
                  <a:lnTo>
                    <a:pt x="182954" y="50198"/>
                  </a:lnTo>
                  <a:lnTo>
                    <a:pt x="167778" y="58427"/>
                  </a:lnTo>
                  <a:lnTo>
                    <a:pt x="159347" y="63365"/>
                  </a:lnTo>
                  <a:lnTo>
                    <a:pt x="159347" y="68303"/>
                  </a:lnTo>
                  <a:lnTo>
                    <a:pt x="162719" y="74886"/>
                  </a:lnTo>
                  <a:lnTo>
                    <a:pt x="172837" y="81470"/>
                  </a:lnTo>
                  <a:lnTo>
                    <a:pt x="172837" y="91345"/>
                  </a:lnTo>
                  <a:lnTo>
                    <a:pt x="182954" y="101220"/>
                  </a:lnTo>
                  <a:lnTo>
                    <a:pt x="182954" y="119324"/>
                  </a:lnTo>
                  <a:lnTo>
                    <a:pt x="186326" y="132491"/>
                  </a:lnTo>
                  <a:lnTo>
                    <a:pt x="177895" y="140720"/>
                  </a:lnTo>
                  <a:lnTo>
                    <a:pt x="167778" y="140720"/>
                  </a:lnTo>
                  <a:lnTo>
                    <a:pt x="161033" y="162117"/>
                  </a:lnTo>
                  <a:lnTo>
                    <a:pt x="152602" y="160471"/>
                  </a:lnTo>
                  <a:lnTo>
                    <a:pt x="149229" y="162117"/>
                  </a:lnTo>
                  <a:lnTo>
                    <a:pt x="145857" y="170346"/>
                  </a:lnTo>
                  <a:lnTo>
                    <a:pt x="123936" y="167054"/>
                  </a:lnTo>
                  <a:lnTo>
                    <a:pt x="123936" y="170346"/>
                  </a:lnTo>
                  <a:lnTo>
                    <a:pt x="118877" y="175284"/>
                  </a:lnTo>
                  <a:lnTo>
                    <a:pt x="93584" y="153888"/>
                  </a:lnTo>
                  <a:lnTo>
                    <a:pt x="71663" y="142367"/>
                  </a:lnTo>
                  <a:lnTo>
                    <a:pt x="78408" y="127554"/>
                  </a:lnTo>
                  <a:lnTo>
                    <a:pt x="69977" y="119324"/>
                  </a:lnTo>
                  <a:lnTo>
                    <a:pt x="68291" y="119324"/>
                  </a:lnTo>
                  <a:lnTo>
                    <a:pt x="73349" y="116033"/>
                  </a:lnTo>
                  <a:lnTo>
                    <a:pt x="68291" y="106157"/>
                  </a:lnTo>
                  <a:lnTo>
                    <a:pt x="63232" y="101220"/>
                  </a:lnTo>
                  <a:lnTo>
                    <a:pt x="59859" y="102866"/>
                  </a:lnTo>
                  <a:lnTo>
                    <a:pt x="58173" y="97928"/>
                  </a:lnTo>
                  <a:lnTo>
                    <a:pt x="58173" y="101220"/>
                  </a:lnTo>
                  <a:lnTo>
                    <a:pt x="56487" y="97928"/>
                  </a:lnTo>
                  <a:lnTo>
                    <a:pt x="46370" y="99574"/>
                  </a:lnTo>
                  <a:lnTo>
                    <a:pt x="48056" y="92991"/>
                  </a:lnTo>
                  <a:lnTo>
                    <a:pt x="44684" y="84761"/>
                  </a:lnTo>
                  <a:lnTo>
                    <a:pt x="34566" y="76532"/>
                  </a:lnTo>
                  <a:lnTo>
                    <a:pt x="32880" y="71594"/>
                  </a:lnTo>
                  <a:lnTo>
                    <a:pt x="24449" y="71594"/>
                  </a:lnTo>
                  <a:lnTo>
                    <a:pt x="10959" y="55136"/>
                  </a:lnTo>
                  <a:lnTo>
                    <a:pt x="4214" y="51844"/>
                  </a:lnTo>
                  <a:lnTo>
                    <a:pt x="12645" y="43615"/>
                  </a:lnTo>
                  <a:lnTo>
                    <a:pt x="36252" y="43615"/>
                  </a:lnTo>
                  <a:lnTo>
                    <a:pt x="41311" y="4114"/>
                  </a:lnTo>
                  <a:lnTo>
                    <a:pt x="49742" y="5760"/>
                  </a:lnTo>
                  <a:lnTo>
                    <a:pt x="53115" y="15635"/>
                  </a:lnTo>
                  <a:lnTo>
                    <a:pt x="66604" y="1892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8" name="Boxtel">
              <a:extLst>
                <a:ext uri="{FF2B5EF4-FFF2-40B4-BE49-F238E27FC236}">
                  <a16:creationId xmlns:a16="http://schemas.microsoft.com/office/drawing/2014/main" id="{83574F47-202E-4F50-BBDF-7F2E5400ABB2}"/>
                </a:ext>
              </a:extLst>
            </p:cNvPr>
            <p:cNvSpPr/>
            <p:nvPr/>
          </p:nvSpPr>
          <p:spPr>
            <a:xfrm>
              <a:off x="6079601" y="4263908"/>
              <a:ext cx="171701" cy="146629"/>
            </a:xfrm>
            <a:custGeom>
              <a:avLst/>
              <a:gdLst/>
              <a:ahLst/>
              <a:cxnLst/>
              <a:rect l="l" t="t" r="r" b="b"/>
              <a:pathLst>
                <a:path w="245871" h="217170" extrusionOk="0">
                  <a:moveTo>
                    <a:pt x="115505" y="4114"/>
                  </a:moveTo>
                  <a:lnTo>
                    <a:pt x="147543" y="33740"/>
                  </a:lnTo>
                  <a:lnTo>
                    <a:pt x="155974" y="32094"/>
                  </a:lnTo>
                  <a:lnTo>
                    <a:pt x="152602" y="38677"/>
                  </a:lnTo>
                  <a:lnTo>
                    <a:pt x="154288" y="46906"/>
                  </a:lnTo>
                  <a:lnTo>
                    <a:pt x="147543" y="53490"/>
                  </a:lnTo>
                  <a:lnTo>
                    <a:pt x="142485" y="53490"/>
                  </a:lnTo>
                  <a:lnTo>
                    <a:pt x="137426" y="60074"/>
                  </a:lnTo>
                  <a:lnTo>
                    <a:pt x="142485" y="66657"/>
                  </a:lnTo>
                  <a:lnTo>
                    <a:pt x="137426" y="66657"/>
                  </a:lnTo>
                  <a:lnTo>
                    <a:pt x="137426" y="69949"/>
                  </a:lnTo>
                  <a:lnTo>
                    <a:pt x="140798" y="73240"/>
                  </a:lnTo>
                  <a:lnTo>
                    <a:pt x="144171" y="79824"/>
                  </a:lnTo>
                  <a:lnTo>
                    <a:pt x="150916" y="76532"/>
                  </a:lnTo>
                  <a:lnTo>
                    <a:pt x="154288" y="86407"/>
                  </a:lnTo>
                  <a:lnTo>
                    <a:pt x="159347" y="79824"/>
                  </a:lnTo>
                  <a:lnTo>
                    <a:pt x="166092" y="78178"/>
                  </a:lnTo>
                  <a:lnTo>
                    <a:pt x="169464" y="84761"/>
                  </a:lnTo>
                  <a:lnTo>
                    <a:pt x="213306" y="79824"/>
                  </a:lnTo>
                  <a:lnTo>
                    <a:pt x="220051" y="84761"/>
                  </a:lnTo>
                  <a:lnTo>
                    <a:pt x="216678" y="94637"/>
                  </a:lnTo>
                  <a:lnTo>
                    <a:pt x="213306" y="96282"/>
                  </a:lnTo>
                  <a:lnTo>
                    <a:pt x="220051" y="109449"/>
                  </a:lnTo>
                  <a:lnTo>
                    <a:pt x="221737" y="107803"/>
                  </a:lnTo>
                  <a:lnTo>
                    <a:pt x="226796" y="112741"/>
                  </a:lnTo>
                  <a:lnTo>
                    <a:pt x="220051" y="112741"/>
                  </a:lnTo>
                  <a:lnTo>
                    <a:pt x="213306" y="117679"/>
                  </a:lnTo>
                  <a:lnTo>
                    <a:pt x="226796" y="127554"/>
                  </a:lnTo>
                  <a:lnTo>
                    <a:pt x="223423" y="129200"/>
                  </a:lnTo>
                  <a:lnTo>
                    <a:pt x="225110" y="134137"/>
                  </a:lnTo>
                  <a:lnTo>
                    <a:pt x="226796" y="130845"/>
                  </a:lnTo>
                  <a:lnTo>
                    <a:pt x="231855" y="135783"/>
                  </a:lnTo>
                  <a:lnTo>
                    <a:pt x="228482" y="145658"/>
                  </a:lnTo>
                  <a:lnTo>
                    <a:pt x="236913" y="144012"/>
                  </a:lnTo>
                  <a:lnTo>
                    <a:pt x="248717" y="145658"/>
                  </a:lnTo>
                  <a:lnTo>
                    <a:pt x="245344" y="150596"/>
                  </a:lnTo>
                  <a:lnTo>
                    <a:pt x="245344" y="155534"/>
                  </a:lnTo>
                  <a:lnTo>
                    <a:pt x="240286" y="153888"/>
                  </a:lnTo>
                  <a:lnTo>
                    <a:pt x="241972" y="168700"/>
                  </a:lnTo>
                  <a:lnTo>
                    <a:pt x="238599" y="168700"/>
                  </a:lnTo>
                  <a:lnTo>
                    <a:pt x="241972" y="178576"/>
                  </a:lnTo>
                  <a:lnTo>
                    <a:pt x="250403" y="178576"/>
                  </a:lnTo>
                  <a:lnTo>
                    <a:pt x="247030" y="188451"/>
                  </a:lnTo>
                  <a:lnTo>
                    <a:pt x="248717" y="211493"/>
                  </a:lnTo>
                  <a:lnTo>
                    <a:pt x="214992" y="223014"/>
                  </a:lnTo>
                  <a:lnTo>
                    <a:pt x="193071" y="223014"/>
                  </a:lnTo>
                  <a:lnTo>
                    <a:pt x="188013" y="219722"/>
                  </a:lnTo>
                  <a:lnTo>
                    <a:pt x="159347" y="221368"/>
                  </a:lnTo>
                  <a:lnTo>
                    <a:pt x="145857" y="216430"/>
                  </a:lnTo>
                  <a:lnTo>
                    <a:pt x="139112" y="204909"/>
                  </a:lnTo>
                  <a:lnTo>
                    <a:pt x="127309" y="204909"/>
                  </a:lnTo>
                  <a:lnTo>
                    <a:pt x="100329" y="218076"/>
                  </a:lnTo>
                  <a:lnTo>
                    <a:pt x="39625" y="198326"/>
                  </a:lnTo>
                  <a:lnTo>
                    <a:pt x="34566" y="191742"/>
                  </a:lnTo>
                  <a:lnTo>
                    <a:pt x="4214" y="135783"/>
                  </a:lnTo>
                  <a:lnTo>
                    <a:pt x="7587" y="111095"/>
                  </a:lnTo>
                  <a:lnTo>
                    <a:pt x="19390" y="102866"/>
                  </a:lnTo>
                  <a:lnTo>
                    <a:pt x="31194" y="86407"/>
                  </a:lnTo>
                  <a:lnTo>
                    <a:pt x="39625" y="84761"/>
                  </a:lnTo>
                  <a:lnTo>
                    <a:pt x="51428" y="76532"/>
                  </a:lnTo>
                  <a:lnTo>
                    <a:pt x="59860" y="74886"/>
                  </a:lnTo>
                  <a:lnTo>
                    <a:pt x="59860" y="78178"/>
                  </a:lnTo>
                  <a:lnTo>
                    <a:pt x="69977" y="81470"/>
                  </a:lnTo>
                  <a:lnTo>
                    <a:pt x="75036" y="78178"/>
                  </a:lnTo>
                  <a:lnTo>
                    <a:pt x="78408" y="79824"/>
                  </a:lnTo>
                  <a:lnTo>
                    <a:pt x="88525" y="71595"/>
                  </a:lnTo>
                  <a:lnTo>
                    <a:pt x="100329" y="51844"/>
                  </a:lnTo>
                  <a:lnTo>
                    <a:pt x="113819" y="45261"/>
                  </a:lnTo>
                  <a:lnTo>
                    <a:pt x="103701" y="7406"/>
                  </a:lnTo>
                  <a:lnTo>
                    <a:pt x="115505"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39" name="Eemnes">
              <a:extLst>
                <a:ext uri="{FF2B5EF4-FFF2-40B4-BE49-F238E27FC236}">
                  <a16:creationId xmlns:a16="http://schemas.microsoft.com/office/drawing/2014/main" id="{BA526546-B008-4A5E-A458-B8F66E4B20C0}"/>
                </a:ext>
              </a:extLst>
            </p:cNvPr>
            <p:cNvSpPr/>
            <p:nvPr/>
          </p:nvSpPr>
          <p:spPr>
            <a:xfrm>
              <a:off x="6061534" y="3228930"/>
              <a:ext cx="111927" cy="99359"/>
            </a:xfrm>
            <a:custGeom>
              <a:avLst/>
              <a:gdLst/>
              <a:ahLst/>
              <a:cxnLst/>
              <a:rect l="l" t="t" r="r" b="b"/>
              <a:pathLst>
                <a:path w="163914" h="148590" extrusionOk="0">
                  <a:moveTo>
                    <a:pt x="69977" y="4114"/>
                  </a:moveTo>
                  <a:lnTo>
                    <a:pt x="132368" y="13989"/>
                  </a:lnTo>
                  <a:lnTo>
                    <a:pt x="140799" y="23864"/>
                  </a:lnTo>
                  <a:lnTo>
                    <a:pt x="139112" y="25510"/>
                  </a:lnTo>
                  <a:lnTo>
                    <a:pt x="145857" y="23864"/>
                  </a:lnTo>
                  <a:lnTo>
                    <a:pt x="154288" y="27156"/>
                  </a:lnTo>
                  <a:lnTo>
                    <a:pt x="169464" y="23864"/>
                  </a:lnTo>
                  <a:lnTo>
                    <a:pt x="162720" y="41969"/>
                  </a:lnTo>
                  <a:lnTo>
                    <a:pt x="155974" y="50198"/>
                  </a:lnTo>
                  <a:lnTo>
                    <a:pt x="164406" y="63365"/>
                  </a:lnTo>
                  <a:lnTo>
                    <a:pt x="166092" y="68303"/>
                  </a:lnTo>
                  <a:lnTo>
                    <a:pt x="159347" y="74886"/>
                  </a:lnTo>
                  <a:lnTo>
                    <a:pt x="144171" y="76532"/>
                  </a:lnTo>
                  <a:lnTo>
                    <a:pt x="137426" y="91345"/>
                  </a:lnTo>
                  <a:lnTo>
                    <a:pt x="142485" y="119324"/>
                  </a:lnTo>
                  <a:lnTo>
                    <a:pt x="132368" y="129200"/>
                  </a:lnTo>
                  <a:lnTo>
                    <a:pt x="139112" y="137429"/>
                  </a:lnTo>
                  <a:lnTo>
                    <a:pt x="137426" y="139075"/>
                  </a:lnTo>
                  <a:lnTo>
                    <a:pt x="139112" y="142367"/>
                  </a:lnTo>
                  <a:lnTo>
                    <a:pt x="142485" y="142367"/>
                  </a:lnTo>
                  <a:lnTo>
                    <a:pt x="142485" y="140721"/>
                  </a:lnTo>
                  <a:lnTo>
                    <a:pt x="144171" y="144013"/>
                  </a:lnTo>
                  <a:lnTo>
                    <a:pt x="140799" y="150596"/>
                  </a:lnTo>
                  <a:lnTo>
                    <a:pt x="132368" y="155534"/>
                  </a:lnTo>
                  <a:lnTo>
                    <a:pt x="123936" y="145658"/>
                  </a:lnTo>
                  <a:lnTo>
                    <a:pt x="103701" y="147304"/>
                  </a:lnTo>
                  <a:lnTo>
                    <a:pt x="4214" y="140721"/>
                  </a:lnTo>
                  <a:lnTo>
                    <a:pt x="6997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0" name="Kerkrade">
              <a:extLst>
                <a:ext uri="{FF2B5EF4-FFF2-40B4-BE49-F238E27FC236}">
                  <a16:creationId xmlns:a16="http://schemas.microsoft.com/office/drawing/2014/main" id="{CC9D3E98-9F95-4953-A33A-C7FB0D356F0D}"/>
                </a:ext>
              </a:extLst>
            </p:cNvPr>
            <p:cNvSpPr/>
            <p:nvPr/>
          </p:nvSpPr>
          <p:spPr>
            <a:xfrm>
              <a:off x="6891082" y="5436607"/>
              <a:ext cx="99748" cy="99359"/>
            </a:xfrm>
            <a:custGeom>
              <a:avLst/>
              <a:gdLst/>
              <a:ahLst/>
              <a:cxnLst/>
              <a:rect l="l" t="t" r="r" b="b"/>
              <a:pathLst>
                <a:path w="140498" h="148590" extrusionOk="0">
                  <a:moveTo>
                    <a:pt x="127309" y="10698"/>
                  </a:moveTo>
                  <a:lnTo>
                    <a:pt x="120564" y="40323"/>
                  </a:lnTo>
                  <a:lnTo>
                    <a:pt x="127309" y="50198"/>
                  </a:lnTo>
                  <a:lnTo>
                    <a:pt x="125622" y="53490"/>
                  </a:lnTo>
                  <a:lnTo>
                    <a:pt x="127309" y="60074"/>
                  </a:lnTo>
                  <a:lnTo>
                    <a:pt x="132367" y="60074"/>
                  </a:lnTo>
                  <a:lnTo>
                    <a:pt x="130681" y="61720"/>
                  </a:lnTo>
                  <a:lnTo>
                    <a:pt x="137426" y="66657"/>
                  </a:lnTo>
                  <a:lnTo>
                    <a:pt x="135740" y="74887"/>
                  </a:lnTo>
                  <a:lnTo>
                    <a:pt x="140798" y="84762"/>
                  </a:lnTo>
                  <a:lnTo>
                    <a:pt x="137426" y="86407"/>
                  </a:lnTo>
                  <a:lnTo>
                    <a:pt x="137426" y="91345"/>
                  </a:lnTo>
                  <a:lnTo>
                    <a:pt x="134053" y="102866"/>
                  </a:lnTo>
                  <a:lnTo>
                    <a:pt x="128995" y="102866"/>
                  </a:lnTo>
                  <a:lnTo>
                    <a:pt x="128995" y="107804"/>
                  </a:lnTo>
                  <a:lnTo>
                    <a:pt x="123936" y="112741"/>
                  </a:lnTo>
                  <a:lnTo>
                    <a:pt x="118877" y="147304"/>
                  </a:lnTo>
                  <a:lnTo>
                    <a:pt x="102015" y="137429"/>
                  </a:lnTo>
                  <a:lnTo>
                    <a:pt x="91898" y="135783"/>
                  </a:lnTo>
                  <a:lnTo>
                    <a:pt x="91898" y="125908"/>
                  </a:lnTo>
                  <a:lnTo>
                    <a:pt x="88525" y="120971"/>
                  </a:lnTo>
                  <a:lnTo>
                    <a:pt x="68291" y="135783"/>
                  </a:lnTo>
                  <a:lnTo>
                    <a:pt x="56487" y="137429"/>
                  </a:lnTo>
                  <a:lnTo>
                    <a:pt x="46370" y="144013"/>
                  </a:lnTo>
                  <a:lnTo>
                    <a:pt x="32880" y="148950"/>
                  </a:lnTo>
                  <a:lnTo>
                    <a:pt x="31194" y="153888"/>
                  </a:lnTo>
                  <a:lnTo>
                    <a:pt x="27821" y="153888"/>
                  </a:lnTo>
                  <a:lnTo>
                    <a:pt x="4214" y="120971"/>
                  </a:lnTo>
                  <a:lnTo>
                    <a:pt x="16018" y="116033"/>
                  </a:lnTo>
                  <a:lnTo>
                    <a:pt x="14332" y="112741"/>
                  </a:lnTo>
                  <a:lnTo>
                    <a:pt x="19390" y="106158"/>
                  </a:lnTo>
                  <a:lnTo>
                    <a:pt x="34566" y="94637"/>
                  </a:lnTo>
                  <a:lnTo>
                    <a:pt x="29507" y="89699"/>
                  </a:lnTo>
                  <a:lnTo>
                    <a:pt x="37939" y="86407"/>
                  </a:lnTo>
                  <a:lnTo>
                    <a:pt x="51428" y="86407"/>
                  </a:lnTo>
                  <a:lnTo>
                    <a:pt x="59859" y="51845"/>
                  </a:lnTo>
                  <a:lnTo>
                    <a:pt x="64918" y="46907"/>
                  </a:lnTo>
                  <a:lnTo>
                    <a:pt x="69977" y="48552"/>
                  </a:lnTo>
                  <a:lnTo>
                    <a:pt x="73349" y="41969"/>
                  </a:lnTo>
                  <a:lnTo>
                    <a:pt x="64918" y="37032"/>
                  </a:lnTo>
                  <a:lnTo>
                    <a:pt x="68291" y="35385"/>
                  </a:lnTo>
                  <a:lnTo>
                    <a:pt x="69977" y="17281"/>
                  </a:lnTo>
                  <a:lnTo>
                    <a:pt x="78408" y="18927"/>
                  </a:lnTo>
                  <a:lnTo>
                    <a:pt x="90211" y="18927"/>
                  </a:lnTo>
                  <a:lnTo>
                    <a:pt x="90211" y="13990"/>
                  </a:lnTo>
                  <a:lnTo>
                    <a:pt x="93584" y="12343"/>
                  </a:lnTo>
                  <a:lnTo>
                    <a:pt x="95270" y="15635"/>
                  </a:lnTo>
                  <a:lnTo>
                    <a:pt x="102015" y="12343"/>
                  </a:lnTo>
                  <a:lnTo>
                    <a:pt x="102015" y="9052"/>
                  </a:lnTo>
                  <a:lnTo>
                    <a:pt x="105388" y="7406"/>
                  </a:lnTo>
                  <a:lnTo>
                    <a:pt x="127309" y="4114"/>
                  </a:lnTo>
                  <a:lnTo>
                    <a:pt x="127309"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1" name="Voorst">
              <a:extLst>
                <a:ext uri="{FF2B5EF4-FFF2-40B4-BE49-F238E27FC236}">
                  <a16:creationId xmlns:a16="http://schemas.microsoft.com/office/drawing/2014/main" id="{D6F5CC80-91FC-49DD-8B05-A1912FF5DA7F}"/>
                </a:ext>
              </a:extLst>
            </p:cNvPr>
            <p:cNvSpPr/>
            <p:nvPr/>
          </p:nvSpPr>
          <p:spPr>
            <a:xfrm>
              <a:off x="6895688" y="3147277"/>
              <a:ext cx="172076" cy="295881"/>
            </a:xfrm>
            <a:custGeom>
              <a:avLst/>
              <a:gdLst/>
              <a:ahLst/>
              <a:cxnLst/>
              <a:rect l="l" t="t" r="r" b="b"/>
              <a:pathLst>
                <a:path w="257579" h="457200" extrusionOk="0">
                  <a:moveTo>
                    <a:pt x="56487" y="4114"/>
                  </a:moveTo>
                  <a:lnTo>
                    <a:pt x="76722" y="5760"/>
                  </a:lnTo>
                  <a:lnTo>
                    <a:pt x="73349" y="25510"/>
                  </a:lnTo>
                  <a:lnTo>
                    <a:pt x="66605" y="30448"/>
                  </a:lnTo>
                  <a:lnTo>
                    <a:pt x="66605" y="37031"/>
                  </a:lnTo>
                  <a:lnTo>
                    <a:pt x="86839" y="37031"/>
                  </a:lnTo>
                  <a:lnTo>
                    <a:pt x="88526" y="50198"/>
                  </a:lnTo>
                  <a:lnTo>
                    <a:pt x="95270" y="50198"/>
                  </a:lnTo>
                  <a:lnTo>
                    <a:pt x="91898" y="61719"/>
                  </a:lnTo>
                  <a:lnTo>
                    <a:pt x="93584" y="74886"/>
                  </a:lnTo>
                  <a:lnTo>
                    <a:pt x="96957" y="74886"/>
                  </a:lnTo>
                  <a:lnTo>
                    <a:pt x="103701" y="79824"/>
                  </a:lnTo>
                  <a:lnTo>
                    <a:pt x="117191" y="78178"/>
                  </a:lnTo>
                  <a:lnTo>
                    <a:pt x="115505" y="76532"/>
                  </a:lnTo>
                  <a:lnTo>
                    <a:pt x="120564" y="76532"/>
                  </a:lnTo>
                  <a:lnTo>
                    <a:pt x="123936" y="84761"/>
                  </a:lnTo>
                  <a:lnTo>
                    <a:pt x="127309" y="97928"/>
                  </a:lnTo>
                  <a:lnTo>
                    <a:pt x="135740" y="109449"/>
                  </a:lnTo>
                  <a:lnTo>
                    <a:pt x="137426" y="132492"/>
                  </a:lnTo>
                  <a:lnTo>
                    <a:pt x="150916" y="147304"/>
                  </a:lnTo>
                  <a:lnTo>
                    <a:pt x="155974" y="167055"/>
                  </a:lnTo>
                  <a:lnTo>
                    <a:pt x="164405" y="173638"/>
                  </a:lnTo>
                  <a:lnTo>
                    <a:pt x="157661" y="183513"/>
                  </a:lnTo>
                  <a:lnTo>
                    <a:pt x="155974" y="195034"/>
                  </a:lnTo>
                  <a:lnTo>
                    <a:pt x="172837" y="199972"/>
                  </a:lnTo>
                  <a:lnTo>
                    <a:pt x="184640" y="208201"/>
                  </a:lnTo>
                  <a:lnTo>
                    <a:pt x="194757" y="203264"/>
                  </a:lnTo>
                  <a:lnTo>
                    <a:pt x="201503" y="206555"/>
                  </a:lnTo>
                  <a:lnTo>
                    <a:pt x="201503" y="213139"/>
                  </a:lnTo>
                  <a:lnTo>
                    <a:pt x="182954" y="226306"/>
                  </a:lnTo>
                  <a:lnTo>
                    <a:pt x="182954" y="237827"/>
                  </a:lnTo>
                  <a:lnTo>
                    <a:pt x="189699" y="249348"/>
                  </a:lnTo>
                  <a:lnTo>
                    <a:pt x="194757" y="254285"/>
                  </a:lnTo>
                  <a:lnTo>
                    <a:pt x="213306" y="259223"/>
                  </a:lnTo>
                  <a:lnTo>
                    <a:pt x="216678" y="265806"/>
                  </a:lnTo>
                  <a:lnTo>
                    <a:pt x="214992" y="275682"/>
                  </a:lnTo>
                  <a:lnTo>
                    <a:pt x="220051" y="277327"/>
                  </a:lnTo>
                  <a:lnTo>
                    <a:pt x="223423" y="269098"/>
                  </a:lnTo>
                  <a:lnTo>
                    <a:pt x="220051" y="264160"/>
                  </a:lnTo>
                  <a:lnTo>
                    <a:pt x="214992" y="252639"/>
                  </a:lnTo>
                  <a:lnTo>
                    <a:pt x="223423" y="255931"/>
                  </a:lnTo>
                  <a:lnTo>
                    <a:pt x="223423" y="252639"/>
                  </a:lnTo>
                  <a:lnTo>
                    <a:pt x="214992" y="250993"/>
                  </a:lnTo>
                  <a:lnTo>
                    <a:pt x="220051" y="244410"/>
                  </a:lnTo>
                  <a:lnTo>
                    <a:pt x="255462" y="277327"/>
                  </a:lnTo>
                  <a:lnTo>
                    <a:pt x="258834" y="292140"/>
                  </a:lnTo>
                  <a:lnTo>
                    <a:pt x="255462" y="300369"/>
                  </a:lnTo>
                  <a:lnTo>
                    <a:pt x="248717" y="308599"/>
                  </a:lnTo>
                  <a:lnTo>
                    <a:pt x="231855" y="315182"/>
                  </a:lnTo>
                  <a:lnTo>
                    <a:pt x="211620" y="318474"/>
                  </a:lnTo>
                  <a:lnTo>
                    <a:pt x="206561" y="323411"/>
                  </a:lnTo>
                  <a:lnTo>
                    <a:pt x="206561" y="331641"/>
                  </a:lnTo>
                  <a:lnTo>
                    <a:pt x="209934" y="343162"/>
                  </a:lnTo>
                  <a:lnTo>
                    <a:pt x="226796" y="346453"/>
                  </a:lnTo>
                  <a:lnTo>
                    <a:pt x="243658" y="364558"/>
                  </a:lnTo>
                  <a:lnTo>
                    <a:pt x="258834" y="371142"/>
                  </a:lnTo>
                  <a:lnTo>
                    <a:pt x="263893" y="381017"/>
                  </a:lnTo>
                  <a:lnTo>
                    <a:pt x="260520" y="395829"/>
                  </a:lnTo>
                  <a:lnTo>
                    <a:pt x="247030" y="413934"/>
                  </a:lnTo>
                  <a:lnTo>
                    <a:pt x="213306" y="412288"/>
                  </a:lnTo>
                  <a:lnTo>
                    <a:pt x="203189" y="417226"/>
                  </a:lnTo>
                  <a:lnTo>
                    <a:pt x="186326" y="418872"/>
                  </a:lnTo>
                  <a:lnTo>
                    <a:pt x="130681" y="435330"/>
                  </a:lnTo>
                  <a:lnTo>
                    <a:pt x="85153" y="456726"/>
                  </a:lnTo>
                  <a:lnTo>
                    <a:pt x="83467" y="445205"/>
                  </a:lnTo>
                  <a:lnTo>
                    <a:pt x="66605" y="425455"/>
                  </a:lnTo>
                  <a:lnTo>
                    <a:pt x="69977" y="413934"/>
                  </a:lnTo>
                  <a:lnTo>
                    <a:pt x="68291" y="404059"/>
                  </a:lnTo>
                  <a:lnTo>
                    <a:pt x="61546" y="381017"/>
                  </a:lnTo>
                  <a:lnTo>
                    <a:pt x="44684" y="359621"/>
                  </a:lnTo>
                  <a:lnTo>
                    <a:pt x="49742" y="333287"/>
                  </a:lnTo>
                  <a:lnTo>
                    <a:pt x="56487" y="329995"/>
                  </a:lnTo>
                  <a:lnTo>
                    <a:pt x="49742" y="318474"/>
                  </a:lnTo>
                  <a:lnTo>
                    <a:pt x="41311" y="290494"/>
                  </a:lnTo>
                  <a:lnTo>
                    <a:pt x="39625" y="269098"/>
                  </a:lnTo>
                  <a:lnTo>
                    <a:pt x="32880" y="267452"/>
                  </a:lnTo>
                  <a:lnTo>
                    <a:pt x="29507" y="262515"/>
                  </a:lnTo>
                  <a:lnTo>
                    <a:pt x="19390" y="262515"/>
                  </a:lnTo>
                  <a:lnTo>
                    <a:pt x="19390" y="244410"/>
                  </a:lnTo>
                  <a:lnTo>
                    <a:pt x="22763" y="244410"/>
                  </a:lnTo>
                  <a:lnTo>
                    <a:pt x="10959" y="226306"/>
                  </a:lnTo>
                  <a:lnTo>
                    <a:pt x="10959" y="219722"/>
                  </a:lnTo>
                  <a:lnTo>
                    <a:pt x="7587" y="218076"/>
                  </a:lnTo>
                  <a:lnTo>
                    <a:pt x="10959" y="214785"/>
                  </a:lnTo>
                  <a:lnTo>
                    <a:pt x="4214" y="203264"/>
                  </a:lnTo>
                  <a:lnTo>
                    <a:pt x="10959" y="203264"/>
                  </a:lnTo>
                  <a:lnTo>
                    <a:pt x="14332" y="195034"/>
                  </a:lnTo>
                  <a:lnTo>
                    <a:pt x="16018" y="180221"/>
                  </a:lnTo>
                  <a:lnTo>
                    <a:pt x="21076" y="180221"/>
                  </a:lnTo>
                  <a:lnTo>
                    <a:pt x="24449" y="173638"/>
                  </a:lnTo>
                  <a:lnTo>
                    <a:pt x="24449" y="167055"/>
                  </a:lnTo>
                  <a:lnTo>
                    <a:pt x="19390" y="162117"/>
                  </a:lnTo>
                  <a:lnTo>
                    <a:pt x="22763" y="155534"/>
                  </a:lnTo>
                  <a:lnTo>
                    <a:pt x="32880" y="155534"/>
                  </a:lnTo>
                  <a:lnTo>
                    <a:pt x="29507" y="147304"/>
                  </a:lnTo>
                  <a:lnTo>
                    <a:pt x="32880" y="130845"/>
                  </a:lnTo>
                  <a:lnTo>
                    <a:pt x="19390" y="92991"/>
                  </a:lnTo>
                  <a:lnTo>
                    <a:pt x="46370" y="17281"/>
                  </a:lnTo>
                  <a:lnTo>
                    <a:pt x="46370" y="5760"/>
                  </a:lnTo>
                  <a:lnTo>
                    <a:pt x="56487"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2" name="Geldrop-Mierlo">
              <a:extLst>
                <a:ext uri="{FF2B5EF4-FFF2-40B4-BE49-F238E27FC236}">
                  <a16:creationId xmlns:a16="http://schemas.microsoft.com/office/drawing/2014/main" id="{10334E12-9CEC-4725-9514-E251FFA0E420}"/>
                </a:ext>
              </a:extLst>
            </p:cNvPr>
            <p:cNvSpPr/>
            <p:nvPr/>
          </p:nvSpPr>
          <p:spPr>
            <a:xfrm>
              <a:off x="6372460" y="4548316"/>
              <a:ext cx="142002" cy="89893"/>
            </a:xfrm>
            <a:custGeom>
              <a:avLst/>
              <a:gdLst/>
              <a:ahLst/>
              <a:cxnLst/>
              <a:rect l="l" t="t" r="r" b="b"/>
              <a:pathLst>
                <a:path w="210747" h="137160" extrusionOk="0">
                  <a:moveTo>
                    <a:pt x="103701" y="10697"/>
                  </a:moveTo>
                  <a:lnTo>
                    <a:pt x="108760" y="9052"/>
                  </a:lnTo>
                  <a:lnTo>
                    <a:pt x="115505" y="13989"/>
                  </a:lnTo>
                  <a:lnTo>
                    <a:pt x="120563" y="23864"/>
                  </a:lnTo>
                  <a:lnTo>
                    <a:pt x="125622" y="18926"/>
                  </a:lnTo>
                  <a:lnTo>
                    <a:pt x="132367" y="25510"/>
                  </a:lnTo>
                  <a:lnTo>
                    <a:pt x="132367" y="30448"/>
                  </a:lnTo>
                  <a:lnTo>
                    <a:pt x="142484" y="28802"/>
                  </a:lnTo>
                  <a:lnTo>
                    <a:pt x="142484" y="32094"/>
                  </a:lnTo>
                  <a:lnTo>
                    <a:pt x="186326" y="13989"/>
                  </a:lnTo>
                  <a:lnTo>
                    <a:pt x="206561" y="12343"/>
                  </a:lnTo>
                  <a:lnTo>
                    <a:pt x="201502" y="37031"/>
                  </a:lnTo>
                  <a:lnTo>
                    <a:pt x="194757" y="50198"/>
                  </a:lnTo>
                  <a:lnTo>
                    <a:pt x="186326" y="51844"/>
                  </a:lnTo>
                  <a:lnTo>
                    <a:pt x="179582" y="96282"/>
                  </a:lnTo>
                  <a:lnTo>
                    <a:pt x="113819" y="106157"/>
                  </a:lnTo>
                  <a:lnTo>
                    <a:pt x="69977" y="130845"/>
                  </a:lnTo>
                  <a:lnTo>
                    <a:pt x="66604" y="132491"/>
                  </a:lnTo>
                  <a:lnTo>
                    <a:pt x="68290" y="135783"/>
                  </a:lnTo>
                  <a:lnTo>
                    <a:pt x="64918" y="139075"/>
                  </a:lnTo>
                  <a:lnTo>
                    <a:pt x="59859" y="139075"/>
                  </a:lnTo>
                  <a:lnTo>
                    <a:pt x="59859" y="135783"/>
                  </a:lnTo>
                  <a:lnTo>
                    <a:pt x="32880" y="139075"/>
                  </a:lnTo>
                  <a:lnTo>
                    <a:pt x="34566" y="142367"/>
                  </a:lnTo>
                  <a:lnTo>
                    <a:pt x="32880" y="140720"/>
                  </a:lnTo>
                  <a:lnTo>
                    <a:pt x="21076" y="142367"/>
                  </a:lnTo>
                  <a:lnTo>
                    <a:pt x="19390" y="139075"/>
                  </a:lnTo>
                  <a:lnTo>
                    <a:pt x="5900" y="139075"/>
                  </a:lnTo>
                  <a:lnTo>
                    <a:pt x="4214" y="83115"/>
                  </a:lnTo>
                  <a:lnTo>
                    <a:pt x="12645" y="84761"/>
                  </a:lnTo>
                  <a:lnTo>
                    <a:pt x="14331" y="73240"/>
                  </a:lnTo>
                  <a:lnTo>
                    <a:pt x="27821" y="73240"/>
                  </a:lnTo>
                  <a:lnTo>
                    <a:pt x="66604" y="50198"/>
                  </a:lnTo>
                  <a:lnTo>
                    <a:pt x="95270" y="4114"/>
                  </a:lnTo>
                  <a:lnTo>
                    <a:pt x="103701"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3" name="Ijsselstein">
              <a:extLst>
                <a:ext uri="{FF2B5EF4-FFF2-40B4-BE49-F238E27FC236}">
                  <a16:creationId xmlns:a16="http://schemas.microsoft.com/office/drawing/2014/main" id="{37E9A179-3C8A-424B-96FB-21830B1CC943}"/>
                </a:ext>
              </a:extLst>
            </p:cNvPr>
            <p:cNvSpPr/>
            <p:nvPr/>
          </p:nvSpPr>
          <p:spPr>
            <a:xfrm>
              <a:off x="5794715" y="3582724"/>
              <a:ext cx="102027" cy="108765"/>
            </a:xfrm>
            <a:custGeom>
              <a:avLst/>
              <a:gdLst/>
              <a:ahLst/>
              <a:cxnLst/>
              <a:rect l="l" t="t" r="r" b="b"/>
              <a:pathLst>
                <a:path w="152206" h="171450" extrusionOk="0">
                  <a:moveTo>
                    <a:pt x="71663" y="17281"/>
                  </a:moveTo>
                  <a:lnTo>
                    <a:pt x="78408" y="18927"/>
                  </a:lnTo>
                  <a:lnTo>
                    <a:pt x="80094" y="30448"/>
                  </a:lnTo>
                  <a:lnTo>
                    <a:pt x="95270" y="45261"/>
                  </a:lnTo>
                  <a:lnTo>
                    <a:pt x="112132" y="78178"/>
                  </a:lnTo>
                  <a:lnTo>
                    <a:pt x="120564" y="79824"/>
                  </a:lnTo>
                  <a:lnTo>
                    <a:pt x="120564" y="83115"/>
                  </a:lnTo>
                  <a:lnTo>
                    <a:pt x="128995" y="88053"/>
                  </a:lnTo>
                  <a:lnTo>
                    <a:pt x="132367" y="88053"/>
                  </a:lnTo>
                  <a:lnTo>
                    <a:pt x="135740" y="107803"/>
                  </a:lnTo>
                  <a:lnTo>
                    <a:pt x="150916" y="144012"/>
                  </a:lnTo>
                  <a:lnTo>
                    <a:pt x="145857" y="152242"/>
                  </a:lnTo>
                  <a:lnTo>
                    <a:pt x="150916" y="150596"/>
                  </a:lnTo>
                  <a:lnTo>
                    <a:pt x="154288" y="155533"/>
                  </a:lnTo>
                  <a:lnTo>
                    <a:pt x="154288" y="158825"/>
                  </a:lnTo>
                  <a:lnTo>
                    <a:pt x="137426" y="167054"/>
                  </a:lnTo>
                  <a:lnTo>
                    <a:pt x="130681" y="173638"/>
                  </a:lnTo>
                  <a:lnTo>
                    <a:pt x="117191" y="163763"/>
                  </a:lnTo>
                  <a:lnTo>
                    <a:pt x="118878" y="160471"/>
                  </a:lnTo>
                  <a:lnTo>
                    <a:pt x="100329" y="139075"/>
                  </a:lnTo>
                  <a:lnTo>
                    <a:pt x="88525" y="142367"/>
                  </a:lnTo>
                  <a:lnTo>
                    <a:pt x="66605" y="89699"/>
                  </a:lnTo>
                  <a:lnTo>
                    <a:pt x="29507" y="99574"/>
                  </a:lnTo>
                  <a:lnTo>
                    <a:pt x="27821" y="79824"/>
                  </a:lnTo>
                  <a:lnTo>
                    <a:pt x="10959" y="84761"/>
                  </a:lnTo>
                  <a:lnTo>
                    <a:pt x="4214" y="55136"/>
                  </a:lnTo>
                  <a:lnTo>
                    <a:pt x="10959" y="55136"/>
                  </a:lnTo>
                  <a:lnTo>
                    <a:pt x="21076" y="25510"/>
                  </a:lnTo>
                  <a:lnTo>
                    <a:pt x="31194" y="23864"/>
                  </a:lnTo>
                  <a:lnTo>
                    <a:pt x="44684" y="17281"/>
                  </a:lnTo>
                  <a:lnTo>
                    <a:pt x="51428" y="22219"/>
                  </a:lnTo>
                  <a:lnTo>
                    <a:pt x="63232" y="4114"/>
                  </a:lnTo>
                  <a:lnTo>
                    <a:pt x="71663"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4" name="Veendam">
              <a:extLst>
                <a:ext uri="{FF2B5EF4-FFF2-40B4-BE49-F238E27FC236}">
                  <a16:creationId xmlns:a16="http://schemas.microsoft.com/office/drawing/2014/main" id="{C2C5A67A-1EBE-441F-90EC-728042388344}"/>
                </a:ext>
              </a:extLst>
            </p:cNvPr>
            <p:cNvSpPr/>
            <p:nvPr/>
          </p:nvSpPr>
          <p:spPr>
            <a:xfrm>
              <a:off x="7683347" y="1847236"/>
              <a:ext cx="162176" cy="163656"/>
            </a:xfrm>
            <a:custGeom>
              <a:avLst/>
              <a:gdLst/>
              <a:ahLst/>
              <a:cxnLst/>
              <a:rect l="l" t="t" r="r" b="b"/>
              <a:pathLst>
                <a:path w="245871" h="240030" extrusionOk="0">
                  <a:moveTo>
                    <a:pt x="155974" y="5760"/>
                  </a:moveTo>
                  <a:lnTo>
                    <a:pt x="201502" y="13989"/>
                  </a:lnTo>
                  <a:lnTo>
                    <a:pt x="221737" y="20573"/>
                  </a:lnTo>
                  <a:lnTo>
                    <a:pt x="238600" y="22219"/>
                  </a:lnTo>
                  <a:lnTo>
                    <a:pt x="243658" y="48552"/>
                  </a:lnTo>
                  <a:lnTo>
                    <a:pt x="241972" y="81470"/>
                  </a:lnTo>
                  <a:lnTo>
                    <a:pt x="236913" y="84761"/>
                  </a:lnTo>
                  <a:lnTo>
                    <a:pt x="218365" y="116033"/>
                  </a:lnTo>
                  <a:lnTo>
                    <a:pt x="196443" y="137429"/>
                  </a:lnTo>
                  <a:lnTo>
                    <a:pt x="189699" y="173638"/>
                  </a:lnTo>
                  <a:lnTo>
                    <a:pt x="203189" y="183513"/>
                  </a:lnTo>
                  <a:lnTo>
                    <a:pt x="203189" y="193388"/>
                  </a:lnTo>
                  <a:lnTo>
                    <a:pt x="182954" y="195034"/>
                  </a:lnTo>
                  <a:lnTo>
                    <a:pt x="184640" y="204909"/>
                  </a:lnTo>
                  <a:lnTo>
                    <a:pt x="162719" y="208201"/>
                  </a:lnTo>
                  <a:lnTo>
                    <a:pt x="166092" y="219722"/>
                  </a:lnTo>
                  <a:lnTo>
                    <a:pt x="157661" y="227951"/>
                  </a:lnTo>
                  <a:lnTo>
                    <a:pt x="159347" y="231243"/>
                  </a:lnTo>
                  <a:lnTo>
                    <a:pt x="152602" y="236181"/>
                  </a:lnTo>
                  <a:lnTo>
                    <a:pt x="127309" y="203264"/>
                  </a:lnTo>
                  <a:lnTo>
                    <a:pt x="107074" y="216430"/>
                  </a:lnTo>
                  <a:lnTo>
                    <a:pt x="102015" y="211493"/>
                  </a:lnTo>
                  <a:lnTo>
                    <a:pt x="96956" y="216430"/>
                  </a:lnTo>
                  <a:lnTo>
                    <a:pt x="24449" y="145658"/>
                  </a:lnTo>
                  <a:lnTo>
                    <a:pt x="4214" y="28802"/>
                  </a:lnTo>
                  <a:lnTo>
                    <a:pt x="10959" y="27156"/>
                  </a:lnTo>
                  <a:lnTo>
                    <a:pt x="5900" y="17281"/>
                  </a:lnTo>
                  <a:lnTo>
                    <a:pt x="32880" y="5760"/>
                  </a:lnTo>
                  <a:lnTo>
                    <a:pt x="36252" y="12343"/>
                  </a:lnTo>
                  <a:lnTo>
                    <a:pt x="112132" y="17281"/>
                  </a:lnTo>
                  <a:lnTo>
                    <a:pt x="112132" y="12343"/>
                  </a:lnTo>
                  <a:lnTo>
                    <a:pt x="127309" y="12343"/>
                  </a:lnTo>
                  <a:lnTo>
                    <a:pt x="128995" y="4114"/>
                  </a:lnTo>
                  <a:lnTo>
                    <a:pt x="155974"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5" name="Tiel">
              <a:extLst>
                <a:ext uri="{FF2B5EF4-FFF2-40B4-BE49-F238E27FC236}">
                  <a16:creationId xmlns:a16="http://schemas.microsoft.com/office/drawing/2014/main" id="{D3305486-3F47-449D-9FBB-CB4658BE806B}"/>
                </a:ext>
              </a:extLst>
            </p:cNvPr>
            <p:cNvSpPr/>
            <p:nvPr/>
          </p:nvSpPr>
          <p:spPr>
            <a:xfrm>
              <a:off x="6169014" y="3798271"/>
              <a:ext cx="151901" cy="118290"/>
            </a:xfrm>
            <a:custGeom>
              <a:avLst/>
              <a:gdLst/>
              <a:ahLst/>
              <a:cxnLst/>
              <a:rect l="l" t="t" r="r" b="b"/>
              <a:pathLst>
                <a:path w="222455" h="171450" extrusionOk="0">
                  <a:moveTo>
                    <a:pt x="196444" y="7405"/>
                  </a:moveTo>
                  <a:lnTo>
                    <a:pt x="196444" y="9052"/>
                  </a:lnTo>
                  <a:lnTo>
                    <a:pt x="208247" y="7405"/>
                  </a:lnTo>
                  <a:lnTo>
                    <a:pt x="220051" y="10697"/>
                  </a:lnTo>
                  <a:lnTo>
                    <a:pt x="216678" y="22218"/>
                  </a:lnTo>
                  <a:lnTo>
                    <a:pt x="221737" y="32094"/>
                  </a:lnTo>
                  <a:lnTo>
                    <a:pt x="223423" y="30448"/>
                  </a:lnTo>
                  <a:lnTo>
                    <a:pt x="225110" y="40323"/>
                  </a:lnTo>
                  <a:lnTo>
                    <a:pt x="198130" y="48552"/>
                  </a:lnTo>
                  <a:lnTo>
                    <a:pt x="211620" y="84761"/>
                  </a:lnTo>
                  <a:lnTo>
                    <a:pt x="188013" y="92991"/>
                  </a:lnTo>
                  <a:lnTo>
                    <a:pt x="164405" y="114387"/>
                  </a:lnTo>
                  <a:lnTo>
                    <a:pt x="145857" y="147304"/>
                  </a:lnTo>
                  <a:lnTo>
                    <a:pt x="137426" y="175284"/>
                  </a:lnTo>
                  <a:lnTo>
                    <a:pt x="125622" y="168700"/>
                  </a:lnTo>
                  <a:lnTo>
                    <a:pt x="113819" y="168700"/>
                  </a:lnTo>
                  <a:lnTo>
                    <a:pt x="107074" y="171992"/>
                  </a:lnTo>
                  <a:lnTo>
                    <a:pt x="100329" y="170346"/>
                  </a:lnTo>
                  <a:lnTo>
                    <a:pt x="80094" y="147304"/>
                  </a:lnTo>
                  <a:lnTo>
                    <a:pt x="53115" y="158825"/>
                  </a:lnTo>
                  <a:lnTo>
                    <a:pt x="34566" y="158825"/>
                  </a:lnTo>
                  <a:lnTo>
                    <a:pt x="26135" y="163763"/>
                  </a:lnTo>
                  <a:lnTo>
                    <a:pt x="19390" y="162117"/>
                  </a:lnTo>
                  <a:lnTo>
                    <a:pt x="19390" y="158825"/>
                  </a:lnTo>
                  <a:lnTo>
                    <a:pt x="4214" y="162117"/>
                  </a:lnTo>
                  <a:lnTo>
                    <a:pt x="4214" y="144012"/>
                  </a:lnTo>
                  <a:lnTo>
                    <a:pt x="16018" y="130845"/>
                  </a:lnTo>
                  <a:lnTo>
                    <a:pt x="21076" y="120970"/>
                  </a:lnTo>
                  <a:lnTo>
                    <a:pt x="24449" y="122616"/>
                  </a:lnTo>
                  <a:lnTo>
                    <a:pt x="29507" y="112741"/>
                  </a:lnTo>
                  <a:lnTo>
                    <a:pt x="36252" y="114387"/>
                  </a:lnTo>
                  <a:lnTo>
                    <a:pt x="42997" y="112741"/>
                  </a:lnTo>
                  <a:lnTo>
                    <a:pt x="102015" y="66657"/>
                  </a:lnTo>
                  <a:lnTo>
                    <a:pt x="113819" y="61719"/>
                  </a:lnTo>
                  <a:lnTo>
                    <a:pt x="120564" y="46906"/>
                  </a:lnTo>
                  <a:lnTo>
                    <a:pt x="128995" y="40323"/>
                  </a:lnTo>
                  <a:lnTo>
                    <a:pt x="130681" y="30448"/>
                  </a:lnTo>
                  <a:lnTo>
                    <a:pt x="142484" y="27156"/>
                  </a:lnTo>
                  <a:lnTo>
                    <a:pt x="149229" y="17281"/>
                  </a:lnTo>
                  <a:lnTo>
                    <a:pt x="154288" y="13989"/>
                  </a:lnTo>
                  <a:lnTo>
                    <a:pt x="162719" y="13989"/>
                  </a:lnTo>
                  <a:lnTo>
                    <a:pt x="167778" y="9052"/>
                  </a:lnTo>
                  <a:lnTo>
                    <a:pt x="181268" y="7405"/>
                  </a:lnTo>
                  <a:lnTo>
                    <a:pt x="186326" y="9052"/>
                  </a:lnTo>
                  <a:lnTo>
                    <a:pt x="194757" y="4114"/>
                  </a:lnTo>
                  <a:lnTo>
                    <a:pt x="196444" y="740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6" name="Opmeer">
              <a:extLst>
                <a:ext uri="{FF2B5EF4-FFF2-40B4-BE49-F238E27FC236}">
                  <a16:creationId xmlns:a16="http://schemas.microsoft.com/office/drawing/2014/main" id="{C30E0FCA-E40E-439F-B355-DC96C26DC0C4}"/>
                </a:ext>
              </a:extLst>
            </p:cNvPr>
            <p:cNvSpPr/>
            <p:nvPr/>
          </p:nvSpPr>
          <p:spPr>
            <a:xfrm>
              <a:off x="5718721" y="2465003"/>
              <a:ext cx="121828" cy="135259"/>
            </a:xfrm>
            <a:custGeom>
              <a:avLst/>
              <a:gdLst/>
              <a:ahLst/>
              <a:cxnLst/>
              <a:rect l="l" t="t" r="r" b="b"/>
              <a:pathLst>
                <a:path w="175622" h="205740" extrusionOk="0">
                  <a:moveTo>
                    <a:pt x="90212" y="7406"/>
                  </a:moveTo>
                  <a:lnTo>
                    <a:pt x="90212" y="9052"/>
                  </a:lnTo>
                  <a:lnTo>
                    <a:pt x="152602" y="12343"/>
                  </a:lnTo>
                  <a:lnTo>
                    <a:pt x="150916" y="25510"/>
                  </a:lnTo>
                  <a:lnTo>
                    <a:pt x="154288" y="30448"/>
                  </a:lnTo>
                  <a:lnTo>
                    <a:pt x="149230" y="33739"/>
                  </a:lnTo>
                  <a:lnTo>
                    <a:pt x="154288" y="41969"/>
                  </a:lnTo>
                  <a:lnTo>
                    <a:pt x="150916" y="45261"/>
                  </a:lnTo>
                  <a:lnTo>
                    <a:pt x="167778" y="78178"/>
                  </a:lnTo>
                  <a:lnTo>
                    <a:pt x="172837" y="74886"/>
                  </a:lnTo>
                  <a:lnTo>
                    <a:pt x="172837" y="83115"/>
                  </a:lnTo>
                  <a:lnTo>
                    <a:pt x="139112" y="106158"/>
                  </a:lnTo>
                  <a:lnTo>
                    <a:pt x="134053" y="97928"/>
                  </a:lnTo>
                  <a:lnTo>
                    <a:pt x="113819" y="109449"/>
                  </a:lnTo>
                  <a:lnTo>
                    <a:pt x="122250" y="122616"/>
                  </a:lnTo>
                  <a:lnTo>
                    <a:pt x="123936" y="125908"/>
                  </a:lnTo>
                  <a:lnTo>
                    <a:pt x="135740" y="140721"/>
                  </a:lnTo>
                  <a:lnTo>
                    <a:pt x="127309" y="155533"/>
                  </a:lnTo>
                  <a:lnTo>
                    <a:pt x="125622" y="188451"/>
                  </a:lnTo>
                  <a:lnTo>
                    <a:pt x="120564" y="193388"/>
                  </a:lnTo>
                  <a:lnTo>
                    <a:pt x="112132" y="188451"/>
                  </a:lnTo>
                  <a:lnTo>
                    <a:pt x="105388" y="190097"/>
                  </a:lnTo>
                  <a:lnTo>
                    <a:pt x="105388" y="193388"/>
                  </a:lnTo>
                  <a:lnTo>
                    <a:pt x="102015" y="196680"/>
                  </a:lnTo>
                  <a:lnTo>
                    <a:pt x="98643" y="196680"/>
                  </a:lnTo>
                  <a:lnTo>
                    <a:pt x="98643" y="201618"/>
                  </a:lnTo>
                  <a:lnTo>
                    <a:pt x="85153" y="206555"/>
                  </a:lnTo>
                  <a:lnTo>
                    <a:pt x="78408" y="199972"/>
                  </a:lnTo>
                  <a:lnTo>
                    <a:pt x="14332" y="170346"/>
                  </a:lnTo>
                  <a:lnTo>
                    <a:pt x="12645" y="168700"/>
                  </a:lnTo>
                  <a:lnTo>
                    <a:pt x="31194" y="155533"/>
                  </a:lnTo>
                  <a:lnTo>
                    <a:pt x="32880" y="145658"/>
                  </a:lnTo>
                  <a:lnTo>
                    <a:pt x="29507" y="139075"/>
                  </a:lnTo>
                  <a:lnTo>
                    <a:pt x="22763" y="137429"/>
                  </a:lnTo>
                  <a:lnTo>
                    <a:pt x="5900" y="144012"/>
                  </a:lnTo>
                  <a:lnTo>
                    <a:pt x="4214" y="120970"/>
                  </a:lnTo>
                  <a:lnTo>
                    <a:pt x="53115" y="37031"/>
                  </a:lnTo>
                  <a:lnTo>
                    <a:pt x="56487" y="20573"/>
                  </a:lnTo>
                  <a:lnTo>
                    <a:pt x="68291" y="17281"/>
                  </a:lnTo>
                  <a:lnTo>
                    <a:pt x="73349" y="9052"/>
                  </a:lnTo>
                  <a:lnTo>
                    <a:pt x="88525" y="4114"/>
                  </a:lnTo>
                  <a:lnTo>
                    <a:pt x="90212"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7" name="Zuidplas">
              <a:extLst>
                <a:ext uri="{FF2B5EF4-FFF2-40B4-BE49-F238E27FC236}">
                  <a16:creationId xmlns:a16="http://schemas.microsoft.com/office/drawing/2014/main" id="{6D1F85BF-9460-4C49-A1E4-B281D98DBC93}"/>
                </a:ext>
              </a:extLst>
            </p:cNvPr>
            <p:cNvSpPr/>
            <p:nvPr/>
          </p:nvSpPr>
          <p:spPr>
            <a:xfrm>
              <a:off x="5340531" y="3571020"/>
              <a:ext cx="156634" cy="210867"/>
            </a:xfrm>
            <a:custGeom>
              <a:avLst/>
              <a:gdLst/>
              <a:ahLst/>
              <a:cxnLst/>
              <a:rect l="l" t="t" r="r" b="b"/>
              <a:pathLst>
                <a:path w="222455" h="320040" extrusionOk="0">
                  <a:moveTo>
                    <a:pt x="100329" y="9052"/>
                  </a:moveTo>
                  <a:lnTo>
                    <a:pt x="95270" y="40323"/>
                  </a:lnTo>
                  <a:lnTo>
                    <a:pt x="103701" y="43615"/>
                  </a:lnTo>
                  <a:lnTo>
                    <a:pt x="103701" y="50198"/>
                  </a:lnTo>
                  <a:lnTo>
                    <a:pt x="96956" y="50198"/>
                  </a:lnTo>
                  <a:lnTo>
                    <a:pt x="98643" y="51844"/>
                  </a:lnTo>
                  <a:lnTo>
                    <a:pt x="73349" y="76532"/>
                  </a:lnTo>
                  <a:lnTo>
                    <a:pt x="123936" y="125908"/>
                  </a:lnTo>
                  <a:lnTo>
                    <a:pt x="142485" y="134137"/>
                  </a:lnTo>
                  <a:lnTo>
                    <a:pt x="161033" y="116033"/>
                  </a:lnTo>
                  <a:lnTo>
                    <a:pt x="161033" y="112741"/>
                  </a:lnTo>
                  <a:lnTo>
                    <a:pt x="171150" y="112741"/>
                  </a:lnTo>
                  <a:lnTo>
                    <a:pt x="182954" y="104512"/>
                  </a:lnTo>
                  <a:lnTo>
                    <a:pt x="184640" y="109449"/>
                  </a:lnTo>
                  <a:lnTo>
                    <a:pt x="189699" y="107803"/>
                  </a:lnTo>
                  <a:lnTo>
                    <a:pt x="189699" y="114387"/>
                  </a:lnTo>
                  <a:lnTo>
                    <a:pt x="184640" y="127554"/>
                  </a:lnTo>
                  <a:lnTo>
                    <a:pt x="194758" y="135783"/>
                  </a:lnTo>
                  <a:lnTo>
                    <a:pt x="177895" y="150596"/>
                  </a:lnTo>
                  <a:lnTo>
                    <a:pt x="182954" y="155534"/>
                  </a:lnTo>
                  <a:lnTo>
                    <a:pt x="194758" y="157179"/>
                  </a:lnTo>
                  <a:lnTo>
                    <a:pt x="208247" y="171992"/>
                  </a:lnTo>
                  <a:lnTo>
                    <a:pt x="214992" y="168700"/>
                  </a:lnTo>
                  <a:lnTo>
                    <a:pt x="221737" y="171992"/>
                  </a:lnTo>
                  <a:lnTo>
                    <a:pt x="198130" y="196680"/>
                  </a:lnTo>
                  <a:lnTo>
                    <a:pt x="191385" y="213138"/>
                  </a:lnTo>
                  <a:lnTo>
                    <a:pt x="171150" y="219722"/>
                  </a:lnTo>
                  <a:lnTo>
                    <a:pt x="159347" y="227951"/>
                  </a:lnTo>
                  <a:lnTo>
                    <a:pt x="134053" y="236181"/>
                  </a:lnTo>
                  <a:lnTo>
                    <a:pt x="132367" y="241118"/>
                  </a:lnTo>
                  <a:lnTo>
                    <a:pt x="145857" y="254285"/>
                  </a:lnTo>
                  <a:lnTo>
                    <a:pt x="155974" y="272390"/>
                  </a:lnTo>
                  <a:lnTo>
                    <a:pt x="145857" y="280619"/>
                  </a:lnTo>
                  <a:lnTo>
                    <a:pt x="137426" y="313536"/>
                  </a:lnTo>
                  <a:lnTo>
                    <a:pt x="132367" y="316828"/>
                  </a:lnTo>
                  <a:lnTo>
                    <a:pt x="120564" y="316828"/>
                  </a:lnTo>
                  <a:lnTo>
                    <a:pt x="113819" y="323411"/>
                  </a:lnTo>
                  <a:lnTo>
                    <a:pt x="85153" y="288848"/>
                  </a:lnTo>
                  <a:lnTo>
                    <a:pt x="88525" y="283911"/>
                  </a:lnTo>
                  <a:lnTo>
                    <a:pt x="61546" y="244410"/>
                  </a:lnTo>
                  <a:lnTo>
                    <a:pt x="69977" y="237827"/>
                  </a:lnTo>
                  <a:lnTo>
                    <a:pt x="88525" y="229597"/>
                  </a:lnTo>
                  <a:lnTo>
                    <a:pt x="76722" y="219722"/>
                  </a:lnTo>
                  <a:lnTo>
                    <a:pt x="83467" y="190096"/>
                  </a:lnTo>
                  <a:lnTo>
                    <a:pt x="76722" y="175284"/>
                  </a:lnTo>
                  <a:lnTo>
                    <a:pt x="53115" y="185159"/>
                  </a:lnTo>
                  <a:lnTo>
                    <a:pt x="54801" y="191742"/>
                  </a:lnTo>
                  <a:lnTo>
                    <a:pt x="51428" y="195034"/>
                  </a:lnTo>
                  <a:lnTo>
                    <a:pt x="53115" y="206555"/>
                  </a:lnTo>
                  <a:lnTo>
                    <a:pt x="39625" y="211493"/>
                  </a:lnTo>
                  <a:lnTo>
                    <a:pt x="44683" y="223014"/>
                  </a:lnTo>
                  <a:lnTo>
                    <a:pt x="51428" y="218076"/>
                  </a:lnTo>
                  <a:lnTo>
                    <a:pt x="53115" y="219722"/>
                  </a:lnTo>
                  <a:lnTo>
                    <a:pt x="46370" y="226306"/>
                  </a:lnTo>
                  <a:lnTo>
                    <a:pt x="34566" y="231243"/>
                  </a:lnTo>
                  <a:lnTo>
                    <a:pt x="27821" y="229597"/>
                  </a:lnTo>
                  <a:lnTo>
                    <a:pt x="24449" y="234535"/>
                  </a:lnTo>
                  <a:lnTo>
                    <a:pt x="19390" y="237827"/>
                  </a:lnTo>
                  <a:lnTo>
                    <a:pt x="5900" y="226306"/>
                  </a:lnTo>
                  <a:lnTo>
                    <a:pt x="12645" y="221368"/>
                  </a:lnTo>
                  <a:lnTo>
                    <a:pt x="14331" y="216430"/>
                  </a:lnTo>
                  <a:lnTo>
                    <a:pt x="10959" y="204909"/>
                  </a:lnTo>
                  <a:lnTo>
                    <a:pt x="5900" y="201618"/>
                  </a:lnTo>
                  <a:lnTo>
                    <a:pt x="4214" y="181867"/>
                  </a:lnTo>
                  <a:lnTo>
                    <a:pt x="7587" y="178576"/>
                  </a:lnTo>
                  <a:lnTo>
                    <a:pt x="5900" y="175284"/>
                  </a:lnTo>
                  <a:lnTo>
                    <a:pt x="9273" y="171992"/>
                  </a:lnTo>
                  <a:lnTo>
                    <a:pt x="17704" y="147304"/>
                  </a:lnTo>
                  <a:lnTo>
                    <a:pt x="22763" y="91345"/>
                  </a:lnTo>
                  <a:lnTo>
                    <a:pt x="26135" y="81470"/>
                  </a:lnTo>
                  <a:lnTo>
                    <a:pt x="31194" y="74886"/>
                  </a:lnTo>
                  <a:lnTo>
                    <a:pt x="27821" y="60074"/>
                  </a:lnTo>
                  <a:lnTo>
                    <a:pt x="34566" y="18927"/>
                  </a:lnTo>
                  <a:lnTo>
                    <a:pt x="98643" y="4114"/>
                  </a:lnTo>
                  <a:lnTo>
                    <a:pt x="100329" y="905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8" name="Lelystad">
              <a:extLst>
                <a:ext uri="{FF2B5EF4-FFF2-40B4-BE49-F238E27FC236}">
                  <a16:creationId xmlns:a16="http://schemas.microsoft.com/office/drawing/2014/main" id="{9786B091-8C18-4670-9E36-710E171540EB}"/>
                </a:ext>
              </a:extLst>
            </p:cNvPr>
            <p:cNvSpPr/>
            <p:nvPr/>
          </p:nvSpPr>
          <p:spPr>
            <a:xfrm>
              <a:off x="6099530" y="2562444"/>
              <a:ext cx="354052" cy="494658"/>
            </a:xfrm>
            <a:custGeom>
              <a:avLst/>
              <a:gdLst/>
              <a:ahLst/>
              <a:cxnLst/>
              <a:rect l="l" t="t" r="r" b="b"/>
              <a:pathLst>
                <a:path w="526867" h="742950" extrusionOk="0">
                  <a:moveTo>
                    <a:pt x="115505" y="547249"/>
                  </a:moveTo>
                  <a:lnTo>
                    <a:pt x="115505" y="548895"/>
                  </a:lnTo>
                  <a:lnTo>
                    <a:pt x="115505" y="545603"/>
                  </a:lnTo>
                  <a:lnTo>
                    <a:pt x="130681" y="537374"/>
                  </a:lnTo>
                  <a:lnTo>
                    <a:pt x="115505" y="547249"/>
                  </a:lnTo>
                  <a:close/>
                  <a:moveTo>
                    <a:pt x="247030" y="446851"/>
                  </a:moveTo>
                  <a:lnTo>
                    <a:pt x="209934" y="481414"/>
                  </a:lnTo>
                  <a:lnTo>
                    <a:pt x="245344" y="446851"/>
                  </a:lnTo>
                  <a:lnTo>
                    <a:pt x="257148" y="443559"/>
                  </a:lnTo>
                  <a:lnTo>
                    <a:pt x="247030" y="446851"/>
                  </a:lnTo>
                  <a:close/>
                  <a:moveTo>
                    <a:pt x="253775" y="435330"/>
                  </a:moveTo>
                  <a:lnTo>
                    <a:pt x="257148" y="436976"/>
                  </a:lnTo>
                  <a:lnTo>
                    <a:pt x="252089" y="435330"/>
                  </a:lnTo>
                  <a:lnTo>
                    <a:pt x="250403" y="440268"/>
                  </a:lnTo>
                  <a:lnTo>
                    <a:pt x="243658" y="441914"/>
                  </a:lnTo>
                  <a:lnTo>
                    <a:pt x="252089" y="438622"/>
                  </a:lnTo>
                  <a:lnTo>
                    <a:pt x="257148" y="422163"/>
                  </a:lnTo>
                  <a:lnTo>
                    <a:pt x="253775" y="435330"/>
                  </a:lnTo>
                  <a:close/>
                  <a:moveTo>
                    <a:pt x="268951" y="407350"/>
                  </a:moveTo>
                  <a:lnTo>
                    <a:pt x="268951" y="405705"/>
                  </a:lnTo>
                  <a:lnTo>
                    <a:pt x="270638" y="397475"/>
                  </a:lnTo>
                  <a:lnTo>
                    <a:pt x="268951" y="407350"/>
                  </a:lnTo>
                  <a:close/>
                  <a:moveTo>
                    <a:pt x="268951" y="397475"/>
                  </a:moveTo>
                  <a:lnTo>
                    <a:pt x="265579" y="422163"/>
                  </a:lnTo>
                  <a:lnTo>
                    <a:pt x="265579" y="410642"/>
                  </a:lnTo>
                  <a:lnTo>
                    <a:pt x="262207" y="410642"/>
                  </a:lnTo>
                  <a:lnTo>
                    <a:pt x="262207" y="402413"/>
                  </a:lnTo>
                  <a:lnTo>
                    <a:pt x="263893" y="399121"/>
                  </a:lnTo>
                  <a:lnTo>
                    <a:pt x="267265" y="399121"/>
                  </a:lnTo>
                  <a:lnTo>
                    <a:pt x="274010" y="379371"/>
                  </a:lnTo>
                  <a:lnTo>
                    <a:pt x="267265" y="392538"/>
                  </a:lnTo>
                  <a:lnTo>
                    <a:pt x="268951" y="397475"/>
                  </a:lnTo>
                  <a:close/>
                  <a:moveTo>
                    <a:pt x="501651" y="318474"/>
                  </a:moveTo>
                  <a:lnTo>
                    <a:pt x="506709" y="436976"/>
                  </a:lnTo>
                  <a:lnTo>
                    <a:pt x="501651" y="436976"/>
                  </a:lnTo>
                  <a:lnTo>
                    <a:pt x="506709" y="469893"/>
                  </a:lnTo>
                  <a:lnTo>
                    <a:pt x="528630" y="507748"/>
                  </a:lnTo>
                  <a:lnTo>
                    <a:pt x="467926" y="542311"/>
                  </a:lnTo>
                  <a:lnTo>
                    <a:pt x="499964" y="596625"/>
                  </a:lnTo>
                  <a:lnTo>
                    <a:pt x="493219" y="601562"/>
                  </a:lnTo>
                  <a:lnTo>
                    <a:pt x="481416" y="618021"/>
                  </a:lnTo>
                  <a:lnTo>
                    <a:pt x="469612" y="624604"/>
                  </a:lnTo>
                  <a:lnTo>
                    <a:pt x="501651" y="675626"/>
                  </a:lnTo>
                  <a:lnTo>
                    <a:pt x="503337" y="683856"/>
                  </a:lnTo>
                  <a:lnTo>
                    <a:pt x="494906" y="683856"/>
                  </a:lnTo>
                  <a:lnTo>
                    <a:pt x="488160" y="687147"/>
                  </a:lnTo>
                  <a:lnTo>
                    <a:pt x="425770" y="748044"/>
                  </a:lnTo>
                  <a:lnTo>
                    <a:pt x="419026" y="749690"/>
                  </a:lnTo>
                  <a:lnTo>
                    <a:pt x="383615" y="718419"/>
                  </a:lnTo>
                  <a:lnTo>
                    <a:pt x="277383" y="608146"/>
                  </a:lnTo>
                  <a:lnTo>
                    <a:pt x="253775" y="632834"/>
                  </a:lnTo>
                  <a:lnTo>
                    <a:pt x="214992" y="664105"/>
                  </a:lnTo>
                  <a:lnTo>
                    <a:pt x="144171" y="711835"/>
                  </a:lnTo>
                  <a:lnTo>
                    <a:pt x="142484" y="708543"/>
                  </a:lnTo>
                  <a:lnTo>
                    <a:pt x="132367" y="708543"/>
                  </a:lnTo>
                  <a:lnTo>
                    <a:pt x="117191" y="697022"/>
                  </a:lnTo>
                  <a:lnTo>
                    <a:pt x="29507" y="655876"/>
                  </a:lnTo>
                  <a:lnTo>
                    <a:pt x="17704" y="646001"/>
                  </a:lnTo>
                  <a:lnTo>
                    <a:pt x="4214" y="626250"/>
                  </a:lnTo>
                  <a:lnTo>
                    <a:pt x="201503" y="487998"/>
                  </a:lnTo>
                  <a:lnTo>
                    <a:pt x="198130" y="494581"/>
                  </a:lnTo>
                  <a:lnTo>
                    <a:pt x="211620" y="491290"/>
                  </a:lnTo>
                  <a:lnTo>
                    <a:pt x="226796" y="476477"/>
                  </a:lnTo>
                  <a:lnTo>
                    <a:pt x="223423" y="471539"/>
                  </a:lnTo>
                  <a:lnTo>
                    <a:pt x="228482" y="476477"/>
                  </a:lnTo>
                  <a:lnTo>
                    <a:pt x="243658" y="463310"/>
                  </a:lnTo>
                  <a:lnTo>
                    <a:pt x="240286" y="458372"/>
                  </a:lnTo>
                  <a:lnTo>
                    <a:pt x="243658" y="461664"/>
                  </a:lnTo>
                  <a:lnTo>
                    <a:pt x="247030" y="461664"/>
                  </a:lnTo>
                  <a:lnTo>
                    <a:pt x="248717" y="456726"/>
                  </a:lnTo>
                  <a:lnTo>
                    <a:pt x="260520" y="448497"/>
                  </a:lnTo>
                  <a:lnTo>
                    <a:pt x="258834" y="445205"/>
                  </a:lnTo>
                  <a:lnTo>
                    <a:pt x="260520" y="448497"/>
                  </a:lnTo>
                  <a:lnTo>
                    <a:pt x="270638" y="443559"/>
                  </a:lnTo>
                  <a:lnTo>
                    <a:pt x="279069" y="427101"/>
                  </a:lnTo>
                  <a:lnTo>
                    <a:pt x="277383" y="423809"/>
                  </a:lnTo>
                  <a:lnTo>
                    <a:pt x="274010" y="425455"/>
                  </a:lnTo>
                  <a:lnTo>
                    <a:pt x="275696" y="432038"/>
                  </a:lnTo>
                  <a:lnTo>
                    <a:pt x="272324" y="427101"/>
                  </a:lnTo>
                  <a:lnTo>
                    <a:pt x="270638" y="397475"/>
                  </a:lnTo>
                  <a:lnTo>
                    <a:pt x="279069" y="389246"/>
                  </a:lnTo>
                  <a:lnTo>
                    <a:pt x="274010" y="395829"/>
                  </a:lnTo>
                  <a:lnTo>
                    <a:pt x="275696" y="397475"/>
                  </a:lnTo>
                  <a:lnTo>
                    <a:pt x="280755" y="394184"/>
                  </a:lnTo>
                  <a:lnTo>
                    <a:pt x="280755" y="390892"/>
                  </a:lnTo>
                  <a:lnTo>
                    <a:pt x="282441" y="392538"/>
                  </a:lnTo>
                  <a:lnTo>
                    <a:pt x="287500" y="387600"/>
                  </a:lnTo>
                  <a:lnTo>
                    <a:pt x="287500" y="385954"/>
                  </a:lnTo>
                  <a:lnTo>
                    <a:pt x="284128" y="385954"/>
                  </a:lnTo>
                  <a:lnTo>
                    <a:pt x="284128" y="382663"/>
                  </a:lnTo>
                  <a:lnTo>
                    <a:pt x="279069" y="387600"/>
                  </a:lnTo>
                  <a:lnTo>
                    <a:pt x="284128" y="381017"/>
                  </a:lnTo>
                  <a:lnTo>
                    <a:pt x="290872" y="384308"/>
                  </a:lnTo>
                  <a:lnTo>
                    <a:pt x="300990" y="357975"/>
                  </a:lnTo>
                  <a:lnTo>
                    <a:pt x="297617" y="356329"/>
                  </a:lnTo>
                  <a:lnTo>
                    <a:pt x="302676" y="349745"/>
                  </a:lnTo>
                  <a:lnTo>
                    <a:pt x="299303" y="346454"/>
                  </a:lnTo>
                  <a:lnTo>
                    <a:pt x="304362" y="339870"/>
                  </a:lnTo>
                  <a:lnTo>
                    <a:pt x="314480" y="339870"/>
                  </a:lnTo>
                  <a:lnTo>
                    <a:pt x="304362" y="341516"/>
                  </a:lnTo>
                  <a:lnTo>
                    <a:pt x="300990" y="346454"/>
                  </a:lnTo>
                  <a:lnTo>
                    <a:pt x="306048" y="349745"/>
                  </a:lnTo>
                  <a:lnTo>
                    <a:pt x="309421" y="344808"/>
                  </a:lnTo>
                  <a:lnTo>
                    <a:pt x="312793" y="344808"/>
                  </a:lnTo>
                  <a:lnTo>
                    <a:pt x="312793" y="341516"/>
                  </a:lnTo>
                  <a:lnTo>
                    <a:pt x="314480" y="344808"/>
                  </a:lnTo>
                  <a:lnTo>
                    <a:pt x="356635" y="341516"/>
                  </a:lnTo>
                  <a:lnTo>
                    <a:pt x="365066" y="338224"/>
                  </a:lnTo>
                  <a:lnTo>
                    <a:pt x="454436" y="249348"/>
                  </a:lnTo>
                  <a:lnTo>
                    <a:pt x="464554" y="242764"/>
                  </a:lnTo>
                  <a:lnTo>
                    <a:pt x="478043" y="237827"/>
                  </a:lnTo>
                  <a:lnTo>
                    <a:pt x="501651" y="318474"/>
                  </a:lnTo>
                  <a:close/>
                  <a:moveTo>
                    <a:pt x="61546" y="7406"/>
                  </a:moveTo>
                  <a:lnTo>
                    <a:pt x="59859" y="10697"/>
                  </a:lnTo>
                  <a:lnTo>
                    <a:pt x="61546" y="7406"/>
                  </a:lnTo>
                  <a:lnTo>
                    <a:pt x="61546" y="7406"/>
                  </a:lnTo>
                  <a:close/>
                  <a:moveTo>
                    <a:pt x="61546" y="7406"/>
                  </a:moveTo>
                  <a:lnTo>
                    <a:pt x="59859" y="12343"/>
                  </a:lnTo>
                  <a:lnTo>
                    <a:pt x="48056" y="12343"/>
                  </a:lnTo>
                  <a:lnTo>
                    <a:pt x="49742" y="7406"/>
                  </a:lnTo>
                  <a:lnTo>
                    <a:pt x="61546" y="7406"/>
                  </a:lnTo>
                  <a:close/>
                  <a:moveTo>
                    <a:pt x="71663" y="7406"/>
                  </a:moveTo>
                  <a:lnTo>
                    <a:pt x="147543" y="40323"/>
                  </a:lnTo>
                  <a:lnTo>
                    <a:pt x="159347" y="48552"/>
                  </a:lnTo>
                  <a:lnTo>
                    <a:pt x="214992" y="106158"/>
                  </a:lnTo>
                  <a:lnTo>
                    <a:pt x="238599" y="140721"/>
                  </a:lnTo>
                  <a:lnTo>
                    <a:pt x="241972" y="139075"/>
                  </a:lnTo>
                  <a:lnTo>
                    <a:pt x="245344" y="145658"/>
                  </a:lnTo>
                  <a:lnTo>
                    <a:pt x="241972" y="140721"/>
                  </a:lnTo>
                  <a:lnTo>
                    <a:pt x="238599" y="142367"/>
                  </a:lnTo>
                  <a:lnTo>
                    <a:pt x="241972" y="145658"/>
                  </a:lnTo>
                  <a:lnTo>
                    <a:pt x="243658" y="145658"/>
                  </a:lnTo>
                  <a:lnTo>
                    <a:pt x="241972" y="147304"/>
                  </a:lnTo>
                  <a:lnTo>
                    <a:pt x="243658" y="152242"/>
                  </a:lnTo>
                  <a:lnTo>
                    <a:pt x="304362" y="246056"/>
                  </a:lnTo>
                  <a:lnTo>
                    <a:pt x="321224" y="303661"/>
                  </a:lnTo>
                  <a:lnTo>
                    <a:pt x="314480" y="311890"/>
                  </a:lnTo>
                  <a:lnTo>
                    <a:pt x="290872" y="321766"/>
                  </a:lnTo>
                  <a:lnTo>
                    <a:pt x="277383" y="336579"/>
                  </a:lnTo>
                  <a:lnTo>
                    <a:pt x="258834" y="382663"/>
                  </a:lnTo>
                  <a:lnTo>
                    <a:pt x="255462" y="420517"/>
                  </a:lnTo>
                  <a:lnTo>
                    <a:pt x="255462" y="404059"/>
                  </a:lnTo>
                  <a:lnTo>
                    <a:pt x="252089" y="404059"/>
                  </a:lnTo>
                  <a:lnTo>
                    <a:pt x="252089" y="400767"/>
                  </a:lnTo>
                  <a:lnTo>
                    <a:pt x="257148" y="399121"/>
                  </a:lnTo>
                  <a:lnTo>
                    <a:pt x="258834" y="377725"/>
                  </a:lnTo>
                  <a:lnTo>
                    <a:pt x="277383" y="334932"/>
                  </a:lnTo>
                  <a:lnTo>
                    <a:pt x="289186" y="321766"/>
                  </a:lnTo>
                  <a:lnTo>
                    <a:pt x="314480" y="310245"/>
                  </a:lnTo>
                  <a:lnTo>
                    <a:pt x="319538" y="303661"/>
                  </a:lnTo>
                  <a:lnTo>
                    <a:pt x="302676" y="247702"/>
                  </a:lnTo>
                  <a:lnTo>
                    <a:pt x="216678" y="111095"/>
                  </a:lnTo>
                  <a:lnTo>
                    <a:pt x="155974" y="46906"/>
                  </a:lnTo>
                  <a:lnTo>
                    <a:pt x="71663" y="9052"/>
                  </a:lnTo>
                  <a:lnTo>
                    <a:pt x="63232" y="12343"/>
                  </a:lnTo>
                  <a:lnTo>
                    <a:pt x="68291" y="12343"/>
                  </a:lnTo>
                  <a:lnTo>
                    <a:pt x="68291" y="15635"/>
                  </a:lnTo>
                  <a:lnTo>
                    <a:pt x="58173" y="25510"/>
                  </a:lnTo>
                  <a:lnTo>
                    <a:pt x="46370" y="28802"/>
                  </a:lnTo>
                  <a:lnTo>
                    <a:pt x="51428" y="30448"/>
                  </a:lnTo>
                  <a:lnTo>
                    <a:pt x="63232" y="30448"/>
                  </a:lnTo>
                  <a:lnTo>
                    <a:pt x="63232" y="27156"/>
                  </a:lnTo>
                  <a:lnTo>
                    <a:pt x="75036" y="13989"/>
                  </a:lnTo>
                  <a:lnTo>
                    <a:pt x="63232" y="30448"/>
                  </a:lnTo>
                  <a:lnTo>
                    <a:pt x="51428" y="32094"/>
                  </a:lnTo>
                  <a:lnTo>
                    <a:pt x="42997" y="28802"/>
                  </a:lnTo>
                  <a:lnTo>
                    <a:pt x="39625" y="23864"/>
                  </a:lnTo>
                  <a:lnTo>
                    <a:pt x="51428" y="25510"/>
                  </a:lnTo>
                  <a:lnTo>
                    <a:pt x="58173" y="20573"/>
                  </a:lnTo>
                  <a:lnTo>
                    <a:pt x="63232" y="4114"/>
                  </a:lnTo>
                  <a:lnTo>
                    <a:pt x="71663"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49" name="Bergen op Zoom">
              <a:extLst>
                <a:ext uri="{FF2B5EF4-FFF2-40B4-BE49-F238E27FC236}">
                  <a16:creationId xmlns:a16="http://schemas.microsoft.com/office/drawing/2014/main" id="{79B41CA0-9EEC-4D06-A7F3-A7A03E09AFE4}"/>
                </a:ext>
              </a:extLst>
            </p:cNvPr>
            <p:cNvSpPr/>
            <p:nvPr/>
          </p:nvSpPr>
          <p:spPr>
            <a:xfrm>
              <a:off x="4982082" y="4360260"/>
              <a:ext cx="161801" cy="208126"/>
            </a:xfrm>
            <a:custGeom>
              <a:avLst/>
              <a:gdLst/>
              <a:ahLst/>
              <a:cxnLst/>
              <a:rect l="l" t="t" r="r" b="b"/>
              <a:pathLst>
                <a:path w="234163" h="320040" extrusionOk="0">
                  <a:moveTo>
                    <a:pt x="90212" y="20573"/>
                  </a:moveTo>
                  <a:lnTo>
                    <a:pt x="128995" y="33740"/>
                  </a:lnTo>
                  <a:lnTo>
                    <a:pt x="125622" y="46907"/>
                  </a:lnTo>
                  <a:lnTo>
                    <a:pt x="159347" y="53490"/>
                  </a:lnTo>
                  <a:lnTo>
                    <a:pt x="155974" y="66657"/>
                  </a:lnTo>
                  <a:lnTo>
                    <a:pt x="144171" y="63365"/>
                  </a:lnTo>
                  <a:lnTo>
                    <a:pt x="140798" y="71595"/>
                  </a:lnTo>
                  <a:lnTo>
                    <a:pt x="172837" y="91345"/>
                  </a:lnTo>
                  <a:lnTo>
                    <a:pt x="174523" y="102866"/>
                  </a:lnTo>
                  <a:lnTo>
                    <a:pt x="169464" y="106158"/>
                  </a:lnTo>
                  <a:lnTo>
                    <a:pt x="196444" y="114387"/>
                  </a:lnTo>
                  <a:lnTo>
                    <a:pt x="193071" y="122617"/>
                  </a:lnTo>
                  <a:lnTo>
                    <a:pt x="194758" y="134137"/>
                  </a:lnTo>
                  <a:lnTo>
                    <a:pt x="209934" y="134137"/>
                  </a:lnTo>
                  <a:lnTo>
                    <a:pt x="209934" y="142367"/>
                  </a:lnTo>
                  <a:lnTo>
                    <a:pt x="206561" y="163763"/>
                  </a:lnTo>
                  <a:lnTo>
                    <a:pt x="213306" y="162117"/>
                  </a:lnTo>
                  <a:lnTo>
                    <a:pt x="213306" y="163763"/>
                  </a:lnTo>
                  <a:lnTo>
                    <a:pt x="204875" y="168701"/>
                  </a:lnTo>
                  <a:lnTo>
                    <a:pt x="208247" y="178576"/>
                  </a:lnTo>
                  <a:lnTo>
                    <a:pt x="218365" y="195034"/>
                  </a:lnTo>
                  <a:lnTo>
                    <a:pt x="240286" y="208201"/>
                  </a:lnTo>
                  <a:lnTo>
                    <a:pt x="238599" y="227952"/>
                  </a:lnTo>
                  <a:lnTo>
                    <a:pt x="223423" y="234535"/>
                  </a:lnTo>
                  <a:lnTo>
                    <a:pt x="225110" y="246056"/>
                  </a:lnTo>
                  <a:lnTo>
                    <a:pt x="223423" y="247702"/>
                  </a:lnTo>
                  <a:lnTo>
                    <a:pt x="230168" y="282265"/>
                  </a:lnTo>
                  <a:lnTo>
                    <a:pt x="196444" y="272390"/>
                  </a:lnTo>
                  <a:lnTo>
                    <a:pt x="189699" y="267452"/>
                  </a:lnTo>
                  <a:lnTo>
                    <a:pt x="184640" y="274036"/>
                  </a:lnTo>
                  <a:lnTo>
                    <a:pt x="171150" y="264160"/>
                  </a:lnTo>
                  <a:lnTo>
                    <a:pt x="162719" y="272390"/>
                  </a:lnTo>
                  <a:lnTo>
                    <a:pt x="144171" y="272390"/>
                  </a:lnTo>
                  <a:lnTo>
                    <a:pt x="139112" y="257577"/>
                  </a:lnTo>
                  <a:lnTo>
                    <a:pt x="127309" y="259223"/>
                  </a:lnTo>
                  <a:lnTo>
                    <a:pt x="125622" y="255931"/>
                  </a:lnTo>
                  <a:lnTo>
                    <a:pt x="123936" y="257577"/>
                  </a:lnTo>
                  <a:lnTo>
                    <a:pt x="123936" y="297078"/>
                  </a:lnTo>
                  <a:lnTo>
                    <a:pt x="118877" y="300370"/>
                  </a:lnTo>
                  <a:lnTo>
                    <a:pt x="117191" y="308599"/>
                  </a:lnTo>
                  <a:lnTo>
                    <a:pt x="107074" y="311891"/>
                  </a:lnTo>
                  <a:lnTo>
                    <a:pt x="100329" y="321766"/>
                  </a:lnTo>
                  <a:lnTo>
                    <a:pt x="73349" y="321766"/>
                  </a:lnTo>
                  <a:lnTo>
                    <a:pt x="4214" y="162117"/>
                  </a:lnTo>
                  <a:lnTo>
                    <a:pt x="5900" y="140721"/>
                  </a:lnTo>
                  <a:lnTo>
                    <a:pt x="31194" y="74886"/>
                  </a:lnTo>
                  <a:lnTo>
                    <a:pt x="32880" y="53490"/>
                  </a:lnTo>
                  <a:lnTo>
                    <a:pt x="37939" y="51844"/>
                  </a:lnTo>
                  <a:lnTo>
                    <a:pt x="44684" y="32094"/>
                  </a:lnTo>
                  <a:lnTo>
                    <a:pt x="42997" y="23865"/>
                  </a:lnTo>
                  <a:lnTo>
                    <a:pt x="58173" y="4114"/>
                  </a:lnTo>
                  <a:lnTo>
                    <a:pt x="81780" y="12344"/>
                  </a:lnTo>
                  <a:lnTo>
                    <a:pt x="80094" y="18927"/>
                  </a:lnTo>
                  <a:lnTo>
                    <a:pt x="90212" y="2057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0" name="Hoorn">
              <a:extLst>
                <a:ext uri="{FF2B5EF4-FFF2-40B4-BE49-F238E27FC236}">
                  <a16:creationId xmlns:a16="http://schemas.microsoft.com/office/drawing/2014/main" id="{70D7ADF9-83C0-48C7-8A33-80AD01B0E011}"/>
                </a:ext>
              </a:extLst>
            </p:cNvPr>
            <p:cNvSpPr/>
            <p:nvPr/>
          </p:nvSpPr>
          <p:spPr>
            <a:xfrm>
              <a:off x="5838073" y="2579318"/>
              <a:ext cx="111927" cy="87989"/>
            </a:xfrm>
            <a:custGeom>
              <a:avLst/>
              <a:gdLst/>
              <a:ahLst/>
              <a:cxnLst/>
              <a:rect l="l" t="t" r="r" b="b"/>
              <a:pathLst>
                <a:path w="163914" h="137160" extrusionOk="0">
                  <a:moveTo>
                    <a:pt x="115505" y="7406"/>
                  </a:moveTo>
                  <a:lnTo>
                    <a:pt x="130681" y="32094"/>
                  </a:lnTo>
                  <a:lnTo>
                    <a:pt x="132367" y="37031"/>
                  </a:lnTo>
                  <a:lnTo>
                    <a:pt x="128995" y="40323"/>
                  </a:lnTo>
                  <a:lnTo>
                    <a:pt x="144171" y="56782"/>
                  </a:lnTo>
                  <a:lnTo>
                    <a:pt x="145857" y="63365"/>
                  </a:lnTo>
                  <a:lnTo>
                    <a:pt x="152602" y="74886"/>
                  </a:lnTo>
                  <a:lnTo>
                    <a:pt x="155974" y="78178"/>
                  </a:lnTo>
                  <a:lnTo>
                    <a:pt x="157661" y="76532"/>
                  </a:lnTo>
                  <a:lnTo>
                    <a:pt x="162719" y="84761"/>
                  </a:lnTo>
                  <a:lnTo>
                    <a:pt x="159347" y="86407"/>
                  </a:lnTo>
                  <a:lnTo>
                    <a:pt x="159347" y="88053"/>
                  </a:lnTo>
                  <a:lnTo>
                    <a:pt x="137426" y="94637"/>
                  </a:lnTo>
                  <a:lnTo>
                    <a:pt x="142485" y="122616"/>
                  </a:lnTo>
                  <a:lnTo>
                    <a:pt x="135740" y="124262"/>
                  </a:lnTo>
                  <a:lnTo>
                    <a:pt x="118878" y="102866"/>
                  </a:lnTo>
                  <a:lnTo>
                    <a:pt x="122250" y="109449"/>
                  </a:lnTo>
                  <a:lnTo>
                    <a:pt x="117191" y="111095"/>
                  </a:lnTo>
                  <a:lnTo>
                    <a:pt x="117191" y="106158"/>
                  </a:lnTo>
                  <a:lnTo>
                    <a:pt x="108760" y="107803"/>
                  </a:lnTo>
                  <a:lnTo>
                    <a:pt x="117191" y="112741"/>
                  </a:lnTo>
                  <a:lnTo>
                    <a:pt x="112133" y="111095"/>
                  </a:lnTo>
                  <a:lnTo>
                    <a:pt x="115505" y="114387"/>
                  </a:lnTo>
                  <a:lnTo>
                    <a:pt x="117191" y="114387"/>
                  </a:lnTo>
                  <a:lnTo>
                    <a:pt x="113819" y="119324"/>
                  </a:lnTo>
                  <a:lnTo>
                    <a:pt x="115505" y="116033"/>
                  </a:lnTo>
                  <a:lnTo>
                    <a:pt x="105388" y="104512"/>
                  </a:lnTo>
                  <a:lnTo>
                    <a:pt x="107074" y="107803"/>
                  </a:lnTo>
                  <a:lnTo>
                    <a:pt x="103701" y="109449"/>
                  </a:lnTo>
                  <a:lnTo>
                    <a:pt x="105388" y="116033"/>
                  </a:lnTo>
                  <a:lnTo>
                    <a:pt x="113819" y="120970"/>
                  </a:lnTo>
                  <a:lnTo>
                    <a:pt x="108760" y="120970"/>
                  </a:lnTo>
                  <a:lnTo>
                    <a:pt x="102015" y="111095"/>
                  </a:lnTo>
                  <a:lnTo>
                    <a:pt x="102015" y="107803"/>
                  </a:lnTo>
                  <a:lnTo>
                    <a:pt x="96957" y="111095"/>
                  </a:lnTo>
                  <a:lnTo>
                    <a:pt x="93584" y="107803"/>
                  </a:lnTo>
                  <a:lnTo>
                    <a:pt x="88526" y="109449"/>
                  </a:lnTo>
                  <a:lnTo>
                    <a:pt x="95270" y="109449"/>
                  </a:lnTo>
                  <a:lnTo>
                    <a:pt x="96957" y="112741"/>
                  </a:lnTo>
                  <a:lnTo>
                    <a:pt x="86839" y="124262"/>
                  </a:lnTo>
                  <a:lnTo>
                    <a:pt x="80094" y="119324"/>
                  </a:lnTo>
                  <a:lnTo>
                    <a:pt x="85153" y="117679"/>
                  </a:lnTo>
                  <a:lnTo>
                    <a:pt x="85153" y="116033"/>
                  </a:lnTo>
                  <a:lnTo>
                    <a:pt x="78408" y="117679"/>
                  </a:lnTo>
                  <a:lnTo>
                    <a:pt x="86839" y="111095"/>
                  </a:lnTo>
                  <a:lnTo>
                    <a:pt x="80094" y="106158"/>
                  </a:lnTo>
                  <a:lnTo>
                    <a:pt x="80094" y="107803"/>
                  </a:lnTo>
                  <a:lnTo>
                    <a:pt x="76722" y="106158"/>
                  </a:lnTo>
                  <a:lnTo>
                    <a:pt x="83467" y="109449"/>
                  </a:lnTo>
                  <a:lnTo>
                    <a:pt x="83467" y="112741"/>
                  </a:lnTo>
                  <a:lnTo>
                    <a:pt x="73349" y="116033"/>
                  </a:lnTo>
                  <a:lnTo>
                    <a:pt x="78408" y="116033"/>
                  </a:lnTo>
                  <a:lnTo>
                    <a:pt x="78408" y="117679"/>
                  </a:lnTo>
                  <a:lnTo>
                    <a:pt x="78408" y="127554"/>
                  </a:lnTo>
                  <a:lnTo>
                    <a:pt x="76722" y="124262"/>
                  </a:lnTo>
                  <a:lnTo>
                    <a:pt x="78408" y="119324"/>
                  </a:lnTo>
                  <a:lnTo>
                    <a:pt x="69977" y="120970"/>
                  </a:lnTo>
                  <a:lnTo>
                    <a:pt x="69977" y="124262"/>
                  </a:lnTo>
                  <a:lnTo>
                    <a:pt x="78408" y="129200"/>
                  </a:lnTo>
                  <a:lnTo>
                    <a:pt x="66605" y="125908"/>
                  </a:lnTo>
                  <a:lnTo>
                    <a:pt x="69977" y="117679"/>
                  </a:lnTo>
                  <a:lnTo>
                    <a:pt x="64918" y="109449"/>
                  </a:lnTo>
                  <a:lnTo>
                    <a:pt x="53115" y="107803"/>
                  </a:lnTo>
                  <a:lnTo>
                    <a:pt x="41311" y="119324"/>
                  </a:lnTo>
                  <a:lnTo>
                    <a:pt x="29508" y="120970"/>
                  </a:lnTo>
                  <a:lnTo>
                    <a:pt x="16018" y="130845"/>
                  </a:lnTo>
                  <a:lnTo>
                    <a:pt x="14332" y="129200"/>
                  </a:lnTo>
                  <a:lnTo>
                    <a:pt x="16018" y="130845"/>
                  </a:lnTo>
                  <a:lnTo>
                    <a:pt x="12645" y="135783"/>
                  </a:lnTo>
                  <a:lnTo>
                    <a:pt x="4214" y="134137"/>
                  </a:lnTo>
                  <a:lnTo>
                    <a:pt x="9273" y="117679"/>
                  </a:lnTo>
                  <a:lnTo>
                    <a:pt x="32880" y="101220"/>
                  </a:lnTo>
                  <a:lnTo>
                    <a:pt x="41311" y="89699"/>
                  </a:lnTo>
                  <a:lnTo>
                    <a:pt x="42997" y="73240"/>
                  </a:lnTo>
                  <a:lnTo>
                    <a:pt x="36253" y="46906"/>
                  </a:lnTo>
                  <a:lnTo>
                    <a:pt x="37939" y="37031"/>
                  </a:lnTo>
                  <a:lnTo>
                    <a:pt x="80094" y="32094"/>
                  </a:lnTo>
                  <a:lnTo>
                    <a:pt x="78408" y="22219"/>
                  </a:lnTo>
                  <a:lnTo>
                    <a:pt x="108760" y="5760"/>
                  </a:lnTo>
                  <a:lnTo>
                    <a:pt x="108760" y="7406"/>
                  </a:lnTo>
                  <a:lnTo>
                    <a:pt x="113819" y="4114"/>
                  </a:lnTo>
                  <a:lnTo>
                    <a:pt x="115505"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1" name="Stede Broec">
              <a:extLst>
                <a:ext uri="{FF2B5EF4-FFF2-40B4-BE49-F238E27FC236}">
                  <a16:creationId xmlns:a16="http://schemas.microsoft.com/office/drawing/2014/main" id="{8C6EA08D-A723-48C6-B227-0585B38A2228}"/>
                </a:ext>
              </a:extLst>
            </p:cNvPr>
            <p:cNvSpPr/>
            <p:nvPr/>
          </p:nvSpPr>
          <p:spPr>
            <a:xfrm>
              <a:off x="6011581" y="2523250"/>
              <a:ext cx="86588" cy="66142"/>
            </a:xfrm>
            <a:custGeom>
              <a:avLst/>
              <a:gdLst/>
              <a:ahLst/>
              <a:cxnLst/>
              <a:rect l="l" t="t" r="r" b="b"/>
              <a:pathLst>
                <a:path w="117081" h="102870" extrusionOk="0">
                  <a:moveTo>
                    <a:pt x="58174" y="4114"/>
                  </a:moveTo>
                  <a:lnTo>
                    <a:pt x="112133" y="7406"/>
                  </a:lnTo>
                  <a:lnTo>
                    <a:pt x="113819" y="78178"/>
                  </a:lnTo>
                  <a:lnTo>
                    <a:pt x="110447" y="79824"/>
                  </a:lnTo>
                  <a:lnTo>
                    <a:pt x="107074" y="76532"/>
                  </a:lnTo>
                  <a:lnTo>
                    <a:pt x="112133" y="81470"/>
                  </a:lnTo>
                  <a:lnTo>
                    <a:pt x="107074" y="78178"/>
                  </a:lnTo>
                  <a:lnTo>
                    <a:pt x="95270" y="81470"/>
                  </a:lnTo>
                  <a:lnTo>
                    <a:pt x="93584" y="78178"/>
                  </a:lnTo>
                  <a:lnTo>
                    <a:pt x="37939" y="84761"/>
                  </a:lnTo>
                  <a:lnTo>
                    <a:pt x="34566" y="89699"/>
                  </a:lnTo>
                  <a:lnTo>
                    <a:pt x="32880" y="99574"/>
                  </a:lnTo>
                  <a:lnTo>
                    <a:pt x="4214" y="22218"/>
                  </a:lnTo>
                  <a:lnTo>
                    <a:pt x="41311" y="5760"/>
                  </a:lnTo>
                  <a:lnTo>
                    <a:pt x="5817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2" name="Someren">
              <a:extLst>
                <a:ext uri="{FF2B5EF4-FFF2-40B4-BE49-F238E27FC236}">
                  <a16:creationId xmlns:a16="http://schemas.microsoft.com/office/drawing/2014/main" id="{700ED311-49DA-447D-ACD1-ADB105ADF6A0}"/>
                </a:ext>
              </a:extLst>
            </p:cNvPr>
            <p:cNvSpPr/>
            <p:nvPr/>
          </p:nvSpPr>
          <p:spPr>
            <a:xfrm>
              <a:off x="6491057" y="4545051"/>
              <a:ext cx="142002" cy="234677"/>
            </a:xfrm>
            <a:custGeom>
              <a:avLst/>
              <a:gdLst/>
              <a:ahLst/>
              <a:cxnLst/>
              <a:rect l="l" t="t" r="r" b="b"/>
              <a:pathLst>
                <a:path w="210747" h="342900" extrusionOk="0">
                  <a:moveTo>
                    <a:pt x="76722" y="28802"/>
                  </a:moveTo>
                  <a:lnTo>
                    <a:pt x="91898" y="48552"/>
                  </a:lnTo>
                  <a:lnTo>
                    <a:pt x="107074" y="116033"/>
                  </a:lnTo>
                  <a:lnTo>
                    <a:pt x="155974" y="167055"/>
                  </a:lnTo>
                  <a:lnTo>
                    <a:pt x="162719" y="214785"/>
                  </a:lnTo>
                  <a:lnTo>
                    <a:pt x="171150" y="211493"/>
                  </a:lnTo>
                  <a:lnTo>
                    <a:pt x="211620" y="302015"/>
                  </a:lnTo>
                  <a:lnTo>
                    <a:pt x="58173" y="348100"/>
                  </a:lnTo>
                  <a:lnTo>
                    <a:pt x="56487" y="341516"/>
                  </a:lnTo>
                  <a:lnTo>
                    <a:pt x="58173" y="326703"/>
                  </a:lnTo>
                  <a:lnTo>
                    <a:pt x="49742" y="320120"/>
                  </a:lnTo>
                  <a:lnTo>
                    <a:pt x="5901" y="168700"/>
                  </a:lnTo>
                  <a:lnTo>
                    <a:pt x="4214" y="112741"/>
                  </a:lnTo>
                  <a:lnTo>
                    <a:pt x="12645" y="45261"/>
                  </a:lnTo>
                  <a:lnTo>
                    <a:pt x="21076" y="43615"/>
                  </a:lnTo>
                  <a:lnTo>
                    <a:pt x="27821" y="30448"/>
                  </a:lnTo>
                  <a:lnTo>
                    <a:pt x="32880" y="5760"/>
                  </a:lnTo>
                  <a:lnTo>
                    <a:pt x="56487" y="4114"/>
                  </a:lnTo>
                  <a:lnTo>
                    <a:pt x="76722" y="288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3" name="Gemert-Bakel">
              <a:extLst>
                <a:ext uri="{FF2B5EF4-FFF2-40B4-BE49-F238E27FC236}">
                  <a16:creationId xmlns:a16="http://schemas.microsoft.com/office/drawing/2014/main" id="{DB08111F-4456-4B24-95D2-72931EE6B8DC}"/>
                </a:ext>
              </a:extLst>
            </p:cNvPr>
            <p:cNvSpPr/>
            <p:nvPr/>
          </p:nvSpPr>
          <p:spPr>
            <a:xfrm>
              <a:off x="6508684" y="4324331"/>
              <a:ext cx="218687" cy="184433"/>
            </a:xfrm>
            <a:custGeom>
              <a:avLst/>
              <a:gdLst/>
              <a:ahLst/>
              <a:cxnLst/>
              <a:rect l="l" t="t" r="r" b="b"/>
              <a:pathLst>
                <a:path w="316120" h="274320" extrusionOk="0">
                  <a:moveTo>
                    <a:pt x="214992" y="13989"/>
                  </a:moveTo>
                  <a:lnTo>
                    <a:pt x="233541" y="51844"/>
                  </a:lnTo>
                  <a:lnTo>
                    <a:pt x="265579" y="74886"/>
                  </a:lnTo>
                  <a:lnTo>
                    <a:pt x="292559" y="79824"/>
                  </a:lnTo>
                  <a:lnTo>
                    <a:pt x="314479" y="231243"/>
                  </a:lnTo>
                  <a:lnTo>
                    <a:pt x="231854" y="255931"/>
                  </a:lnTo>
                  <a:lnTo>
                    <a:pt x="216678" y="262515"/>
                  </a:lnTo>
                  <a:lnTo>
                    <a:pt x="201502" y="265807"/>
                  </a:lnTo>
                  <a:lnTo>
                    <a:pt x="193071" y="269098"/>
                  </a:lnTo>
                  <a:lnTo>
                    <a:pt x="169464" y="270744"/>
                  </a:lnTo>
                  <a:lnTo>
                    <a:pt x="135740" y="278973"/>
                  </a:lnTo>
                  <a:lnTo>
                    <a:pt x="125622" y="275682"/>
                  </a:lnTo>
                  <a:lnTo>
                    <a:pt x="115505" y="280619"/>
                  </a:lnTo>
                  <a:lnTo>
                    <a:pt x="108760" y="269098"/>
                  </a:lnTo>
                  <a:lnTo>
                    <a:pt x="98643" y="264160"/>
                  </a:lnTo>
                  <a:lnTo>
                    <a:pt x="98643" y="254286"/>
                  </a:lnTo>
                  <a:lnTo>
                    <a:pt x="86839" y="247702"/>
                  </a:lnTo>
                  <a:lnTo>
                    <a:pt x="88525" y="242764"/>
                  </a:lnTo>
                  <a:lnTo>
                    <a:pt x="91897" y="244410"/>
                  </a:lnTo>
                  <a:lnTo>
                    <a:pt x="91897" y="237827"/>
                  </a:lnTo>
                  <a:lnTo>
                    <a:pt x="54801" y="223014"/>
                  </a:lnTo>
                  <a:lnTo>
                    <a:pt x="58173" y="211493"/>
                  </a:lnTo>
                  <a:lnTo>
                    <a:pt x="54801" y="209847"/>
                  </a:lnTo>
                  <a:lnTo>
                    <a:pt x="54801" y="199972"/>
                  </a:lnTo>
                  <a:lnTo>
                    <a:pt x="51428" y="198326"/>
                  </a:lnTo>
                  <a:lnTo>
                    <a:pt x="46370" y="188451"/>
                  </a:lnTo>
                  <a:lnTo>
                    <a:pt x="39625" y="181867"/>
                  </a:lnTo>
                  <a:lnTo>
                    <a:pt x="39625" y="180221"/>
                  </a:lnTo>
                  <a:lnTo>
                    <a:pt x="49742" y="178576"/>
                  </a:lnTo>
                  <a:lnTo>
                    <a:pt x="44684" y="176930"/>
                  </a:lnTo>
                  <a:lnTo>
                    <a:pt x="46370" y="173638"/>
                  </a:lnTo>
                  <a:lnTo>
                    <a:pt x="51428" y="175284"/>
                  </a:lnTo>
                  <a:lnTo>
                    <a:pt x="41311" y="163763"/>
                  </a:lnTo>
                  <a:lnTo>
                    <a:pt x="27821" y="144013"/>
                  </a:lnTo>
                  <a:lnTo>
                    <a:pt x="17704" y="117679"/>
                  </a:lnTo>
                  <a:lnTo>
                    <a:pt x="5900" y="74886"/>
                  </a:lnTo>
                  <a:lnTo>
                    <a:pt x="12645" y="61719"/>
                  </a:lnTo>
                  <a:lnTo>
                    <a:pt x="5900" y="53490"/>
                  </a:lnTo>
                  <a:lnTo>
                    <a:pt x="4214" y="43615"/>
                  </a:lnTo>
                  <a:lnTo>
                    <a:pt x="78408" y="38677"/>
                  </a:lnTo>
                  <a:lnTo>
                    <a:pt x="88525" y="32094"/>
                  </a:lnTo>
                  <a:lnTo>
                    <a:pt x="93584" y="35385"/>
                  </a:lnTo>
                  <a:lnTo>
                    <a:pt x="128995" y="23865"/>
                  </a:lnTo>
                  <a:lnTo>
                    <a:pt x="211620" y="4114"/>
                  </a:lnTo>
                  <a:lnTo>
                    <a:pt x="214992"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4" name="Echt-Susteren">
              <a:extLst>
                <a:ext uri="{FF2B5EF4-FFF2-40B4-BE49-F238E27FC236}">
                  <a16:creationId xmlns:a16="http://schemas.microsoft.com/office/drawing/2014/main" id="{B8277D71-FE25-4BCC-9C56-E442936367F7}"/>
                </a:ext>
              </a:extLst>
            </p:cNvPr>
            <p:cNvSpPr/>
            <p:nvPr/>
          </p:nvSpPr>
          <p:spPr>
            <a:xfrm>
              <a:off x="6664126" y="5066758"/>
              <a:ext cx="258660" cy="173063"/>
            </a:xfrm>
            <a:custGeom>
              <a:avLst/>
              <a:gdLst/>
              <a:ahLst/>
              <a:cxnLst/>
              <a:rect l="l" t="t" r="r" b="b"/>
              <a:pathLst>
                <a:path w="374661" h="262890" extrusionOk="0">
                  <a:moveTo>
                    <a:pt x="164406" y="4114"/>
                  </a:moveTo>
                  <a:lnTo>
                    <a:pt x="172837" y="10698"/>
                  </a:lnTo>
                  <a:lnTo>
                    <a:pt x="179582" y="5760"/>
                  </a:lnTo>
                  <a:lnTo>
                    <a:pt x="184640" y="13989"/>
                  </a:lnTo>
                  <a:lnTo>
                    <a:pt x="188013" y="9052"/>
                  </a:lnTo>
                  <a:lnTo>
                    <a:pt x="193072" y="15635"/>
                  </a:lnTo>
                  <a:lnTo>
                    <a:pt x="189699" y="22219"/>
                  </a:lnTo>
                  <a:lnTo>
                    <a:pt x="198130" y="40323"/>
                  </a:lnTo>
                  <a:lnTo>
                    <a:pt x="209934" y="56782"/>
                  </a:lnTo>
                  <a:lnTo>
                    <a:pt x="230168" y="55136"/>
                  </a:lnTo>
                  <a:lnTo>
                    <a:pt x="230168" y="58427"/>
                  </a:lnTo>
                  <a:lnTo>
                    <a:pt x="241972" y="56782"/>
                  </a:lnTo>
                  <a:lnTo>
                    <a:pt x="241972" y="58427"/>
                  </a:lnTo>
                  <a:lnTo>
                    <a:pt x="248717" y="58427"/>
                  </a:lnTo>
                  <a:lnTo>
                    <a:pt x="250403" y="55136"/>
                  </a:lnTo>
                  <a:lnTo>
                    <a:pt x="252089" y="58427"/>
                  </a:lnTo>
                  <a:lnTo>
                    <a:pt x="268952" y="45261"/>
                  </a:lnTo>
                  <a:lnTo>
                    <a:pt x="279069" y="53490"/>
                  </a:lnTo>
                  <a:lnTo>
                    <a:pt x="285814" y="48552"/>
                  </a:lnTo>
                  <a:lnTo>
                    <a:pt x="289186" y="50198"/>
                  </a:lnTo>
                  <a:lnTo>
                    <a:pt x="295931" y="43615"/>
                  </a:lnTo>
                  <a:lnTo>
                    <a:pt x="295931" y="45261"/>
                  </a:lnTo>
                  <a:lnTo>
                    <a:pt x="299304" y="38678"/>
                  </a:lnTo>
                  <a:lnTo>
                    <a:pt x="319538" y="43615"/>
                  </a:lnTo>
                  <a:lnTo>
                    <a:pt x="324597" y="55136"/>
                  </a:lnTo>
                  <a:lnTo>
                    <a:pt x="344832" y="45261"/>
                  </a:lnTo>
                  <a:lnTo>
                    <a:pt x="343145" y="48552"/>
                  </a:lnTo>
                  <a:lnTo>
                    <a:pt x="356635" y="56782"/>
                  </a:lnTo>
                  <a:lnTo>
                    <a:pt x="361694" y="65011"/>
                  </a:lnTo>
                  <a:lnTo>
                    <a:pt x="358322" y="66657"/>
                  </a:lnTo>
                  <a:lnTo>
                    <a:pt x="360008" y="73240"/>
                  </a:lnTo>
                  <a:lnTo>
                    <a:pt x="366753" y="71595"/>
                  </a:lnTo>
                  <a:lnTo>
                    <a:pt x="370125" y="84762"/>
                  </a:lnTo>
                  <a:lnTo>
                    <a:pt x="380243" y="96282"/>
                  </a:lnTo>
                  <a:lnTo>
                    <a:pt x="356635" y="106157"/>
                  </a:lnTo>
                  <a:lnTo>
                    <a:pt x="351577" y="101220"/>
                  </a:lnTo>
                  <a:lnTo>
                    <a:pt x="344832" y="109449"/>
                  </a:lnTo>
                  <a:lnTo>
                    <a:pt x="338087" y="111095"/>
                  </a:lnTo>
                  <a:lnTo>
                    <a:pt x="317852" y="129199"/>
                  </a:lnTo>
                  <a:lnTo>
                    <a:pt x="306049" y="150596"/>
                  </a:lnTo>
                  <a:lnTo>
                    <a:pt x="292559" y="155534"/>
                  </a:lnTo>
                  <a:lnTo>
                    <a:pt x="292559" y="158825"/>
                  </a:lnTo>
                  <a:lnTo>
                    <a:pt x="295931" y="162117"/>
                  </a:lnTo>
                  <a:lnTo>
                    <a:pt x="284128" y="178576"/>
                  </a:lnTo>
                  <a:lnTo>
                    <a:pt x="277383" y="183514"/>
                  </a:lnTo>
                  <a:lnTo>
                    <a:pt x="279069" y="190096"/>
                  </a:lnTo>
                  <a:lnTo>
                    <a:pt x="274010" y="196680"/>
                  </a:lnTo>
                  <a:lnTo>
                    <a:pt x="277383" y="199972"/>
                  </a:lnTo>
                  <a:lnTo>
                    <a:pt x="275697" y="208201"/>
                  </a:lnTo>
                  <a:lnTo>
                    <a:pt x="277383" y="218076"/>
                  </a:lnTo>
                  <a:lnTo>
                    <a:pt x="272324" y="224660"/>
                  </a:lnTo>
                  <a:lnTo>
                    <a:pt x="258834" y="231243"/>
                  </a:lnTo>
                  <a:lnTo>
                    <a:pt x="262207" y="237827"/>
                  </a:lnTo>
                  <a:lnTo>
                    <a:pt x="258834" y="247702"/>
                  </a:lnTo>
                  <a:lnTo>
                    <a:pt x="247031" y="241118"/>
                  </a:lnTo>
                  <a:lnTo>
                    <a:pt x="228482" y="246056"/>
                  </a:lnTo>
                  <a:lnTo>
                    <a:pt x="223424" y="231243"/>
                  </a:lnTo>
                  <a:lnTo>
                    <a:pt x="209934" y="214785"/>
                  </a:lnTo>
                  <a:lnTo>
                    <a:pt x="198130" y="176930"/>
                  </a:lnTo>
                  <a:lnTo>
                    <a:pt x="189699" y="170346"/>
                  </a:lnTo>
                  <a:lnTo>
                    <a:pt x="162719" y="193389"/>
                  </a:lnTo>
                  <a:lnTo>
                    <a:pt x="155974" y="203264"/>
                  </a:lnTo>
                  <a:lnTo>
                    <a:pt x="117191" y="206556"/>
                  </a:lnTo>
                  <a:lnTo>
                    <a:pt x="117191" y="219722"/>
                  </a:lnTo>
                  <a:lnTo>
                    <a:pt x="128995" y="237827"/>
                  </a:lnTo>
                  <a:lnTo>
                    <a:pt x="134054" y="241118"/>
                  </a:lnTo>
                  <a:lnTo>
                    <a:pt x="132367" y="254286"/>
                  </a:lnTo>
                  <a:lnTo>
                    <a:pt x="115505" y="260869"/>
                  </a:lnTo>
                  <a:lnTo>
                    <a:pt x="100329" y="264160"/>
                  </a:lnTo>
                  <a:lnTo>
                    <a:pt x="95270" y="260869"/>
                  </a:lnTo>
                  <a:lnTo>
                    <a:pt x="90212" y="247702"/>
                  </a:lnTo>
                  <a:lnTo>
                    <a:pt x="90212" y="244410"/>
                  </a:lnTo>
                  <a:lnTo>
                    <a:pt x="95270" y="239473"/>
                  </a:lnTo>
                  <a:lnTo>
                    <a:pt x="88526" y="219722"/>
                  </a:lnTo>
                  <a:lnTo>
                    <a:pt x="76722" y="221368"/>
                  </a:lnTo>
                  <a:lnTo>
                    <a:pt x="68291" y="214785"/>
                  </a:lnTo>
                  <a:lnTo>
                    <a:pt x="54801" y="218076"/>
                  </a:lnTo>
                  <a:lnTo>
                    <a:pt x="49742" y="157179"/>
                  </a:lnTo>
                  <a:lnTo>
                    <a:pt x="42997" y="157179"/>
                  </a:lnTo>
                  <a:lnTo>
                    <a:pt x="22763" y="193389"/>
                  </a:lnTo>
                  <a:lnTo>
                    <a:pt x="17704" y="193389"/>
                  </a:lnTo>
                  <a:lnTo>
                    <a:pt x="10959" y="186805"/>
                  </a:lnTo>
                  <a:lnTo>
                    <a:pt x="14332" y="178576"/>
                  </a:lnTo>
                  <a:lnTo>
                    <a:pt x="7587" y="158825"/>
                  </a:lnTo>
                  <a:lnTo>
                    <a:pt x="10959" y="152242"/>
                  </a:lnTo>
                  <a:lnTo>
                    <a:pt x="19390" y="147304"/>
                  </a:lnTo>
                  <a:lnTo>
                    <a:pt x="19390" y="142367"/>
                  </a:lnTo>
                  <a:lnTo>
                    <a:pt x="16018" y="132492"/>
                  </a:lnTo>
                  <a:lnTo>
                    <a:pt x="5901" y="122617"/>
                  </a:lnTo>
                  <a:lnTo>
                    <a:pt x="4214" y="112741"/>
                  </a:lnTo>
                  <a:lnTo>
                    <a:pt x="12645" y="104512"/>
                  </a:lnTo>
                  <a:lnTo>
                    <a:pt x="24449" y="99574"/>
                  </a:lnTo>
                  <a:lnTo>
                    <a:pt x="34566" y="101220"/>
                  </a:lnTo>
                  <a:lnTo>
                    <a:pt x="48056" y="109449"/>
                  </a:lnTo>
                  <a:lnTo>
                    <a:pt x="53115" y="107804"/>
                  </a:lnTo>
                  <a:lnTo>
                    <a:pt x="59860" y="101220"/>
                  </a:lnTo>
                  <a:lnTo>
                    <a:pt x="69977" y="83115"/>
                  </a:lnTo>
                  <a:lnTo>
                    <a:pt x="81781" y="78178"/>
                  </a:lnTo>
                  <a:lnTo>
                    <a:pt x="88526" y="66657"/>
                  </a:lnTo>
                  <a:lnTo>
                    <a:pt x="91898" y="68303"/>
                  </a:lnTo>
                  <a:lnTo>
                    <a:pt x="123936" y="5760"/>
                  </a:lnTo>
                  <a:lnTo>
                    <a:pt x="127309" y="7406"/>
                  </a:lnTo>
                  <a:lnTo>
                    <a:pt x="139112" y="5760"/>
                  </a:lnTo>
                  <a:lnTo>
                    <a:pt x="140799" y="9052"/>
                  </a:lnTo>
                  <a:lnTo>
                    <a:pt x="145857" y="5760"/>
                  </a:lnTo>
                  <a:lnTo>
                    <a:pt x="147543" y="7406"/>
                  </a:lnTo>
                  <a:lnTo>
                    <a:pt x="161033" y="4114"/>
                  </a:lnTo>
                  <a:lnTo>
                    <a:pt x="16440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5" name="Texel">
              <a:extLst>
                <a:ext uri="{FF2B5EF4-FFF2-40B4-BE49-F238E27FC236}">
                  <a16:creationId xmlns:a16="http://schemas.microsoft.com/office/drawing/2014/main" id="{7D15048A-E743-4E82-A8D2-FDCB96761362}"/>
                </a:ext>
              </a:extLst>
            </p:cNvPr>
            <p:cNvSpPr/>
            <p:nvPr/>
          </p:nvSpPr>
          <p:spPr>
            <a:xfrm>
              <a:off x="5479184" y="1771027"/>
              <a:ext cx="263829" cy="366961"/>
            </a:xfrm>
            <a:custGeom>
              <a:avLst/>
              <a:gdLst/>
              <a:ahLst/>
              <a:cxnLst/>
              <a:rect l="l" t="t" r="r" b="b"/>
              <a:pathLst>
                <a:path w="386369" h="548640" extrusionOk="0">
                  <a:moveTo>
                    <a:pt x="39625" y="494581"/>
                  </a:moveTo>
                  <a:lnTo>
                    <a:pt x="51428" y="499519"/>
                  </a:lnTo>
                  <a:lnTo>
                    <a:pt x="32880" y="494581"/>
                  </a:lnTo>
                  <a:lnTo>
                    <a:pt x="26135" y="501165"/>
                  </a:lnTo>
                  <a:lnTo>
                    <a:pt x="26135" y="497873"/>
                  </a:lnTo>
                  <a:lnTo>
                    <a:pt x="21076" y="496227"/>
                  </a:lnTo>
                  <a:lnTo>
                    <a:pt x="19390" y="499519"/>
                  </a:lnTo>
                  <a:lnTo>
                    <a:pt x="22763" y="502811"/>
                  </a:lnTo>
                  <a:lnTo>
                    <a:pt x="37939" y="504456"/>
                  </a:lnTo>
                  <a:lnTo>
                    <a:pt x="64918" y="502811"/>
                  </a:lnTo>
                  <a:lnTo>
                    <a:pt x="75036" y="512686"/>
                  </a:lnTo>
                  <a:lnTo>
                    <a:pt x="51428" y="527499"/>
                  </a:lnTo>
                  <a:lnTo>
                    <a:pt x="37939" y="547249"/>
                  </a:lnTo>
                  <a:lnTo>
                    <a:pt x="31194" y="547249"/>
                  </a:lnTo>
                  <a:lnTo>
                    <a:pt x="24449" y="543957"/>
                  </a:lnTo>
                  <a:lnTo>
                    <a:pt x="12645" y="534082"/>
                  </a:lnTo>
                  <a:lnTo>
                    <a:pt x="4214" y="520915"/>
                  </a:lnTo>
                  <a:lnTo>
                    <a:pt x="4214" y="509394"/>
                  </a:lnTo>
                  <a:lnTo>
                    <a:pt x="9273" y="496227"/>
                  </a:lnTo>
                  <a:lnTo>
                    <a:pt x="17704" y="487998"/>
                  </a:lnTo>
                  <a:lnTo>
                    <a:pt x="26135" y="487998"/>
                  </a:lnTo>
                  <a:lnTo>
                    <a:pt x="39625" y="494581"/>
                  </a:lnTo>
                  <a:close/>
                  <a:moveTo>
                    <a:pt x="378556" y="134137"/>
                  </a:moveTo>
                  <a:lnTo>
                    <a:pt x="376870" y="135783"/>
                  </a:lnTo>
                  <a:lnTo>
                    <a:pt x="375184" y="135783"/>
                  </a:lnTo>
                  <a:lnTo>
                    <a:pt x="378556" y="130846"/>
                  </a:lnTo>
                  <a:lnTo>
                    <a:pt x="378556" y="134137"/>
                  </a:lnTo>
                  <a:close/>
                  <a:moveTo>
                    <a:pt x="240286" y="114387"/>
                  </a:moveTo>
                  <a:lnTo>
                    <a:pt x="238599" y="112741"/>
                  </a:lnTo>
                  <a:lnTo>
                    <a:pt x="241972" y="111095"/>
                  </a:lnTo>
                  <a:lnTo>
                    <a:pt x="240286" y="114387"/>
                  </a:lnTo>
                  <a:close/>
                  <a:moveTo>
                    <a:pt x="253775" y="104512"/>
                  </a:moveTo>
                  <a:lnTo>
                    <a:pt x="248717" y="106158"/>
                  </a:lnTo>
                  <a:lnTo>
                    <a:pt x="245344" y="111095"/>
                  </a:lnTo>
                  <a:lnTo>
                    <a:pt x="240286" y="111095"/>
                  </a:lnTo>
                  <a:lnTo>
                    <a:pt x="245344" y="104512"/>
                  </a:lnTo>
                  <a:lnTo>
                    <a:pt x="248717" y="104512"/>
                  </a:lnTo>
                  <a:lnTo>
                    <a:pt x="248717" y="106158"/>
                  </a:lnTo>
                  <a:lnTo>
                    <a:pt x="250403" y="97928"/>
                  </a:lnTo>
                  <a:lnTo>
                    <a:pt x="253775" y="99574"/>
                  </a:lnTo>
                  <a:lnTo>
                    <a:pt x="253775" y="104512"/>
                  </a:lnTo>
                  <a:close/>
                  <a:moveTo>
                    <a:pt x="312793" y="7406"/>
                  </a:moveTo>
                  <a:lnTo>
                    <a:pt x="316166" y="10697"/>
                  </a:lnTo>
                  <a:lnTo>
                    <a:pt x="309421" y="7406"/>
                  </a:lnTo>
                  <a:lnTo>
                    <a:pt x="294245" y="12343"/>
                  </a:lnTo>
                  <a:lnTo>
                    <a:pt x="309421" y="7406"/>
                  </a:lnTo>
                  <a:lnTo>
                    <a:pt x="314480" y="10697"/>
                  </a:lnTo>
                  <a:lnTo>
                    <a:pt x="317852" y="10697"/>
                  </a:lnTo>
                  <a:lnTo>
                    <a:pt x="316166" y="12343"/>
                  </a:lnTo>
                  <a:lnTo>
                    <a:pt x="317852" y="12343"/>
                  </a:lnTo>
                  <a:lnTo>
                    <a:pt x="317852" y="13989"/>
                  </a:lnTo>
                  <a:lnTo>
                    <a:pt x="333028" y="32094"/>
                  </a:lnTo>
                  <a:lnTo>
                    <a:pt x="336400" y="45261"/>
                  </a:lnTo>
                  <a:lnTo>
                    <a:pt x="343145" y="56782"/>
                  </a:lnTo>
                  <a:lnTo>
                    <a:pt x="343145" y="61719"/>
                  </a:lnTo>
                  <a:lnTo>
                    <a:pt x="343145" y="56782"/>
                  </a:lnTo>
                  <a:lnTo>
                    <a:pt x="339773" y="53490"/>
                  </a:lnTo>
                  <a:lnTo>
                    <a:pt x="339773" y="68303"/>
                  </a:lnTo>
                  <a:lnTo>
                    <a:pt x="344832" y="74886"/>
                  </a:lnTo>
                  <a:lnTo>
                    <a:pt x="353262" y="73240"/>
                  </a:lnTo>
                  <a:lnTo>
                    <a:pt x="356635" y="76532"/>
                  </a:lnTo>
                  <a:lnTo>
                    <a:pt x="380242" y="117679"/>
                  </a:lnTo>
                  <a:lnTo>
                    <a:pt x="381928" y="120970"/>
                  </a:lnTo>
                  <a:lnTo>
                    <a:pt x="380242" y="120970"/>
                  </a:lnTo>
                  <a:lnTo>
                    <a:pt x="378556" y="119324"/>
                  </a:lnTo>
                  <a:lnTo>
                    <a:pt x="375184" y="119324"/>
                  </a:lnTo>
                  <a:lnTo>
                    <a:pt x="381928" y="120970"/>
                  </a:lnTo>
                  <a:lnTo>
                    <a:pt x="383615" y="124262"/>
                  </a:lnTo>
                  <a:lnTo>
                    <a:pt x="385301" y="129200"/>
                  </a:lnTo>
                  <a:lnTo>
                    <a:pt x="381928" y="129200"/>
                  </a:lnTo>
                  <a:lnTo>
                    <a:pt x="381928" y="134137"/>
                  </a:lnTo>
                  <a:lnTo>
                    <a:pt x="376870" y="127554"/>
                  </a:lnTo>
                  <a:lnTo>
                    <a:pt x="378556" y="130846"/>
                  </a:lnTo>
                  <a:lnTo>
                    <a:pt x="375184" y="130846"/>
                  </a:lnTo>
                  <a:lnTo>
                    <a:pt x="375184" y="125908"/>
                  </a:lnTo>
                  <a:lnTo>
                    <a:pt x="376870" y="132491"/>
                  </a:lnTo>
                  <a:lnTo>
                    <a:pt x="375184" y="130846"/>
                  </a:lnTo>
                  <a:lnTo>
                    <a:pt x="373497" y="139075"/>
                  </a:lnTo>
                  <a:lnTo>
                    <a:pt x="380242" y="135783"/>
                  </a:lnTo>
                  <a:lnTo>
                    <a:pt x="373497" y="140721"/>
                  </a:lnTo>
                  <a:lnTo>
                    <a:pt x="376870" y="144013"/>
                  </a:lnTo>
                  <a:lnTo>
                    <a:pt x="371811" y="152242"/>
                  </a:lnTo>
                  <a:lnTo>
                    <a:pt x="370125" y="208201"/>
                  </a:lnTo>
                  <a:lnTo>
                    <a:pt x="371811" y="241118"/>
                  </a:lnTo>
                  <a:lnTo>
                    <a:pt x="366752" y="260869"/>
                  </a:lnTo>
                  <a:lnTo>
                    <a:pt x="353262" y="275682"/>
                  </a:lnTo>
                  <a:lnTo>
                    <a:pt x="343145" y="278973"/>
                  </a:lnTo>
                  <a:lnTo>
                    <a:pt x="339773" y="288848"/>
                  </a:lnTo>
                  <a:lnTo>
                    <a:pt x="331342" y="293786"/>
                  </a:lnTo>
                  <a:lnTo>
                    <a:pt x="331342" y="316828"/>
                  </a:lnTo>
                  <a:lnTo>
                    <a:pt x="314480" y="333287"/>
                  </a:lnTo>
                  <a:lnTo>
                    <a:pt x="311107" y="343162"/>
                  </a:lnTo>
                  <a:lnTo>
                    <a:pt x="306048" y="351391"/>
                  </a:lnTo>
                  <a:lnTo>
                    <a:pt x="300990" y="353037"/>
                  </a:lnTo>
                  <a:lnTo>
                    <a:pt x="300990" y="354683"/>
                  </a:lnTo>
                  <a:lnTo>
                    <a:pt x="300990" y="353037"/>
                  </a:lnTo>
                  <a:lnTo>
                    <a:pt x="304362" y="348099"/>
                  </a:lnTo>
                  <a:lnTo>
                    <a:pt x="306048" y="349745"/>
                  </a:lnTo>
                  <a:lnTo>
                    <a:pt x="312793" y="336579"/>
                  </a:lnTo>
                  <a:lnTo>
                    <a:pt x="306048" y="341516"/>
                  </a:lnTo>
                  <a:lnTo>
                    <a:pt x="307735" y="343162"/>
                  </a:lnTo>
                  <a:lnTo>
                    <a:pt x="306048" y="346454"/>
                  </a:lnTo>
                  <a:lnTo>
                    <a:pt x="300990" y="344808"/>
                  </a:lnTo>
                  <a:lnTo>
                    <a:pt x="295931" y="354683"/>
                  </a:lnTo>
                  <a:lnTo>
                    <a:pt x="300990" y="356329"/>
                  </a:lnTo>
                  <a:lnTo>
                    <a:pt x="294245" y="364558"/>
                  </a:lnTo>
                  <a:lnTo>
                    <a:pt x="277383" y="376079"/>
                  </a:lnTo>
                  <a:lnTo>
                    <a:pt x="250403" y="379371"/>
                  </a:lnTo>
                  <a:lnTo>
                    <a:pt x="209934" y="428747"/>
                  </a:lnTo>
                  <a:lnTo>
                    <a:pt x="211620" y="432038"/>
                  </a:lnTo>
                  <a:lnTo>
                    <a:pt x="218365" y="432038"/>
                  </a:lnTo>
                  <a:lnTo>
                    <a:pt x="211620" y="432038"/>
                  </a:lnTo>
                  <a:lnTo>
                    <a:pt x="209934" y="435330"/>
                  </a:lnTo>
                  <a:lnTo>
                    <a:pt x="214992" y="436976"/>
                  </a:lnTo>
                  <a:lnTo>
                    <a:pt x="216678" y="435330"/>
                  </a:lnTo>
                  <a:lnTo>
                    <a:pt x="216678" y="436976"/>
                  </a:lnTo>
                  <a:lnTo>
                    <a:pt x="209934" y="443559"/>
                  </a:lnTo>
                  <a:lnTo>
                    <a:pt x="198130" y="445205"/>
                  </a:lnTo>
                  <a:lnTo>
                    <a:pt x="194758" y="438622"/>
                  </a:lnTo>
                  <a:lnTo>
                    <a:pt x="194758" y="441914"/>
                  </a:lnTo>
                  <a:lnTo>
                    <a:pt x="191385" y="440268"/>
                  </a:lnTo>
                  <a:lnTo>
                    <a:pt x="196444" y="445205"/>
                  </a:lnTo>
                  <a:lnTo>
                    <a:pt x="193071" y="445205"/>
                  </a:lnTo>
                  <a:lnTo>
                    <a:pt x="181268" y="435330"/>
                  </a:lnTo>
                  <a:lnTo>
                    <a:pt x="174523" y="433684"/>
                  </a:lnTo>
                  <a:lnTo>
                    <a:pt x="154288" y="423809"/>
                  </a:lnTo>
                  <a:lnTo>
                    <a:pt x="152602" y="425455"/>
                  </a:lnTo>
                  <a:lnTo>
                    <a:pt x="149229" y="423809"/>
                  </a:lnTo>
                  <a:lnTo>
                    <a:pt x="145857" y="428747"/>
                  </a:lnTo>
                  <a:lnTo>
                    <a:pt x="150916" y="430393"/>
                  </a:lnTo>
                  <a:lnTo>
                    <a:pt x="152602" y="438622"/>
                  </a:lnTo>
                  <a:lnTo>
                    <a:pt x="162719" y="445205"/>
                  </a:lnTo>
                  <a:lnTo>
                    <a:pt x="166092" y="443559"/>
                  </a:lnTo>
                  <a:lnTo>
                    <a:pt x="164405" y="445205"/>
                  </a:lnTo>
                  <a:lnTo>
                    <a:pt x="166092" y="443559"/>
                  </a:lnTo>
                  <a:lnTo>
                    <a:pt x="169464" y="446851"/>
                  </a:lnTo>
                  <a:lnTo>
                    <a:pt x="176209" y="448497"/>
                  </a:lnTo>
                  <a:lnTo>
                    <a:pt x="181268" y="451789"/>
                  </a:lnTo>
                  <a:lnTo>
                    <a:pt x="181268" y="458372"/>
                  </a:lnTo>
                  <a:lnTo>
                    <a:pt x="159347" y="463310"/>
                  </a:lnTo>
                  <a:lnTo>
                    <a:pt x="142485" y="463310"/>
                  </a:lnTo>
                  <a:lnTo>
                    <a:pt x="137426" y="464956"/>
                  </a:lnTo>
                  <a:lnTo>
                    <a:pt x="137426" y="471539"/>
                  </a:lnTo>
                  <a:lnTo>
                    <a:pt x="142485" y="469893"/>
                  </a:lnTo>
                  <a:lnTo>
                    <a:pt x="132367" y="476477"/>
                  </a:lnTo>
                  <a:lnTo>
                    <a:pt x="102015" y="486352"/>
                  </a:lnTo>
                  <a:lnTo>
                    <a:pt x="98643" y="481414"/>
                  </a:lnTo>
                  <a:lnTo>
                    <a:pt x="98643" y="453435"/>
                  </a:lnTo>
                  <a:lnTo>
                    <a:pt x="86839" y="413934"/>
                  </a:lnTo>
                  <a:lnTo>
                    <a:pt x="85153" y="389246"/>
                  </a:lnTo>
                  <a:lnTo>
                    <a:pt x="88525" y="367850"/>
                  </a:lnTo>
                  <a:lnTo>
                    <a:pt x="83467" y="367850"/>
                  </a:lnTo>
                  <a:lnTo>
                    <a:pt x="88525" y="367850"/>
                  </a:lnTo>
                  <a:lnTo>
                    <a:pt x="91898" y="343162"/>
                  </a:lnTo>
                  <a:lnTo>
                    <a:pt x="86839" y="341516"/>
                  </a:lnTo>
                  <a:lnTo>
                    <a:pt x="91898" y="343162"/>
                  </a:lnTo>
                  <a:lnTo>
                    <a:pt x="105388" y="295432"/>
                  </a:lnTo>
                  <a:lnTo>
                    <a:pt x="127309" y="249348"/>
                  </a:lnTo>
                  <a:lnTo>
                    <a:pt x="125622" y="244410"/>
                  </a:lnTo>
                  <a:lnTo>
                    <a:pt x="128995" y="244410"/>
                  </a:lnTo>
                  <a:lnTo>
                    <a:pt x="132367" y="239473"/>
                  </a:lnTo>
                  <a:lnTo>
                    <a:pt x="130681" y="234535"/>
                  </a:lnTo>
                  <a:lnTo>
                    <a:pt x="132367" y="236181"/>
                  </a:lnTo>
                  <a:lnTo>
                    <a:pt x="134053" y="234535"/>
                  </a:lnTo>
                  <a:lnTo>
                    <a:pt x="172837" y="175284"/>
                  </a:lnTo>
                  <a:lnTo>
                    <a:pt x="218365" y="112741"/>
                  </a:lnTo>
                  <a:lnTo>
                    <a:pt x="221737" y="116033"/>
                  </a:lnTo>
                  <a:lnTo>
                    <a:pt x="221737" y="119324"/>
                  </a:lnTo>
                  <a:lnTo>
                    <a:pt x="218365" y="122616"/>
                  </a:lnTo>
                  <a:lnTo>
                    <a:pt x="221737" y="127554"/>
                  </a:lnTo>
                  <a:lnTo>
                    <a:pt x="225110" y="129200"/>
                  </a:lnTo>
                  <a:lnTo>
                    <a:pt x="228482" y="125908"/>
                  </a:lnTo>
                  <a:lnTo>
                    <a:pt x="230168" y="127554"/>
                  </a:lnTo>
                  <a:lnTo>
                    <a:pt x="226796" y="127554"/>
                  </a:lnTo>
                  <a:lnTo>
                    <a:pt x="238599" y="132491"/>
                  </a:lnTo>
                  <a:lnTo>
                    <a:pt x="230168" y="125908"/>
                  </a:lnTo>
                  <a:lnTo>
                    <a:pt x="235227" y="125908"/>
                  </a:lnTo>
                  <a:lnTo>
                    <a:pt x="236913" y="129200"/>
                  </a:lnTo>
                  <a:lnTo>
                    <a:pt x="235227" y="124262"/>
                  </a:lnTo>
                  <a:lnTo>
                    <a:pt x="238599" y="119324"/>
                  </a:lnTo>
                  <a:lnTo>
                    <a:pt x="241972" y="125908"/>
                  </a:lnTo>
                  <a:lnTo>
                    <a:pt x="238599" y="119324"/>
                  </a:lnTo>
                  <a:lnTo>
                    <a:pt x="248717" y="112741"/>
                  </a:lnTo>
                  <a:lnTo>
                    <a:pt x="250403" y="114387"/>
                  </a:lnTo>
                  <a:lnTo>
                    <a:pt x="248717" y="112741"/>
                  </a:lnTo>
                  <a:lnTo>
                    <a:pt x="240286" y="117679"/>
                  </a:lnTo>
                  <a:lnTo>
                    <a:pt x="252089" y="106158"/>
                  </a:lnTo>
                  <a:lnTo>
                    <a:pt x="252089" y="112741"/>
                  </a:lnTo>
                  <a:lnTo>
                    <a:pt x="257148" y="102866"/>
                  </a:lnTo>
                  <a:lnTo>
                    <a:pt x="255462" y="99574"/>
                  </a:lnTo>
                  <a:lnTo>
                    <a:pt x="258834" y="97928"/>
                  </a:lnTo>
                  <a:lnTo>
                    <a:pt x="257148" y="104512"/>
                  </a:lnTo>
                  <a:lnTo>
                    <a:pt x="260520" y="106158"/>
                  </a:lnTo>
                  <a:lnTo>
                    <a:pt x="267265" y="102866"/>
                  </a:lnTo>
                  <a:lnTo>
                    <a:pt x="260520" y="112741"/>
                  </a:lnTo>
                  <a:lnTo>
                    <a:pt x="255462" y="112741"/>
                  </a:lnTo>
                  <a:lnTo>
                    <a:pt x="253775" y="116033"/>
                  </a:lnTo>
                  <a:lnTo>
                    <a:pt x="267265" y="104512"/>
                  </a:lnTo>
                  <a:lnTo>
                    <a:pt x="270638" y="97928"/>
                  </a:lnTo>
                  <a:lnTo>
                    <a:pt x="267265" y="91345"/>
                  </a:lnTo>
                  <a:lnTo>
                    <a:pt x="267265" y="96282"/>
                  </a:lnTo>
                  <a:lnTo>
                    <a:pt x="268951" y="96282"/>
                  </a:lnTo>
                  <a:lnTo>
                    <a:pt x="267265" y="102866"/>
                  </a:lnTo>
                  <a:lnTo>
                    <a:pt x="262207" y="94637"/>
                  </a:lnTo>
                  <a:lnTo>
                    <a:pt x="260520" y="94637"/>
                  </a:lnTo>
                  <a:lnTo>
                    <a:pt x="260520" y="92991"/>
                  </a:lnTo>
                  <a:lnTo>
                    <a:pt x="260520" y="94637"/>
                  </a:lnTo>
                  <a:lnTo>
                    <a:pt x="253775" y="94637"/>
                  </a:lnTo>
                  <a:lnTo>
                    <a:pt x="255462" y="88053"/>
                  </a:lnTo>
                  <a:lnTo>
                    <a:pt x="253775" y="88053"/>
                  </a:lnTo>
                  <a:lnTo>
                    <a:pt x="252089" y="81470"/>
                  </a:lnTo>
                  <a:lnTo>
                    <a:pt x="257148" y="79824"/>
                  </a:lnTo>
                  <a:lnTo>
                    <a:pt x="252089" y="79824"/>
                  </a:lnTo>
                  <a:lnTo>
                    <a:pt x="248717" y="81470"/>
                  </a:lnTo>
                  <a:lnTo>
                    <a:pt x="252089" y="86407"/>
                  </a:lnTo>
                  <a:lnTo>
                    <a:pt x="250403" y="83116"/>
                  </a:lnTo>
                  <a:lnTo>
                    <a:pt x="250403" y="88053"/>
                  </a:lnTo>
                  <a:lnTo>
                    <a:pt x="247031" y="92991"/>
                  </a:lnTo>
                  <a:lnTo>
                    <a:pt x="248717" y="97928"/>
                  </a:lnTo>
                  <a:lnTo>
                    <a:pt x="241972" y="107803"/>
                  </a:lnTo>
                  <a:lnTo>
                    <a:pt x="238599" y="107803"/>
                  </a:lnTo>
                  <a:lnTo>
                    <a:pt x="240286" y="104512"/>
                  </a:lnTo>
                  <a:lnTo>
                    <a:pt x="231855" y="111095"/>
                  </a:lnTo>
                  <a:lnTo>
                    <a:pt x="236913" y="111095"/>
                  </a:lnTo>
                  <a:lnTo>
                    <a:pt x="236913" y="112741"/>
                  </a:lnTo>
                  <a:lnTo>
                    <a:pt x="226796" y="109449"/>
                  </a:lnTo>
                  <a:lnTo>
                    <a:pt x="223423" y="116033"/>
                  </a:lnTo>
                  <a:lnTo>
                    <a:pt x="218365" y="111095"/>
                  </a:lnTo>
                  <a:lnTo>
                    <a:pt x="248717" y="61719"/>
                  </a:lnTo>
                  <a:lnTo>
                    <a:pt x="279069" y="20573"/>
                  </a:lnTo>
                  <a:lnTo>
                    <a:pt x="285814" y="7406"/>
                  </a:lnTo>
                  <a:lnTo>
                    <a:pt x="282441" y="4114"/>
                  </a:lnTo>
                  <a:lnTo>
                    <a:pt x="285814" y="7406"/>
                  </a:lnTo>
                  <a:lnTo>
                    <a:pt x="300990" y="4114"/>
                  </a:lnTo>
                  <a:lnTo>
                    <a:pt x="312793"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6" name="Terschelling">
              <a:extLst>
                <a:ext uri="{FF2B5EF4-FFF2-40B4-BE49-F238E27FC236}">
                  <a16:creationId xmlns:a16="http://schemas.microsoft.com/office/drawing/2014/main" id="{EA7D23CE-0A7D-4D74-96FE-24B477DBDA61}"/>
                </a:ext>
              </a:extLst>
            </p:cNvPr>
            <p:cNvSpPr/>
            <p:nvPr/>
          </p:nvSpPr>
          <p:spPr>
            <a:xfrm>
              <a:off x="5984700" y="1354903"/>
              <a:ext cx="410189" cy="316719"/>
            </a:xfrm>
            <a:custGeom>
              <a:avLst/>
              <a:gdLst/>
              <a:ahLst/>
              <a:cxnLst/>
              <a:rect l="l" t="t" r="r" b="b"/>
              <a:pathLst>
                <a:path w="585408" h="480060" extrusionOk="0">
                  <a:moveTo>
                    <a:pt x="137426" y="478123"/>
                  </a:moveTo>
                  <a:lnTo>
                    <a:pt x="139112" y="481414"/>
                  </a:lnTo>
                  <a:lnTo>
                    <a:pt x="142485" y="479768"/>
                  </a:lnTo>
                  <a:lnTo>
                    <a:pt x="142485" y="483060"/>
                  </a:lnTo>
                  <a:lnTo>
                    <a:pt x="137426" y="481414"/>
                  </a:lnTo>
                  <a:lnTo>
                    <a:pt x="137426" y="478123"/>
                  </a:lnTo>
                  <a:close/>
                  <a:moveTo>
                    <a:pt x="150916" y="464956"/>
                  </a:moveTo>
                  <a:lnTo>
                    <a:pt x="172837" y="471539"/>
                  </a:lnTo>
                  <a:lnTo>
                    <a:pt x="174523" y="469893"/>
                  </a:lnTo>
                  <a:lnTo>
                    <a:pt x="174523" y="471539"/>
                  </a:lnTo>
                  <a:lnTo>
                    <a:pt x="166092" y="473185"/>
                  </a:lnTo>
                  <a:lnTo>
                    <a:pt x="167778" y="474831"/>
                  </a:lnTo>
                  <a:lnTo>
                    <a:pt x="162719" y="476477"/>
                  </a:lnTo>
                  <a:lnTo>
                    <a:pt x="154288" y="474831"/>
                  </a:lnTo>
                  <a:lnTo>
                    <a:pt x="161033" y="474831"/>
                  </a:lnTo>
                  <a:lnTo>
                    <a:pt x="157661" y="478123"/>
                  </a:lnTo>
                  <a:lnTo>
                    <a:pt x="145857" y="478123"/>
                  </a:lnTo>
                  <a:lnTo>
                    <a:pt x="142485" y="476477"/>
                  </a:lnTo>
                  <a:lnTo>
                    <a:pt x="142485" y="469893"/>
                  </a:lnTo>
                  <a:lnTo>
                    <a:pt x="137426" y="466602"/>
                  </a:lnTo>
                  <a:lnTo>
                    <a:pt x="142485" y="464956"/>
                  </a:lnTo>
                  <a:lnTo>
                    <a:pt x="150916" y="464956"/>
                  </a:lnTo>
                  <a:close/>
                  <a:moveTo>
                    <a:pt x="14332" y="374433"/>
                  </a:moveTo>
                  <a:lnTo>
                    <a:pt x="10959" y="366204"/>
                  </a:lnTo>
                  <a:lnTo>
                    <a:pt x="14332" y="371141"/>
                  </a:lnTo>
                  <a:lnTo>
                    <a:pt x="14332" y="374433"/>
                  </a:lnTo>
                  <a:close/>
                  <a:moveTo>
                    <a:pt x="476357" y="97928"/>
                  </a:moveTo>
                  <a:lnTo>
                    <a:pt x="472985" y="97928"/>
                  </a:lnTo>
                  <a:lnTo>
                    <a:pt x="472985" y="96282"/>
                  </a:lnTo>
                  <a:lnTo>
                    <a:pt x="479730" y="89699"/>
                  </a:lnTo>
                  <a:lnTo>
                    <a:pt x="483102" y="91345"/>
                  </a:lnTo>
                  <a:lnTo>
                    <a:pt x="476357" y="97928"/>
                  </a:lnTo>
                  <a:close/>
                  <a:moveTo>
                    <a:pt x="464554" y="81469"/>
                  </a:moveTo>
                  <a:lnTo>
                    <a:pt x="459495" y="83115"/>
                  </a:lnTo>
                  <a:lnTo>
                    <a:pt x="456122" y="79824"/>
                  </a:lnTo>
                  <a:lnTo>
                    <a:pt x="464554" y="81469"/>
                  </a:lnTo>
                  <a:close/>
                  <a:moveTo>
                    <a:pt x="585962" y="17281"/>
                  </a:moveTo>
                  <a:lnTo>
                    <a:pt x="585962" y="20573"/>
                  </a:lnTo>
                  <a:lnTo>
                    <a:pt x="577531" y="30448"/>
                  </a:lnTo>
                  <a:lnTo>
                    <a:pt x="567413" y="18927"/>
                  </a:lnTo>
                  <a:lnTo>
                    <a:pt x="552237" y="22218"/>
                  </a:lnTo>
                  <a:lnTo>
                    <a:pt x="567413" y="20573"/>
                  </a:lnTo>
                  <a:lnTo>
                    <a:pt x="579217" y="33740"/>
                  </a:lnTo>
                  <a:lnTo>
                    <a:pt x="572472" y="37031"/>
                  </a:lnTo>
                  <a:lnTo>
                    <a:pt x="569100" y="33740"/>
                  </a:lnTo>
                  <a:lnTo>
                    <a:pt x="572472" y="37031"/>
                  </a:lnTo>
                  <a:lnTo>
                    <a:pt x="545493" y="45261"/>
                  </a:lnTo>
                  <a:lnTo>
                    <a:pt x="538748" y="45261"/>
                  </a:lnTo>
                  <a:lnTo>
                    <a:pt x="537061" y="41969"/>
                  </a:lnTo>
                  <a:lnTo>
                    <a:pt x="535375" y="45261"/>
                  </a:lnTo>
                  <a:lnTo>
                    <a:pt x="532003" y="38677"/>
                  </a:lnTo>
                  <a:lnTo>
                    <a:pt x="532003" y="28802"/>
                  </a:lnTo>
                  <a:lnTo>
                    <a:pt x="538748" y="25510"/>
                  </a:lnTo>
                  <a:lnTo>
                    <a:pt x="535375" y="27156"/>
                  </a:lnTo>
                  <a:lnTo>
                    <a:pt x="532003" y="25510"/>
                  </a:lnTo>
                  <a:lnTo>
                    <a:pt x="533689" y="27156"/>
                  </a:lnTo>
                  <a:lnTo>
                    <a:pt x="530316" y="37031"/>
                  </a:lnTo>
                  <a:lnTo>
                    <a:pt x="521885" y="27156"/>
                  </a:lnTo>
                  <a:lnTo>
                    <a:pt x="520199" y="28802"/>
                  </a:lnTo>
                  <a:lnTo>
                    <a:pt x="515140" y="25510"/>
                  </a:lnTo>
                  <a:lnTo>
                    <a:pt x="526944" y="32094"/>
                  </a:lnTo>
                  <a:lnTo>
                    <a:pt x="530316" y="38677"/>
                  </a:lnTo>
                  <a:lnTo>
                    <a:pt x="530316" y="45261"/>
                  </a:lnTo>
                  <a:lnTo>
                    <a:pt x="525258" y="41969"/>
                  </a:lnTo>
                  <a:lnTo>
                    <a:pt x="520199" y="33740"/>
                  </a:lnTo>
                  <a:lnTo>
                    <a:pt x="515140" y="33740"/>
                  </a:lnTo>
                  <a:lnTo>
                    <a:pt x="510082" y="37031"/>
                  </a:lnTo>
                  <a:lnTo>
                    <a:pt x="515140" y="33740"/>
                  </a:lnTo>
                  <a:lnTo>
                    <a:pt x="520199" y="33740"/>
                  </a:lnTo>
                  <a:lnTo>
                    <a:pt x="523572" y="43615"/>
                  </a:lnTo>
                  <a:lnTo>
                    <a:pt x="516827" y="40323"/>
                  </a:lnTo>
                  <a:lnTo>
                    <a:pt x="523572" y="41969"/>
                  </a:lnTo>
                  <a:lnTo>
                    <a:pt x="532003" y="48552"/>
                  </a:lnTo>
                  <a:lnTo>
                    <a:pt x="510082" y="60073"/>
                  </a:lnTo>
                  <a:lnTo>
                    <a:pt x="498278" y="51844"/>
                  </a:lnTo>
                  <a:lnTo>
                    <a:pt x="496592" y="45261"/>
                  </a:lnTo>
                  <a:lnTo>
                    <a:pt x="496592" y="48552"/>
                  </a:lnTo>
                  <a:lnTo>
                    <a:pt x="493220" y="46906"/>
                  </a:lnTo>
                  <a:lnTo>
                    <a:pt x="494906" y="40323"/>
                  </a:lnTo>
                  <a:lnTo>
                    <a:pt x="498278" y="40323"/>
                  </a:lnTo>
                  <a:lnTo>
                    <a:pt x="498278" y="33740"/>
                  </a:lnTo>
                  <a:lnTo>
                    <a:pt x="496592" y="40323"/>
                  </a:lnTo>
                  <a:lnTo>
                    <a:pt x="489847" y="35385"/>
                  </a:lnTo>
                  <a:lnTo>
                    <a:pt x="494906" y="38677"/>
                  </a:lnTo>
                  <a:lnTo>
                    <a:pt x="493220" y="46906"/>
                  </a:lnTo>
                  <a:lnTo>
                    <a:pt x="489847" y="43615"/>
                  </a:lnTo>
                  <a:lnTo>
                    <a:pt x="493220" y="46906"/>
                  </a:lnTo>
                  <a:lnTo>
                    <a:pt x="488161" y="46906"/>
                  </a:lnTo>
                  <a:lnTo>
                    <a:pt x="481416" y="41969"/>
                  </a:lnTo>
                  <a:lnTo>
                    <a:pt x="481416" y="43615"/>
                  </a:lnTo>
                  <a:lnTo>
                    <a:pt x="493220" y="46906"/>
                  </a:lnTo>
                  <a:lnTo>
                    <a:pt x="503337" y="58427"/>
                  </a:lnTo>
                  <a:lnTo>
                    <a:pt x="503337" y="63365"/>
                  </a:lnTo>
                  <a:lnTo>
                    <a:pt x="505023" y="61719"/>
                  </a:lnTo>
                  <a:lnTo>
                    <a:pt x="491533" y="68303"/>
                  </a:lnTo>
                  <a:lnTo>
                    <a:pt x="491533" y="71594"/>
                  </a:lnTo>
                  <a:lnTo>
                    <a:pt x="483102" y="61719"/>
                  </a:lnTo>
                  <a:lnTo>
                    <a:pt x="489847" y="73240"/>
                  </a:lnTo>
                  <a:lnTo>
                    <a:pt x="476357" y="69949"/>
                  </a:lnTo>
                  <a:lnTo>
                    <a:pt x="469612" y="63365"/>
                  </a:lnTo>
                  <a:lnTo>
                    <a:pt x="476357" y="69949"/>
                  </a:lnTo>
                  <a:lnTo>
                    <a:pt x="472985" y="69949"/>
                  </a:lnTo>
                  <a:lnTo>
                    <a:pt x="464554" y="60073"/>
                  </a:lnTo>
                  <a:lnTo>
                    <a:pt x="461181" y="48552"/>
                  </a:lnTo>
                  <a:lnTo>
                    <a:pt x="462868" y="45261"/>
                  </a:lnTo>
                  <a:lnTo>
                    <a:pt x="459495" y="48552"/>
                  </a:lnTo>
                  <a:lnTo>
                    <a:pt x="457809" y="46906"/>
                  </a:lnTo>
                  <a:lnTo>
                    <a:pt x="459495" y="45261"/>
                  </a:lnTo>
                  <a:lnTo>
                    <a:pt x="456122" y="46906"/>
                  </a:lnTo>
                  <a:lnTo>
                    <a:pt x="461181" y="51844"/>
                  </a:lnTo>
                  <a:lnTo>
                    <a:pt x="462868" y="56782"/>
                  </a:lnTo>
                  <a:lnTo>
                    <a:pt x="449378" y="53490"/>
                  </a:lnTo>
                  <a:lnTo>
                    <a:pt x="459495" y="56782"/>
                  </a:lnTo>
                  <a:lnTo>
                    <a:pt x="472985" y="71594"/>
                  </a:lnTo>
                  <a:lnTo>
                    <a:pt x="472985" y="73240"/>
                  </a:lnTo>
                  <a:lnTo>
                    <a:pt x="462868" y="69949"/>
                  </a:lnTo>
                  <a:lnTo>
                    <a:pt x="472985" y="73240"/>
                  </a:lnTo>
                  <a:lnTo>
                    <a:pt x="472985" y="71594"/>
                  </a:lnTo>
                  <a:lnTo>
                    <a:pt x="481416" y="73240"/>
                  </a:lnTo>
                  <a:lnTo>
                    <a:pt x="472985" y="74886"/>
                  </a:lnTo>
                  <a:lnTo>
                    <a:pt x="476357" y="81469"/>
                  </a:lnTo>
                  <a:lnTo>
                    <a:pt x="469612" y="83115"/>
                  </a:lnTo>
                  <a:lnTo>
                    <a:pt x="456122" y="78178"/>
                  </a:lnTo>
                  <a:lnTo>
                    <a:pt x="452750" y="76532"/>
                  </a:lnTo>
                  <a:lnTo>
                    <a:pt x="456122" y="76532"/>
                  </a:lnTo>
                  <a:lnTo>
                    <a:pt x="454436" y="74886"/>
                  </a:lnTo>
                  <a:lnTo>
                    <a:pt x="442633" y="68303"/>
                  </a:lnTo>
                  <a:lnTo>
                    <a:pt x="444319" y="71594"/>
                  </a:lnTo>
                  <a:lnTo>
                    <a:pt x="439260" y="66657"/>
                  </a:lnTo>
                  <a:lnTo>
                    <a:pt x="440947" y="65011"/>
                  </a:lnTo>
                  <a:lnTo>
                    <a:pt x="432515" y="51844"/>
                  </a:lnTo>
                  <a:lnTo>
                    <a:pt x="440947" y="69949"/>
                  </a:lnTo>
                  <a:lnTo>
                    <a:pt x="430829" y="61719"/>
                  </a:lnTo>
                  <a:lnTo>
                    <a:pt x="440947" y="71594"/>
                  </a:lnTo>
                  <a:lnTo>
                    <a:pt x="437574" y="71594"/>
                  </a:lnTo>
                  <a:lnTo>
                    <a:pt x="429143" y="65011"/>
                  </a:lnTo>
                  <a:lnTo>
                    <a:pt x="444319" y="76532"/>
                  </a:lnTo>
                  <a:lnTo>
                    <a:pt x="442633" y="79824"/>
                  </a:lnTo>
                  <a:lnTo>
                    <a:pt x="444319" y="76532"/>
                  </a:lnTo>
                  <a:lnTo>
                    <a:pt x="447691" y="81469"/>
                  </a:lnTo>
                  <a:lnTo>
                    <a:pt x="454436" y="81469"/>
                  </a:lnTo>
                  <a:lnTo>
                    <a:pt x="449378" y="81469"/>
                  </a:lnTo>
                  <a:lnTo>
                    <a:pt x="447691" y="88053"/>
                  </a:lnTo>
                  <a:lnTo>
                    <a:pt x="451064" y="81469"/>
                  </a:lnTo>
                  <a:lnTo>
                    <a:pt x="461181" y="86407"/>
                  </a:lnTo>
                  <a:lnTo>
                    <a:pt x="479730" y="89699"/>
                  </a:lnTo>
                  <a:lnTo>
                    <a:pt x="478043" y="92991"/>
                  </a:lnTo>
                  <a:lnTo>
                    <a:pt x="471299" y="97928"/>
                  </a:lnTo>
                  <a:lnTo>
                    <a:pt x="461181" y="94636"/>
                  </a:lnTo>
                  <a:lnTo>
                    <a:pt x="467926" y="97928"/>
                  </a:lnTo>
                  <a:lnTo>
                    <a:pt x="472985" y="97928"/>
                  </a:lnTo>
                  <a:lnTo>
                    <a:pt x="471299" y="99574"/>
                  </a:lnTo>
                  <a:lnTo>
                    <a:pt x="451064" y="104512"/>
                  </a:lnTo>
                  <a:lnTo>
                    <a:pt x="449378" y="104512"/>
                  </a:lnTo>
                  <a:lnTo>
                    <a:pt x="452750" y="102866"/>
                  </a:lnTo>
                  <a:lnTo>
                    <a:pt x="451064" y="97928"/>
                  </a:lnTo>
                  <a:lnTo>
                    <a:pt x="451064" y="102866"/>
                  </a:lnTo>
                  <a:lnTo>
                    <a:pt x="449378" y="104512"/>
                  </a:lnTo>
                  <a:lnTo>
                    <a:pt x="432515" y="101220"/>
                  </a:lnTo>
                  <a:lnTo>
                    <a:pt x="439260" y="104512"/>
                  </a:lnTo>
                  <a:lnTo>
                    <a:pt x="378556" y="104512"/>
                  </a:lnTo>
                  <a:lnTo>
                    <a:pt x="343145" y="111095"/>
                  </a:lnTo>
                  <a:lnTo>
                    <a:pt x="319538" y="127554"/>
                  </a:lnTo>
                  <a:lnTo>
                    <a:pt x="304362" y="145658"/>
                  </a:lnTo>
                  <a:lnTo>
                    <a:pt x="306049" y="145658"/>
                  </a:lnTo>
                  <a:lnTo>
                    <a:pt x="304362" y="145658"/>
                  </a:lnTo>
                  <a:lnTo>
                    <a:pt x="299304" y="147304"/>
                  </a:lnTo>
                  <a:lnTo>
                    <a:pt x="299304" y="148950"/>
                  </a:lnTo>
                  <a:lnTo>
                    <a:pt x="294245" y="150596"/>
                  </a:lnTo>
                  <a:lnTo>
                    <a:pt x="295931" y="152242"/>
                  </a:lnTo>
                  <a:lnTo>
                    <a:pt x="294245" y="150596"/>
                  </a:lnTo>
                  <a:lnTo>
                    <a:pt x="292559" y="153888"/>
                  </a:lnTo>
                  <a:lnTo>
                    <a:pt x="289186" y="153888"/>
                  </a:lnTo>
                  <a:lnTo>
                    <a:pt x="289186" y="155533"/>
                  </a:lnTo>
                  <a:lnTo>
                    <a:pt x="284128" y="157179"/>
                  </a:lnTo>
                  <a:lnTo>
                    <a:pt x="285814" y="158825"/>
                  </a:lnTo>
                  <a:lnTo>
                    <a:pt x="282441" y="157179"/>
                  </a:lnTo>
                  <a:lnTo>
                    <a:pt x="268952" y="160471"/>
                  </a:lnTo>
                  <a:lnTo>
                    <a:pt x="255462" y="168700"/>
                  </a:lnTo>
                  <a:lnTo>
                    <a:pt x="252089" y="167054"/>
                  </a:lnTo>
                  <a:lnTo>
                    <a:pt x="258834" y="171992"/>
                  </a:lnTo>
                  <a:lnTo>
                    <a:pt x="238599" y="162117"/>
                  </a:lnTo>
                  <a:lnTo>
                    <a:pt x="231855" y="171992"/>
                  </a:lnTo>
                  <a:lnTo>
                    <a:pt x="223424" y="175284"/>
                  </a:lnTo>
                  <a:lnTo>
                    <a:pt x="218365" y="173638"/>
                  </a:lnTo>
                  <a:lnTo>
                    <a:pt x="213306" y="185159"/>
                  </a:lnTo>
                  <a:lnTo>
                    <a:pt x="206561" y="188451"/>
                  </a:lnTo>
                  <a:lnTo>
                    <a:pt x="206561" y="186805"/>
                  </a:lnTo>
                  <a:lnTo>
                    <a:pt x="196444" y="185159"/>
                  </a:lnTo>
                  <a:lnTo>
                    <a:pt x="188013" y="180221"/>
                  </a:lnTo>
                  <a:lnTo>
                    <a:pt x="172837" y="183513"/>
                  </a:lnTo>
                  <a:lnTo>
                    <a:pt x="155974" y="181867"/>
                  </a:lnTo>
                  <a:lnTo>
                    <a:pt x="150916" y="186805"/>
                  </a:lnTo>
                  <a:lnTo>
                    <a:pt x="150916" y="188451"/>
                  </a:lnTo>
                  <a:lnTo>
                    <a:pt x="135740" y="196680"/>
                  </a:lnTo>
                  <a:lnTo>
                    <a:pt x="118878" y="213139"/>
                  </a:lnTo>
                  <a:lnTo>
                    <a:pt x="122250" y="216430"/>
                  </a:lnTo>
                  <a:lnTo>
                    <a:pt x="117191" y="213139"/>
                  </a:lnTo>
                  <a:lnTo>
                    <a:pt x="100329" y="224660"/>
                  </a:lnTo>
                  <a:lnTo>
                    <a:pt x="98643" y="214784"/>
                  </a:lnTo>
                  <a:lnTo>
                    <a:pt x="100329" y="206555"/>
                  </a:lnTo>
                  <a:lnTo>
                    <a:pt x="105388" y="204909"/>
                  </a:lnTo>
                  <a:lnTo>
                    <a:pt x="98643" y="213139"/>
                  </a:lnTo>
                  <a:lnTo>
                    <a:pt x="100329" y="224660"/>
                  </a:lnTo>
                  <a:lnTo>
                    <a:pt x="135740" y="198326"/>
                  </a:lnTo>
                  <a:lnTo>
                    <a:pt x="128995" y="195034"/>
                  </a:lnTo>
                  <a:lnTo>
                    <a:pt x="112133" y="198326"/>
                  </a:lnTo>
                  <a:lnTo>
                    <a:pt x="110447" y="201618"/>
                  </a:lnTo>
                  <a:lnTo>
                    <a:pt x="105388" y="203264"/>
                  </a:lnTo>
                  <a:lnTo>
                    <a:pt x="110447" y="201618"/>
                  </a:lnTo>
                  <a:lnTo>
                    <a:pt x="110447" y="198326"/>
                  </a:lnTo>
                  <a:lnTo>
                    <a:pt x="103702" y="199972"/>
                  </a:lnTo>
                  <a:lnTo>
                    <a:pt x="105388" y="201618"/>
                  </a:lnTo>
                  <a:lnTo>
                    <a:pt x="98643" y="206555"/>
                  </a:lnTo>
                  <a:lnTo>
                    <a:pt x="96957" y="218076"/>
                  </a:lnTo>
                  <a:lnTo>
                    <a:pt x="90212" y="221368"/>
                  </a:lnTo>
                  <a:lnTo>
                    <a:pt x="98643" y="226306"/>
                  </a:lnTo>
                  <a:lnTo>
                    <a:pt x="85153" y="219722"/>
                  </a:lnTo>
                  <a:lnTo>
                    <a:pt x="59860" y="239472"/>
                  </a:lnTo>
                  <a:lnTo>
                    <a:pt x="32880" y="239472"/>
                  </a:lnTo>
                  <a:lnTo>
                    <a:pt x="17704" y="231243"/>
                  </a:lnTo>
                  <a:lnTo>
                    <a:pt x="12645" y="223014"/>
                  </a:lnTo>
                  <a:lnTo>
                    <a:pt x="7587" y="224660"/>
                  </a:lnTo>
                  <a:lnTo>
                    <a:pt x="4214" y="221368"/>
                  </a:lnTo>
                  <a:lnTo>
                    <a:pt x="5901" y="209847"/>
                  </a:lnTo>
                  <a:lnTo>
                    <a:pt x="19390" y="186805"/>
                  </a:lnTo>
                  <a:lnTo>
                    <a:pt x="46370" y="157179"/>
                  </a:lnTo>
                  <a:lnTo>
                    <a:pt x="49742" y="148950"/>
                  </a:lnTo>
                  <a:lnTo>
                    <a:pt x="59860" y="135783"/>
                  </a:lnTo>
                  <a:lnTo>
                    <a:pt x="78408" y="127554"/>
                  </a:lnTo>
                  <a:lnTo>
                    <a:pt x="184640" y="96282"/>
                  </a:lnTo>
                  <a:lnTo>
                    <a:pt x="258834" y="79824"/>
                  </a:lnTo>
                  <a:lnTo>
                    <a:pt x="360008" y="55136"/>
                  </a:lnTo>
                  <a:lnTo>
                    <a:pt x="503337" y="9052"/>
                  </a:lnTo>
                  <a:lnTo>
                    <a:pt x="528630" y="4114"/>
                  </a:lnTo>
                  <a:lnTo>
                    <a:pt x="547179" y="4114"/>
                  </a:lnTo>
                  <a:lnTo>
                    <a:pt x="572472" y="10697"/>
                  </a:lnTo>
                  <a:lnTo>
                    <a:pt x="585962" y="1728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7" name="Wageningen">
              <a:extLst>
                <a:ext uri="{FF2B5EF4-FFF2-40B4-BE49-F238E27FC236}">
                  <a16:creationId xmlns:a16="http://schemas.microsoft.com/office/drawing/2014/main" id="{418A6E93-A039-4782-B1C3-D2DEDD8A3BC3}"/>
                </a:ext>
              </a:extLst>
            </p:cNvPr>
            <p:cNvSpPr/>
            <p:nvPr/>
          </p:nvSpPr>
          <p:spPr>
            <a:xfrm>
              <a:off x="6454211" y="3680688"/>
              <a:ext cx="131728" cy="103946"/>
            </a:xfrm>
            <a:custGeom>
              <a:avLst/>
              <a:gdLst/>
              <a:ahLst/>
              <a:cxnLst/>
              <a:rect l="l" t="t" r="r" b="b"/>
              <a:pathLst>
                <a:path w="187330" h="160020" extrusionOk="0">
                  <a:moveTo>
                    <a:pt x="186326" y="4114"/>
                  </a:moveTo>
                  <a:lnTo>
                    <a:pt x="174523" y="50198"/>
                  </a:lnTo>
                  <a:lnTo>
                    <a:pt x="181268" y="53490"/>
                  </a:lnTo>
                  <a:lnTo>
                    <a:pt x="169464" y="83116"/>
                  </a:lnTo>
                  <a:lnTo>
                    <a:pt x="181268" y="86407"/>
                  </a:lnTo>
                  <a:lnTo>
                    <a:pt x="182954" y="92991"/>
                  </a:lnTo>
                  <a:lnTo>
                    <a:pt x="120564" y="104512"/>
                  </a:lnTo>
                  <a:lnTo>
                    <a:pt x="96957" y="119324"/>
                  </a:lnTo>
                  <a:lnTo>
                    <a:pt x="76722" y="117679"/>
                  </a:lnTo>
                  <a:lnTo>
                    <a:pt x="66605" y="119324"/>
                  </a:lnTo>
                  <a:lnTo>
                    <a:pt x="63232" y="120971"/>
                  </a:lnTo>
                  <a:lnTo>
                    <a:pt x="71663" y="127554"/>
                  </a:lnTo>
                  <a:lnTo>
                    <a:pt x="64918" y="135783"/>
                  </a:lnTo>
                  <a:lnTo>
                    <a:pt x="64918" y="140721"/>
                  </a:lnTo>
                  <a:lnTo>
                    <a:pt x="58173" y="153888"/>
                  </a:lnTo>
                  <a:lnTo>
                    <a:pt x="51428" y="158825"/>
                  </a:lnTo>
                  <a:lnTo>
                    <a:pt x="41311" y="158825"/>
                  </a:lnTo>
                  <a:lnTo>
                    <a:pt x="26135" y="150596"/>
                  </a:lnTo>
                  <a:lnTo>
                    <a:pt x="26135" y="147304"/>
                  </a:lnTo>
                  <a:lnTo>
                    <a:pt x="5900" y="144013"/>
                  </a:lnTo>
                  <a:lnTo>
                    <a:pt x="21076" y="129200"/>
                  </a:lnTo>
                  <a:lnTo>
                    <a:pt x="27821" y="130845"/>
                  </a:lnTo>
                  <a:lnTo>
                    <a:pt x="27821" y="124262"/>
                  </a:lnTo>
                  <a:lnTo>
                    <a:pt x="37939" y="120971"/>
                  </a:lnTo>
                  <a:lnTo>
                    <a:pt x="34566" y="102866"/>
                  </a:lnTo>
                  <a:lnTo>
                    <a:pt x="27821" y="86407"/>
                  </a:lnTo>
                  <a:lnTo>
                    <a:pt x="24449" y="88053"/>
                  </a:lnTo>
                  <a:lnTo>
                    <a:pt x="34566" y="78178"/>
                  </a:lnTo>
                  <a:lnTo>
                    <a:pt x="36252" y="69949"/>
                  </a:lnTo>
                  <a:lnTo>
                    <a:pt x="26135" y="61719"/>
                  </a:lnTo>
                  <a:lnTo>
                    <a:pt x="19390" y="48552"/>
                  </a:lnTo>
                  <a:lnTo>
                    <a:pt x="17704" y="30448"/>
                  </a:lnTo>
                  <a:lnTo>
                    <a:pt x="10959" y="22219"/>
                  </a:lnTo>
                  <a:lnTo>
                    <a:pt x="4214" y="20573"/>
                  </a:lnTo>
                  <a:lnTo>
                    <a:pt x="5900" y="12343"/>
                  </a:lnTo>
                  <a:lnTo>
                    <a:pt x="17704" y="7406"/>
                  </a:lnTo>
                  <a:lnTo>
                    <a:pt x="26135" y="23864"/>
                  </a:lnTo>
                  <a:lnTo>
                    <a:pt x="34566" y="17281"/>
                  </a:lnTo>
                  <a:lnTo>
                    <a:pt x="37939" y="23864"/>
                  </a:lnTo>
                  <a:lnTo>
                    <a:pt x="46370" y="17281"/>
                  </a:lnTo>
                  <a:lnTo>
                    <a:pt x="53115" y="25510"/>
                  </a:lnTo>
                  <a:lnTo>
                    <a:pt x="78408" y="17281"/>
                  </a:lnTo>
                  <a:lnTo>
                    <a:pt x="80094" y="22219"/>
                  </a:lnTo>
                  <a:lnTo>
                    <a:pt x="91898" y="18927"/>
                  </a:lnTo>
                  <a:lnTo>
                    <a:pt x="93584" y="22219"/>
                  </a:lnTo>
                  <a:lnTo>
                    <a:pt x="102015" y="18927"/>
                  </a:lnTo>
                  <a:lnTo>
                    <a:pt x="110446" y="27156"/>
                  </a:lnTo>
                  <a:lnTo>
                    <a:pt x="122250" y="23864"/>
                  </a:lnTo>
                  <a:lnTo>
                    <a:pt x="122250" y="20573"/>
                  </a:lnTo>
                  <a:lnTo>
                    <a:pt x="18632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8" name="Nijmegen">
              <a:extLst>
                <a:ext uri="{FF2B5EF4-FFF2-40B4-BE49-F238E27FC236}">
                  <a16:creationId xmlns:a16="http://schemas.microsoft.com/office/drawing/2014/main" id="{9F12F606-56F1-4282-BEAB-52066408B69C}"/>
                </a:ext>
              </a:extLst>
            </p:cNvPr>
            <p:cNvSpPr/>
            <p:nvPr/>
          </p:nvSpPr>
          <p:spPr>
            <a:xfrm>
              <a:off x="6616164" y="3848603"/>
              <a:ext cx="168438" cy="168243"/>
            </a:xfrm>
            <a:custGeom>
              <a:avLst/>
              <a:gdLst/>
              <a:ahLst/>
              <a:cxnLst/>
              <a:rect l="l" t="t" r="r" b="b"/>
              <a:pathLst>
                <a:path w="234163" h="251460" extrusionOk="0">
                  <a:moveTo>
                    <a:pt x="155974" y="4114"/>
                  </a:moveTo>
                  <a:lnTo>
                    <a:pt x="155974" y="18926"/>
                  </a:lnTo>
                  <a:lnTo>
                    <a:pt x="177895" y="18926"/>
                  </a:lnTo>
                  <a:lnTo>
                    <a:pt x="179582" y="20573"/>
                  </a:lnTo>
                  <a:lnTo>
                    <a:pt x="191385" y="65011"/>
                  </a:lnTo>
                  <a:lnTo>
                    <a:pt x="194757" y="73240"/>
                  </a:lnTo>
                  <a:lnTo>
                    <a:pt x="198130" y="69949"/>
                  </a:lnTo>
                  <a:lnTo>
                    <a:pt x="201503" y="74886"/>
                  </a:lnTo>
                  <a:lnTo>
                    <a:pt x="193071" y="89699"/>
                  </a:lnTo>
                  <a:lnTo>
                    <a:pt x="203189" y="89699"/>
                  </a:lnTo>
                  <a:lnTo>
                    <a:pt x="203189" y="101220"/>
                  </a:lnTo>
                  <a:lnTo>
                    <a:pt x="198130" y="111095"/>
                  </a:lnTo>
                  <a:lnTo>
                    <a:pt x="203189" y="112741"/>
                  </a:lnTo>
                  <a:lnTo>
                    <a:pt x="191385" y="124262"/>
                  </a:lnTo>
                  <a:lnTo>
                    <a:pt x="204875" y="130845"/>
                  </a:lnTo>
                  <a:lnTo>
                    <a:pt x="213306" y="132491"/>
                  </a:lnTo>
                  <a:lnTo>
                    <a:pt x="211620" y="137429"/>
                  </a:lnTo>
                  <a:lnTo>
                    <a:pt x="220051" y="144012"/>
                  </a:lnTo>
                  <a:lnTo>
                    <a:pt x="216678" y="153888"/>
                  </a:lnTo>
                  <a:lnTo>
                    <a:pt x="230168" y="157179"/>
                  </a:lnTo>
                  <a:lnTo>
                    <a:pt x="235227" y="160471"/>
                  </a:lnTo>
                  <a:lnTo>
                    <a:pt x="230168" y="165409"/>
                  </a:lnTo>
                  <a:lnTo>
                    <a:pt x="193071" y="181867"/>
                  </a:lnTo>
                  <a:lnTo>
                    <a:pt x="198130" y="198326"/>
                  </a:lnTo>
                  <a:lnTo>
                    <a:pt x="204875" y="208201"/>
                  </a:lnTo>
                  <a:lnTo>
                    <a:pt x="194757" y="209847"/>
                  </a:lnTo>
                  <a:lnTo>
                    <a:pt x="174523" y="208201"/>
                  </a:lnTo>
                  <a:lnTo>
                    <a:pt x="150916" y="214785"/>
                  </a:lnTo>
                  <a:lnTo>
                    <a:pt x="144171" y="213138"/>
                  </a:lnTo>
                  <a:lnTo>
                    <a:pt x="134053" y="214785"/>
                  </a:lnTo>
                  <a:lnTo>
                    <a:pt x="128995" y="221368"/>
                  </a:lnTo>
                  <a:lnTo>
                    <a:pt x="125622" y="218076"/>
                  </a:lnTo>
                  <a:lnTo>
                    <a:pt x="108760" y="232889"/>
                  </a:lnTo>
                  <a:lnTo>
                    <a:pt x="112132" y="234535"/>
                  </a:lnTo>
                  <a:lnTo>
                    <a:pt x="85153" y="255931"/>
                  </a:lnTo>
                  <a:lnTo>
                    <a:pt x="63232" y="237827"/>
                  </a:lnTo>
                  <a:lnTo>
                    <a:pt x="61546" y="239472"/>
                  </a:lnTo>
                  <a:lnTo>
                    <a:pt x="58173" y="236181"/>
                  </a:lnTo>
                  <a:lnTo>
                    <a:pt x="54801" y="227951"/>
                  </a:lnTo>
                  <a:lnTo>
                    <a:pt x="41311" y="211493"/>
                  </a:lnTo>
                  <a:lnTo>
                    <a:pt x="29507" y="181867"/>
                  </a:lnTo>
                  <a:lnTo>
                    <a:pt x="26135" y="176930"/>
                  </a:lnTo>
                  <a:lnTo>
                    <a:pt x="4214" y="175284"/>
                  </a:lnTo>
                  <a:lnTo>
                    <a:pt x="31194" y="125908"/>
                  </a:lnTo>
                  <a:lnTo>
                    <a:pt x="37939" y="125908"/>
                  </a:lnTo>
                  <a:lnTo>
                    <a:pt x="41311" y="130845"/>
                  </a:lnTo>
                  <a:lnTo>
                    <a:pt x="49742" y="134137"/>
                  </a:lnTo>
                  <a:lnTo>
                    <a:pt x="76722" y="112741"/>
                  </a:lnTo>
                  <a:lnTo>
                    <a:pt x="80094" y="107803"/>
                  </a:lnTo>
                  <a:lnTo>
                    <a:pt x="88525" y="112741"/>
                  </a:lnTo>
                  <a:lnTo>
                    <a:pt x="95270" y="112741"/>
                  </a:lnTo>
                  <a:lnTo>
                    <a:pt x="107074" y="88053"/>
                  </a:lnTo>
                  <a:lnTo>
                    <a:pt x="107074" y="81470"/>
                  </a:lnTo>
                  <a:lnTo>
                    <a:pt x="105388" y="78178"/>
                  </a:lnTo>
                  <a:lnTo>
                    <a:pt x="108760" y="73240"/>
                  </a:lnTo>
                  <a:lnTo>
                    <a:pt x="95270" y="63365"/>
                  </a:lnTo>
                  <a:lnTo>
                    <a:pt x="105388" y="56781"/>
                  </a:lnTo>
                  <a:lnTo>
                    <a:pt x="112132" y="55136"/>
                  </a:lnTo>
                  <a:lnTo>
                    <a:pt x="117191" y="58427"/>
                  </a:lnTo>
                  <a:lnTo>
                    <a:pt x="122250" y="45260"/>
                  </a:lnTo>
                  <a:lnTo>
                    <a:pt x="118878" y="43615"/>
                  </a:lnTo>
                  <a:lnTo>
                    <a:pt x="125622" y="30448"/>
                  </a:lnTo>
                  <a:lnTo>
                    <a:pt x="122250" y="17281"/>
                  </a:lnTo>
                  <a:lnTo>
                    <a:pt x="113819" y="10697"/>
                  </a:lnTo>
                  <a:lnTo>
                    <a:pt x="113819" y="5760"/>
                  </a:lnTo>
                  <a:lnTo>
                    <a:pt x="155974"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59" name="Castricum">
              <a:extLst>
                <a:ext uri="{FF2B5EF4-FFF2-40B4-BE49-F238E27FC236}">
                  <a16:creationId xmlns:a16="http://schemas.microsoft.com/office/drawing/2014/main" id="{8EBE0A96-C952-4EB2-855D-7AEAEBB9DFF7}"/>
                </a:ext>
              </a:extLst>
            </p:cNvPr>
            <p:cNvSpPr/>
            <p:nvPr/>
          </p:nvSpPr>
          <p:spPr>
            <a:xfrm>
              <a:off x="5407837" y="2727092"/>
              <a:ext cx="191876" cy="106919"/>
            </a:xfrm>
            <a:custGeom>
              <a:avLst/>
              <a:gdLst/>
              <a:ahLst/>
              <a:cxnLst/>
              <a:rect l="l" t="t" r="r" b="b"/>
              <a:pathLst>
                <a:path w="280996" h="160020" extrusionOk="0">
                  <a:moveTo>
                    <a:pt x="243658" y="5760"/>
                  </a:moveTo>
                  <a:lnTo>
                    <a:pt x="225110" y="65011"/>
                  </a:lnTo>
                  <a:lnTo>
                    <a:pt x="236913" y="76532"/>
                  </a:lnTo>
                  <a:lnTo>
                    <a:pt x="265579" y="83116"/>
                  </a:lnTo>
                  <a:lnTo>
                    <a:pt x="280755" y="89699"/>
                  </a:lnTo>
                  <a:lnTo>
                    <a:pt x="274010" y="120971"/>
                  </a:lnTo>
                  <a:lnTo>
                    <a:pt x="274010" y="145658"/>
                  </a:lnTo>
                  <a:lnTo>
                    <a:pt x="258834" y="144013"/>
                  </a:lnTo>
                  <a:lnTo>
                    <a:pt x="250403" y="137429"/>
                  </a:lnTo>
                  <a:lnTo>
                    <a:pt x="240286" y="140721"/>
                  </a:lnTo>
                  <a:lnTo>
                    <a:pt x="221737" y="127554"/>
                  </a:lnTo>
                  <a:lnTo>
                    <a:pt x="194758" y="114387"/>
                  </a:lnTo>
                  <a:lnTo>
                    <a:pt x="193071" y="114387"/>
                  </a:lnTo>
                  <a:lnTo>
                    <a:pt x="186326" y="120971"/>
                  </a:lnTo>
                  <a:lnTo>
                    <a:pt x="186326" y="102866"/>
                  </a:lnTo>
                  <a:lnTo>
                    <a:pt x="166092" y="111095"/>
                  </a:lnTo>
                  <a:lnTo>
                    <a:pt x="166092" y="114387"/>
                  </a:lnTo>
                  <a:lnTo>
                    <a:pt x="162719" y="117679"/>
                  </a:lnTo>
                  <a:lnTo>
                    <a:pt x="149230" y="119324"/>
                  </a:lnTo>
                  <a:lnTo>
                    <a:pt x="152602" y="155533"/>
                  </a:lnTo>
                  <a:lnTo>
                    <a:pt x="150916" y="162117"/>
                  </a:lnTo>
                  <a:lnTo>
                    <a:pt x="96957" y="148950"/>
                  </a:lnTo>
                  <a:lnTo>
                    <a:pt x="86839" y="152242"/>
                  </a:lnTo>
                  <a:lnTo>
                    <a:pt x="4214" y="150596"/>
                  </a:lnTo>
                  <a:lnTo>
                    <a:pt x="22763" y="46907"/>
                  </a:lnTo>
                  <a:lnTo>
                    <a:pt x="90212" y="25510"/>
                  </a:lnTo>
                  <a:lnTo>
                    <a:pt x="90212" y="18927"/>
                  </a:lnTo>
                  <a:lnTo>
                    <a:pt x="96957" y="18927"/>
                  </a:lnTo>
                  <a:lnTo>
                    <a:pt x="117191" y="7406"/>
                  </a:lnTo>
                  <a:lnTo>
                    <a:pt x="118877" y="9052"/>
                  </a:lnTo>
                  <a:lnTo>
                    <a:pt x="113819" y="12343"/>
                  </a:lnTo>
                  <a:lnTo>
                    <a:pt x="115505" y="15635"/>
                  </a:lnTo>
                  <a:lnTo>
                    <a:pt x="123936" y="20573"/>
                  </a:lnTo>
                  <a:lnTo>
                    <a:pt x="123936" y="23865"/>
                  </a:lnTo>
                  <a:lnTo>
                    <a:pt x="137426" y="25510"/>
                  </a:lnTo>
                  <a:lnTo>
                    <a:pt x="135740" y="30448"/>
                  </a:lnTo>
                  <a:lnTo>
                    <a:pt x="144171" y="33740"/>
                  </a:lnTo>
                  <a:lnTo>
                    <a:pt x="152602" y="35385"/>
                  </a:lnTo>
                  <a:lnTo>
                    <a:pt x="155974" y="28802"/>
                  </a:lnTo>
                  <a:lnTo>
                    <a:pt x="162719" y="30448"/>
                  </a:lnTo>
                  <a:lnTo>
                    <a:pt x="164406" y="32094"/>
                  </a:lnTo>
                  <a:lnTo>
                    <a:pt x="193071" y="33740"/>
                  </a:lnTo>
                  <a:lnTo>
                    <a:pt x="194758" y="37031"/>
                  </a:lnTo>
                  <a:lnTo>
                    <a:pt x="198130" y="35385"/>
                  </a:lnTo>
                  <a:lnTo>
                    <a:pt x="218365" y="37031"/>
                  </a:lnTo>
                  <a:lnTo>
                    <a:pt x="225110" y="9052"/>
                  </a:lnTo>
                  <a:lnTo>
                    <a:pt x="235227" y="12343"/>
                  </a:lnTo>
                  <a:lnTo>
                    <a:pt x="236913" y="4114"/>
                  </a:lnTo>
                  <a:lnTo>
                    <a:pt x="243658"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0" name="Cuijk">
              <a:extLst>
                <a:ext uri="{FF2B5EF4-FFF2-40B4-BE49-F238E27FC236}">
                  <a16:creationId xmlns:a16="http://schemas.microsoft.com/office/drawing/2014/main" id="{7CFD7FA8-7C0D-464E-AA80-15495D56AA19}"/>
                </a:ext>
              </a:extLst>
            </p:cNvPr>
            <p:cNvSpPr/>
            <p:nvPr/>
          </p:nvSpPr>
          <p:spPr>
            <a:xfrm>
              <a:off x="6645348" y="4065236"/>
              <a:ext cx="168438" cy="144723"/>
            </a:xfrm>
            <a:custGeom>
              <a:avLst/>
              <a:gdLst/>
              <a:ahLst/>
              <a:cxnLst/>
              <a:rect l="l" t="t" r="r" b="b"/>
              <a:pathLst>
                <a:path w="234163" h="217170" extrusionOk="0">
                  <a:moveTo>
                    <a:pt x="150916" y="46907"/>
                  </a:moveTo>
                  <a:lnTo>
                    <a:pt x="155974" y="79824"/>
                  </a:lnTo>
                  <a:lnTo>
                    <a:pt x="166092" y="92991"/>
                  </a:lnTo>
                  <a:lnTo>
                    <a:pt x="189699" y="102866"/>
                  </a:lnTo>
                  <a:lnTo>
                    <a:pt x="223423" y="106158"/>
                  </a:lnTo>
                  <a:lnTo>
                    <a:pt x="230168" y="107804"/>
                  </a:lnTo>
                  <a:lnTo>
                    <a:pt x="231854" y="111095"/>
                  </a:lnTo>
                  <a:lnTo>
                    <a:pt x="226796" y="114387"/>
                  </a:lnTo>
                  <a:lnTo>
                    <a:pt x="221737" y="124262"/>
                  </a:lnTo>
                  <a:lnTo>
                    <a:pt x="209934" y="129200"/>
                  </a:lnTo>
                  <a:lnTo>
                    <a:pt x="203189" y="140721"/>
                  </a:lnTo>
                  <a:lnTo>
                    <a:pt x="193071" y="147304"/>
                  </a:lnTo>
                  <a:lnTo>
                    <a:pt x="171150" y="175284"/>
                  </a:lnTo>
                  <a:lnTo>
                    <a:pt x="179581" y="183513"/>
                  </a:lnTo>
                  <a:lnTo>
                    <a:pt x="172836" y="191743"/>
                  </a:lnTo>
                  <a:lnTo>
                    <a:pt x="152602" y="204910"/>
                  </a:lnTo>
                  <a:lnTo>
                    <a:pt x="147543" y="201618"/>
                  </a:lnTo>
                  <a:lnTo>
                    <a:pt x="140798" y="203264"/>
                  </a:lnTo>
                  <a:lnTo>
                    <a:pt x="118877" y="221368"/>
                  </a:lnTo>
                  <a:lnTo>
                    <a:pt x="96956" y="204910"/>
                  </a:lnTo>
                  <a:lnTo>
                    <a:pt x="59859" y="148950"/>
                  </a:lnTo>
                  <a:lnTo>
                    <a:pt x="49742" y="145659"/>
                  </a:lnTo>
                  <a:lnTo>
                    <a:pt x="32880" y="147304"/>
                  </a:lnTo>
                  <a:lnTo>
                    <a:pt x="24449" y="140721"/>
                  </a:lnTo>
                  <a:lnTo>
                    <a:pt x="29507" y="135783"/>
                  </a:lnTo>
                  <a:lnTo>
                    <a:pt x="7586" y="127554"/>
                  </a:lnTo>
                  <a:lnTo>
                    <a:pt x="14332" y="124262"/>
                  </a:lnTo>
                  <a:lnTo>
                    <a:pt x="14332" y="99574"/>
                  </a:lnTo>
                  <a:lnTo>
                    <a:pt x="22763" y="96283"/>
                  </a:lnTo>
                  <a:lnTo>
                    <a:pt x="17704" y="76532"/>
                  </a:lnTo>
                  <a:lnTo>
                    <a:pt x="21076" y="74886"/>
                  </a:lnTo>
                  <a:lnTo>
                    <a:pt x="24449" y="65011"/>
                  </a:lnTo>
                  <a:lnTo>
                    <a:pt x="16018" y="60074"/>
                  </a:lnTo>
                  <a:lnTo>
                    <a:pt x="19390" y="51844"/>
                  </a:lnTo>
                  <a:lnTo>
                    <a:pt x="4214" y="41969"/>
                  </a:lnTo>
                  <a:lnTo>
                    <a:pt x="10959" y="28802"/>
                  </a:lnTo>
                  <a:lnTo>
                    <a:pt x="10959" y="18927"/>
                  </a:lnTo>
                  <a:lnTo>
                    <a:pt x="36252" y="12344"/>
                  </a:lnTo>
                  <a:lnTo>
                    <a:pt x="105388" y="4114"/>
                  </a:lnTo>
                  <a:lnTo>
                    <a:pt x="127309" y="10698"/>
                  </a:lnTo>
                  <a:lnTo>
                    <a:pt x="142484" y="22219"/>
                  </a:lnTo>
                  <a:lnTo>
                    <a:pt x="147543" y="30448"/>
                  </a:lnTo>
                  <a:lnTo>
                    <a:pt x="150916" y="4690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1" name="Wierden">
              <a:extLst>
                <a:ext uri="{FF2B5EF4-FFF2-40B4-BE49-F238E27FC236}">
                  <a16:creationId xmlns:a16="http://schemas.microsoft.com/office/drawing/2014/main" id="{D7FB8336-77D1-44FF-B725-0CEC7D0B2DE6}"/>
                </a:ext>
              </a:extLst>
            </p:cNvPr>
            <p:cNvSpPr/>
            <p:nvPr/>
          </p:nvSpPr>
          <p:spPr>
            <a:xfrm>
              <a:off x="7355859" y="2999503"/>
              <a:ext cx="176810" cy="239205"/>
            </a:xfrm>
            <a:custGeom>
              <a:avLst/>
              <a:gdLst/>
              <a:ahLst/>
              <a:cxnLst/>
              <a:rect l="l" t="t" r="r" b="b"/>
              <a:pathLst>
                <a:path w="257579" h="365760" extrusionOk="0">
                  <a:moveTo>
                    <a:pt x="199816" y="86407"/>
                  </a:moveTo>
                  <a:lnTo>
                    <a:pt x="214992" y="125908"/>
                  </a:lnTo>
                  <a:lnTo>
                    <a:pt x="223424" y="130845"/>
                  </a:lnTo>
                  <a:lnTo>
                    <a:pt x="226796" y="139075"/>
                  </a:lnTo>
                  <a:lnTo>
                    <a:pt x="225110" y="150596"/>
                  </a:lnTo>
                  <a:lnTo>
                    <a:pt x="218365" y="155533"/>
                  </a:lnTo>
                  <a:lnTo>
                    <a:pt x="209934" y="180221"/>
                  </a:lnTo>
                  <a:lnTo>
                    <a:pt x="199816" y="185159"/>
                  </a:lnTo>
                  <a:lnTo>
                    <a:pt x="208247" y="201617"/>
                  </a:lnTo>
                  <a:lnTo>
                    <a:pt x="228482" y="216430"/>
                  </a:lnTo>
                  <a:lnTo>
                    <a:pt x="233541" y="224660"/>
                  </a:lnTo>
                  <a:lnTo>
                    <a:pt x="223424" y="242764"/>
                  </a:lnTo>
                  <a:lnTo>
                    <a:pt x="220051" y="246056"/>
                  </a:lnTo>
                  <a:lnTo>
                    <a:pt x="220051" y="247702"/>
                  </a:lnTo>
                  <a:lnTo>
                    <a:pt x="211620" y="257577"/>
                  </a:lnTo>
                  <a:lnTo>
                    <a:pt x="221737" y="255931"/>
                  </a:lnTo>
                  <a:lnTo>
                    <a:pt x="226796" y="259223"/>
                  </a:lnTo>
                  <a:lnTo>
                    <a:pt x="225110" y="264160"/>
                  </a:lnTo>
                  <a:lnTo>
                    <a:pt x="230168" y="265806"/>
                  </a:lnTo>
                  <a:lnTo>
                    <a:pt x="216678" y="269098"/>
                  </a:lnTo>
                  <a:lnTo>
                    <a:pt x="233541" y="272390"/>
                  </a:lnTo>
                  <a:lnTo>
                    <a:pt x="253776" y="282265"/>
                  </a:lnTo>
                  <a:lnTo>
                    <a:pt x="245344" y="311890"/>
                  </a:lnTo>
                  <a:lnTo>
                    <a:pt x="214992" y="357975"/>
                  </a:lnTo>
                  <a:lnTo>
                    <a:pt x="198130" y="357975"/>
                  </a:lnTo>
                  <a:lnTo>
                    <a:pt x="169464" y="362912"/>
                  </a:lnTo>
                  <a:lnTo>
                    <a:pt x="157661" y="361266"/>
                  </a:lnTo>
                  <a:lnTo>
                    <a:pt x="152602" y="354683"/>
                  </a:lnTo>
                  <a:lnTo>
                    <a:pt x="128995" y="318474"/>
                  </a:lnTo>
                  <a:lnTo>
                    <a:pt x="132367" y="300369"/>
                  </a:lnTo>
                  <a:lnTo>
                    <a:pt x="134053" y="302015"/>
                  </a:lnTo>
                  <a:lnTo>
                    <a:pt x="134053" y="290494"/>
                  </a:lnTo>
                  <a:lnTo>
                    <a:pt x="128995" y="264160"/>
                  </a:lnTo>
                  <a:lnTo>
                    <a:pt x="120564" y="244410"/>
                  </a:lnTo>
                  <a:lnTo>
                    <a:pt x="112133" y="250993"/>
                  </a:lnTo>
                  <a:lnTo>
                    <a:pt x="107074" y="250993"/>
                  </a:lnTo>
                  <a:lnTo>
                    <a:pt x="102015" y="249348"/>
                  </a:lnTo>
                  <a:lnTo>
                    <a:pt x="90212" y="227951"/>
                  </a:lnTo>
                  <a:lnTo>
                    <a:pt x="86839" y="232889"/>
                  </a:lnTo>
                  <a:lnTo>
                    <a:pt x="80094" y="229597"/>
                  </a:lnTo>
                  <a:lnTo>
                    <a:pt x="51428" y="232889"/>
                  </a:lnTo>
                  <a:lnTo>
                    <a:pt x="4214" y="227951"/>
                  </a:lnTo>
                  <a:lnTo>
                    <a:pt x="34566" y="185159"/>
                  </a:lnTo>
                  <a:lnTo>
                    <a:pt x="31194" y="181867"/>
                  </a:lnTo>
                  <a:lnTo>
                    <a:pt x="34566" y="180221"/>
                  </a:lnTo>
                  <a:lnTo>
                    <a:pt x="37939" y="171992"/>
                  </a:lnTo>
                  <a:lnTo>
                    <a:pt x="44684" y="170346"/>
                  </a:lnTo>
                  <a:lnTo>
                    <a:pt x="53115" y="162117"/>
                  </a:lnTo>
                  <a:lnTo>
                    <a:pt x="59860" y="163763"/>
                  </a:lnTo>
                  <a:lnTo>
                    <a:pt x="61546" y="157179"/>
                  </a:lnTo>
                  <a:lnTo>
                    <a:pt x="80094" y="157179"/>
                  </a:lnTo>
                  <a:lnTo>
                    <a:pt x="81781" y="142367"/>
                  </a:lnTo>
                  <a:lnTo>
                    <a:pt x="49742" y="137429"/>
                  </a:lnTo>
                  <a:lnTo>
                    <a:pt x="44684" y="125908"/>
                  </a:lnTo>
                  <a:lnTo>
                    <a:pt x="42997" y="106158"/>
                  </a:lnTo>
                  <a:lnTo>
                    <a:pt x="71663" y="92991"/>
                  </a:lnTo>
                  <a:lnTo>
                    <a:pt x="63232" y="68303"/>
                  </a:lnTo>
                  <a:lnTo>
                    <a:pt x="73349" y="33740"/>
                  </a:lnTo>
                  <a:lnTo>
                    <a:pt x="164406" y="4114"/>
                  </a:lnTo>
                  <a:lnTo>
                    <a:pt x="199816" y="8640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2" name="De Wolden">
              <a:extLst>
                <a:ext uri="{FF2B5EF4-FFF2-40B4-BE49-F238E27FC236}">
                  <a16:creationId xmlns:a16="http://schemas.microsoft.com/office/drawing/2014/main" id="{D3F75B01-2287-4608-98DF-59E021F86103}"/>
                </a:ext>
              </a:extLst>
            </p:cNvPr>
            <p:cNvSpPr/>
            <p:nvPr/>
          </p:nvSpPr>
          <p:spPr>
            <a:xfrm>
              <a:off x="7085673" y="2386091"/>
              <a:ext cx="330616" cy="302665"/>
            </a:xfrm>
            <a:custGeom>
              <a:avLst/>
              <a:gdLst/>
              <a:ahLst/>
              <a:cxnLst/>
              <a:rect l="l" t="t" r="r" b="b"/>
              <a:pathLst>
                <a:path w="480034" h="457200" extrusionOk="0">
                  <a:moveTo>
                    <a:pt x="209933" y="12343"/>
                  </a:moveTo>
                  <a:lnTo>
                    <a:pt x="203188" y="20573"/>
                  </a:lnTo>
                  <a:lnTo>
                    <a:pt x="191385" y="27156"/>
                  </a:lnTo>
                  <a:lnTo>
                    <a:pt x="206561" y="30448"/>
                  </a:lnTo>
                  <a:lnTo>
                    <a:pt x="208247" y="37031"/>
                  </a:lnTo>
                  <a:lnTo>
                    <a:pt x="201502" y="41969"/>
                  </a:lnTo>
                  <a:lnTo>
                    <a:pt x="208247" y="43615"/>
                  </a:lnTo>
                  <a:lnTo>
                    <a:pt x="211620" y="50198"/>
                  </a:lnTo>
                  <a:lnTo>
                    <a:pt x="220051" y="41969"/>
                  </a:lnTo>
                  <a:lnTo>
                    <a:pt x="236913" y="48552"/>
                  </a:lnTo>
                  <a:lnTo>
                    <a:pt x="240286" y="45261"/>
                  </a:lnTo>
                  <a:lnTo>
                    <a:pt x="238599" y="43615"/>
                  </a:lnTo>
                  <a:lnTo>
                    <a:pt x="245344" y="37031"/>
                  </a:lnTo>
                  <a:lnTo>
                    <a:pt x="258834" y="51844"/>
                  </a:lnTo>
                  <a:lnTo>
                    <a:pt x="265579" y="50198"/>
                  </a:lnTo>
                  <a:lnTo>
                    <a:pt x="268951" y="55136"/>
                  </a:lnTo>
                  <a:lnTo>
                    <a:pt x="297617" y="28802"/>
                  </a:lnTo>
                  <a:lnTo>
                    <a:pt x="302676" y="32094"/>
                  </a:lnTo>
                  <a:lnTo>
                    <a:pt x="302676" y="43615"/>
                  </a:lnTo>
                  <a:lnTo>
                    <a:pt x="311107" y="45261"/>
                  </a:lnTo>
                  <a:lnTo>
                    <a:pt x="312793" y="41969"/>
                  </a:lnTo>
                  <a:lnTo>
                    <a:pt x="319538" y="41969"/>
                  </a:lnTo>
                  <a:lnTo>
                    <a:pt x="319538" y="38677"/>
                  </a:lnTo>
                  <a:lnTo>
                    <a:pt x="326283" y="37031"/>
                  </a:lnTo>
                  <a:lnTo>
                    <a:pt x="326283" y="32094"/>
                  </a:lnTo>
                  <a:lnTo>
                    <a:pt x="322911" y="30448"/>
                  </a:lnTo>
                  <a:lnTo>
                    <a:pt x="322911" y="27156"/>
                  </a:lnTo>
                  <a:lnTo>
                    <a:pt x="333028" y="18927"/>
                  </a:lnTo>
                  <a:lnTo>
                    <a:pt x="348204" y="33739"/>
                  </a:lnTo>
                  <a:lnTo>
                    <a:pt x="348204" y="55136"/>
                  </a:lnTo>
                  <a:lnTo>
                    <a:pt x="334714" y="68303"/>
                  </a:lnTo>
                  <a:lnTo>
                    <a:pt x="324597" y="76532"/>
                  </a:lnTo>
                  <a:lnTo>
                    <a:pt x="294245" y="84761"/>
                  </a:lnTo>
                  <a:lnTo>
                    <a:pt x="302676" y="107803"/>
                  </a:lnTo>
                  <a:lnTo>
                    <a:pt x="307734" y="106158"/>
                  </a:lnTo>
                  <a:lnTo>
                    <a:pt x="317852" y="117679"/>
                  </a:lnTo>
                  <a:lnTo>
                    <a:pt x="309421" y="124262"/>
                  </a:lnTo>
                  <a:lnTo>
                    <a:pt x="314479" y="137429"/>
                  </a:lnTo>
                  <a:lnTo>
                    <a:pt x="302676" y="142367"/>
                  </a:lnTo>
                  <a:lnTo>
                    <a:pt x="311107" y="165409"/>
                  </a:lnTo>
                  <a:lnTo>
                    <a:pt x="290872" y="173638"/>
                  </a:lnTo>
                  <a:lnTo>
                    <a:pt x="302676" y="193388"/>
                  </a:lnTo>
                  <a:lnTo>
                    <a:pt x="300989" y="199972"/>
                  </a:lnTo>
                  <a:lnTo>
                    <a:pt x="289186" y="209847"/>
                  </a:lnTo>
                  <a:lnTo>
                    <a:pt x="285813" y="227951"/>
                  </a:lnTo>
                  <a:lnTo>
                    <a:pt x="287500" y="231243"/>
                  </a:lnTo>
                  <a:lnTo>
                    <a:pt x="290872" y="224660"/>
                  </a:lnTo>
                  <a:lnTo>
                    <a:pt x="311107" y="237826"/>
                  </a:lnTo>
                  <a:lnTo>
                    <a:pt x="316166" y="231243"/>
                  </a:lnTo>
                  <a:lnTo>
                    <a:pt x="324597" y="227951"/>
                  </a:lnTo>
                  <a:lnTo>
                    <a:pt x="356635" y="224660"/>
                  </a:lnTo>
                  <a:lnTo>
                    <a:pt x="354949" y="227951"/>
                  </a:lnTo>
                  <a:lnTo>
                    <a:pt x="358321" y="242764"/>
                  </a:lnTo>
                  <a:lnTo>
                    <a:pt x="354949" y="255931"/>
                  </a:lnTo>
                  <a:lnTo>
                    <a:pt x="375184" y="252639"/>
                  </a:lnTo>
                  <a:lnTo>
                    <a:pt x="376870" y="255931"/>
                  </a:lnTo>
                  <a:lnTo>
                    <a:pt x="392046" y="254285"/>
                  </a:lnTo>
                  <a:lnTo>
                    <a:pt x="410594" y="255931"/>
                  </a:lnTo>
                  <a:lnTo>
                    <a:pt x="408908" y="277327"/>
                  </a:lnTo>
                  <a:lnTo>
                    <a:pt x="422398" y="278973"/>
                  </a:lnTo>
                  <a:lnTo>
                    <a:pt x="420712" y="297078"/>
                  </a:lnTo>
                  <a:lnTo>
                    <a:pt x="432515" y="298723"/>
                  </a:lnTo>
                  <a:lnTo>
                    <a:pt x="430829" y="303661"/>
                  </a:lnTo>
                  <a:lnTo>
                    <a:pt x="478043" y="305307"/>
                  </a:lnTo>
                  <a:lnTo>
                    <a:pt x="476357" y="348099"/>
                  </a:lnTo>
                  <a:lnTo>
                    <a:pt x="454436" y="369496"/>
                  </a:lnTo>
                  <a:lnTo>
                    <a:pt x="462867" y="446851"/>
                  </a:lnTo>
                  <a:lnTo>
                    <a:pt x="452750" y="448497"/>
                  </a:lnTo>
                  <a:lnTo>
                    <a:pt x="440946" y="440268"/>
                  </a:lnTo>
                  <a:lnTo>
                    <a:pt x="422398" y="435330"/>
                  </a:lnTo>
                  <a:lnTo>
                    <a:pt x="400477" y="436976"/>
                  </a:lnTo>
                  <a:lnTo>
                    <a:pt x="397104" y="430393"/>
                  </a:lnTo>
                  <a:lnTo>
                    <a:pt x="393732" y="430393"/>
                  </a:lnTo>
                  <a:lnTo>
                    <a:pt x="392046" y="422163"/>
                  </a:lnTo>
                  <a:lnTo>
                    <a:pt x="388673" y="422163"/>
                  </a:lnTo>
                  <a:lnTo>
                    <a:pt x="378556" y="425455"/>
                  </a:lnTo>
                  <a:lnTo>
                    <a:pt x="380242" y="428747"/>
                  </a:lnTo>
                  <a:lnTo>
                    <a:pt x="373497" y="443559"/>
                  </a:lnTo>
                  <a:lnTo>
                    <a:pt x="366752" y="445205"/>
                  </a:lnTo>
                  <a:lnTo>
                    <a:pt x="363380" y="448497"/>
                  </a:lnTo>
                  <a:lnTo>
                    <a:pt x="360007" y="445205"/>
                  </a:lnTo>
                  <a:lnTo>
                    <a:pt x="346518" y="445205"/>
                  </a:lnTo>
                  <a:lnTo>
                    <a:pt x="336400" y="435330"/>
                  </a:lnTo>
                  <a:lnTo>
                    <a:pt x="336400" y="428747"/>
                  </a:lnTo>
                  <a:lnTo>
                    <a:pt x="333028" y="420517"/>
                  </a:lnTo>
                  <a:lnTo>
                    <a:pt x="334714" y="418872"/>
                  </a:lnTo>
                  <a:lnTo>
                    <a:pt x="329655" y="413934"/>
                  </a:lnTo>
                  <a:lnTo>
                    <a:pt x="326283" y="413934"/>
                  </a:lnTo>
                  <a:lnTo>
                    <a:pt x="322911" y="420517"/>
                  </a:lnTo>
                  <a:lnTo>
                    <a:pt x="322911" y="423809"/>
                  </a:lnTo>
                  <a:lnTo>
                    <a:pt x="314479" y="428747"/>
                  </a:lnTo>
                  <a:lnTo>
                    <a:pt x="311107" y="436976"/>
                  </a:lnTo>
                  <a:lnTo>
                    <a:pt x="302676" y="435330"/>
                  </a:lnTo>
                  <a:lnTo>
                    <a:pt x="297617" y="430393"/>
                  </a:lnTo>
                  <a:lnTo>
                    <a:pt x="292558" y="433684"/>
                  </a:lnTo>
                  <a:lnTo>
                    <a:pt x="294245" y="440268"/>
                  </a:lnTo>
                  <a:lnTo>
                    <a:pt x="289186" y="443559"/>
                  </a:lnTo>
                  <a:lnTo>
                    <a:pt x="277382" y="440268"/>
                  </a:lnTo>
                  <a:lnTo>
                    <a:pt x="270638" y="448497"/>
                  </a:lnTo>
                  <a:lnTo>
                    <a:pt x="258834" y="453435"/>
                  </a:lnTo>
                  <a:lnTo>
                    <a:pt x="257148" y="445205"/>
                  </a:lnTo>
                  <a:lnTo>
                    <a:pt x="253775" y="446851"/>
                  </a:lnTo>
                  <a:lnTo>
                    <a:pt x="248716" y="443559"/>
                  </a:lnTo>
                  <a:lnTo>
                    <a:pt x="248716" y="435330"/>
                  </a:lnTo>
                  <a:lnTo>
                    <a:pt x="243658" y="425455"/>
                  </a:lnTo>
                  <a:lnTo>
                    <a:pt x="245344" y="422163"/>
                  </a:lnTo>
                  <a:lnTo>
                    <a:pt x="243658" y="420517"/>
                  </a:lnTo>
                  <a:lnTo>
                    <a:pt x="245344" y="417226"/>
                  </a:lnTo>
                  <a:lnTo>
                    <a:pt x="240286" y="407350"/>
                  </a:lnTo>
                  <a:lnTo>
                    <a:pt x="236913" y="405705"/>
                  </a:lnTo>
                  <a:lnTo>
                    <a:pt x="236913" y="397475"/>
                  </a:lnTo>
                  <a:lnTo>
                    <a:pt x="226795" y="389246"/>
                  </a:lnTo>
                  <a:lnTo>
                    <a:pt x="228482" y="379371"/>
                  </a:lnTo>
                  <a:lnTo>
                    <a:pt x="221737" y="374433"/>
                  </a:lnTo>
                  <a:lnTo>
                    <a:pt x="213306" y="372787"/>
                  </a:lnTo>
                  <a:lnTo>
                    <a:pt x="211620" y="369496"/>
                  </a:lnTo>
                  <a:lnTo>
                    <a:pt x="203188" y="366204"/>
                  </a:lnTo>
                  <a:lnTo>
                    <a:pt x="194757" y="353037"/>
                  </a:lnTo>
                  <a:lnTo>
                    <a:pt x="182954" y="353037"/>
                  </a:lnTo>
                  <a:lnTo>
                    <a:pt x="181267" y="348099"/>
                  </a:lnTo>
                  <a:lnTo>
                    <a:pt x="171150" y="341516"/>
                  </a:lnTo>
                  <a:lnTo>
                    <a:pt x="171150" y="333287"/>
                  </a:lnTo>
                  <a:lnTo>
                    <a:pt x="176209" y="326703"/>
                  </a:lnTo>
                  <a:lnTo>
                    <a:pt x="172836" y="318474"/>
                  </a:lnTo>
                  <a:lnTo>
                    <a:pt x="161033" y="315182"/>
                  </a:lnTo>
                  <a:lnTo>
                    <a:pt x="145857" y="323412"/>
                  </a:lnTo>
                  <a:lnTo>
                    <a:pt x="140798" y="325057"/>
                  </a:lnTo>
                  <a:lnTo>
                    <a:pt x="135740" y="321766"/>
                  </a:lnTo>
                  <a:lnTo>
                    <a:pt x="130681" y="326703"/>
                  </a:lnTo>
                  <a:lnTo>
                    <a:pt x="127308" y="325057"/>
                  </a:lnTo>
                  <a:lnTo>
                    <a:pt x="123936" y="334932"/>
                  </a:lnTo>
                  <a:lnTo>
                    <a:pt x="112132" y="331641"/>
                  </a:lnTo>
                  <a:lnTo>
                    <a:pt x="108760" y="328349"/>
                  </a:lnTo>
                  <a:lnTo>
                    <a:pt x="110446" y="323412"/>
                  </a:lnTo>
                  <a:lnTo>
                    <a:pt x="100329" y="318474"/>
                  </a:lnTo>
                  <a:lnTo>
                    <a:pt x="96956" y="320120"/>
                  </a:lnTo>
                  <a:lnTo>
                    <a:pt x="90211" y="329995"/>
                  </a:lnTo>
                  <a:lnTo>
                    <a:pt x="86839" y="329995"/>
                  </a:lnTo>
                  <a:lnTo>
                    <a:pt x="80094" y="325057"/>
                  </a:lnTo>
                  <a:lnTo>
                    <a:pt x="81780" y="313536"/>
                  </a:lnTo>
                  <a:lnTo>
                    <a:pt x="83467" y="313536"/>
                  </a:lnTo>
                  <a:lnTo>
                    <a:pt x="85153" y="308599"/>
                  </a:lnTo>
                  <a:lnTo>
                    <a:pt x="90211" y="306953"/>
                  </a:lnTo>
                  <a:lnTo>
                    <a:pt x="85153" y="287202"/>
                  </a:lnTo>
                  <a:lnTo>
                    <a:pt x="93584" y="283911"/>
                  </a:lnTo>
                  <a:lnTo>
                    <a:pt x="107074" y="287202"/>
                  </a:lnTo>
                  <a:lnTo>
                    <a:pt x="107074" y="282265"/>
                  </a:lnTo>
                  <a:lnTo>
                    <a:pt x="93584" y="274035"/>
                  </a:lnTo>
                  <a:lnTo>
                    <a:pt x="95270" y="267452"/>
                  </a:lnTo>
                  <a:lnTo>
                    <a:pt x="108760" y="269098"/>
                  </a:lnTo>
                  <a:lnTo>
                    <a:pt x="110446" y="246056"/>
                  </a:lnTo>
                  <a:lnTo>
                    <a:pt x="93584" y="255931"/>
                  </a:lnTo>
                  <a:lnTo>
                    <a:pt x="95270" y="249348"/>
                  </a:lnTo>
                  <a:lnTo>
                    <a:pt x="100329" y="244410"/>
                  </a:lnTo>
                  <a:lnTo>
                    <a:pt x="96956" y="241118"/>
                  </a:lnTo>
                  <a:lnTo>
                    <a:pt x="95270" y="242764"/>
                  </a:lnTo>
                  <a:lnTo>
                    <a:pt x="96956" y="236181"/>
                  </a:lnTo>
                  <a:lnTo>
                    <a:pt x="91897" y="236181"/>
                  </a:lnTo>
                  <a:lnTo>
                    <a:pt x="91897" y="229597"/>
                  </a:lnTo>
                  <a:lnTo>
                    <a:pt x="59859" y="231243"/>
                  </a:lnTo>
                  <a:lnTo>
                    <a:pt x="53115" y="224660"/>
                  </a:lnTo>
                  <a:lnTo>
                    <a:pt x="36252" y="231243"/>
                  </a:lnTo>
                  <a:lnTo>
                    <a:pt x="29507" y="229597"/>
                  </a:lnTo>
                  <a:lnTo>
                    <a:pt x="17704" y="237826"/>
                  </a:lnTo>
                  <a:lnTo>
                    <a:pt x="5900" y="237826"/>
                  </a:lnTo>
                  <a:lnTo>
                    <a:pt x="4214" y="199972"/>
                  </a:lnTo>
                  <a:lnTo>
                    <a:pt x="5900" y="193388"/>
                  </a:lnTo>
                  <a:lnTo>
                    <a:pt x="31194" y="147304"/>
                  </a:lnTo>
                  <a:lnTo>
                    <a:pt x="26135" y="144012"/>
                  </a:lnTo>
                  <a:lnTo>
                    <a:pt x="34566" y="139075"/>
                  </a:lnTo>
                  <a:lnTo>
                    <a:pt x="41311" y="122616"/>
                  </a:lnTo>
                  <a:lnTo>
                    <a:pt x="54801" y="104512"/>
                  </a:lnTo>
                  <a:lnTo>
                    <a:pt x="81780" y="102866"/>
                  </a:lnTo>
                  <a:lnTo>
                    <a:pt x="98642" y="92991"/>
                  </a:lnTo>
                  <a:lnTo>
                    <a:pt x="127308" y="83115"/>
                  </a:lnTo>
                  <a:lnTo>
                    <a:pt x="127308" y="78178"/>
                  </a:lnTo>
                  <a:lnTo>
                    <a:pt x="117191" y="53490"/>
                  </a:lnTo>
                  <a:lnTo>
                    <a:pt x="125622" y="45261"/>
                  </a:lnTo>
                  <a:lnTo>
                    <a:pt x="123936" y="43615"/>
                  </a:lnTo>
                  <a:lnTo>
                    <a:pt x="128995" y="37031"/>
                  </a:lnTo>
                  <a:lnTo>
                    <a:pt x="127308" y="33739"/>
                  </a:lnTo>
                  <a:lnTo>
                    <a:pt x="132367" y="28802"/>
                  </a:lnTo>
                  <a:lnTo>
                    <a:pt x="128995" y="23864"/>
                  </a:lnTo>
                  <a:lnTo>
                    <a:pt x="135740" y="22218"/>
                  </a:lnTo>
                  <a:lnTo>
                    <a:pt x="142484" y="12343"/>
                  </a:lnTo>
                  <a:lnTo>
                    <a:pt x="159347" y="12343"/>
                  </a:lnTo>
                  <a:lnTo>
                    <a:pt x="188013" y="4114"/>
                  </a:lnTo>
                  <a:lnTo>
                    <a:pt x="208247" y="4114"/>
                  </a:lnTo>
                  <a:lnTo>
                    <a:pt x="209933" y="12343"/>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3" name="Westland">
              <a:extLst>
                <a:ext uri="{FF2B5EF4-FFF2-40B4-BE49-F238E27FC236}">
                  <a16:creationId xmlns:a16="http://schemas.microsoft.com/office/drawing/2014/main" id="{B47F4644-F50A-4126-9F55-18CF14243290}"/>
                </a:ext>
              </a:extLst>
            </p:cNvPr>
            <p:cNvSpPr/>
            <p:nvPr/>
          </p:nvSpPr>
          <p:spPr>
            <a:xfrm>
              <a:off x="4900331" y="3582724"/>
              <a:ext cx="191876" cy="174907"/>
            </a:xfrm>
            <a:custGeom>
              <a:avLst/>
              <a:gdLst/>
              <a:ahLst/>
              <a:cxnLst/>
              <a:rect l="l" t="t" r="r" b="b"/>
              <a:pathLst>
                <a:path w="280996" h="274320" extrusionOk="0">
                  <a:moveTo>
                    <a:pt x="113819" y="9052"/>
                  </a:moveTo>
                  <a:lnTo>
                    <a:pt x="115505" y="18927"/>
                  </a:lnTo>
                  <a:lnTo>
                    <a:pt x="134053" y="56782"/>
                  </a:lnTo>
                  <a:lnTo>
                    <a:pt x="130681" y="58427"/>
                  </a:lnTo>
                  <a:lnTo>
                    <a:pt x="134053" y="65011"/>
                  </a:lnTo>
                  <a:lnTo>
                    <a:pt x="145857" y="58427"/>
                  </a:lnTo>
                  <a:lnTo>
                    <a:pt x="159347" y="56782"/>
                  </a:lnTo>
                  <a:lnTo>
                    <a:pt x="169464" y="45261"/>
                  </a:lnTo>
                  <a:lnTo>
                    <a:pt x="189699" y="79824"/>
                  </a:lnTo>
                  <a:lnTo>
                    <a:pt x="226796" y="53490"/>
                  </a:lnTo>
                  <a:lnTo>
                    <a:pt x="231855" y="65011"/>
                  </a:lnTo>
                  <a:lnTo>
                    <a:pt x="235227" y="61719"/>
                  </a:lnTo>
                  <a:lnTo>
                    <a:pt x="240286" y="74886"/>
                  </a:lnTo>
                  <a:lnTo>
                    <a:pt x="243658" y="76532"/>
                  </a:lnTo>
                  <a:lnTo>
                    <a:pt x="245344" y="74886"/>
                  </a:lnTo>
                  <a:lnTo>
                    <a:pt x="245344" y="79824"/>
                  </a:lnTo>
                  <a:lnTo>
                    <a:pt x="250403" y="83115"/>
                  </a:lnTo>
                  <a:lnTo>
                    <a:pt x="247031" y="84761"/>
                  </a:lnTo>
                  <a:lnTo>
                    <a:pt x="258834" y="94637"/>
                  </a:lnTo>
                  <a:lnTo>
                    <a:pt x="252089" y="97928"/>
                  </a:lnTo>
                  <a:lnTo>
                    <a:pt x="260520" y="104512"/>
                  </a:lnTo>
                  <a:lnTo>
                    <a:pt x="268951" y="97928"/>
                  </a:lnTo>
                  <a:lnTo>
                    <a:pt x="272324" y="101220"/>
                  </a:lnTo>
                  <a:lnTo>
                    <a:pt x="279069" y="97928"/>
                  </a:lnTo>
                  <a:lnTo>
                    <a:pt x="282441" y="104512"/>
                  </a:lnTo>
                  <a:lnTo>
                    <a:pt x="213306" y="150596"/>
                  </a:lnTo>
                  <a:lnTo>
                    <a:pt x="216678" y="157179"/>
                  </a:lnTo>
                  <a:lnTo>
                    <a:pt x="236913" y="163763"/>
                  </a:lnTo>
                  <a:lnTo>
                    <a:pt x="236913" y="168700"/>
                  </a:lnTo>
                  <a:lnTo>
                    <a:pt x="241972" y="175284"/>
                  </a:lnTo>
                  <a:lnTo>
                    <a:pt x="248717" y="168700"/>
                  </a:lnTo>
                  <a:lnTo>
                    <a:pt x="253775" y="181867"/>
                  </a:lnTo>
                  <a:lnTo>
                    <a:pt x="260520" y="180221"/>
                  </a:lnTo>
                  <a:lnTo>
                    <a:pt x="260520" y="185159"/>
                  </a:lnTo>
                  <a:lnTo>
                    <a:pt x="263893" y="185159"/>
                  </a:lnTo>
                  <a:lnTo>
                    <a:pt x="270638" y="190096"/>
                  </a:lnTo>
                  <a:lnTo>
                    <a:pt x="247031" y="204909"/>
                  </a:lnTo>
                  <a:lnTo>
                    <a:pt x="250403" y="208201"/>
                  </a:lnTo>
                  <a:lnTo>
                    <a:pt x="243658" y="213138"/>
                  </a:lnTo>
                  <a:lnTo>
                    <a:pt x="241972" y="211493"/>
                  </a:lnTo>
                  <a:lnTo>
                    <a:pt x="238599" y="213138"/>
                  </a:lnTo>
                  <a:lnTo>
                    <a:pt x="236913" y="209847"/>
                  </a:lnTo>
                  <a:lnTo>
                    <a:pt x="233541" y="211493"/>
                  </a:lnTo>
                  <a:lnTo>
                    <a:pt x="225110" y="204909"/>
                  </a:lnTo>
                  <a:lnTo>
                    <a:pt x="221737" y="213138"/>
                  </a:lnTo>
                  <a:lnTo>
                    <a:pt x="230168" y="224660"/>
                  </a:lnTo>
                  <a:lnTo>
                    <a:pt x="209934" y="236181"/>
                  </a:lnTo>
                  <a:lnTo>
                    <a:pt x="194758" y="239472"/>
                  </a:lnTo>
                  <a:lnTo>
                    <a:pt x="164406" y="252639"/>
                  </a:lnTo>
                  <a:lnTo>
                    <a:pt x="164406" y="260869"/>
                  </a:lnTo>
                  <a:lnTo>
                    <a:pt x="174523" y="275682"/>
                  </a:lnTo>
                  <a:lnTo>
                    <a:pt x="174523" y="277327"/>
                  </a:lnTo>
                  <a:lnTo>
                    <a:pt x="169464" y="275682"/>
                  </a:lnTo>
                  <a:lnTo>
                    <a:pt x="161033" y="277327"/>
                  </a:lnTo>
                  <a:lnTo>
                    <a:pt x="155974" y="265806"/>
                  </a:lnTo>
                  <a:lnTo>
                    <a:pt x="142485" y="280619"/>
                  </a:lnTo>
                  <a:lnTo>
                    <a:pt x="139112" y="280619"/>
                  </a:lnTo>
                  <a:lnTo>
                    <a:pt x="113819" y="259223"/>
                  </a:lnTo>
                  <a:lnTo>
                    <a:pt x="100329" y="247702"/>
                  </a:lnTo>
                  <a:lnTo>
                    <a:pt x="93584" y="229597"/>
                  </a:lnTo>
                  <a:lnTo>
                    <a:pt x="98643" y="221368"/>
                  </a:lnTo>
                  <a:lnTo>
                    <a:pt x="93584" y="221368"/>
                  </a:lnTo>
                  <a:lnTo>
                    <a:pt x="93584" y="218076"/>
                  </a:lnTo>
                  <a:lnTo>
                    <a:pt x="76722" y="206555"/>
                  </a:lnTo>
                  <a:lnTo>
                    <a:pt x="44684" y="191742"/>
                  </a:lnTo>
                  <a:lnTo>
                    <a:pt x="46370" y="186805"/>
                  </a:lnTo>
                  <a:lnTo>
                    <a:pt x="32880" y="181867"/>
                  </a:lnTo>
                  <a:lnTo>
                    <a:pt x="39625" y="167054"/>
                  </a:lnTo>
                  <a:lnTo>
                    <a:pt x="16018" y="155533"/>
                  </a:lnTo>
                  <a:lnTo>
                    <a:pt x="9273" y="144012"/>
                  </a:lnTo>
                  <a:lnTo>
                    <a:pt x="10959" y="140721"/>
                  </a:lnTo>
                  <a:lnTo>
                    <a:pt x="4214" y="135783"/>
                  </a:lnTo>
                  <a:lnTo>
                    <a:pt x="14331" y="122616"/>
                  </a:lnTo>
                  <a:lnTo>
                    <a:pt x="12645" y="120970"/>
                  </a:lnTo>
                  <a:lnTo>
                    <a:pt x="16018" y="122616"/>
                  </a:lnTo>
                  <a:lnTo>
                    <a:pt x="19390" y="119324"/>
                  </a:lnTo>
                  <a:lnTo>
                    <a:pt x="16018" y="117679"/>
                  </a:lnTo>
                  <a:lnTo>
                    <a:pt x="19390" y="119324"/>
                  </a:lnTo>
                  <a:lnTo>
                    <a:pt x="21076" y="116033"/>
                  </a:lnTo>
                  <a:lnTo>
                    <a:pt x="17704" y="112741"/>
                  </a:lnTo>
                  <a:lnTo>
                    <a:pt x="21076" y="116033"/>
                  </a:lnTo>
                  <a:lnTo>
                    <a:pt x="24449" y="112741"/>
                  </a:lnTo>
                  <a:lnTo>
                    <a:pt x="21076" y="111095"/>
                  </a:lnTo>
                  <a:lnTo>
                    <a:pt x="24449" y="112741"/>
                  </a:lnTo>
                  <a:lnTo>
                    <a:pt x="26135" y="109449"/>
                  </a:lnTo>
                  <a:lnTo>
                    <a:pt x="22763" y="106157"/>
                  </a:lnTo>
                  <a:lnTo>
                    <a:pt x="26135" y="109449"/>
                  </a:lnTo>
                  <a:lnTo>
                    <a:pt x="29508" y="106157"/>
                  </a:lnTo>
                  <a:lnTo>
                    <a:pt x="26135" y="102866"/>
                  </a:lnTo>
                  <a:lnTo>
                    <a:pt x="29508" y="106157"/>
                  </a:lnTo>
                  <a:lnTo>
                    <a:pt x="31194" y="102866"/>
                  </a:lnTo>
                  <a:lnTo>
                    <a:pt x="26135" y="99574"/>
                  </a:lnTo>
                  <a:lnTo>
                    <a:pt x="31194" y="102866"/>
                  </a:lnTo>
                  <a:lnTo>
                    <a:pt x="34566" y="99574"/>
                  </a:lnTo>
                  <a:lnTo>
                    <a:pt x="31194" y="96282"/>
                  </a:lnTo>
                  <a:lnTo>
                    <a:pt x="34566" y="99574"/>
                  </a:lnTo>
                  <a:lnTo>
                    <a:pt x="36252" y="96282"/>
                  </a:lnTo>
                  <a:lnTo>
                    <a:pt x="31194" y="92991"/>
                  </a:lnTo>
                  <a:lnTo>
                    <a:pt x="36252" y="96282"/>
                  </a:lnTo>
                  <a:lnTo>
                    <a:pt x="39625" y="92991"/>
                  </a:lnTo>
                  <a:lnTo>
                    <a:pt x="36252" y="91345"/>
                  </a:lnTo>
                  <a:lnTo>
                    <a:pt x="39625" y="92991"/>
                  </a:lnTo>
                  <a:lnTo>
                    <a:pt x="41311" y="89699"/>
                  </a:lnTo>
                  <a:lnTo>
                    <a:pt x="36252" y="86407"/>
                  </a:lnTo>
                  <a:lnTo>
                    <a:pt x="41311" y="89699"/>
                  </a:lnTo>
                  <a:lnTo>
                    <a:pt x="42997" y="86407"/>
                  </a:lnTo>
                  <a:lnTo>
                    <a:pt x="41311" y="84761"/>
                  </a:lnTo>
                  <a:lnTo>
                    <a:pt x="44684" y="86407"/>
                  </a:lnTo>
                  <a:lnTo>
                    <a:pt x="46370" y="83115"/>
                  </a:lnTo>
                  <a:lnTo>
                    <a:pt x="41311" y="79824"/>
                  </a:lnTo>
                  <a:lnTo>
                    <a:pt x="46370" y="83115"/>
                  </a:lnTo>
                  <a:lnTo>
                    <a:pt x="49742" y="79824"/>
                  </a:lnTo>
                  <a:lnTo>
                    <a:pt x="46370" y="78178"/>
                  </a:lnTo>
                  <a:lnTo>
                    <a:pt x="49742" y="79824"/>
                  </a:lnTo>
                  <a:lnTo>
                    <a:pt x="51428" y="76532"/>
                  </a:lnTo>
                  <a:lnTo>
                    <a:pt x="46370" y="73240"/>
                  </a:lnTo>
                  <a:lnTo>
                    <a:pt x="51428" y="76532"/>
                  </a:lnTo>
                  <a:lnTo>
                    <a:pt x="54801" y="73240"/>
                  </a:lnTo>
                  <a:lnTo>
                    <a:pt x="51428" y="71595"/>
                  </a:lnTo>
                  <a:lnTo>
                    <a:pt x="54801" y="73240"/>
                  </a:lnTo>
                  <a:lnTo>
                    <a:pt x="56487" y="69949"/>
                  </a:lnTo>
                  <a:lnTo>
                    <a:pt x="53115" y="65011"/>
                  </a:lnTo>
                  <a:lnTo>
                    <a:pt x="58173" y="68303"/>
                  </a:lnTo>
                  <a:lnTo>
                    <a:pt x="59860" y="65011"/>
                  </a:lnTo>
                  <a:lnTo>
                    <a:pt x="58173" y="63365"/>
                  </a:lnTo>
                  <a:lnTo>
                    <a:pt x="61546" y="65011"/>
                  </a:lnTo>
                  <a:lnTo>
                    <a:pt x="63232" y="61719"/>
                  </a:lnTo>
                  <a:lnTo>
                    <a:pt x="59860" y="58427"/>
                  </a:lnTo>
                  <a:lnTo>
                    <a:pt x="63232" y="61719"/>
                  </a:lnTo>
                  <a:lnTo>
                    <a:pt x="64918" y="60073"/>
                  </a:lnTo>
                  <a:lnTo>
                    <a:pt x="75036" y="50198"/>
                  </a:lnTo>
                  <a:lnTo>
                    <a:pt x="73349" y="46906"/>
                  </a:lnTo>
                  <a:lnTo>
                    <a:pt x="75036" y="50198"/>
                  </a:lnTo>
                  <a:lnTo>
                    <a:pt x="81781" y="43615"/>
                  </a:lnTo>
                  <a:lnTo>
                    <a:pt x="78408" y="41969"/>
                  </a:lnTo>
                  <a:lnTo>
                    <a:pt x="81781" y="43615"/>
                  </a:lnTo>
                  <a:lnTo>
                    <a:pt x="86839" y="37031"/>
                  </a:lnTo>
                  <a:lnTo>
                    <a:pt x="83467" y="35385"/>
                  </a:lnTo>
                  <a:lnTo>
                    <a:pt x="86839" y="37031"/>
                  </a:lnTo>
                  <a:lnTo>
                    <a:pt x="108760" y="12343"/>
                  </a:lnTo>
                  <a:lnTo>
                    <a:pt x="105388" y="10698"/>
                  </a:lnTo>
                  <a:lnTo>
                    <a:pt x="108760" y="12343"/>
                  </a:lnTo>
                  <a:lnTo>
                    <a:pt x="113819" y="9052"/>
                  </a:lnTo>
                  <a:close/>
                  <a:moveTo>
                    <a:pt x="110446" y="4114"/>
                  </a:moveTo>
                  <a:lnTo>
                    <a:pt x="112133" y="4114"/>
                  </a:lnTo>
                  <a:lnTo>
                    <a:pt x="110446" y="4114"/>
                  </a:lnTo>
                  <a:lnTo>
                    <a:pt x="11044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4" name="Best">
              <a:extLst>
                <a:ext uri="{FF2B5EF4-FFF2-40B4-BE49-F238E27FC236}">
                  <a16:creationId xmlns:a16="http://schemas.microsoft.com/office/drawing/2014/main" id="{7CCFE8F7-00EB-4EC7-BD6B-019EA2DC5AA9}"/>
                </a:ext>
              </a:extLst>
            </p:cNvPr>
            <p:cNvSpPr/>
            <p:nvPr/>
          </p:nvSpPr>
          <p:spPr>
            <a:xfrm>
              <a:off x="6187080" y="4402157"/>
              <a:ext cx="102027" cy="122878"/>
            </a:xfrm>
            <a:custGeom>
              <a:avLst/>
              <a:gdLst/>
              <a:ahLst/>
              <a:cxnLst/>
              <a:rect l="l" t="t" r="r" b="b"/>
              <a:pathLst>
                <a:path w="152206" h="182880" extrusionOk="0">
                  <a:moveTo>
                    <a:pt x="90212" y="4114"/>
                  </a:moveTo>
                  <a:lnTo>
                    <a:pt x="98643" y="18927"/>
                  </a:lnTo>
                  <a:lnTo>
                    <a:pt x="100329" y="18927"/>
                  </a:lnTo>
                  <a:lnTo>
                    <a:pt x="115505" y="30448"/>
                  </a:lnTo>
                  <a:lnTo>
                    <a:pt x="117191" y="38677"/>
                  </a:lnTo>
                  <a:lnTo>
                    <a:pt x="122250" y="41969"/>
                  </a:lnTo>
                  <a:lnTo>
                    <a:pt x="125622" y="50198"/>
                  </a:lnTo>
                  <a:lnTo>
                    <a:pt x="155974" y="91345"/>
                  </a:lnTo>
                  <a:lnTo>
                    <a:pt x="144171" y="130845"/>
                  </a:lnTo>
                  <a:lnTo>
                    <a:pt x="147543" y="135783"/>
                  </a:lnTo>
                  <a:lnTo>
                    <a:pt x="102015" y="157179"/>
                  </a:lnTo>
                  <a:lnTo>
                    <a:pt x="93584" y="160471"/>
                  </a:lnTo>
                  <a:lnTo>
                    <a:pt x="85153" y="155534"/>
                  </a:lnTo>
                  <a:lnTo>
                    <a:pt x="76722" y="158825"/>
                  </a:lnTo>
                  <a:lnTo>
                    <a:pt x="75036" y="162117"/>
                  </a:lnTo>
                  <a:lnTo>
                    <a:pt x="80094" y="168700"/>
                  </a:lnTo>
                  <a:lnTo>
                    <a:pt x="75036" y="185159"/>
                  </a:lnTo>
                  <a:lnTo>
                    <a:pt x="68291" y="186805"/>
                  </a:lnTo>
                  <a:lnTo>
                    <a:pt x="68291" y="190097"/>
                  </a:lnTo>
                  <a:lnTo>
                    <a:pt x="66605" y="150596"/>
                  </a:lnTo>
                  <a:lnTo>
                    <a:pt x="61546" y="153888"/>
                  </a:lnTo>
                  <a:lnTo>
                    <a:pt x="31194" y="144013"/>
                  </a:lnTo>
                  <a:lnTo>
                    <a:pt x="14332" y="130845"/>
                  </a:lnTo>
                  <a:lnTo>
                    <a:pt x="9273" y="106158"/>
                  </a:lnTo>
                  <a:lnTo>
                    <a:pt x="5900" y="102866"/>
                  </a:lnTo>
                  <a:lnTo>
                    <a:pt x="4214" y="79824"/>
                  </a:lnTo>
                  <a:lnTo>
                    <a:pt x="7587" y="73240"/>
                  </a:lnTo>
                  <a:lnTo>
                    <a:pt x="10959" y="71595"/>
                  </a:lnTo>
                  <a:lnTo>
                    <a:pt x="10959" y="58427"/>
                  </a:lnTo>
                  <a:lnTo>
                    <a:pt x="12645" y="51844"/>
                  </a:lnTo>
                  <a:lnTo>
                    <a:pt x="29508" y="48552"/>
                  </a:lnTo>
                  <a:lnTo>
                    <a:pt x="32880" y="45261"/>
                  </a:lnTo>
                  <a:lnTo>
                    <a:pt x="16018" y="13989"/>
                  </a:lnTo>
                  <a:lnTo>
                    <a:pt x="54801" y="15635"/>
                  </a:lnTo>
                  <a:lnTo>
                    <a:pt x="90212"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5" name="Drimmelen">
              <a:extLst>
                <a:ext uri="{FF2B5EF4-FFF2-40B4-BE49-F238E27FC236}">
                  <a16:creationId xmlns:a16="http://schemas.microsoft.com/office/drawing/2014/main" id="{3407D719-1A98-46CE-BB05-850DEDAF96FB}"/>
                </a:ext>
              </a:extLst>
            </p:cNvPr>
            <p:cNvSpPr/>
            <p:nvPr/>
          </p:nvSpPr>
          <p:spPr>
            <a:xfrm>
              <a:off x="5439324" y="4049451"/>
              <a:ext cx="231475" cy="222237"/>
            </a:xfrm>
            <a:custGeom>
              <a:avLst/>
              <a:gdLst/>
              <a:ahLst/>
              <a:cxnLst/>
              <a:rect l="l" t="t" r="r" b="b"/>
              <a:pathLst>
                <a:path w="327828" h="331470" extrusionOk="0">
                  <a:moveTo>
                    <a:pt x="216678" y="4114"/>
                  </a:moveTo>
                  <a:lnTo>
                    <a:pt x="220051" y="28802"/>
                  </a:lnTo>
                  <a:lnTo>
                    <a:pt x="247030" y="25510"/>
                  </a:lnTo>
                  <a:lnTo>
                    <a:pt x="262206" y="28802"/>
                  </a:lnTo>
                  <a:lnTo>
                    <a:pt x="277383" y="35385"/>
                  </a:lnTo>
                  <a:lnTo>
                    <a:pt x="285814" y="35385"/>
                  </a:lnTo>
                  <a:lnTo>
                    <a:pt x="294245" y="35385"/>
                  </a:lnTo>
                  <a:lnTo>
                    <a:pt x="307735" y="28802"/>
                  </a:lnTo>
                  <a:lnTo>
                    <a:pt x="314479" y="27156"/>
                  </a:lnTo>
                  <a:lnTo>
                    <a:pt x="322911" y="30448"/>
                  </a:lnTo>
                  <a:lnTo>
                    <a:pt x="324597" y="43615"/>
                  </a:lnTo>
                  <a:lnTo>
                    <a:pt x="319538" y="56782"/>
                  </a:lnTo>
                  <a:lnTo>
                    <a:pt x="319538" y="71595"/>
                  </a:lnTo>
                  <a:lnTo>
                    <a:pt x="314479" y="78178"/>
                  </a:lnTo>
                  <a:lnTo>
                    <a:pt x="314479" y="104512"/>
                  </a:lnTo>
                  <a:lnTo>
                    <a:pt x="299303" y="134137"/>
                  </a:lnTo>
                  <a:lnTo>
                    <a:pt x="279069" y="137429"/>
                  </a:lnTo>
                  <a:lnTo>
                    <a:pt x="289186" y="181867"/>
                  </a:lnTo>
                  <a:lnTo>
                    <a:pt x="307735" y="214785"/>
                  </a:lnTo>
                  <a:lnTo>
                    <a:pt x="235227" y="239472"/>
                  </a:lnTo>
                  <a:lnTo>
                    <a:pt x="211620" y="250993"/>
                  </a:lnTo>
                  <a:lnTo>
                    <a:pt x="231854" y="305307"/>
                  </a:lnTo>
                  <a:lnTo>
                    <a:pt x="235227" y="305307"/>
                  </a:lnTo>
                  <a:lnTo>
                    <a:pt x="235227" y="306953"/>
                  </a:lnTo>
                  <a:lnTo>
                    <a:pt x="191385" y="336579"/>
                  </a:lnTo>
                  <a:lnTo>
                    <a:pt x="188013" y="334932"/>
                  </a:lnTo>
                  <a:lnTo>
                    <a:pt x="186326" y="325057"/>
                  </a:lnTo>
                  <a:lnTo>
                    <a:pt x="179581" y="318474"/>
                  </a:lnTo>
                  <a:lnTo>
                    <a:pt x="144171" y="302015"/>
                  </a:lnTo>
                  <a:lnTo>
                    <a:pt x="135740" y="302015"/>
                  </a:lnTo>
                  <a:lnTo>
                    <a:pt x="85153" y="313536"/>
                  </a:lnTo>
                  <a:lnTo>
                    <a:pt x="80094" y="300369"/>
                  </a:lnTo>
                  <a:lnTo>
                    <a:pt x="81780" y="290494"/>
                  </a:lnTo>
                  <a:lnTo>
                    <a:pt x="75036" y="290494"/>
                  </a:lnTo>
                  <a:lnTo>
                    <a:pt x="69977" y="278973"/>
                  </a:lnTo>
                  <a:lnTo>
                    <a:pt x="81780" y="272390"/>
                  </a:lnTo>
                  <a:lnTo>
                    <a:pt x="80094" y="264160"/>
                  </a:lnTo>
                  <a:lnTo>
                    <a:pt x="64918" y="244410"/>
                  </a:lnTo>
                  <a:lnTo>
                    <a:pt x="103701" y="227951"/>
                  </a:lnTo>
                  <a:lnTo>
                    <a:pt x="98643" y="219722"/>
                  </a:lnTo>
                  <a:lnTo>
                    <a:pt x="95270" y="221368"/>
                  </a:lnTo>
                  <a:lnTo>
                    <a:pt x="91898" y="211493"/>
                  </a:lnTo>
                  <a:lnTo>
                    <a:pt x="95270" y="209847"/>
                  </a:lnTo>
                  <a:lnTo>
                    <a:pt x="83467" y="193388"/>
                  </a:lnTo>
                  <a:lnTo>
                    <a:pt x="76722" y="208201"/>
                  </a:lnTo>
                  <a:lnTo>
                    <a:pt x="59860" y="191742"/>
                  </a:lnTo>
                  <a:lnTo>
                    <a:pt x="56487" y="196680"/>
                  </a:lnTo>
                  <a:lnTo>
                    <a:pt x="46370" y="190096"/>
                  </a:lnTo>
                  <a:lnTo>
                    <a:pt x="37939" y="195034"/>
                  </a:lnTo>
                  <a:lnTo>
                    <a:pt x="26135" y="170346"/>
                  </a:lnTo>
                  <a:lnTo>
                    <a:pt x="21076" y="145658"/>
                  </a:lnTo>
                  <a:lnTo>
                    <a:pt x="12645" y="139075"/>
                  </a:lnTo>
                  <a:lnTo>
                    <a:pt x="4214" y="116033"/>
                  </a:lnTo>
                  <a:lnTo>
                    <a:pt x="53115" y="102866"/>
                  </a:lnTo>
                  <a:lnTo>
                    <a:pt x="54801" y="114387"/>
                  </a:lnTo>
                  <a:lnTo>
                    <a:pt x="86839" y="111095"/>
                  </a:lnTo>
                  <a:lnTo>
                    <a:pt x="122250" y="81470"/>
                  </a:lnTo>
                  <a:lnTo>
                    <a:pt x="140798" y="76532"/>
                  </a:lnTo>
                  <a:lnTo>
                    <a:pt x="147543" y="65011"/>
                  </a:lnTo>
                  <a:lnTo>
                    <a:pt x="162719" y="51844"/>
                  </a:lnTo>
                  <a:lnTo>
                    <a:pt x="167778" y="38677"/>
                  </a:lnTo>
                  <a:lnTo>
                    <a:pt x="174523" y="32094"/>
                  </a:lnTo>
                  <a:lnTo>
                    <a:pt x="188013" y="20573"/>
                  </a:lnTo>
                  <a:lnTo>
                    <a:pt x="191385" y="22218"/>
                  </a:lnTo>
                  <a:lnTo>
                    <a:pt x="199816" y="20573"/>
                  </a:lnTo>
                  <a:lnTo>
                    <a:pt x="209934" y="9052"/>
                  </a:lnTo>
                  <a:lnTo>
                    <a:pt x="213306" y="10698"/>
                  </a:lnTo>
                  <a:lnTo>
                    <a:pt x="213306" y="4114"/>
                  </a:lnTo>
                  <a:lnTo>
                    <a:pt x="216678"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6" name="Westvoorne">
              <a:extLst>
                <a:ext uri="{FF2B5EF4-FFF2-40B4-BE49-F238E27FC236}">
                  <a16:creationId xmlns:a16="http://schemas.microsoft.com/office/drawing/2014/main" id="{65E69B57-A931-4E90-B22A-8AEFCDB37C87}"/>
                </a:ext>
              </a:extLst>
            </p:cNvPr>
            <p:cNvSpPr/>
            <p:nvPr/>
          </p:nvSpPr>
          <p:spPr>
            <a:xfrm>
              <a:off x="4759460" y="3767514"/>
              <a:ext cx="172076" cy="146628"/>
            </a:xfrm>
            <a:custGeom>
              <a:avLst/>
              <a:gdLst/>
              <a:ahLst/>
              <a:cxnLst/>
              <a:rect l="l" t="t" r="r" b="b"/>
              <a:pathLst>
                <a:path w="257579" h="217170" extrusionOk="0">
                  <a:moveTo>
                    <a:pt x="7587" y="50198"/>
                  </a:moveTo>
                  <a:lnTo>
                    <a:pt x="7587" y="51844"/>
                  </a:lnTo>
                  <a:lnTo>
                    <a:pt x="4214" y="50198"/>
                  </a:lnTo>
                  <a:lnTo>
                    <a:pt x="7587" y="50198"/>
                  </a:lnTo>
                  <a:close/>
                  <a:moveTo>
                    <a:pt x="7587" y="50198"/>
                  </a:moveTo>
                  <a:lnTo>
                    <a:pt x="5900" y="50198"/>
                  </a:lnTo>
                  <a:lnTo>
                    <a:pt x="7587" y="48552"/>
                  </a:lnTo>
                  <a:lnTo>
                    <a:pt x="7587" y="50198"/>
                  </a:lnTo>
                  <a:close/>
                  <a:moveTo>
                    <a:pt x="32880" y="46906"/>
                  </a:moveTo>
                  <a:lnTo>
                    <a:pt x="27821" y="48552"/>
                  </a:lnTo>
                  <a:lnTo>
                    <a:pt x="27821" y="46906"/>
                  </a:lnTo>
                  <a:lnTo>
                    <a:pt x="32880" y="46906"/>
                  </a:lnTo>
                  <a:close/>
                  <a:moveTo>
                    <a:pt x="36252" y="45260"/>
                  </a:moveTo>
                  <a:lnTo>
                    <a:pt x="24449" y="51844"/>
                  </a:lnTo>
                  <a:lnTo>
                    <a:pt x="24449" y="48552"/>
                  </a:lnTo>
                  <a:lnTo>
                    <a:pt x="36252" y="45260"/>
                  </a:lnTo>
                  <a:close/>
                  <a:moveTo>
                    <a:pt x="182954" y="5760"/>
                  </a:moveTo>
                  <a:lnTo>
                    <a:pt x="236913" y="17281"/>
                  </a:lnTo>
                  <a:lnTo>
                    <a:pt x="233541" y="27156"/>
                  </a:lnTo>
                  <a:lnTo>
                    <a:pt x="248717" y="38677"/>
                  </a:lnTo>
                  <a:lnTo>
                    <a:pt x="238599" y="60073"/>
                  </a:lnTo>
                  <a:lnTo>
                    <a:pt x="231854" y="56781"/>
                  </a:lnTo>
                  <a:lnTo>
                    <a:pt x="223423" y="63365"/>
                  </a:lnTo>
                  <a:lnTo>
                    <a:pt x="221737" y="76532"/>
                  </a:lnTo>
                  <a:lnTo>
                    <a:pt x="243658" y="107803"/>
                  </a:lnTo>
                  <a:lnTo>
                    <a:pt x="250403" y="124262"/>
                  </a:lnTo>
                  <a:lnTo>
                    <a:pt x="258834" y="132491"/>
                  </a:lnTo>
                  <a:lnTo>
                    <a:pt x="226796" y="144012"/>
                  </a:lnTo>
                  <a:lnTo>
                    <a:pt x="221737" y="142367"/>
                  </a:lnTo>
                  <a:lnTo>
                    <a:pt x="221737" y="145658"/>
                  </a:lnTo>
                  <a:lnTo>
                    <a:pt x="211620" y="150596"/>
                  </a:lnTo>
                  <a:lnTo>
                    <a:pt x="206561" y="163763"/>
                  </a:lnTo>
                  <a:lnTo>
                    <a:pt x="194758" y="173638"/>
                  </a:lnTo>
                  <a:lnTo>
                    <a:pt x="196444" y="186805"/>
                  </a:lnTo>
                  <a:lnTo>
                    <a:pt x="189699" y="190096"/>
                  </a:lnTo>
                  <a:lnTo>
                    <a:pt x="191385" y="193388"/>
                  </a:lnTo>
                  <a:lnTo>
                    <a:pt x="161033" y="204909"/>
                  </a:lnTo>
                  <a:lnTo>
                    <a:pt x="147543" y="204909"/>
                  </a:lnTo>
                  <a:lnTo>
                    <a:pt x="140798" y="211493"/>
                  </a:lnTo>
                  <a:lnTo>
                    <a:pt x="137426" y="218076"/>
                  </a:lnTo>
                  <a:lnTo>
                    <a:pt x="113819" y="223014"/>
                  </a:lnTo>
                  <a:lnTo>
                    <a:pt x="112133" y="206555"/>
                  </a:lnTo>
                  <a:lnTo>
                    <a:pt x="61546" y="127554"/>
                  </a:lnTo>
                  <a:lnTo>
                    <a:pt x="58173" y="120970"/>
                  </a:lnTo>
                  <a:lnTo>
                    <a:pt x="63232" y="106157"/>
                  </a:lnTo>
                  <a:lnTo>
                    <a:pt x="73349" y="86407"/>
                  </a:lnTo>
                  <a:lnTo>
                    <a:pt x="85153" y="69949"/>
                  </a:lnTo>
                  <a:lnTo>
                    <a:pt x="78408" y="84761"/>
                  </a:lnTo>
                  <a:lnTo>
                    <a:pt x="83467" y="79823"/>
                  </a:lnTo>
                  <a:lnTo>
                    <a:pt x="95270" y="56781"/>
                  </a:lnTo>
                  <a:lnTo>
                    <a:pt x="95270" y="63365"/>
                  </a:lnTo>
                  <a:lnTo>
                    <a:pt x="100329" y="60073"/>
                  </a:lnTo>
                  <a:lnTo>
                    <a:pt x="100329" y="55136"/>
                  </a:lnTo>
                  <a:lnTo>
                    <a:pt x="95270" y="46906"/>
                  </a:lnTo>
                  <a:lnTo>
                    <a:pt x="103701" y="53490"/>
                  </a:lnTo>
                  <a:lnTo>
                    <a:pt x="86839" y="37031"/>
                  </a:lnTo>
                  <a:lnTo>
                    <a:pt x="75036" y="32094"/>
                  </a:lnTo>
                  <a:lnTo>
                    <a:pt x="49742" y="38677"/>
                  </a:lnTo>
                  <a:lnTo>
                    <a:pt x="54801" y="40323"/>
                  </a:lnTo>
                  <a:lnTo>
                    <a:pt x="41311" y="40323"/>
                  </a:lnTo>
                  <a:lnTo>
                    <a:pt x="17704" y="48552"/>
                  </a:lnTo>
                  <a:lnTo>
                    <a:pt x="26135" y="56781"/>
                  </a:lnTo>
                  <a:lnTo>
                    <a:pt x="26135" y="60073"/>
                  </a:lnTo>
                  <a:lnTo>
                    <a:pt x="29507" y="56781"/>
                  </a:lnTo>
                  <a:lnTo>
                    <a:pt x="29507" y="61719"/>
                  </a:lnTo>
                  <a:lnTo>
                    <a:pt x="26135" y="60073"/>
                  </a:lnTo>
                  <a:lnTo>
                    <a:pt x="19390" y="51844"/>
                  </a:lnTo>
                  <a:lnTo>
                    <a:pt x="7587" y="48552"/>
                  </a:lnTo>
                  <a:lnTo>
                    <a:pt x="112133" y="12343"/>
                  </a:lnTo>
                  <a:lnTo>
                    <a:pt x="128995" y="9052"/>
                  </a:lnTo>
                  <a:lnTo>
                    <a:pt x="157661" y="12343"/>
                  </a:lnTo>
                  <a:lnTo>
                    <a:pt x="171150" y="35385"/>
                  </a:lnTo>
                  <a:lnTo>
                    <a:pt x="171150" y="25510"/>
                  </a:lnTo>
                  <a:lnTo>
                    <a:pt x="176209" y="10697"/>
                  </a:lnTo>
                  <a:lnTo>
                    <a:pt x="179582" y="4114"/>
                  </a:lnTo>
                  <a:lnTo>
                    <a:pt x="182954" y="5760"/>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7" name="Scherpenzeel">
              <a:extLst>
                <a:ext uri="{FF2B5EF4-FFF2-40B4-BE49-F238E27FC236}">
                  <a16:creationId xmlns:a16="http://schemas.microsoft.com/office/drawing/2014/main" id="{F641EE85-18EE-4613-A461-D15953A1DAD4}"/>
                </a:ext>
              </a:extLst>
            </p:cNvPr>
            <p:cNvSpPr/>
            <p:nvPr/>
          </p:nvSpPr>
          <p:spPr>
            <a:xfrm>
              <a:off x="6301072" y="3504336"/>
              <a:ext cx="91753" cy="66142"/>
            </a:xfrm>
            <a:custGeom>
              <a:avLst/>
              <a:gdLst/>
              <a:ahLst/>
              <a:cxnLst/>
              <a:rect l="l" t="t" r="r" b="b"/>
              <a:pathLst>
                <a:path w="128789" h="102870" extrusionOk="0">
                  <a:moveTo>
                    <a:pt x="93584" y="28802"/>
                  </a:moveTo>
                  <a:lnTo>
                    <a:pt x="96957" y="28802"/>
                  </a:lnTo>
                  <a:lnTo>
                    <a:pt x="102015" y="20573"/>
                  </a:lnTo>
                  <a:lnTo>
                    <a:pt x="105388" y="28802"/>
                  </a:lnTo>
                  <a:lnTo>
                    <a:pt x="115505" y="25510"/>
                  </a:lnTo>
                  <a:lnTo>
                    <a:pt x="117191" y="30448"/>
                  </a:lnTo>
                  <a:lnTo>
                    <a:pt x="127309" y="35385"/>
                  </a:lnTo>
                  <a:lnTo>
                    <a:pt x="120564" y="46906"/>
                  </a:lnTo>
                  <a:lnTo>
                    <a:pt x="125622" y="48552"/>
                  </a:lnTo>
                  <a:lnTo>
                    <a:pt x="123936" y="58427"/>
                  </a:lnTo>
                  <a:lnTo>
                    <a:pt x="113819" y="55136"/>
                  </a:lnTo>
                  <a:lnTo>
                    <a:pt x="107074" y="66657"/>
                  </a:lnTo>
                  <a:lnTo>
                    <a:pt x="115505" y="68303"/>
                  </a:lnTo>
                  <a:lnTo>
                    <a:pt x="115505" y="73240"/>
                  </a:lnTo>
                  <a:lnTo>
                    <a:pt x="102015" y="84761"/>
                  </a:lnTo>
                  <a:lnTo>
                    <a:pt x="96957" y="79824"/>
                  </a:lnTo>
                  <a:lnTo>
                    <a:pt x="81780" y="81470"/>
                  </a:lnTo>
                  <a:lnTo>
                    <a:pt x="81780" y="86407"/>
                  </a:lnTo>
                  <a:lnTo>
                    <a:pt x="75036" y="86407"/>
                  </a:lnTo>
                  <a:lnTo>
                    <a:pt x="73349" y="94636"/>
                  </a:lnTo>
                  <a:lnTo>
                    <a:pt x="69977" y="94636"/>
                  </a:lnTo>
                  <a:lnTo>
                    <a:pt x="66604" y="99574"/>
                  </a:lnTo>
                  <a:lnTo>
                    <a:pt x="58173" y="97928"/>
                  </a:lnTo>
                  <a:lnTo>
                    <a:pt x="42997" y="104512"/>
                  </a:lnTo>
                  <a:lnTo>
                    <a:pt x="17704" y="89699"/>
                  </a:lnTo>
                  <a:lnTo>
                    <a:pt x="14331" y="83116"/>
                  </a:lnTo>
                  <a:lnTo>
                    <a:pt x="4214" y="78178"/>
                  </a:lnTo>
                  <a:lnTo>
                    <a:pt x="5900" y="73240"/>
                  </a:lnTo>
                  <a:lnTo>
                    <a:pt x="12645" y="71594"/>
                  </a:lnTo>
                  <a:lnTo>
                    <a:pt x="24449" y="56782"/>
                  </a:lnTo>
                  <a:lnTo>
                    <a:pt x="46370" y="45261"/>
                  </a:lnTo>
                  <a:lnTo>
                    <a:pt x="42997" y="17281"/>
                  </a:lnTo>
                  <a:lnTo>
                    <a:pt x="58173" y="4114"/>
                  </a:lnTo>
                  <a:lnTo>
                    <a:pt x="68291" y="4114"/>
                  </a:lnTo>
                  <a:lnTo>
                    <a:pt x="78408" y="10698"/>
                  </a:lnTo>
                  <a:lnTo>
                    <a:pt x="83467" y="10698"/>
                  </a:lnTo>
                  <a:lnTo>
                    <a:pt x="93584" y="2880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8" name="Losser">
              <a:extLst>
                <a:ext uri="{FF2B5EF4-FFF2-40B4-BE49-F238E27FC236}">
                  <a16:creationId xmlns:a16="http://schemas.microsoft.com/office/drawing/2014/main" id="{56C494FD-1417-4CD9-878A-BECC8178904F}"/>
                </a:ext>
              </a:extLst>
            </p:cNvPr>
            <p:cNvSpPr/>
            <p:nvPr/>
          </p:nvSpPr>
          <p:spPr>
            <a:xfrm>
              <a:off x="7839229" y="3047134"/>
              <a:ext cx="176927" cy="263014"/>
            </a:xfrm>
            <a:custGeom>
              <a:avLst/>
              <a:gdLst/>
              <a:ahLst/>
              <a:cxnLst/>
              <a:rect l="l" t="t" r="r" b="b"/>
              <a:pathLst>
                <a:path w="210747" h="388620" extrusionOk="0">
                  <a:moveTo>
                    <a:pt x="105388" y="37031"/>
                  </a:moveTo>
                  <a:lnTo>
                    <a:pt x="113819" y="41969"/>
                  </a:lnTo>
                  <a:lnTo>
                    <a:pt x="118878" y="40323"/>
                  </a:lnTo>
                  <a:lnTo>
                    <a:pt x="209934" y="17281"/>
                  </a:lnTo>
                  <a:lnTo>
                    <a:pt x="211620" y="68303"/>
                  </a:lnTo>
                  <a:lnTo>
                    <a:pt x="188013" y="102866"/>
                  </a:lnTo>
                  <a:lnTo>
                    <a:pt x="188013" y="116033"/>
                  </a:lnTo>
                  <a:lnTo>
                    <a:pt x="174523" y="137429"/>
                  </a:lnTo>
                  <a:lnTo>
                    <a:pt x="176209" y="145658"/>
                  </a:lnTo>
                  <a:lnTo>
                    <a:pt x="172837" y="153888"/>
                  </a:lnTo>
                  <a:lnTo>
                    <a:pt x="176209" y="157179"/>
                  </a:lnTo>
                  <a:lnTo>
                    <a:pt x="162720" y="165409"/>
                  </a:lnTo>
                  <a:lnTo>
                    <a:pt x="167778" y="167054"/>
                  </a:lnTo>
                  <a:lnTo>
                    <a:pt x="164406" y="175284"/>
                  </a:lnTo>
                  <a:lnTo>
                    <a:pt x="155974" y="188451"/>
                  </a:lnTo>
                  <a:lnTo>
                    <a:pt x="145857" y="214785"/>
                  </a:lnTo>
                  <a:lnTo>
                    <a:pt x="145857" y="226306"/>
                  </a:lnTo>
                  <a:lnTo>
                    <a:pt x="150916" y="239472"/>
                  </a:lnTo>
                  <a:lnTo>
                    <a:pt x="147543" y="247702"/>
                  </a:lnTo>
                  <a:lnTo>
                    <a:pt x="149230" y="259223"/>
                  </a:lnTo>
                  <a:lnTo>
                    <a:pt x="155974" y="262514"/>
                  </a:lnTo>
                  <a:lnTo>
                    <a:pt x="171151" y="300369"/>
                  </a:lnTo>
                  <a:lnTo>
                    <a:pt x="208247" y="334932"/>
                  </a:lnTo>
                  <a:lnTo>
                    <a:pt x="201503" y="351391"/>
                  </a:lnTo>
                  <a:lnTo>
                    <a:pt x="167778" y="369496"/>
                  </a:lnTo>
                  <a:lnTo>
                    <a:pt x="149230" y="374433"/>
                  </a:lnTo>
                  <a:lnTo>
                    <a:pt x="140799" y="374433"/>
                  </a:lnTo>
                  <a:lnTo>
                    <a:pt x="139112" y="376079"/>
                  </a:lnTo>
                  <a:lnTo>
                    <a:pt x="128995" y="371142"/>
                  </a:lnTo>
                  <a:lnTo>
                    <a:pt x="113819" y="367850"/>
                  </a:lnTo>
                  <a:lnTo>
                    <a:pt x="103701" y="372787"/>
                  </a:lnTo>
                  <a:lnTo>
                    <a:pt x="96957" y="371142"/>
                  </a:lnTo>
                  <a:lnTo>
                    <a:pt x="86839" y="376079"/>
                  </a:lnTo>
                  <a:lnTo>
                    <a:pt x="86839" y="381017"/>
                  </a:lnTo>
                  <a:lnTo>
                    <a:pt x="80094" y="387600"/>
                  </a:lnTo>
                  <a:lnTo>
                    <a:pt x="56487" y="364558"/>
                  </a:lnTo>
                  <a:lnTo>
                    <a:pt x="54801" y="349745"/>
                  </a:lnTo>
                  <a:lnTo>
                    <a:pt x="64919" y="331641"/>
                  </a:lnTo>
                  <a:lnTo>
                    <a:pt x="66605" y="321766"/>
                  </a:lnTo>
                  <a:lnTo>
                    <a:pt x="59860" y="275682"/>
                  </a:lnTo>
                  <a:lnTo>
                    <a:pt x="24449" y="242764"/>
                  </a:lnTo>
                  <a:lnTo>
                    <a:pt x="14332" y="236181"/>
                  </a:lnTo>
                  <a:lnTo>
                    <a:pt x="7587" y="219722"/>
                  </a:lnTo>
                  <a:lnTo>
                    <a:pt x="16018" y="221368"/>
                  </a:lnTo>
                  <a:lnTo>
                    <a:pt x="24449" y="214785"/>
                  </a:lnTo>
                  <a:lnTo>
                    <a:pt x="17705" y="201618"/>
                  </a:lnTo>
                  <a:lnTo>
                    <a:pt x="29508" y="176930"/>
                  </a:lnTo>
                  <a:lnTo>
                    <a:pt x="24449" y="163763"/>
                  </a:lnTo>
                  <a:lnTo>
                    <a:pt x="26136" y="158825"/>
                  </a:lnTo>
                  <a:lnTo>
                    <a:pt x="27821" y="158825"/>
                  </a:lnTo>
                  <a:lnTo>
                    <a:pt x="27821" y="150596"/>
                  </a:lnTo>
                  <a:lnTo>
                    <a:pt x="21077" y="150596"/>
                  </a:lnTo>
                  <a:lnTo>
                    <a:pt x="21077" y="147304"/>
                  </a:lnTo>
                  <a:lnTo>
                    <a:pt x="17705" y="144012"/>
                  </a:lnTo>
                  <a:lnTo>
                    <a:pt x="4214" y="142367"/>
                  </a:lnTo>
                  <a:lnTo>
                    <a:pt x="9273" y="119324"/>
                  </a:lnTo>
                  <a:lnTo>
                    <a:pt x="32880" y="116033"/>
                  </a:lnTo>
                  <a:lnTo>
                    <a:pt x="29508" y="106158"/>
                  </a:lnTo>
                  <a:lnTo>
                    <a:pt x="31194" y="99574"/>
                  </a:lnTo>
                  <a:lnTo>
                    <a:pt x="44684" y="83116"/>
                  </a:lnTo>
                  <a:lnTo>
                    <a:pt x="58174" y="79824"/>
                  </a:lnTo>
                  <a:lnTo>
                    <a:pt x="44684" y="43615"/>
                  </a:lnTo>
                  <a:lnTo>
                    <a:pt x="56487" y="4114"/>
                  </a:lnTo>
                  <a:lnTo>
                    <a:pt x="78409" y="22219"/>
                  </a:lnTo>
                  <a:lnTo>
                    <a:pt x="105388" y="3703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69" name="Woerden">
              <a:extLst>
                <a:ext uri="{FF2B5EF4-FFF2-40B4-BE49-F238E27FC236}">
                  <a16:creationId xmlns:a16="http://schemas.microsoft.com/office/drawing/2014/main" id="{BA9E72AD-4D4A-4827-BC99-789A26119CCE}"/>
                </a:ext>
              </a:extLst>
            </p:cNvPr>
            <p:cNvSpPr/>
            <p:nvPr/>
          </p:nvSpPr>
          <p:spPr>
            <a:xfrm>
              <a:off x="5601276" y="3414809"/>
              <a:ext cx="221950" cy="165561"/>
            </a:xfrm>
            <a:custGeom>
              <a:avLst/>
              <a:gdLst/>
              <a:ahLst/>
              <a:cxnLst/>
              <a:rect l="l" t="t" r="r" b="b"/>
              <a:pathLst>
                <a:path w="327828" h="240030" extrusionOk="0">
                  <a:moveTo>
                    <a:pt x="176209" y="4114"/>
                  </a:moveTo>
                  <a:lnTo>
                    <a:pt x="184640" y="4114"/>
                  </a:lnTo>
                  <a:lnTo>
                    <a:pt x="186326" y="7405"/>
                  </a:lnTo>
                  <a:lnTo>
                    <a:pt x="186326" y="46906"/>
                  </a:lnTo>
                  <a:lnTo>
                    <a:pt x="204875" y="38677"/>
                  </a:lnTo>
                  <a:lnTo>
                    <a:pt x="221737" y="60073"/>
                  </a:lnTo>
                  <a:lnTo>
                    <a:pt x="235227" y="86407"/>
                  </a:lnTo>
                  <a:lnTo>
                    <a:pt x="262207" y="73240"/>
                  </a:lnTo>
                  <a:lnTo>
                    <a:pt x="287500" y="122616"/>
                  </a:lnTo>
                  <a:lnTo>
                    <a:pt x="290872" y="124262"/>
                  </a:lnTo>
                  <a:lnTo>
                    <a:pt x="289186" y="132491"/>
                  </a:lnTo>
                  <a:lnTo>
                    <a:pt x="284127" y="134137"/>
                  </a:lnTo>
                  <a:lnTo>
                    <a:pt x="279069" y="150595"/>
                  </a:lnTo>
                  <a:lnTo>
                    <a:pt x="284127" y="153887"/>
                  </a:lnTo>
                  <a:lnTo>
                    <a:pt x="304362" y="152242"/>
                  </a:lnTo>
                  <a:lnTo>
                    <a:pt x="311107" y="176929"/>
                  </a:lnTo>
                  <a:lnTo>
                    <a:pt x="327969" y="181867"/>
                  </a:lnTo>
                  <a:lnTo>
                    <a:pt x="319538" y="236181"/>
                  </a:lnTo>
                  <a:lnTo>
                    <a:pt x="314480" y="232889"/>
                  </a:lnTo>
                  <a:lnTo>
                    <a:pt x="294245" y="237826"/>
                  </a:lnTo>
                  <a:lnTo>
                    <a:pt x="275696" y="232889"/>
                  </a:lnTo>
                  <a:lnTo>
                    <a:pt x="253775" y="236181"/>
                  </a:lnTo>
                  <a:lnTo>
                    <a:pt x="253775" y="224660"/>
                  </a:lnTo>
                  <a:lnTo>
                    <a:pt x="223423" y="201617"/>
                  </a:lnTo>
                  <a:lnTo>
                    <a:pt x="204875" y="208201"/>
                  </a:lnTo>
                  <a:lnTo>
                    <a:pt x="176209" y="226305"/>
                  </a:lnTo>
                  <a:lnTo>
                    <a:pt x="172837" y="224660"/>
                  </a:lnTo>
                  <a:lnTo>
                    <a:pt x="128995" y="229597"/>
                  </a:lnTo>
                  <a:lnTo>
                    <a:pt x="80094" y="227951"/>
                  </a:lnTo>
                  <a:lnTo>
                    <a:pt x="59860" y="232889"/>
                  </a:lnTo>
                  <a:lnTo>
                    <a:pt x="66604" y="218076"/>
                  </a:lnTo>
                  <a:lnTo>
                    <a:pt x="64918" y="218076"/>
                  </a:lnTo>
                  <a:lnTo>
                    <a:pt x="64918" y="213138"/>
                  </a:lnTo>
                  <a:lnTo>
                    <a:pt x="54801" y="213138"/>
                  </a:lnTo>
                  <a:lnTo>
                    <a:pt x="51428" y="168700"/>
                  </a:lnTo>
                  <a:lnTo>
                    <a:pt x="51428" y="139075"/>
                  </a:lnTo>
                  <a:lnTo>
                    <a:pt x="54801" y="135783"/>
                  </a:lnTo>
                  <a:lnTo>
                    <a:pt x="4214" y="97928"/>
                  </a:lnTo>
                  <a:lnTo>
                    <a:pt x="4214" y="96282"/>
                  </a:lnTo>
                  <a:lnTo>
                    <a:pt x="14331" y="91345"/>
                  </a:lnTo>
                  <a:lnTo>
                    <a:pt x="19390" y="91345"/>
                  </a:lnTo>
                  <a:lnTo>
                    <a:pt x="26135" y="86407"/>
                  </a:lnTo>
                  <a:lnTo>
                    <a:pt x="29507" y="74886"/>
                  </a:lnTo>
                  <a:lnTo>
                    <a:pt x="27821" y="68302"/>
                  </a:lnTo>
                  <a:lnTo>
                    <a:pt x="36252" y="55136"/>
                  </a:lnTo>
                  <a:lnTo>
                    <a:pt x="41311" y="56781"/>
                  </a:lnTo>
                  <a:lnTo>
                    <a:pt x="48056" y="50198"/>
                  </a:lnTo>
                  <a:lnTo>
                    <a:pt x="56487" y="50198"/>
                  </a:lnTo>
                  <a:lnTo>
                    <a:pt x="66604" y="43615"/>
                  </a:lnTo>
                  <a:lnTo>
                    <a:pt x="68291" y="48552"/>
                  </a:lnTo>
                  <a:lnTo>
                    <a:pt x="71663" y="48552"/>
                  </a:lnTo>
                  <a:lnTo>
                    <a:pt x="73349" y="53490"/>
                  </a:lnTo>
                  <a:lnTo>
                    <a:pt x="78408" y="51844"/>
                  </a:lnTo>
                  <a:lnTo>
                    <a:pt x="81780" y="56781"/>
                  </a:lnTo>
                  <a:lnTo>
                    <a:pt x="95270" y="56781"/>
                  </a:lnTo>
                  <a:lnTo>
                    <a:pt x="100329" y="63365"/>
                  </a:lnTo>
                  <a:lnTo>
                    <a:pt x="130681" y="58427"/>
                  </a:lnTo>
                  <a:lnTo>
                    <a:pt x="128995" y="17281"/>
                  </a:lnTo>
                  <a:lnTo>
                    <a:pt x="157661" y="4114"/>
                  </a:lnTo>
                  <a:lnTo>
                    <a:pt x="17620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0" name="Gouda">
              <a:extLst>
                <a:ext uri="{FF2B5EF4-FFF2-40B4-BE49-F238E27FC236}">
                  <a16:creationId xmlns:a16="http://schemas.microsoft.com/office/drawing/2014/main" id="{A1410CD9-F18A-4CEB-BBF4-EF9311AC57C0}"/>
                </a:ext>
              </a:extLst>
            </p:cNvPr>
            <p:cNvSpPr/>
            <p:nvPr/>
          </p:nvSpPr>
          <p:spPr>
            <a:xfrm>
              <a:off x="5465765" y="3612391"/>
              <a:ext cx="100122" cy="71020"/>
            </a:xfrm>
            <a:custGeom>
              <a:avLst/>
              <a:gdLst/>
              <a:ahLst/>
              <a:cxnLst/>
              <a:rect l="l" t="t" r="r" b="b"/>
              <a:pathLst>
                <a:path w="152206" h="102870" extrusionOk="0">
                  <a:moveTo>
                    <a:pt x="96957" y="15635"/>
                  </a:moveTo>
                  <a:lnTo>
                    <a:pt x="95270" y="37031"/>
                  </a:lnTo>
                  <a:lnTo>
                    <a:pt x="118877" y="40323"/>
                  </a:lnTo>
                  <a:lnTo>
                    <a:pt x="122250" y="46907"/>
                  </a:lnTo>
                  <a:lnTo>
                    <a:pt x="132367" y="46907"/>
                  </a:lnTo>
                  <a:lnTo>
                    <a:pt x="135740" y="60074"/>
                  </a:lnTo>
                  <a:lnTo>
                    <a:pt x="140798" y="61719"/>
                  </a:lnTo>
                  <a:lnTo>
                    <a:pt x="142485" y="68303"/>
                  </a:lnTo>
                  <a:lnTo>
                    <a:pt x="152602" y="97928"/>
                  </a:lnTo>
                  <a:lnTo>
                    <a:pt x="134053" y="94637"/>
                  </a:lnTo>
                  <a:lnTo>
                    <a:pt x="122250" y="84761"/>
                  </a:lnTo>
                  <a:lnTo>
                    <a:pt x="122250" y="86407"/>
                  </a:lnTo>
                  <a:lnTo>
                    <a:pt x="110446" y="83116"/>
                  </a:lnTo>
                  <a:lnTo>
                    <a:pt x="100329" y="88053"/>
                  </a:lnTo>
                  <a:lnTo>
                    <a:pt x="107074" y="97928"/>
                  </a:lnTo>
                  <a:lnTo>
                    <a:pt x="93584" y="104512"/>
                  </a:lnTo>
                  <a:lnTo>
                    <a:pt x="86839" y="99574"/>
                  </a:lnTo>
                  <a:lnTo>
                    <a:pt x="85153" y="102866"/>
                  </a:lnTo>
                  <a:lnTo>
                    <a:pt x="76722" y="96282"/>
                  </a:lnTo>
                  <a:lnTo>
                    <a:pt x="64918" y="107803"/>
                  </a:lnTo>
                  <a:lnTo>
                    <a:pt x="48056" y="109449"/>
                  </a:lnTo>
                  <a:lnTo>
                    <a:pt x="41311" y="106158"/>
                  </a:lnTo>
                  <a:lnTo>
                    <a:pt x="34566" y="109449"/>
                  </a:lnTo>
                  <a:lnTo>
                    <a:pt x="21076" y="94637"/>
                  </a:lnTo>
                  <a:lnTo>
                    <a:pt x="9273" y="92991"/>
                  </a:lnTo>
                  <a:lnTo>
                    <a:pt x="4214" y="88053"/>
                  </a:lnTo>
                  <a:lnTo>
                    <a:pt x="21076" y="73240"/>
                  </a:lnTo>
                  <a:lnTo>
                    <a:pt x="14332" y="68303"/>
                  </a:lnTo>
                  <a:lnTo>
                    <a:pt x="27821" y="58427"/>
                  </a:lnTo>
                  <a:lnTo>
                    <a:pt x="37939" y="53490"/>
                  </a:lnTo>
                  <a:lnTo>
                    <a:pt x="32880" y="48552"/>
                  </a:lnTo>
                  <a:lnTo>
                    <a:pt x="19390" y="45261"/>
                  </a:lnTo>
                  <a:lnTo>
                    <a:pt x="16018" y="40323"/>
                  </a:lnTo>
                  <a:lnTo>
                    <a:pt x="44684" y="27156"/>
                  </a:lnTo>
                  <a:lnTo>
                    <a:pt x="75036" y="4114"/>
                  </a:lnTo>
                  <a:lnTo>
                    <a:pt x="90212" y="9052"/>
                  </a:lnTo>
                  <a:lnTo>
                    <a:pt x="93584" y="15635"/>
                  </a:lnTo>
                  <a:lnTo>
                    <a:pt x="96957" y="15635"/>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1" name="De Fryske Marren">
              <a:extLst>
                <a:ext uri="{FF2B5EF4-FFF2-40B4-BE49-F238E27FC236}">
                  <a16:creationId xmlns:a16="http://schemas.microsoft.com/office/drawing/2014/main" id="{DE8ACB92-779B-4897-9359-87E0F49B92DE}"/>
                </a:ext>
              </a:extLst>
            </p:cNvPr>
            <p:cNvSpPr/>
            <p:nvPr/>
          </p:nvSpPr>
          <p:spPr>
            <a:xfrm>
              <a:off x="6268434" y="1979223"/>
              <a:ext cx="530484" cy="404705"/>
            </a:xfrm>
            <a:custGeom>
              <a:avLst/>
              <a:gdLst/>
              <a:ahLst/>
              <a:cxnLst/>
              <a:rect l="l" t="t" r="r" b="b"/>
              <a:pathLst>
                <a:path w="772739" h="617220" extrusionOk="0">
                  <a:moveTo>
                    <a:pt x="557296" y="22219"/>
                  </a:moveTo>
                  <a:lnTo>
                    <a:pt x="564041" y="33739"/>
                  </a:lnTo>
                  <a:lnTo>
                    <a:pt x="597765" y="53490"/>
                  </a:lnTo>
                  <a:lnTo>
                    <a:pt x="634862" y="88053"/>
                  </a:lnTo>
                  <a:lnTo>
                    <a:pt x="648352" y="104512"/>
                  </a:lnTo>
                  <a:lnTo>
                    <a:pt x="660156" y="145658"/>
                  </a:lnTo>
                  <a:lnTo>
                    <a:pt x="688822" y="181867"/>
                  </a:lnTo>
                  <a:lnTo>
                    <a:pt x="692194" y="188451"/>
                  </a:lnTo>
                  <a:lnTo>
                    <a:pt x="661842" y="198326"/>
                  </a:lnTo>
                  <a:lnTo>
                    <a:pt x="668587" y="231243"/>
                  </a:lnTo>
                  <a:lnTo>
                    <a:pt x="692194" y="224660"/>
                  </a:lnTo>
                  <a:lnTo>
                    <a:pt x="693880" y="226306"/>
                  </a:lnTo>
                  <a:lnTo>
                    <a:pt x="690508" y="227951"/>
                  </a:lnTo>
                  <a:lnTo>
                    <a:pt x="693880" y="229597"/>
                  </a:lnTo>
                  <a:lnTo>
                    <a:pt x="698939" y="237827"/>
                  </a:lnTo>
                  <a:lnTo>
                    <a:pt x="707370" y="234535"/>
                  </a:lnTo>
                  <a:lnTo>
                    <a:pt x="715801" y="249348"/>
                  </a:lnTo>
                  <a:lnTo>
                    <a:pt x="720860" y="252639"/>
                  </a:lnTo>
                  <a:lnTo>
                    <a:pt x="719173" y="255931"/>
                  </a:lnTo>
                  <a:lnTo>
                    <a:pt x="732663" y="283911"/>
                  </a:lnTo>
                  <a:lnTo>
                    <a:pt x="730977" y="288848"/>
                  </a:lnTo>
                  <a:lnTo>
                    <a:pt x="763016" y="349745"/>
                  </a:lnTo>
                  <a:lnTo>
                    <a:pt x="769760" y="357975"/>
                  </a:lnTo>
                  <a:lnTo>
                    <a:pt x="761329" y="369496"/>
                  </a:lnTo>
                  <a:lnTo>
                    <a:pt x="729291" y="392538"/>
                  </a:lnTo>
                  <a:lnTo>
                    <a:pt x="692194" y="400767"/>
                  </a:lnTo>
                  <a:lnTo>
                    <a:pt x="690508" y="412288"/>
                  </a:lnTo>
                  <a:lnTo>
                    <a:pt x="683763" y="415580"/>
                  </a:lnTo>
                  <a:lnTo>
                    <a:pt x="666900" y="435330"/>
                  </a:lnTo>
                  <a:lnTo>
                    <a:pt x="648352" y="458372"/>
                  </a:lnTo>
                  <a:lnTo>
                    <a:pt x="646666" y="469893"/>
                  </a:lnTo>
                  <a:lnTo>
                    <a:pt x="629804" y="496227"/>
                  </a:lnTo>
                  <a:lnTo>
                    <a:pt x="624745" y="514332"/>
                  </a:lnTo>
                  <a:lnTo>
                    <a:pt x="624745" y="525853"/>
                  </a:lnTo>
                  <a:lnTo>
                    <a:pt x="618000" y="530790"/>
                  </a:lnTo>
                  <a:lnTo>
                    <a:pt x="607883" y="552187"/>
                  </a:lnTo>
                  <a:lnTo>
                    <a:pt x="602824" y="555478"/>
                  </a:lnTo>
                  <a:lnTo>
                    <a:pt x="606197" y="562062"/>
                  </a:lnTo>
                  <a:lnTo>
                    <a:pt x="592706" y="573583"/>
                  </a:lnTo>
                  <a:lnTo>
                    <a:pt x="591020" y="581812"/>
                  </a:lnTo>
                  <a:lnTo>
                    <a:pt x="594393" y="588396"/>
                  </a:lnTo>
                  <a:lnTo>
                    <a:pt x="579217" y="596625"/>
                  </a:lnTo>
                  <a:lnTo>
                    <a:pt x="548865" y="621313"/>
                  </a:lnTo>
                  <a:lnTo>
                    <a:pt x="540433" y="586750"/>
                  </a:lnTo>
                  <a:lnTo>
                    <a:pt x="488161" y="534082"/>
                  </a:lnTo>
                  <a:lnTo>
                    <a:pt x="451064" y="524207"/>
                  </a:lnTo>
                  <a:lnTo>
                    <a:pt x="457808" y="548895"/>
                  </a:lnTo>
                  <a:lnTo>
                    <a:pt x="449378" y="543957"/>
                  </a:lnTo>
                  <a:lnTo>
                    <a:pt x="435888" y="540665"/>
                  </a:lnTo>
                  <a:lnTo>
                    <a:pt x="432515" y="537374"/>
                  </a:lnTo>
                  <a:lnTo>
                    <a:pt x="432515" y="534082"/>
                  </a:lnTo>
                  <a:lnTo>
                    <a:pt x="430829" y="535728"/>
                  </a:lnTo>
                  <a:lnTo>
                    <a:pt x="432515" y="530790"/>
                  </a:lnTo>
                  <a:lnTo>
                    <a:pt x="427457" y="537374"/>
                  </a:lnTo>
                  <a:lnTo>
                    <a:pt x="429143" y="532436"/>
                  </a:lnTo>
                  <a:lnTo>
                    <a:pt x="439260" y="527499"/>
                  </a:lnTo>
                  <a:lnTo>
                    <a:pt x="437574" y="525853"/>
                  </a:lnTo>
                  <a:lnTo>
                    <a:pt x="430829" y="529144"/>
                  </a:lnTo>
                  <a:lnTo>
                    <a:pt x="430829" y="524207"/>
                  </a:lnTo>
                  <a:lnTo>
                    <a:pt x="429143" y="529144"/>
                  </a:lnTo>
                  <a:lnTo>
                    <a:pt x="427457" y="527499"/>
                  </a:lnTo>
                  <a:lnTo>
                    <a:pt x="427457" y="542311"/>
                  </a:lnTo>
                  <a:lnTo>
                    <a:pt x="425770" y="537374"/>
                  </a:lnTo>
                  <a:lnTo>
                    <a:pt x="422398" y="540665"/>
                  </a:lnTo>
                  <a:lnTo>
                    <a:pt x="425770" y="529144"/>
                  </a:lnTo>
                  <a:lnTo>
                    <a:pt x="419026" y="525853"/>
                  </a:lnTo>
                  <a:lnTo>
                    <a:pt x="424084" y="532436"/>
                  </a:lnTo>
                  <a:lnTo>
                    <a:pt x="419026" y="539020"/>
                  </a:lnTo>
                  <a:lnTo>
                    <a:pt x="413967" y="532436"/>
                  </a:lnTo>
                  <a:lnTo>
                    <a:pt x="412281" y="529144"/>
                  </a:lnTo>
                  <a:lnTo>
                    <a:pt x="413967" y="527499"/>
                  </a:lnTo>
                  <a:lnTo>
                    <a:pt x="412281" y="524207"/>
                  </a:lnTo>
                  <a:lnTo>
                    <a:pt x="407222" y="522561"/>
                  </a:lnTo>
                  <a:lnTo>
                    <a:pt x="405536" y="525853"/>
                  </a:lnTo>
                  <a:lnTo>
                    <a:pt x="405536" y="524207"/>
                  </a:lnTo>
                  <a:lnTo>
                    <a:pt x="403849" y="520915"/>
                  </a:lnTo>
                  <a:lnTo>
                    <a:pt x="392046" y="519269"/>
                  </a:lnTo>
                  <a:lnTo>
                    <a:pt x="388674" y="522561"/>
                  </a:lnTo>
                  <a:lnTo>
                    <a:pt x="383615" y="519269"/>
                  </a:lnTo>
                  <a:lnTo>
                    <a:pt x="383615" y="525853"/>
                  </a:lnTo>
                  <a:lnTo>
                    <a:pt x="380242" y="520915"/>
                  </a:lnTo>
                  <a:lnTo>
                    <a:pt x="375184" y="520915"/>
                  </a:lnTo>
                  <a:lnTo>
                    <a:pt x="380242" y="502811"/>
                  </a:lnTo>
                  <a:lnTo>
                    <a:pt x="371811" y="520915"/>
                  </a:lnTo>
                  <a:lnTo>
                    <a:pt x="366753" y="524207"/>
                  </a:lnTo>
                  <a:lnTo>
                    <a:pt x="370125" y="534082"/>
                  </a:lnTo>
                  <a:lnTo>
                    <a:pt x="361694" y="524207"/>
                  </a:lnTo>
                  <a:lnTo>
                    <a:pt x="349890" y="524207"/>
                  </a:lnTo>
                  <a:lnTo>
                    <a:pt x="349890" y="520915"/>
                  </a:lnTo>
                  <a:lnTo>
                    <a:pt x="344832" y="515978"/>
                  </a:lnTo>
                  <a:lnTo>
                    <a:pt x="349890" y="515978"/>
                  </a:lnTo>
                  <a:lnTo>
                    <a:pt x="348204" y="501165"/>
                  </a:lnTo>
                  <a:lnTo>
                    <a:pt x="349890" y="504456"/>
                  </a:lnTo>
                  <a:lnTo>
                    <a:pt x="349890" y="499519"/>
                  </a:lnTo>
                  <a:lnTo>
                    <a:pt x="348204" y="497873"/>
                  </a:lnTo>
                  <a:lnTo>
                    <a:pt x="348204" y="501165"/>
                  </a:lnTo>
                  <a:lnTo>
                    <a:pt x="346518" y="496227"/>
                  </a:lnTo>
                  <a:lnTo>
                    <a:pt x="329656" y="486352"/>
                  </a:lnTo>
                  <a:lnTo>
                    <a:pt x="329656" y="479768"/>
                  </a:lnTo>
                  <a:lnTo>
                    <a:pt x="329656" y="486352"/>
                  </a:lnTo>
                  <a:lnTo>
                    <a:pt x="316166" y="489644"/>
                  </a:lnTo>
                  <a:lnTo>
                    <a:pt x="292559" y="509394"/>
                  </a:lnTo>
                  <a:lnTo>
                    <a:pt x="267265" y="504456"/>
                  </a:lnTo>
                  <a:lnTo>
                    <a:pt x="241972" y="511040"/>
                  </a:lnTo>
                  <a:lnTo>
                    <a:pt x="238599" y="515978"/>
                  </a:lnTo>
                  <a:lnTo>
                    <a:pt x="235227" y="532436"/>
                  </a:lnTo>
                  <a:lnTo>
                    <a:pt x="231855" y="537374"/>
                  </a:lnTo>
                  <a:lnTo>
                    <a:pt x="214992" y="548895"/>
                  </a:lnTo>
                  <a:lnTo>
                    <a:pt x="193071" y="552187"/>
                  </a:lnTo>
                  <a:lnTo>
                    <a:pt x="181268" y="552187"/>
                  </a:lnTo>
                  <a:lnTo>
                    <a:pt x="86839" y="509394"/>
                  </a:lnTo>
                  <a:lnTo>
                    <a:pt x="63232" y="506102"/>
                  </a:lnTo>
                  <a:lnTo>
                    <a:pt x="44684" y="497873"/>
                  </a:lnTo>
                  <a:lnTo>
                    <a:pt x="37939" y="502811"/>
                  </a:lnTo>
                  <a:lnTo>
                    <a:pt x="39625" y="506102"/>
                  </a:lnTo>
                  <a:lnTo>
                    <a:pt x="42997" y="504456"/>
                  </a:lnTo>
                  <a:lnTo>
                    <a:pt x="42997" y="506102"/>
                  </a:lnTo>
                  <a:lnTo>
                    <a:pt x="26135" y="507748"/>
                  </a:lnTo>
                  <a:lnTo>
                    <a:pt x="14332" y="461664"/>
                  </a:lnTo>
                  <a:lnTo>
                    <a:pt x="4214" y="453435"/>
                  </a:lnTo>
                  <a:lnTo>
                    <a:pt x="14332" y="450143"/>
                  </a:lnTo>
                  <a:lnTo>
                    <a:pt x="61546" y="458372"/>
                  </a:lnTo>
                  <a:lnTo>
                    <a:pt x="73349" y="455081"/>
                  </a:lnTo>
                  <a:lnTo>
                    <a:pt x="80094" y="464956"/>
                  </a:lnTo>
                  <a:lnTo>
                    <a:pt x="95270" y="453435"/>
                  </a:lnTo>
                  <a:lnTo>
                    <a:pt x="100329" y="458372"/>
                  </a:lnTo>
                  <a:lnTo>
                    <a:pt x="108760" y="453435"/>
                  </a:lnTo>
                  <a:lnTo>
                    <a:pt x="108760" y="446851"/>
                  </a:lnTo>
                  <a:lnTo>
                    <a:pt x="117191" y="436976"/>
                  </a:lnTo>
                  <a:lnTo>
                    <a:pt x="98643" y="423809"/>
                  </a:lnTo>
                  <a:lnTo>
                    <a:pt x="105388" y="413934"/>
                  </a:lnTo>
                  <a:lnTo>
                    <a:pt x="80094" y="382663"/>
                  </a:lnTo>
                  <a:lnTo>
                    <a:pt x="132367" y="323412"/>
                  </a:lnTo>
                  <a:lnTo>
                    <a:pt x="211620" y="274036"/>
                  </a:lnTo>
                  <a:lnTo>
                    <a:pt x="216678" y="278973"/>
                  </a:lnTo>
                  <a:lnTo>
                    <a:pt x="230168" y="303661"/>
                  </a:lnTo>
                  <a:lnTo>
                    <a:pt x="235227" y="306953"/>
                  </a:lnTo>
                  <a:lnTo>
                    <a:pt x="235227" y="315182"/>
                  </a:lnTo>
                  <a:lnTo>
                    <a:pt x="255462" y="351391"/>
                  </a:lnTo>
                  <a:lnTo>
                    <a:pt x="324597" y="334932"/>
                  </a:lnTo>
                  <a:lnTo>
                    <a:pt x="327969" y="302015"/>
                  </a:lnTo>
                  <a:lnTo>
                    <a:pt x="381929" y="308599"/>
                  </a:lnTo>
                  <a:lnTo>
                    <a:pt x="388674" y="306953"/>
                  </a:lnTo>
                  <a:lnTo>
                    <a:pt x="397105" y="308599"/>
                  </a:lnTo>
                  <a:lnTo>
                    <a:pt x="395418" y="300370"/>
                  </a:lnTo>
                  <a:lnTo>
                    <a:pt x="398791" y="227951"/>
                  </a:lnTo>
                  <a:lnTo>
                    <a:pt x="393732" y="190097"/>
                  </a:lnTo>
                  <a:lnTo>
                    <a:pt x="397105" y="180221"/>
                  </a:lnTo>
                  <a:lnTo>
                    <a:pt x="400477" y="175284"/>
                  </a:lnTo>
                  <a:lnTo>
                    <a:pt x="412281" y="181867"/>
                  </a:lnTo>
                  <a:lnTo>
                    <a:pt x="422398" y="185159"/>
                  </a:lnTo>
                  <a:lnTo>
                    <a:pt x="424084" y="183513"/>
                  </a:lnTo>
                  <a:lnTo>
                    <a:pt x="424084" y="180221"/>
                  </a:lnTo>
                  <a:lnTo>
                    <a:pt x="432515" y="171992"/>
                  </a:lnTo>
                  <a:lnTo>
                    <a:pt x="437574" y="157179"/>
                  </a:lnTo>
                  <a:lnTo>
                    <a:pt x="446005" y="150596"/>
                  </a:lnTo>
                  <a:lnTo>
                    <a:pt x="459495" y="144012"/>
                  </a:lnTo>
                  <a:lnTo>
                    <a:pt x="467926" y="144012"/>
                  </a:lnTo>
                  <a:lnTo>
                    <a:pt x="476357" y="140721"/>
                  </a:lnTo>
                  <a:lnTo>
                    <a:pt x="476357" y="134137"/>
                  </a:lnTo>
                  <a:lnTo>
                    <a:pt x="484788" y="129200"/>
                  </a:lnTo>
                  <a:lnTo>
                    <a:pt x="462867" y="109449"/>
                  </a:lnTo>
                  <a:lnTo>
                    <a:pt x="467926" y="74886"/>
                  </a:lnTo>
                  <a:lnTo>
                    <a:pt x="494906" y="33739"/>
                  </a:lnTo>
                  <a:lnTo>
                    <a:pt x="513454" y="35386"/>
                  </a:lnTo>
                  <a:lnTo>
                    <a:pt x="511768" y="32094"/>
                  </a:lnTo>
                  <a:lnTo>
                    <a:pt x="515140" y="33739"/>
                  </a:lnTo>
                  <a:lnTo>
                    <a:pt x="516827" y="32094"/>
                  </a:lnTo>
                  <a:lnTo>
                    <a:pt x="516827" y="35386"/>
                  </a:lnTo>
                  <a:lnTo>
                    <a:pt x="521885" y="35386"/>
                  </a:lnTo>
                  <a:lnTo>
                    <a:pt x="555610" y="4114"/>
                  </a:lnTo>
                  <a:lnTo>
                    <a:pt x="558982" y="10697"/>
                  </a:lnTo>
                  <a:lnTo>
                    <a:pt x="553924" y="13989"/>
                  </a:lnTo>
                  <a:lnTo>
                    <a:pt x="557296" y="2221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2" name="Edam-Volendam">
              <a:extLst>
                <a:ext uri="{FF2B5EF4-FFF2-40B4-BE49-F238E27FC236}">
                  <a16:creationId xmlns:a16="http://schemas.microsoft.com/office/drawing/2014/main" id="{21289AA4-DFFB-4513-BF04-1977B312DCE7}"/>
                </a:ext>
              </a:extLst>
            </p:cNvPr>
            <p:cNvSpPr/>
            <p:nvPr/>
          </p:nvSpPr>
          <p:spPr>
            <a:xfrm>
              <a:off x="5773195" y="2688988"/>
              <a:ext cx="142002" cy="210925"/>
            </a:xfrm>
            <a:custGeom>
              <a:avLst/>
              <a:gdLst/>
              <a:ahLst/>
              <a:cxnLst/>
              <a:rect l="l" t="t" r="r" b="b"/>
              <a:pathLst>
                <a:path w="210747" h="308610" extrusionOk="0">
                  <a:moveTo>
                    <a:pt x="110446" y="4114"/>
                  </a:moveTo>
                  <a:lnTo>
                    <a:pt x="110446" y="18927"/>
                  </a:lnTo>
                  <a:lnTo>
                    <a:pt x="113819" y="23865"/>
                  </a:lnTo>
                  <a:lnTo>
                    <a:pt x="110446" y="30448"/>
                  </a:lnTo>
                  <a:lnTo>
                    <a:pt x="115505" y="30448"/>
                  </a:lnTo>
                  <a:lnTo>
                    <a:pt x="117191" y="35385"/>
                  </a:lnTo>
                  <a:lnTo>
                    <a:pt x="115505" y="35385"/>
                  </a:lnTo>
                  <a:lnTo>
                    <a:pt x="117191" y="35385"/>
                  </a:lnTo>
                  <a:lnTo>
                    <a:pt x="112132" y="45261"/>
                  </a:lnTo>
                  <a:lnTo>
                    <a:pt x="123936" y="69949"/>
                  </a:lnTo>
                  <a:lnTo>
                    <a:pt x="122250" y="74886"/>
                  </a:lnTo>
                  <a:lnTo>
                    <a:pt x="128995" y="97928"/>
                  </a:lnTo>
                  <a:lnTo>
                    <a:pt x="127309" y="112741"/>
                  </a:lnTo>
                  <a:lnTo>
                    <a:pt x="144171" y="129200"/>
                  </a:lnTo>
                  <a:lnTo>
                    <a:pt x="145857" y="135783"/>
                  </a:lnTo>
                  <a:lnTo>
                    <a:pt x="162719" y="168700"/>
                  </a:lnTo>
                  <a:lnTo>
                    <a:pt x="162719" y="183513"/>
                  </a:lnTo>
                  <a:lnTo>
                    <a:pt x="167778" y="186805"/>
                  </a:lnTo>
                  <a:lnTo>
                    <a:pt x="177895" y="209847"/>
                  </a:lnTo>
                  <a:lnTo>
                    <a:pt x="179582" y="221368"/>
                  </a:lnTo>
                  <a:lnTo>
                    <a:pt x="188013" y="231243"/>
                  </a:lnTo>
                  <a:lnTo>
                    <a:pt x="194757" y="229597"/>
                  </a:lnTo>
                  <a:lnTo>
                    <a:pt x="189699" y="234535"/>
                  </a:lnTo>
                  <a:lnTo>
                    <a:pt x="194757" y="231243"/>
                  </a:lnTo>
                  <a:lnTo>
                    <a:pt x="191385" y="237827"/>
                  </a:lnTo>
                  <a:lnTo>
                    <a:pt x="201502" y="244410"/>
                  </a:lnTo>
                  <a:lnTo>
                    <a:pt x="208247" y="267452"/>
                  </a:lnTo>
                  <a:lnTo>
                    <a:pt x="201502" y="277327"/>
                  </a:lnTo>
                  <a:lnTo>
                    <a:pt x="196443" y="293786"/>
                  </a:lnTo>
                  <a:lnTo>
                    <a:pt x="194757" y="290494"/>
                  </a:lnTo>
                  <a:lnTo>
                    <a:pt x="189699" y="295432"/>
                  </a:lnTo>
                  <a:lnTo>
                    <a:pt x="194757" y="295432"/>
                  </a:lnTo>
                  <a:lnTo>
                    <a:pt x="188013" y="295432"/>
                  </a:lnTo>
                  <a:lnTo>
                    <a:pt x="184640" y="302015"/>
                  </a:lnTo>
                  <a:lnTo>
                    <a:pt x="181268" y="302015"/>
                  </a:lnTo>
                  <a:lnTo>
                    <a:pt x="176209" y="297078"/>
                  </a:lnTo>
                  <a:lnTo>
                    <a:pt x="171150" y="298724"/>
                  </a:lnTo>
                  <a:lnTo>
                    <a:pt x="176209" y="298724"/>
                  </a:lnTo>
                  <a:lnTo>
                    <a:pt x="174523" y="303661"/>
                  </a:lnTo>
                  <a:lnTo>
                    <a:pt x="171150" y="305307"/>
                  </a:lnTo>
                  <a:lnTo>
                    <a:pt x="176209" y="308599"/>
                  </a:lnTo>
                  <a:lnTo>
                    <a:pt x="181268" y="303661"/>
                  </a:lnTo>
                  <a:lnTo>
                    <a:pt x="177895" y="308599"/>
                  </a:lnTo>
                  <a:lnTo>
                    <a:pt x="171150" y="305307"/>
                  </a:lnTo>
                  <a:lnTo>
                    <a:pt x="169464" y="311891"/>
                  </a:lnTo>
                  <a:lnTo>
                    <a:pt x="169464" y="298724"/>
                  </a:lnTo>
                  <a:lnTo>
                    <a:pt x="137426" y="305307"/>
                  </a:lnTo>
                  <a:lnTo>
                    <a:pt x="127309" y="303661"/>
                  </a:lnTo>
                  <a:lnTo>
                    <a:pt x="117191" y="313536"/>
                  </a:lnTo>
                  <a:lnTo>
                    <a:pt x="76722" y="288848"/>
                  </a:lnTo>
                  <a:lnTo>
                    <a:pt x="117191" y="223014"/>
                  </a:lnTo>
                  <a:lnTo>
                    <a:pt x="93584" y="209847"/>
                  </a:lnTo>
                  <a:lnTo>
                    <a:pt x="81780" y="211493"/>
                  </a:lnTo>
                  <a:lnTo>
                    <a:pt x="76722" y="219722"/>
                  </a:lnTo>
                  <a:lnTo>
                    <a:pt x="68291" y="227951"/>
                  </a:lnTo>
                  <a:lnTo>
                    <a:pt x="31194" y="209847"/>
                  </a:lnTo>
                  <a:lnTo>
                    <a:pt x="14331" y="204909"/>
                  </a:lnTo>
                  <a:lnTo>
                    <a:pt x="22763" y="188451"/>
                  </a:lnTo>
                  <a:lnTo>
                    <a:pt x="39625" y="170346"/>
                  </a:lnTo>
                  <a:lnTo>
                    <a:pt x="44683" y="163763"/>
                  </a:lnTo>
                  <a:lnTo>
                    <a:pt x="42997" y="157179"/>
                  </a:lnTo>
                  <a:lnTo>
                    <a:pt x="46370" y="147304"/>
                  </a:lnTo>
                  <a:lnTo>
                    <a:pt x="44683" y="127554"/>
                  </a:lnTo>
                  <a:lnTo>
                    <a:pt x="76722" y="94637"/>
                  </a:lnTo>
                  <a:lnTo>
                    <a:pt x="68291" y="78178"/>
                  </a:lnTo>
                  <a:lnTo>
                    <a:pt x="49742" y="66657"/>
                  </a:lnTo>
                  <a:lnTo>
                    <a:pt x="12645" y="83116"/>
                  </a:lnTo>
                  <a:lnTo>
                    <a:pt x="10959" y="66657"/>
                  </a:lnTo>
                  <a:lnTo>
                    <a:pt x="4214" y="46907"/>
                  </a:lnTo>
                  <a:lnTo>
                    <a:pt x="88525" y="40323"/>
                  </a:lnTo>
                  <a:lnTo>
                    <a:pt x="93584" y="15635"/>
                  </a:lnTo>
                  <a:lnTo>
                    <a:pt x="90211" y="9052"/>
                  </a:lnTo>
                  <a:lnTo>
                    <a:pt x="110446"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3" name="Weesp">
              <a:extLst>
                <a:ext uri="{FF2B5EF4-FFF2-40B4-BE49-F238E27FC236}">
                  <a16:creationId xmlns:a16="http://schemas.microsoft.com/office/drawing/2014/main" id="{22DAA289-CCF5-4B21-86D4-5A0F0AE13762}"/>
                </a:ext>
              </a:extLst>
            </p:cNvPr>
            <p:cNvSpPr/>
            <p:nvPr/>
          </p:nvSpPr>
          <p:spPr>
            <a:xfrm>
              <a:off x="5839224" y="3149454"/>
              <a:ext cx="92128" cy="75549"/>
            </a:xfrm>
            <a:custGeom>
              <a:avLst/>
              <a:gdLst/>
              <a:ahLst/>
              <a:cxnLst/>
              <a:rect l="l" t="t" r="r" b="b"/>
              <a:pathLst>
                <a:path w="140498" h="125730" extrusionOk="0">
                  <a:moveTo>
                    <a:pt x="10959" y="4114"/>
                  </a:moveTo>
                  <a:lnTo>
                    <a:pt x="37938" y="9052"/>
                  </a:lnTo>
                  <a:lnTo>
                    <a:pt x="46370" y="15635"/>
                  </a:lnTo>
                  <a:lnTo>
                    <a:pt x="51428" y="13989"/>
                  </a:lnTo>
                  <a:lnTo>
                    <a:pt x="71663" y="22219"/>
                  </a:lnTo>
                  <a:lnTo>
                    <a:pt x="71663" y="27156"/>
                  </a:lnTo>
                  <a:lnTo>
                    <a:pt x="63232" y="32094"/>
                  </a:lnTo>
                  <a:lnTo>
                    <a:pt x="66604" y="40323"/>
                  </a:lnTo>
                  <a:lnTo>
                    <a:pt x="76722" y="33740"/>
                  </a:lnTo>
                  <a:lnTo>
                    <a:pt x="75036" y="27156"/>
                  </a:lnTo>
                  <a:lnTo>
                    <a:pt x="83467" y="27156"/>
                  </a:lnTo>
                  <a:lnTo>
                    <a:pt x="95270" y="35385"/>
                  </a:lnTo>
                  <a:lnTo>
                    <a:pt x="118877" y="45261"/>
                  </a:lnTo>
                  <a:lnTo>
                    <a:pt x="117191" y="48552"/>
                  </a:lnTo>
                  <a:lnTo>
                    <a:pt x="130681" y="55136"/>
                  </a:lnTo>
                  <a:lnTo>
                    <a:pt x="123936" y="63365"/>
                  </a:lnTo>
                  <a:lnTo>
                    <a:pt x="123936" y="78178"/>
                  </a:lnTo>
                  <a:lnTo>
                    <a:pt x="130681" y="84761"/>
                  </a:lnTo>
                  <a:lnTo>
                    <a:pt x="139112" y="84761"/>
                  </a:lnTo>
                  <a:lnTo>
                    <a:pt x="140798" y="86407"/>
                  </a:lnTo>
                  <a:lnTo>
                    <a:pt x="137426" y="92991"/>
                  </a:lnTo>
                  <a:lnTo>
                    <a:pt x="134053" y="92991"/>
                  </a:lnTo>
                  <a:lnTo>
                    <a:pt x="127309" y="99574"/>
                  </a:lnTo>
                  <a:lnTo>
                    <a:pt x="135740" y="114387"/>
                  </a:lnTo>
                  <a:lnTo>
                    <a:pt x="132367" y="129200"/>
                  </a:lnTo>
                  <a:lnTo>
                    <a:pt x="110446" y="124262"/>
                  </a:lnTo>
                  <a:lnTo>
                    <a:pt x="105388" y="129200"/>
                  </a:lnTo>
                  <a:lnTo>
                    <a:pt x="93584" y="132491"/>
                  </a:lnTo>
                  <a:lnTo>
                    <a:pt x="75036" y="132491"/>
                  </a:lnTo>
                  <a:lnTo>
                    <a:pt x="76722" y="116033"/>
                  </a:lnTo>
                  <a:lnTo>
                    <a:pt x="68290" y="106158"/>
                  </a:lnTo>
                  <a:lnTo>
                    <a:pt x="56487" y="112741"/>
                  </a:lnTo>
                  <a:lnTo>
                    <a:pt x="53115" y="109449"/>
                  </a:lnTo>
                  <a:lnTo>
                    <a:pt x="41311" y="122616"/>
                  </a:lnTo>
                  <a:lnTo>
                    <a:pt x="27821" y="112741"/>
                  </a:lnTo>
                  <a:lnTo>
                    <a:pt x="22763" y="107803"/>
                  </a:lnTo>
                  <a:lnTo>
                    <a:pt x="14331" y="124262"/>
                  </a:lnTo>
                  <a:lnTo>
                    <a:pt x="10959" y="120970"/>
                  </a:lnTo>
                  <a:lnTo>
                    <a:pt x="10959" y="74886"/>
                  </a:lnTo>
                  <a:lnTo>
                    <a:pt x="4214" y="5760"/>
                  </a:lnTo>
                  <a:lnTo>
                    <a:pt x="1095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4" name="Utrechtse Heuvelrug">
              <a:extLst>
                <a:ext uri="{FF2B5EF4-FFF2-40B4-BE49-F238E27FC236}">
                  <a16:creationId xmlns:a16="http://schemas.microsoft.com/office/drawing/2014/main" id="{92547519-765D-4100-B3BE-D2059D1B9F29}"/>
                </a:ext>
              </a:extLst>
            </p:cNvPr>
            <p:cNvSpPr/>
            <p:nvPr/>
          </p:nvSpPr>
          <p:spPr>
            <a:xfrm>
              <a:off x="6083056" y="3543530"/>
              <a:ext cx="293902" cy="184373"/>
            </a:xfrm>
            <a:custGeom>
              <a:avLst/>
              <a:gdLst/>
              <a:ahLst/>
              <a:cxnLst/>
              <a:rect l="l" t="t" r="r" b="b"/>
              <a:pathLst>
                <a:path w="433202" h="285750" extrusionOk="0">
                  <a:moveTo>
                    <a:pt x="93584" y="23864"/>
                  </a:moveTo>
                  <a:lnTo>
                    <a:pt x="115505" y="43615"/>
                  </a:lnTo>
                  <a:lnTo>
                    <a:pt x="134053" y="22218"/>
                  </a:lnTo>
                  <a:lnTo>
                    <a:pt x="134053" y="9052"/>
                  </a:lnTo>
                  <a:lnTo>
                    <a:pt x="213306" y="23864"/>
                  </a:lnTo>
                  <a:lnTo>
                    <a:pt x="218365" y="32094"/>
                  </a:lnTo>
                  <a:lnTo>
                    <a:pt x="241972" y="30448"/>
                  </a:lnTo>
                  <a:lnTo>
                    <a:pt x="245344" y="30448"/>
                  </a:lnTo>
                  <a:lnTo>
                    <a:pt x="247030" y="37031"/>
                  </a:lnTo>
                  <a:lnTo>
                    <a:pt x="236913" y="45260"/>
                  </a:lnTo>
                  <a:lnTo>
                    <a:pt x="238599" y="48552"/>
                  </a:lnTo>
                  <a:lnTo>
                    <a:pt x="235227" y="51844"/>
                  </a:lnTo>
                  <a:lnTo>
                    <a:pt x="240286" y="56781"/>
                  </a:lnTo>
                  <a:lnTo>
                    <a:pt x="252089" y="45260"/>
                  </a:lnTo>
                  <a:lnTo>
                    <a:pt x="270638" y="37031"/>
                  </a:lnTo>
                  <a:lnTo>
                    <a:pt x="275696" y="38677"/>
                  </a:lnTo>
                  <a:lnTo>
                    <a:pt x="290872" y="37031"/>
                  </a:lnTo>
                  <a:lnTo>
                    <a:pt x="295931" y="41969"/>
                  </a:lnTo>
                  <a:lnTo>
                    <a:pt x="292559" y="63365"/>
                  </a:lnTo>
                  <a:lnTo>
                    <a:pt x="290872" y="68302"/>
                  </a:lnTo>
                  <a:lnTo>
                    <a:pt x="282441" y="69949"/>
                  </a:lnTo>
                  <a:lnTo>
                    <a:pt x="280755" y="79823"/>
                  </a:lnTo>
                  <a:lnTo>
                    <a:pt x="290872" y="96282"/>
                  </a:lnTo>
                  <a:lnTo>
                    <a:pt x="306048" y="102866"/>
                  </a:lnTo>
                  <a:lnTo>
                    <a:pt x="311107" y="107803"/>
                  </a:lnTo>
                  <a:lnTo>
                    <a:pt x="317852" y="91345"/>
                  </a:lnTo>
                  <a:lnTo>
                    <a:pt x="329655" y="97928"/>
                  </a:lnTo>
                  <a:lnTo>
                    <a:pt x="329655" y="94636"/>
                  </a:lnTo>
                  <a:lnTo>
                    <a:pt x="336400" y="89699"/>
                  </a:lnTo>
                  <a:lnTo>
                    <a:pt x="354949" y="84761"/>
                  </a:lnTo>
                  <a:lnTo>
                    <a:pt x="373497" y="74886"/>
                  </a:lnTo>
                  <a:lnTo>
                    <a:pt x="386987" y="74886"/>
                  </a:lnTo>
                  <a:lnTo>
                    <a:pt x="410594" y="79823"/>
                  </a:lnTo>
                  <a:lnTo>
                    <a:pt x="413967" y="81470"/>
                  </a:lnTo>
                  <a:lnTo>
                    <a:pt x="415653" y="99574"/>
                  </a:lnTo>
                  <a:lnTo>
                    <a:pt x="434201" y="116033"/>
                  </a:lnTo>
                  <a:lnTo>
                    <a:pt x="380242" y="224660"/>
                  </a:lnTo>
                  <a:lnTo>
                    <a:pt x="375184" y="221368"/>
                  </a:lnTo>
                  <a:lnTo>
                    <a:pt x="366753" y="234535"/>
                  </a:lnTo>
                  <a:lnTo>
                    <a:pt x="366753" y="242764"/>
                  </a:lnTo>
                  <a:lnTo>
                    <a:pt x="358321" y="232889"/>
                  </a:lnTo>
                  <a:lnTo>
                    <a:pt x="360008" y="239472"/>
                  </a:lnTo>
                  <a:lnTo>
                    <a:pt x="354949" y="242764"/>
                  </a:lnTo>
                  <a:lnTo>
                    <a:pt x="354949" y="252639"/>
                  </a:lnTo>
                  <a:lnTo>
                    <a:pt x="319538" y="252639"/>
                  </a:lnTo>
                  <a:lnTo>
                    <a:pt x="306048" y="247702"/>
                  </a:lnTo>
                  <a:lnTo>
                    <a:pt x="294245" y="247702"/>
                  </a:lnTo>
                  <a:lnTo>
                    <a:pt x="284128" y="252639"/>
                  </a:lnTo>
                  <a:lnTo>
                    <a:pt x="263893" y="269098"/>
                  </a:lnTo>
                  <a:lnTo>
                    <a:pt x="223423" y="283910"/>
                  </a:lnTo>
                  <a:lnTo>
                    <a:pt x="225110" y="280619"/>
                  </a:lnTo>
                  <a:lnTo>
                    <a:pt x="225110" y="277327"/>
                  </a:lnTo>
                  <a:lnTo>
                    <a:pt x="228482" y="274035"/>
                  </a:lnTo>
                  <a:lnTo>
                    <a:pt x="228482" y="270744"/>
                  </a:lnTo>
                  <a:lnTo>
                    <a:pt x="218365" y="269098"/>
                  </a:lnTo>
                  <a:lnTo>
                    <a:pt x="203189" y="246056"/>
                  </a:lnTo>
                  <a:lnTo>
                    <a:pt x="235227" y="241118"/>
                  </a:lnTo>
                  <a:lnTo>
                    <a:pt x="260520" y="221368"/>
                  </a:lnTo>
                  <a:lnTo>
                    <a:pt x="236913" y="206555"/>
                  </a:lnTo>
                  <a:lnTo>
                    <a:pt x="208247" y="208201"/>
                  </a:lnTo>
                  <a:lnTo>
                    <a:pt x="161033" y="173638"/>
                  </a:lnTo>
                  <a:lnTo>
                    <a:pt x="152602" y="163763"/>
                  </a:lnTo>
                  <a:lnTo>
                    <a:pt x="120564" y="157179"/>
                  </a:lnTo>
                  <a:lnTo>
                    <a:pt x="107074" y="147304"/>
                  </a:lnTo>
                  <a:lnTo>
                    <a:pt x="69977" y="191742"/>
                  </a:lnTo>
                  <a:lnTo>
                    <a:pt x="66604" y="188450"/>
                  </a:lnTo>
                  <a:lnTo>
                    <a:pt x="51428" y="186805"/>
                  </a:lnTo>
                  <a:lnTo>
                    <a:pt x="41311" y="176930"/>
                  </a:lnTo>
                  <a:lnTo>
                    <a:pt x="37938" y="168700"/>
                  </a:lnTo>
                  <a:lnTo>
                    <a:pt x="27821" y="153888"/>
                  </a:lnTo>
                  <a:lnTo>
                    <a:pt x="39625" y="145658"/>
                  </a:lnTo>
                  <a:lnTo>
                    <a:pt x="37938" y="142366"/>
                  </a:lnTo>
                  <a:lnTo>
                    <a:pt x="29507" y="135783"/>
                  </a:lnTo>
                  <a:lnTo>
                    <a:pt x="26135" y="135783"/>
                  </a:lnTo>
                  <a:lnTo>
                    <a:pt x="19390" y="134137"/>
                  </a:lnTo>
                  <a:lnTo>
                    <a:pt x="19390" y="119324"/>
                  </a:lnTo>
                  <a:lnTo>
                    <a:pt x="12645" y="119324"/>
                  </a:lnTo>
                  <a:lnTo>
                    <a:pt x="7586" y="112741"/>
                  </a:lnTo>
                  <a:lnTo>
                    <a:pt x="9273" y="101220"/>
                  </a:lnTo>
                  <a:lnTo>
                    <a:pt x="4214" y="97928"/>
                  </a:lnTo>
                  <a:lnTo>
                    <a:pt x="10959" y="81470"/>
                  </a:lnTo>
                  <a:lnTo>
                    <a:pt x="4214" y="71594"/>
                  </a:lnTo>
                  <a:lnTo>
                    <a:pt x="10959" y="61719"/>
                  </a:lnTo>
                  <a:lnTo>
                    <a:pt x="17704" y="60073"/>
                  </a:lnTo>
                  <a:lnTo>
                    <a:pt x="19390" y="53490"/>
                  </a:lnTo>
                  <a:lnTo>
                    <a:pt x="69977" y="4114"/>
                  </a:lnTo>
                  <a:lnTo>
                    <a:pt x="93584" y="2386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5" name="Hattem">
              <a:extLst>
                <a:ext uri="{FF2B5EF4-FFF2-40B4-BE49-F238E27FC236}">
                  <a16:creationId xmlns:a16="http://schemas.microsoft.com/office/drawing/2014/main" id="{7A00B0CE-2D81-495E-956C-DD36C66805F6}"/>
                </a:ext>
              </a:extLst>
            </p:cNvPr>
            <p:cNvSpPr/>
            <p:nvPr/>
          </p:nvSpPr>
          <p:spPr>
            <a:xfrm>
              <a:off x="6871865" y="2859078"/>
              <a:ext cx="100122" cy="106919"/>
            </a:xfrm>
            <a:custGeom>
              <a:avLst/>
              <a:gdLst/>
              <a:ahLst/>
              <a:cxnLst/>
              <a:rect l="l" t="t" r="r" b="b"/>
              <a:pathLst>
                <a:path w="152206" h="160020" extrusionOk="0">
                  <a:moveTo>
                    <a:pt x="68291" y="13989"/>
                  </a:moveTo>
                  <a:lnTo>
                    <a:pt x="86839" y="30448"/>
                  </a:lnTo>
                  <a:lnTo>
                    <a:pt x="98643" y="55136"/>
                  </a:lnTo>
                  <a:lnTo>
                    <a:pt x="107074" y="65011"/>
                  </a:lnTo>
                  <a:lnTo>
                    <a:pt x="117191" y="73240"/>
                  </a:lnTo>
                  <a:lnTo>
                    <a:pt x="137426" y="81470"/>
                  </a:lnTo>
                  <a:lnTo>
                    <a:pt x="150916" y="94637"/>
                  </a:lnTo>
                  <a:lnTo>
                    <a:pt x="155974" y="106158"/>
                  </a:lnTo>
                  <a:lnTo>
                    <a:pt x="159347" y="137429"/>
                  </a:lnTo>
                  <a:lnTo>
                    <a:pt x="154288" y="137429"/>
                  </a:lnTo>
                  <a:lnTo>
                    <a:pt x="147543" y="142367"/>
                  </a:lnTo>
                  <a:lnTo>
                    <a:pt x="144171" y="134137"/>
                  </a:lnTo>
                  <a:lnTo>
                    <a:pt x="118878" y="142367"/>
                  </a:lnTo>
                  <a:lnTo>
                    <a:pt x="98643" y="144012"/>
                  </a:lnTo>
                  <a:lnTo>
                    <a:pt x="56487" y="162117"/>
                  </a:lnTo>
                  <a:lnTo>
                    <a:pt x="37939" y="162117"/>
                  </a:lnTo>
                  <a:lnTo>
                    <a:pt x="54801" y="122616"/>
                  </a:lnTo>
                  <a:lnTo>
                    <a:pt x="54801" y="112741"/>
                  </a:lnTo>
                  <a:lnTo>
                    <a:pt x="58173" y="97928"/>
                  </a:lnTo>
                  <a:lnTo>
                    <a:pt x="58173" y="91345"/>
                  </a:lnTo>
                  <a:lnTo>
                    <a:pt x="51428" y="76532"/>
                  </a:lnTo>
                  <a:lnTo>
                    <a:pt x="44684" y="68303"/>
                  </a:lnTo>
                  <a:lnTo>
                    <a:pt x="34566" y="66657"/>
                  </a:lnTo>
                  <a:lnTo>
                    <a:pt x="27821" y="69949"/>
                  </a:lnTo>
                  <a:lnTo>
                    <a:pt x="26135" y="68303"/>
                  </a:lnTo>
                  <a:lnTo>
                    <a:pt x="31194" y="65011"/>
                  </a:lnTo>
                  <a:lnTo>
                    <a:pt x="31194" y="51844"/>
                  </a:lnTo>
                  <a:lnTo>
                    <a:pt x="16018" y="35385"/>
                  </a:lnTo>
                  <a:lnTo>
                    <a:pt x="4214" y="27156"/>
                  </a:lnTo>
                  <a:lnTo>
                    <a:pt x="21076" y="12343"/>
                  </a:lnTo>
                  <a:lnTo>
                    <a:pt x="31194" y="15635"/>
                  </a:lnTo>
                  <a:lnTo>
                    <a:pt x="36253" y="13989"/>
                  </a:lnTo>
                  <a:lnTo>
                    <a:pt x="44684" y="4114"/>
                  </a:lnTo>
                  <a:lnTo>
                    <a:pt x="68291" y="13989"/>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6" name="Heerde">
              <a:extLst>
                <a:ext uri="{FF2B5EF4-FFF2-40B4-BE49-F238E27FC236}">
                  <a16:creationId xmlns:a16="http://schemas.microsoft.com/office/drawing/2014/main" id="{E6BDB3A9-4D7E-4552-A68E-5B1F42506B46}"/>
                </a:ext>
              </a:extLst>
            </p:cNvPr>
            <p:cNvSpPr/>
            <p:nvPr/>
          </p:nvSpPr>
          <p:spPr>
            <a:xfrm>
              <a:off x="6817391" y="2946993"/>
              <a:ext cx="181975" cy="156035"/>
            </a:xfrm>
            <a:custGeom>
              <a:avLst/>
              <a:gdLst/>
              <a:ahLst/>
              <a:cxnLst/>
              <a:rect l="l" t="t" r="r" b="b"/>
              <a:pathLst>
                <a:path w="269287" h="240030" extrusionOk="0">
                  <a:moveTo>
                    <a:pt x="218365" y="7406"/>
                  </a:moveTo>
                  <a:lnTo>
                    <a:pt x="221737" y="12343"/>
                  </a:lnTo>
                  <a:lnTo>
                    <a:pt x="228482" y="7406"/>
                  </a:lnTo>
                  <a:lnTo>
                    <a:pt x="233541" y="7406"/>
                  </a:lnTo>
                  <a:lnTo>
                    <a:pt x="231855" y="23864"/>
                  </a:lnTo>
                  <a:lnTo>
                    <a:pt x="233541" y="30448"/>
                  </a:lnTo>
                  <a:lnTo>
                    <a:pt x="248717" y="43615"/>
                  </a:lnTo>
                  <a:lnTo>
                    <a:pt x="258834" y="56782"/>
                  </a:lnTo>
                  <a:lnTo>
                    <a:pt x="253776" y="63365"/>
                  </a:lnTo>
                  <a:lnTo>
                    <a:pt x="257148" y="71595"/>
                  </a:lnTo>
                  <a:lnTo>
                    <a:pt x="250403" y="89699"/>
                  </a:lnTo>
                  <a:lnTo>
                    <a:pt x="252089" y="102866"/>
                  </a:lnTo>
                  <a:lnTo>
                    <a:pt x="247031" y="117679"/>
                  </a:lnTo>
                  <a:lnTo>
                    <a:pt x="252089" y="119324"/>
                  </a:lnTo>
                  <a:lnTo>
                    <a:pt x="258834" y="130845"/>
                  </a:lnTo>
                  <a:lnTo>
                    <a:pt x="265579" y="132491"/>
                  </a:lnTo>
                  <a:lnTo>
                    <a:pt x="272324" y="137429"/>
                  </a:lnTo>
                  <a:lnTo>
                    <a:pt x="275697" y="135783"/>
                  </a:lnTo>
                  <a:lnTo>
                    <a:pt x="268952" y="153888"/>
                  </a:lnTo>
                  <a:lnTo>
                    <a:pt x="268952" y="176930"/>
                  </a:lnTo>
                  <a:lnTo>
                    <a:pt x="260520" y="186805"/>
                  </a:lnTo>
                  <a:lnTo>
                    <a:pt x="203189" y="206555"/>
                  </a:lnTo>
                  <a:lnTo>
                    <a:pt x="198130" y="213138"/>
                  </a:lnTo>
                  <a:lnTo>
                    <a:pt x="198130" y="223014"/>
                  </a:lnTo>
                  <a:lnTo>
                    <a:pt x="191385" y="226306"/>
                  </a:lnTo>
                  <a:lnTo>
                    <a:pt x="193072" y="229597"/>
                  </a:lnTo>
                  <a:lnTo>
                    <a:pt x="159347" y="231243"/>
                  </a:lnTo>
                  <a:lnTo>
                    <a:pt x="152602" y="239472"/>
                  </a:lnTo>
                  <a:lnTo>
                    <a:pt x="142485" y="242764"/>
                  </a:lnTo>
                  <a:lnTo>
                    <a:pt x="144171" y="226306"/>
                  </a:lnTo>
                  <a:lnTo>
                    <a:pt x="137426" y="229597"/>
                  </a:lnTo>
                  <a:lnTo>
                    <a:pt x="130681" y="223014"/>
                  </a:lnTo>
                  <a:lnTo>
                    <a:pt x="132367" y="219722"/>
                  </a:lnTo>
                  <a:lnTo>
                    <a:pt x="127309" y="216430"/>
                  </a:lnTo>
                  <a:lnTo>
                    <a:pt x="105388" y="211493"/>
                  </a:lnTo>
                  <a:lnTo>
                    <a:pt x="66605" y="190096"/>
                  </a:lnTo>
                  <a:lnTo>
                    <a:pt x="14332" y="155533"/>
                  </a:lnTo>
                  <a:lnTo>
                    <a:pt x="4214" y="142367"/>
                  </a:lnTo>
                  <a:lnTo>
                    <a:pt x="5901" y="137429"/>
                  </a:lnTo>
                  <a:lnTo>
                    <a:pt x="27822" y="125908"/>
                  </a:lnTo>
                  <a:lnTo>
                    <a:pt x="41311" y="112741"/>
                  </a:lnTo>
                  <a:lnTo>
                    <a:pt x="105388" y="32094"/>
                  </a:lnTo>
                  <a:lnTo>
                    <a:pt x="130681" y="32094"/>
                  </a:lnTo>
                  <a:lnTo>
                    <a:pt x="172837" y="13989"/>
                  </a:lnTo>
                  <a:lnTo>
                    <a:pt x="193072" y="12343"/>
                  </a:lnTo>
                  <a:lnTo>
                    <a:pt x="218365" y="4114"/>
                  </a:lnTo>
                  <a:lnTo>
                    <a:pt x="218365" y="7406"/>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7" name="Epe">
              <a:extLst>
                <a:ext uri="{FF2B5EF4-FFF2-40B4-BE49-F238E27FC236}">
                  <a16:creationId xmlns:a16="http://schemas.microsoft.com/office/drawing/2014/main" id="{C7F5FBB5-550C-4A0E-B983-304A1F2FF996}"/>
                </a:ext>
              </a:extLst>
            </p:cNvPr>
            <p:cNvSpPr/>
            <p:nvPr/>
          </p:nvSpPr>
          <p:spPr>
            <a:xfrm>
              <a:off x="6704552" y="3037608"/>
              <a:ext cx="263829" cy="229799"/>
            </a:xfrm>
            <a:custGeom>
              <a:avLst/>
              <a:gdLst/>
              <a:ahLst/>
              <a:cxnLst/>
              <a:rect l="l" t="t" r="r" b="b"/>
              <a:pathLst>
                <a:path w="386369" h="342900" extrusionOk="0">
                  <a:moveTo>
                    <a:pt x="295931" y="84761"/>
                  </a:moveTo>
                  <a:lnTo>
                    <a:pt x="302676" y="91345"/>
                  </a:lnTo>
                  <a:lnTo>
                    <a:pt x="309421" y="88053"/>
                  </a:lnTo>
                  <a:lnTo>
                    <a:pt x="307735" y="104512"/>
                  </a:lnTo>
                  <a:lnTo>
                    <a:pt x="317852" y="101220"/>
                  </a:lnTo>
                  <a:lnTo>
                    <a:pt x="324597" y="92991"/>
                  </a:lnTo>
                  <a:lnTo>
                    <a:pt x="356635" y="91345"/>
                  </a:lnTo>
                  <a:lnTo>
                    <a:pt x="356635" y="88053"/>
                  </a:lnTo>
                  <a:lnTo>
                    <a:pt x="363380" y="84761"/>
                  </a:lnTo>
                  <a:lnTo>
                    <a:pt x="366753" y="91345"/>
                  </a:lnTo>
                  <a:lnTo>
                    <a:pt x="381929" y="94637"/>
                  </a:lnTo>
                  <a:lnTo>
                    <a:pt x="388674" y="102866"/>
                  </a:lnTo>
                  <a:lnTo>
                    <a:pt x="376870" y="111095"/>
                  </a:lnTo>
                  <a:lnTo>
                    <a:pt x="363380" y="114387"/>
                  </a:lnTo>
                  <a:lnTo>
                    <a:pt x="360008" y="117679"/>
                  </a:lnTo>
                  <a:lnTo>
                    <a:pt x="361694" y="147304"/>
                  </a:lnTo>
                  <a:lnTo>
                    <a:pt x="356635" y="167054"/>
                  </a:lnTo>
                  <a:lnTo>
                    <a:pt x="326283" y="167054"/>
                  </a:lnTo>
                  <a:lnTo>
                    <a:pt x="326283" y="178576"/>
                  </a:lnTo>
                  <a:lnTo>
                    <a:pt x="299304" y="254285"/>
                  </a:lnTo>
                  <a:lnTo>
                    <a:pt x="312793" y="292140"/>
                  </a:lnTo>
                  <a:lnTo>
                    <a:pt x="309421" y="308599"/>
                  </a:lnTo>
                  <a:lnTo>
                    <a:pt x="312793" y="316828"/>
                  </a:lnTo>
                  <a:lnTo>
                    <a:pt x="304362" y="318474"/>
                  </a:lnTo>
                  <a:lnTo>
                    <a:pt x="292559" y="315182"/>
                  </a:lnTo>
                  <a:lnTo>
                    <a:pt x="294245" y="311890"/>
                  </a:lnTo>
                  <a:lnTo>
                    <a:pt x="290872" y="311890"/>
                  </a:lnTo>
                  <a:lnTo>
                    <a:pt x="294245" y="300369"/>
                  </a:lnTo>
                  <a:lnTo>
                    <a:pt x="290872" y="297078"/>
                  </a:lnTo>
                  <a:lnTo>
                    <a:pt x="260520" y="298724"/>
                  </a:lnTo>
                  <a:lnTo>
                    <a:pt x="230168" y="303661"/>
                  </a:lnTo>
                  <a:lnTo>
                    <a:pt x="235227" y="277327"/>
                  </a:lnTo>
                  <a:lnTo>
                    <a:pt x="225110" y="275682"/>
                  </a:lnTo>
                  <a:lnTo>
                    <a:pt x="220051" y="280619"/>
                  </a:lnTo>
                  <a:lnTo>
                    <a:pt x="218365" y="288848"/>
                  </a:lnTo>
                  <a:lnTo>
                    <a:pt x="206561" y="306953"/>
                  </a:lnTo>
                  <a:lnTo>
                    <a:pt x="182954" y="308599"/>
                  </a:lnTo>
                  <a:lnTo>
                    <a:pt x="149230" y="303661"/>
                  </a:lnTo>
                  <a:lnTo>
                    <a:pt x="64918" y="326703"/>
                  </a:lnTo>
                  <a:lnTo>
                    <a:pt x="46370" y="339870"/>
                  </a:lnTo>
                  <a:lnTo>
                    <a:pt x="36253" y="349745"/>
                  </a:lnTo>
                  <a:lnTo>
                    <a:pt x="26135" y="339870"/>
                  </a:lnTo>
                  <a:lnTo>
                    <a:pt x="17704" y="308599"/>
                  </a:lnTo>
                  <a:lnTo>
                    <a:pt x="17704" y="300369"/>
                  </a:lnTo>
                  <a:lnTo>
                    <a:pt x="22763" y="290494"/>
                  </a:lnTo>
                  <a:lnTo>
                    <a:pt x="12645" y="275682"/>
                  </a:lnTo>
                  <a:lnTo>
                    <a:pt x="4214" y="232889"/>
                  </a:lnTo>
                  <a:lnTo>
                    <a:pt x="19390" y="223014"/>
                  </a:lnTo>
                  <a:lnTo>
                    <a:pt x="42997" y="195034"/>
                  </a:lnTo>
                  <a:lnTo>
                    <a:pt x="56487" y="171992"/>
                  </a:lnTo>
                  <a:lnTo>
                    <a:pt x="58174" y="165409"/>
                  </a:lnTo>
                  <a:lnTo>
                    <a:pt x="64918" y="157179"/>
                  </a:lnTo>
                  <a:lnTo>
                    <a:pt x="39625" y="119324"/>
                  </a:lnTo>
                  <a:lnTo>
                    <a:pt x="53115" y="107803"/>
                  </a:lnTo>
                  <a:lnTo>
                    <a:pt x="110446" y="33740"/>
                  </a:lnTo>
                  <a:lnTo>
                    <a:pt x="130681" y="20573"/>
                  </a:lnTo>
                  <a:lnTo>
                    <a:pt x="169464" y="4114"/>
                  </a:lnTo>
                  <a:lnTo>
                    <a:pt x="179582" y="17281"/>
                  </a:lnTo>
                  <a:lnTo>
                    <a:pt x="231855" y="51844"/>
                  </a:lnTo>
                  <a:lnTo>
                    <a:pt x="270638" y="73240"/>
                  </a:lnTo>
                  <a:lnTo>
                    <a:pt x="292559" y="78178"/>
                  </a:lnTo>
                  <a:lnTo>
                    <a:pt x="297617" y="81470"/>
                  </a:lnTo>
                  <a:lnTo>
                    <a:pt x="295931" y="84761"/>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8" name="Oldebroek">
              <a:extLst>
                <a:ext uri="{FF2B5EF4-FFF2-40B4-BE49-F238E27FC236}">
                  <a16:creationId xmlns:a16="http://schemas.microsoft.com/office/drawing/2014/main" id="{4A16399A-3EE9-46F1-BC56-2C7E0E97459C}"/>
                </a:ext>
              </a:extLst>
            </p:cNvPr>
            <p:cNvSpPr/>
            <p:nvPr/>
          </p:nvSpPr>
          <p:spPr>
            <a:xfrm>
              <a:off x="6704552" y="2833767"/>
              <a:ext cx="203680" cy="212772"/>
            </a:xfrm>
            <a:custGeom>
              <a:avLst/>
              <a:gdLst/>
              <a:ahLst/>
              <a:cxnLst/>
              <a:rect l="l" t="t" r="r" b="b"/>
              <a:pathLst>
                <a:path w="292704" h="320040" extrusionOk="0">
                  <a:moveTo>
                    <a:pt x="54801" y="4114"/>
                  </a:moveTo>
                  <a:lnTo>
                    <a:pt x="58174" y="5760"/>
                  </a:lnTo>
                  <a:lnTo>
                    <a:pt x="71663" y="17281"/>
                  </a:lnTo>
                  <a:lnTo>
                    <a:pt x="102015" y="55136"/>
                  </a:lnTo>
                  <a:lnTo>
                    <a:pt x="113819" y="79824"/>
                  </a:lnTo>
                  <a:lnTo>
                    <a:pt x="130681" y="119324"/>
                  </a:lnTo>
                  <a:lnTo>
                    <a:pt x="144171" y="112741"/>
                  </a:lnTo>
                  <a:lnTo>
                    <a:pt x="147543" y="114387"/>
                  </a:lnTo>
                  <a:lnTo>
                    <a:pt x="162719" y="99574"/>
                  </a:lnTo>
                  <a:lnTo>
                    <a:pt x="171151" y="94637"/>
                  </a:lnTo>
                  <a:lnTo>
                    <a:pt x="179582" y="96282"/>
                  </a:lnTo>
                  <a:lnTo>
                    <a:pt x="189699" y="114387"/>
                  </a:lnTo>
                  <a:lnTo>
                    <a:pt x="243658" y="56782"/>
                  </a:lnTo>
                  <a:lnTo>
                    <a:pt x="255462" y="65011"/>
                  </a:lnTo>
                  <a:lnTo>
                    <a:pt x="270638" y="81470"/>
                  </a:lnTo>
                  <a:lnTo>
                    <a:pt x="270638" y="94637"/>
                  </a:lnTo>
                  <a:lnTo>
                    <a:pt x="265579" y="97928"/>
                  </a:lnTo>
                  <a:lnTo>
                    <a:pt x="267265" y="99574"/>
                  </a:lnTo>
                  <a:lnTo>
                    <a:pt x="274010" y="96282"/>
                  </a:lnTo>
                  <a:lnTo>
                    <a:pt x="284128" y="97928"/>
                  </a:lnTo>
                  <a:lnTo>
                    <a:pt x="292559" y="109449"/>
                  </a:lnTo>
                  <a:lnTo>
                    <a:pt x="297617" y="122616"/>
                  </a:lnTo>
                  <a:lnTo>
                    <a:pt x="292559" y="158825"/>
                  </a:lnTo>
                  <a:lnTo>
                    <a:pt x="277383" y="191742"/>
                  </a:lnTo>
                  <a:lnTo>
                    <a:pt x="270638" y="191742"/>
                  </a:lnTo>
                  <a:lnTo>
                    <a:pt x="211620" y="265806"/>
                  </a:lnTo>
                  <a:lnTo>
                    <a:pt x="194758" y="283911"/>
                  </a:lnTo>
                  <a:lnTo>
                    <a:pt x="171151" y="297078"/>
                  </a:lnTo>
                  <a:lnTo>
                    <a:pt x="169464" y="302015"/>
                  </a:lnTo>
                  <a:lnTo>
                    <a:pt x="128995" y="320120"/>
                  </a:lnTo>
                  <a:lnTo>
                    <a:pt x="102015" y="278973"/>
                  </a:lnTo>
                  <a:lnTo>
                    <a:pt x="117191" y="267452"/>
                  </a:lnTo>
                  <a:lnTo>
                    <a:pt x="91898" y="250994"/>
                  </a:lnTo>
                  <a:lnTo>
                    <a:pt x="44684" y="191742"/>
                  </a:lnTo>
                  <a:lnTo>
                    <a:pt x="53115" y="185159"/>
                  </a:lnTo>
                  <a:lnTo>
                    <a:pt x="48056" y="183513"/>
                  </a:lnTo>
                  <a:lnTo>
                    <a:pt x="58174" y="170346"/>
                  </a:lnTo>
                  <a:lnTo>
                    <a:pt x="53115" y="168700"/>
                  </a:lnTo>
                  <a:lnTo>
                    <a:pt x="53115" y="165409"/>
                  </a:lnTo>
                  <a:lnTo>
                    <a:pt x="49742" y="165409"/>
                  </a:lnTo>
                  <a:lnTo>
                    <a:pt x="48056" y="160471"/>
                  </a:lnTo>
                  <a:lnTo>
                    <a:pt x="36253" y="152242"/>
                  </a:lnTo>
                  <a:lnTo>
                    <a:pt x="37939" y="148950"/>
                  </a:lnTo>
                  <a:lnTo>
                    <a:pt x="34566" y="150596"/>
                  </a:lnTo>
                  <a:lnTo>
                    <a:pt x="31194" y="148950"/>
                  </a:lnTo>
                  <a:lnTo>
                    <a:pt x="4214" y="129200"/>
                  </a:lnTo>
                  <a:lnTo>
                    <a:pt x="7587" y="120971"/>
                  </a:lnTo>
                  <a:lnTo>
                    <a:pt x="12645" y="119324"/>
                  </a:lnTo>
                  <a:lnTo>
                    <a:pt x="7587" y="119324"/>
                  </a:lnTo>
                  <a:lnTo>
                    <a:pt x="12645" y="109449"/>
                  </a:lnTo>
                  <a:lnTo>
                    <a:pt x="17704" y="81470"/>
                  </a:lnTo>
                  <a:lnTo>
                    <a:pt x="19390" y="79824"/>
                  </a:lnTo>
                  <a:lnTo>
                    <a:pt x="16018" y="81470"/>
                  </a:lnTo>
                  <a:lnTo>
                    <a:pt x="19390" y="68303"/>
                  </a:lnTo>
                  <a:lnTo>
                    <a:pt x="27821" y="58428"/>
                  </a:lnTo>
                  <a:lnTo>
                    <a:pt x="36253" y="20573"/>
                  </a:lnTo>
                  <a:lnTo>
                    <a:pt x="42997" y="13989"/>
                  </a:lnTo>
                  <a:lnTo>
                    <a:pt x="39625" y="15635"/>
                  </a:lnTo>
                  <a:lnTo>
                    <a:pt x="39625" y="12343"/>
                  </a:lnTo>
                  <a:lnTo>
                    <a:pt x="54801"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79" name="Nunspeet">
              <a:extLst>
                <a:ext uri="{FF2B5EF4-FFF2-40B4-BE49-F238E27FC236}">
                  <a16:creationId xmlns:a16="http://schemas.microsoft.com/office/drawing/2014/main" id="{41B3D348-7FEF-4397-B247-CBCC7DF02317}"/>
                </a:ext>
              </a:extLst>
            </p:cNvPr>
            <p:cNvSpPr/>
            <p:nvPr/>
          </p:nvSpPr>
          <p:spPr>
            <a:xfrm>
              <a:off x="6527902" y="3021821"/>
              <a:ext cx="216407" cy="231704"/>
            </a:xfrm>
            <a:custGeom>
              <a:avLst/>
              <a:gdLst/>
              <a:ahLst/>
              <a:cxnLst/>
              <a:rect l="l" t="t" r="r" b="b"/>
              <a:pathLst>
                <a:path w="304412" h="342900" extrusionOk="0">
                  <a:moveTo>
                    <a:pt x="93584" y="23864"/>
                  </a:moveTo>
                  <a:lnTo>
                    <a:pt x="93584" y="25510"/>
                  </a:lnTo>
                  <a:lnTo>
                    <a:pt x="93584" y="23864"/>
                  </a:lnTo>
                  <a:lnTo>
                    <a:pt x="93584" y="23864"/>
                  </a:lnTo>
                  <a:close/>
                  <a:moveTo>
                    <a:pt x="125622" y="10698"/>
                  </a:moveTo>
                  <a:lnTo>
                    <a:pt x="134054" y="23864"/>
                  </a:lnTo>
                  <a:lnTo>
                    <a:pt x="140799" y="23864"/>
                  </a:lnTo>
                  <a:lnTo>
                    <a:pt x="144171" y="32094"/>
                  </a:lnTo>
                  <a:lnTo>
                    <a:pt x="161033" y="22219"/>
                  </a:lnTo>
                  <a:lnTo>
                    <a:pt x="169464" y="20573"/>
                  </a:lnTo>
                  <a:lnTo>
                    <a:pt x="174523" y="27156"/>
                  </a:lnTo>
                  <a:lnTo>
                    <a:pt x="204875" y="13989"/>
                  </a:lnTo>
                  <a:lnTo>
                    <a:pt x="206561" y="18927"/>
                  </a:lnTo>
                  <a:lnTo>
                    <a:pt x="213306" y="15635"/>
                  </a:lnTo>
                  <a:lnTo>
                    <a:pt x="214992" y="27156"/>
                  </a:lnTo>
                  <a:lnTo>
                    <a:pt x="218365" y="27156"/>
                  </a:lnTo>
                  <a:lnTo>
                    <a:pt x="220051" y="41969"/>
                  </a:lnTo>
                  <a:lnTo>
                    <a:pt x="285814" y="117679"/>
                  </a:lnTo>
                  <a:lnTo>
                    <a:pt x="295931" y="112741"/>
                  </a:lnTo>
                  <a:lnTo>
                    <a:pt x="302676" y="120971"/>
                  </a:lnTo>
                  <a:lnTo>
                    <a:pt x="285814" y="137429"/>
                  </a:lnTo>
                  <a:lnTo>
                    <a:pt x="311107" y="175284"/>
                  </a:lnTo>
                  <a:lnTo>
                    <a:pt x="304362" y="183513"/>
                  </a:lnTo>
                  <a:lnTo>
                    <a:pt x="302676" y="190097"/>
                  </a:lnTo>
                  <a:lnTo>
                    <a:pt x="289186" y="213139"/>
                  </a:lnTo>
                  <a:lnTo>
                    <a:pt x="265579" y="241118"/>
                  </a:lnTo>
                  <a:lnTo>
                    <a:pt x="250403" y="250994"/>
                  </a:lnTo>
                  <a:lnTo>
                    <a:pt x="258834" y="293786"/>
                  </a:lnTo>
                  <a:lnTo>
                    <a:pt x="268951" y="308599"/>
                  </a:lnTo>
                  <a:lnTo>
                    <a:pt x="262207" y="321766"/>
                  </a:lnTo>
                  <a:lnTo>
                    <a:pt x="267265" y="336579"/>
                  </a:lnTo>
                  <a:lnTo>
                    <a:pt x="253776" y="341516"/>
                  </a:lnTo>
                  <a:lnTo>
                    <a:pt x="235227" y="331641"/>
                  </a:lnTo>
                  <a:lnTo>
                    <a:pt x="221737" y="328349"/>
                  </a:lnTo>
                  <a:lnTo>
                    <a:pt x="204875" y="333287"/>
                  </a:lnTo>
                  <a:lnTo>
                    <a:pt x="184640" y="334933"/>
                  </a:lnTo>
                  <a:lnTo>
                    <a:pt x="157661" y="333287"/>
                  </a:lnTo>
                  <a:lnTo>
                    <a:pt x="115505" y="334933"/>
                  </a:lnTo>
                  <a:lnTo>
                    <a:pt x="112133" y="338224"/>
                  </a:lnTo>
                  <a:lnTo>
                    <a:pt x="108760" y="329995"/>
                  </a:lnTo>
                  <a:lnTo>
                    <a:pt x="122250" y="316828"/>
                  </a:lnTo>
                  <a:lnTo>
                    <a:pt x="120564" y="306953"/>
                  </a:lnTo>
                  <a:lnTo>
                    <a:pt x="105388" y="290494"/>
                  </a:lnTo>
                  <a:lnTo>
                    <a:pt x="103701" y="267452"/>
                  </a:lnTo>
                  <a:lnTo>
                    <a:pt x="110446" y="244410"/>
                  </a:lnTo>
                  <a:lnTo>
                    <a:pt x="113819" y="221368"/>
                  </a:lnTo>
                  <a:lnTo>
                    <a:pt x="46370" y="193389"/>
                  </a:lnTo>
                  <a:lnTo>
                    <a:pt x="56487" y="185159"/>
                  </a:lnTo>
                  <a:lnTo>
                    <a:pt x="56487" y="173638"/>
                  </a:lnTo>
                  <a:lnTo>
                    <a:pt x="53115" y="168700"/>
                  </a:lnTo>
                  <a:lnTo>
                    <a:pt x="46370" y="167055"/>
                  </a:lnTo>
                  <a:lnTo>
                    <a:pt x="44684" y="165409"/>
                  </a:lnTo>
                  <a:lnTo>
                    <a:pt x="42997" y="150596"/>
                  </a:lnTo>
                  <a:lnTo>
                    <a:pt x="34566" y="134137"/>
                  </a:lnTo>
                  <a:lnTo>
                    <a:pt x="34566" y="125908"/>
                  </a:lnTo>
                  <a:lnTo>
                    <a:pt x="37939" y="122616"/>
                  </a:lnTo>
                  <a:lnTo>
                    <a:pt x="32880" y="116033"/>
                  </a:lnTo>
                  <a:lnTo>
                    <a:pt x="29508" y="116033"/>
                  </a:lnTo>
                  <a:lnTo>
                    <a:pt x="27821" y="112741"/>
                  </a:lnTo>
                  <a:lnTo>
                    <a:pt x="5901" y="79824"/>
                  </a:lnTo>
                  <a:lnTo>
                    <a:pt x="4214" y="71595"/>
                  </a:lnTo>
                  <a:lnTo>
                    <a:pt x="21076" y="73240"/>
                  </a:lnTo>
                  <a:lnTo>
                    <a:pt x="29508" y="68303"/>
                  </a:lnTo>
                  <a:lnTo>
                    <a:pt x="27821" y="65011"/>
                  </a:lnTo>
                  <a:lnTo>
                    <a:pt x="36253" y="66657"/>
                  </a:lnTo>
                  <a:lnTo>
                    <a:pt x="39625" y="63365"/>
                  </a:lnTo>
                  <a:lnTo>
                    <a:pt x="37939" y="61719"/>
                  </a:lnTo>
                  <a:lnTo>
                    <a:pt x="41311" y="61719"/>
                  </a:lnTo>
                  <a:lnTo>
                    <a:pt x="41311" y="58427"/>
                  </a:lnTo>
                  <a:lnTo>
                    <a:pt x="42997" y="58427"/>
                  </a:lnTo>
                  <a:lnTo>
                    <a:pt x="42997" y="56782"/>
                  </a:lnTo>
                  <a:lnTo>
                    <a:pt x="46370" y="58427"/>
                  </a:lnTo>
                  <a:lnTo>
                    <a:pt x="48056" y="53490"/>
                  </a:lnTo>
                  <a:lnTo>
                    <a:pt x="49742" y="53490"/>
                  </a:lnTo>
                  <a:lnTo>
                    <a:pt x="54801" y="50198"/>
                  </a:lnTo>
                  <a:lnTo>
                    <a:pt x="64918" y="48552"/>
                  </a:lnTo>
                  <a:lnTo>
                    <a:pt x="78408" y="37031"/>
                  </a:lnTo>
                  <a:lnTo>
                    <a:pt x="81781" y="32094"/>
                  </a:lnTo>
                  <a:lnTo>
                    <a:pt x="85153" y="33740"/>
                  </a:lnTo>
                  <a:lnTo>
                    <a:pt x="91898" y="25510"/>
                  </a:lnTo>
                  <a:lnTo>
                    <a:pt x="93584" y="27156"/>
                  </a:lnTo>
                  <a:lnTo>
                    <a:pt x="91898" y="28802"/>
                  </a:lnTo>
                  <a:lnTo>
                    <a:pt x="95270" y="28802"/>
                  </a:lnTo>
                  <a:lnTo>
                    <a:pt x="93584" y="25510"/>
                  </a:lnTo>
                  <a:lnTo>
                    <a:pt x="96957" y="27156"/>
                  </a:lnTo>
                  <a:lnTo>
                    <a:pt x="108760" y="13989"/>
                  </a:lnTo>
                  <a:lnTo>
                    <a:pt x="120564" y="9052"/>
                  </a:lnTo>
                  <a:lnTo>
                    <a:pt x="122250" y="4114"/>
                  </a:lnTo>
                  <a:lnTo>
                    <a:pt x="125622" y="1069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0" name="Voerendaal">
              <a:extLst>
                <a:ext uri="{FF2B5EF4-FFF2-40B4-BE49-F238E27FC236}">
                  <a16:creationId xmlns:a16="http://schemas.microsoft.com/office/drawing/2014/main" id="{F8B2B79B-856E-44B8-B66B-F97FDFF20192}"/>
                </a:ext>
              </a:extLst>
            </p:cNvPr>
            <p:cNvSpPr/>
            <p:nvPr/>
          </p:nvSpPr>
          <p:spPr>
            <a:xfrm>
              <a:off x="6742548" y="5438786"/>
              <a:ext cx="121828" cy="99299"/>
            </a:xfrm>
            <a:custGeom>
              <a:avLst/>
              <a:gdLst/>
              <a:ahLst/>
              <a:cxnLst/>
              <a:rect l="l" t="t" r="r" b="b"/>
              <a:pathLst>
                <a:path w="175622" h="160020" extrusionOk="0">
                  <a:moveTo>
                    <a:pt x="100329" y="4114"/>
                  </a:moveTo>
                  <a:lnTo>
                    <a:pt x="103701" y="12343"/>
                  </a:lnTo>
                  <a:lnTo>
                    <a:pt x="166092" y="96282"/>
                  </a:lnTo>
                  <a:lnTo>
                    <a:pt x="172836" y="112741"/>
                  </a:lnTo>
                  <a:lnTo>
                    <a:pt x="167778" y="119324"/>
                  </a:lnTo>
                  <a:lnTo>
                    <a:pt x="167778" y="124262"/>
                  </a:lnTo>
                  <a:lnTo>
                    <a:pt x="161033" y="127554"/>
                  </a:lnTo>
                  <a:lnTo>
                    <a:pt x="159347" y="124262"/>
                  </a:lnTo>
                  <a:lnTo>
                    <a:pt x="149230" y="130845"/>
                  </a:lnTo>
                  <a:lnTo>
                    <a:pt x="147543" y="140721"/>
                  </a:lnTo>
                  <a:lnTo>
                    <a:pt x="150916" y="145658"/>
                  </a:lnTo>
                  <a:lnTo>
                    <a:pt x="144171" y="150596"/>
                  </a:lnTo>
                  <a:lnTo>
                    <a:pt x="137426" y="148950"/>
                  </a:lnTo>
                  <a:lnTo>
                    <a:pt x="120564" y="160471"/>
                  </a:lnTo>
                  <a:lnTo>
                    <a:pt x="110446" y="160471"/>
                  </a:lnTo>
                  <a:lnTo>
                    <a:pt x="103701" y="139074"/>
                  </a:lnTo>
                  <a:lnTo>
                    <a:pt x="90211" y="140721"/>
                  </a:lnTo>
                  <a:lnTo>
                    <a:pt x="69977" y="147304"/>
                  </a:lnTo>
                  <a:lnTo>
                    <a:pt x="61546" y="153887"/>
                  </a:lnTo>
                  <a:lnTo>
                    <a:pt x="49742" y="155533"/>
                  </a:lnTo>
                  <a:lnTo>
                    <a:pt x="39625" y="135783"/>
                  </a:lnTo>
                  <a:lnTo>
                    <a:pt x="26135" y="124262"/>
                  </a:lnTo>
                  <a:lnTo>
                    <a:pt x="27821" y="120970"/>
                  </a:lnTo>
                  <a:lnTo>
                    <a:pt x="16018" y="120970"/>
                  </a:lnTo>
                  <a:lnTo>
                    <a:pt x="19390" y="106157"/>
                  </a:lnTo>
                  <a:lnTo>
                    <a:pt x="22763" y="102866"/>
                  </a:lnTo>
                  <a:lnTo>
                    <a:pt x="19390" y="94637"/>
                  </a:lnTo>
                  <a:lnTo>
                    <a:pt x="16018" y="92990"/>
                  </a:lnTo>
                  <a:lnTo>
                    <a:pt x="17704" y="88053"/>
                  </a:lnTo>
                  <a:lnTo>
                    <a:pt x="16018" y="84761"/>
                  </a:lnTo>
                  <a:lnTo>
                    <a:pt x="17704" y="81470"/>
                  </a:lnTo>
                  <a:lnTo>
                    <a:pt x="7586" y="73240"/>
                  </a:lnTo>
                  <a:lnTo>
                    <a:pt x="4214" y="60073"/>
                  </a:lnTo>
                  <a:lnTo>
                    <a:pt x="19390" y="56782"/>
                  </a:lnTo>
                  <a:lnTo>
                    <a:pt x="32880" y="58427"/>
                  </a:lnTo>
                  <a:lnTo>
                    <a:pt x="41311" y="55135"/>
                  </a:lnTo>
                  <a:lnTo>
                    <a:pt x="42997" y="55135"/>
                  </a:lnTo>
                  <a:lnTo>
                    <a:pt x="48056" y="51844"/>
                  </a:lnTo>
                  <a:lnTo>
                    <a:pt x="54801" y="51844"/>
                  </a:lnTo>
                  <a:lnTo>
                    <a:pt x="48056" y="45260"/>
                  </a:lnTo>
                  <a:lnTo>
                    <a:pt x="68291" y="30448"/>
                  </a:lnTo>
                  <a:lnTo>
                    <a:pt x="64918" y="27156"/>
                  </a:lnTo>
                  <a:lnTo>
                    <a:pt x="86839" y="12343"/>
                  </a:lnTo>
                  <a:lnTo>
                    <a:pt x="83467" y="10698"/>
                  </a:lnTo>
                  <a:lnTo>
                    <a:pt x="88525" y="5760"/>
                  </a:lnTo>
                  <a:lnTo>
                    <a:pt x="95270" y="9051"/>
                  </a:lnTo>
                  <a:lnTo>
                    <a:pt x="100329" y="411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1" name="Heerlen">
              <a:extLst>
                <a:ext uri="{FF2B5EF4-FFF2-40B4-BE49-F238E27FC236}">
                  <a16:creationId xmlns:a16="http://schemas.microsoft.com/office/drawing/2014/main" id="{06CDBD25-3894-4791-A620-FF6937A2982D}"/>
                </a:ext>
              </a:extLst>
            </p:cNvPr>
            <p:cNvSpPr/>
            <p:nvPr/>
          </p:nvSpPr>
          <p:spPr>
            <a:xfrm>
              <a:off x="6778242" y="5386800"/>
              <a:ext cx="142002" cy="191993"/>
            </a:xfrm>
            <a:custGeom>
              <a:avLst/>
              <a:gdLst/>
              <a:ahLst/>
              <a:cxnLst/>
              <a:rect l="l" t="t" r="r" b="b"/>
              <a:pathLst>
                <a:path w="210747" h="285750" extrusionOk="0">
                  <a:moveTo>
                    <a:pt x="71663" y="23864"/>
                  </a:moveTo>
                  <a:lnTo>
                    <a:pt x="78408" y="25510"/>
                  </a:lnTo>
                  <a:lnTo>
                    <a:pt x="95270" y="10698"/>
                  </a:lnTo>
                  <a:lnTo>
                    <a:pt x="105388" y="9051"/>
                  </a:lnTo>
                  <a:lnTo>
                    <a:pt x="110446" y="10698"/>
                  </a:lnTo>
                  <a:lnTo>
                    <a:pt x="127309" y="22218"/>
                  </a:lnTo>
                  <a:lnTo>
                    <a:pt x="186326" y="27156"/>
                  </a:lnTo>
                  <a:lnTo>
                    <a:pt x="176209" y="45260"/>
                  </a:lnTo>
                  <a:lnTo>
                    <a:pt x="155974" y="66657"/>
                  </a:lnTo>
                  <a:lnTo>
                    <a:pt x="152602" y="76532"/>
                  </a:lnTo>
                  <a:lnTo>
                    <a:pt x="155974" y="76532"/>
                  </a:lnTo>
                  <a:lnTo>
                    <a:pt x="154288" y="79824"/>
                  </a:lnTo>
                  <a:lnTo>
                    <a:pt x="159347" y="83115"/>
                  </a:lnTo>
                  <a:lnTo>
                    <a:pt x="159347" y="101220"/>
                  </a:lnTo>
                  <a:lnTo>
                    <a:pt x="162719" y="109449"/>
                  </a:lnTo>
                  <a:lnTo>
                    <a:pt x="166092" y="107803"/>
                  </a:lnTo>
                  <a:lnTo>
                    <a:pt x="164405" y="111095"/>
                  </a:lnTo>
                  <a:lnTo>
                    <a:pt x="181268" y="125908"/>
                  </a:lnTo>
                  <a:lnTo>
                    <a:pt x="182954" y="145658"/>
                  </a:lnTo>
                  <a:lnTo>
                    <a:pt x="191385" y="155534"/>
                  </a:lnTo>
                  <a:lnTo>
                    <a:pt x="193071" y="162116"/>
                  </a:lnTo>
                  <a:lnTo>
                    <a:pt x="199816" y="167054"/>
                  </a:lnTo>
                  <a:lnTo>
                    <a:pt x="184640" y="178576"/>
                  </a:lnTo>
                  <a:lnTo>
                    <a:pt x="179582" y="185159"/>
                  </a:lnTo>
                  <a:lnTo>
                    <a:pt x="181268" y="188451"/>
                  </a:lnTo>
                  <a:lnTo>
                    <a:pt x="169464" y="193389"/>
                  </a:lnTo>
                  <a:lnTo>
                    <a:pt x="188013" y="221368"/>
                  </a:lnTo>
                  <a:lnTo>
                    <a:pt x="193071" y="226306"/>
                  </a:lnTo>
                  <a:lnTo>
                    <a:pt x="196444" y="226306"/>
                  </a:lnTo>
                  <a:lnTo>
                    <a:pt x="193071" y="239473"/>
                  </a:lnTo>
                  <a:lnTo>
                    <a:pt x="198130" y="242764"/>
                  </a:lnTo>
                  <a:lnTo>
                    <a:pt x="194757" y="250993"/>
                  </a:lnTo>
                  <a:lnTo>
                    <a:pt x="198130" y="260868"/>
                  </a:lnTo>
                  <a:lnTo>
                    <a:pt x="208247" y="265806"/>
                  </a:lnTo>
                  <a:lnTo>
                    <a:pt x="204875" y="267452"/>
                  </a:lnTo>
                  <a:lnTo>
                    <a:pt x="209934" y="283910"/>
                  </a:lnTo>
                  <a:lnTo>
                    <a:pt x="206561" y="287203"/>
                  </a:lnTo>
                  <a:lnTo>
                    <a:pt x="203189" y="283910"/>
                  </a:lnTo>
                  <a:lnTo>
                    <a:pt x="201502" y="283910"/>
                  </a:lnTo>
                  <a:lnTo>
                    <a:pt x="196444" y="280619"/>
                  </a:lnTo>
                  <a:lnTo>
                    <a:pt x="193071" y="275681"/>
                  </a:lnTo>
                  <a:lnTo>
                    <a:pt x="196444" y="270744"/>
                  </a:lnTo>
                  <a:lnTo>
                    <a:pt x="188013" y="259223"/>
                  </a:lnTo>
                  <a:lnTo>
                    <a:pt x="172836" y="255931"/>
                  </a:lnTo>
                  <a:lnTo>
                    <a:pt x="177895" y="247702"/>
                  </a:lnTo>
                  <a:lnTo>
                    <a:pt x="174523" y="241118"/>
                  </a:lnTo>
                  <a:lnTo>
                    <a:pt x="164405" y="232889"/>
                  </a:lnTo>
                  <a:lnTo>
                    <a:pt x="150916" y="226306"/>
                  </a:lnTo>
                  <a:lnTo>
                    <a:pt x="132367" y="211493"/>
                  </a:lnTo>
                  <a:lnTo>
                    <a:pt x="113819" y="173638"/>
                  </a:lnTo>
                  <a:lnTo>
                    <a:pt x="51428" y="88053"/>
                  </a:lnTo>
                  <a:lnTo>
                    <a:pt x="49742" y="83115"/>
                  </a:lnTo>
                  <a:lnTo>
                    <a:pt x="44684" y="78178"/>
                  </a:lnTo>
                  <a:lnTo>
                    <a:pt x="48056" y="78178"/>
                  </a:lnTo>
                  <a:lnTo>
                    <a:pt x="36252" y="68302"/>
                  </a:lnTo>
                  <a:lnTo>
                    <a:pt x="17704" y="60073"/>
                  </a:lnTo>
                  <a:lnTo>
                    <a:pt x="22763" y="55136"/>
                  </a:lnTo>
                  <a:lnTo>
                    <a:pt x="17704" y="50198"/>
                  </a:lnTo>
                  <a:lnTo>
                    <a:pt x="9273" y="51844"/>
                  </a:lnTo>
                  <a:lnTo>
                    <a:pt x="4214" y="45260"/>
                  </a:lnTo>
                  <a:lnTo>
                    <a:pt x="7586" y="35385"/>
                  </a:lnTo>
                  <a:lnTo>
                    <a:pt x="10959" y="37031"/>
                  </a:lnTo>
                  <a:lnTo>
                    <a:pt x="12645" y="32093"/>
                  </a:lnTo>
                  <a:lnTo>
                    <a:pt x="19390" y="25510"/>
                  </a:lnTo>
                  <a:lnTo>
                    <a:pt x="26135" y="27156"/>
                  </a:lnTo>
                  <a:lnTo>
                    <a:pt x="31194" y="25510"/>
                  </a:lnTo>
                  <a:lnTo>
                    <a:pt x="41311" y="15635"/>
                  </a:lnTo>
                  <a:lnTo>
                    <a:pt x="39625" y="12343"/>
                  </a:lnTo>
                  <a:lnTo>
                    <a:pt x="54801" y="4114"/>
                  </a:lnTo>
                  <a:lnTo>
                    <a:pt x="58173" y="10698"/>
                  </a:lnTo>
                  <a:lnTo>
                    <a:pt x="71663" y="2386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2" name="Buren">
              <a:extLst>
                <a:ext uri="{FF2B5EF4-FFF2-40B4-BE49-F238E27FC236}">
                  <a16:creationId xmlns:a16="http://schemas.microsoft.com/office/drawing/2014/main" id="{DF3C7BF8-6E8D-4A2B-85AC-C2C4007D6AAE}"/>
                </a:ext>
              </a:extLst>
            </p:cNvPr>
            <p:cNvSpPr/>
            <p:nvPr/>
          </p:nvSpPr>
          <p:spPr>
            <a:xfrm>
              <a:off x="6077297" y="3700830"/>
              <a:ext cx="363577" cy="182527"/>
            </a:xfrm>
            <a:custGeom>
              <a:avLst/>
              <a:gdLst/>
              <a:ahLst/>
              <a:cxnLst/>
              <a:rect l="l" t="t" r="r" b="b"/>
              <a:pathLst>
                <a:path w="526867" h="274320" extrusionOk="0">
                  <a:moveTo>
                    <a:pt x="348204" y="10697"/>
                  </a:moveTo>
                  <a:lnTo>
                    <a:pt x="376870" y="9052"/>
                  </a:lnTo>
                  <a:lnTo>
                    <a:pt x="417339" y="35385"/>
                  </a:lnTo>
                  <a:lnTo>
                    <a:pt x="457809" y="48552"/>
                  </a:lnTo>
                  <a:lnTo>
                    <a:pt x="474671" y="68302"/>
                  </a:lnTo>
                  <a:lnTo>
                    <a:pt x="486475" y="78178"/>
                  </a:lnTo>
                  <a:lnTo>
                    <a:pt x="530316" y="89699"/>
                  </a:lnTo>
                  <a:lnTo>
                    <a:pt x="526944" y="97928"/>
                  </a:lnTo>
                  <a:lnTo>
                    <a:pt x="508395" y="111095"/>
                  </a:lnTo>
                  <a:lnTo>
                    <a:pt x="499964" y="111095"/>
                  </a:lnTo>
                  <a:lnTo>
                    <a:pt x="491533" y="106157"/>
                  </a:lnTo>
                  <a:lnTo>
                    <a:pt x="472985" y="109449"/>
                  </a:lnTo>
                  <a:lnTo>
                    <a:pt x="459495" y="106157"/>
                  </a:lnTo>
                  <a:lnTo>
                    <a:pt x="449378" y="107803"/>
                  </a:lnTo>
                  <a:lnTo>
                    <a:pt x="459495" y="122616"/>
                  </a:lnTo>
                  <a:lnTo>
                    <a:pt x="472985" y="129199"/>
                  </a:lnTo>
                  <a:lnTo>
                    <a:pt x="481416" y="129199"/>
                  </a:lnTo>
                  <a:lnTo>
                    <a:pt x="481416" y="157179"/>
                  </a:lnTo>
                  <a:lnTo>
                    <a:pt x="484788" y="165409"/>
                  </a:lnTo>
                  <a:lnTo>
                    <a:pt x="478043" y="168700"/>
                  </a:lnTo>
                  <a:lnTo>
                    <a:pt x="471299" y="158825"/>
                  </a:lnTo>
                  <a:lnTo>
                    <a:pt x="417339" y="160471"/>
                  </a:lnTo>
                  <a:lnTo>
                    <a:pt x="405536" y="153888"/>
                  </a:lnTo>
                  <a:lnTo>
                    <a:pt x="400477" y="157179"/>
                  </a:lnTo>
                  <a:lnTo>
                    <a:pt x="395418" y="155533"/>
                  </a:lnTo>
                  <a:lnTo>
                    <a:pt x="388674" y="167054"/>
                  </a:lnTo>
                  <a:lnTo>
                    <a:pt x="381929" y="168700"/>
                  </a:lnTo>
                  <a:lnTo>
                    <a:pt x="376870" y="167054"/>
                  </a:lnTo>
                  <a:lnTo>
                    <a:pt x="378556" y="160471"/>
                  </a:lnTo>
                  <a:lnTo>
                    <a:pt x="381929" y="162117"/>
                  </a:lnTo>
                  <a:lnTo>
                    <a:pt x="380243" y="157179"/>
                  </a:lnTo>
                  <a:lnTo>
                    <a:pt x="385301" y="153888"/>
                  </a:lnTo>
                  <a:lnTo>
                    <a:pt x="383615" y="152242"/>
                  </a:lnTo>
                  <a:lnTo>
                    <a:pt x="378556" y="153888"/>
                  </a:lnTo>
                  <a:lnTo>
                    <a:pt x="380243" y="157179"/>
                  </a:lnTo>
                  <a:lnTo>
                    <a:pt x="368439" y="157179"/>
                  </a:lnTo>
                  <a:lnTo>
                    <a:pt x="361694" y="162117"/>
                  </a:lnTo>
                  <a:lnTo>
                    <a:pt x="348204" y="155533"/>
                  </a:lnTo>
                  <a:lnTo>
                    <a:pt x="336401" y="153888"/>
                  </a:lnTo>
                  <a:lnTo>
                    <a:pt x="334714" y="157179"/>
                  </a:lnTo>
                  <a:lnTo>
                    <a:pt x="327970" y="157179"/>
                  </a:lnTo>
                  <a:lnTo>
                    <a:pt x="317852" y="162117"/>
                  </a:lnTo>
                  <a:lnTo>
                    <a:pt x="312793" y="160471"/>
                  </a:lnTo>
                  <a:lnTo>
                    <a:pt x="299304" y="162117"/>
                  </a:lnTo>
                  <a:lnTo>
                    <a:pt x="294245" y="167054"/>
                  </a:lnTo>
                  <a:lnTo>
                    <a:pt x="285814" y="167054"/>
                  </a:lnTo>
                  <a:lnTo>
                    <a:pt x="280755" y="170346"/>
                  </a:lnTo>
                  <a:lnTo>
                    <a:pt x="274010" y="180221"/>
                  </a:lnTo>
                  <a:lnTo>
                    <a:pt x="262207" y="183513"/>
                  </a:lnTo>
                  <a:lnTo>
                    <a:pt x="260520" y="193388"/>
                  </a:lnTo>
                  <a:lnTo>
                    <a:pt x="252089" y="199972"/>
                  </a:lnTo>
                  <a:lnTo>
                    <a:pt x="243658" y="216430"/>
                  </a:lnTo>
                  <a:lnTo>
                    <a:pt x="233541" y="219722"/>
                  </a:lnTo>
                  <a:lnTo>
                    <a:pt x="174523" y="265806"/>
                  </a:lnTo>
                  <a:lnTo>
                    <a:pt x="167778" y="267452"/>
                  </a:lnTo>
                  <a:lnTo>
                    <a:pt x="161033" y="265806"/>
                  </a:lnTo>
                  <a:lnTo>
                    <a:pt x="155974" y="275681"/>
                  </a:lnTo>
                  <a:lnTo>
                    <a:pt x="150916" y="274035"/>
                  </a:lnTo>
                  <a:lnTo>
                    <a:pt x="152602" y="265806"/>
                  </a:lnTo>
                  <a:lnTo>
                    <a:pt x="145857" y="255931"/>
                  </a:lnTo>
                  <a:lnTo>
                    <a:pt x="134054" y="254285"/>
                  </a:lnTo>
                  <a:lnTo>
                    <a:pt x="118878" y="259223"/>
                  </a:lnTo>
                  <a:lnTo>
                    <a:pt x="115505" y="259223"/>
                  </a:lnTo>
                  <a:lnTo>
                    <a:pt x="117191" y="252639"/>
                  </a:lnTo>
                  <a:lnTo>
                    <a:pt x="127309" y="244410"/>
                  </a:lnTo>
                  <a:lnTo>
                    <a:pt x="127309" y="237826"/>
                  </a:lnTo>
                  <a:lnTo>
                    <a:pt x="112133" y="223014"/>
                  </a:lnTo>
                  <a:lnTo>
                    <a:pt x="102015" y="221368"/>
                  </a:lnTo>
                  <a:lnTo>
                    <a:pt x="88526" y="208201"/>
                  </a:lnTo>
                  <a:lnTo>
                    <a:pt x="85153" y="211493"/>
                  </a:lnTo>
                  <a:lnTo>
                    <a:pt x="51429" y="163763"/>
                  </a:lnTo>
                  <a:lnTo>
                    <a:pt x="69977" y="157179"/>
                  </a:lnTo>
                  <a:lnTo>
                    <a:pt x="71663" y="144012"/>
                  </a:lnTo>
                  <a:lnTo>
                    <a:pt x="69977" y="137429"/>
                  </a:lnTo>
                  <a:lnTo>
                    <a:pt x="63232" y="132491"/>
                  </a:lnTo>
                  <a:lnTo>
                    <a:pt x="42997" y="132491"/>
                  </a:lnTo>
                  <a:lnTo>
                    <a:pt x="24449" y="125908"/>
                  </a:lnTo>
                  <a:lnTo>
                    <a:pt x="4214" y="101220"/>
                  </a:lnTo>
                  <a:lnTo>
                    <a:pt x="31194" y="86407"/>
                  </a:lnTo>
                  <a:lnTo>
                    <a:pt x="24449" y="81470"/>
                  </a:lnTo>
                  <a:lnTo>
                    <a:pt x="46370" y="53490"/>
                  </a:lnTo>
                  <a:lnTo>
                    <a:pt x="66605" y="60073"/>
                  </a:lnTo>
                  <a:lnTo>
                    <a:pt x="93584" y="63365"/>
                  </a:lnTo>
                  <a:lnTo>
                    <a:pt x="115505" y="78178"/>
                  </a:lnTo>
                  <a:lnTo>
                    <a:pt x="125622" y="79823"/>
                  </a:lnTo>
                  <a:lnTo>
                    <a:pt x="145857" y="71594"/>
                  </a:lnTo>
                  <a:lnTo>
                    <a:pt x="164406" y="50198"/>
                  </a:lnTo>
                  <a:lnTo>
                    <a:pt x="177895" y="41969"/>
                  </a:lnTo>
                  <a:lnTo>
                    <a:pt x="189699" y="40323"/>
                  </a:lnTo>
                  <a:lnTo>
                    <a:pt x="214992" y="45260"/>
                  </a:lnTo>
                  <a:lnTo>
                    <a:pt x="225110" y="43615"/>
                  </a:lnTo>
                  <a:lnTo>
                    <a:pt x="272324" y="27156"/>
                  </a:lnTo>
                  <a:lnTo>
                    <a:pt x="294245" y="9052"/>
                  </a:lnTo>
                  <a:lnTo>
                    <a:pt x="306049" y="4114"/>
                  </a:lnTo>
                  <a:lnTo>
                    <a:pt x="316166" y="5760"/>
                  </a:lnTo>
                  <a:lnTo>
                    <a:pt x="327970" y="10697"/>
                  </a:lnTo>
                  <a:lnTo>
                    <a:pt x="348204" y="10697"/>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3" name="Beekdaelen">
              <a:extLst>
                <a:ext uri="{FF2B5EF4-FFF2-40B4-BE49-F238E27FC236}">
                  <a16:creationId xmlns:a16="http://schemas.microsoft.com/office/drawing/2014/main" id="{09604B18-50A2-47BA-9E35-796F0E3D2894}"/>
                </a:ext>
              </a:extLst>
            </p:cNvPr>
            <p:cNvSpPr/>
            <p:nvPr/>
          </p:nvSpPr>
          <p:spPr>
            <a:xfrm>
              <a:off x="6672362" y="5304874"/>
              <a:ext cx="246176" cy="173086"/>
            </a:xfrm>
            <a:custGeom>
              <a:avLst/>
              <a:gdLst>
                <a:gd name="connsiteX0" fmla="*/ 123441 w 245730"/>
                <a:gd name="connsiteY0" fmla="*/ 87830 h 177915"/>
                <a:gd name="connsiteX1" fmla="*/ 105409 w 245730"/>
                <a:gd name="connsiteY1" fmla="*/ 94315 h 177915"/>
                <a:gd name="connsiteX2" fmla="*/ 105410 w 245730"/>
                <a:gd name="connsiteY2" fmla="*/ 94316 h 177915"/>
                <a:gd name="connsiteX3" fmla="*/ 123442 w 245730"/>
                <a:gd name="connsiteY3" fmla="*/ 87832 h 177915"/>
                <a:gd name="connsiteX4" fmla="*/ 126904 w 245730"/>
                <a:gd name="connsiteY4" fmla="*/ 90084 h 177915"/>
                <a:gd name="connsiteX5" fmla="*/ 127792 w 245730"/>
                <a:gd name="connsiteY5" fmla="*/ 89651 h 177915"/>
                <a:gd name="connsiteX6" fmla="*/ 135156 w 245730"/>
                <a:gd name="connsiteY6" fmla="*/ 19697 h 177915"/>
                <a:gd name="connsiteX7" fmla="*/ 136131 w 245730"/>
                <a:gd name="connsiteY7" fmla="*/ 20268 h 177915"/>
                <a:gd name="connsiteX8" fmla="*/ 125749 w 245730"/>
                <a:gd name="connsiteY8" fmla="*/ 25898 h 177915"/>
                <a:gd name="connsiteX9" fmla="*/ 124594 w 245730"/>
                <a:gd name="connsiteY9" fmla="*/ 28151 h 177915"/>
                <a:gd name="connsiteX10" fmla="*/ 125735 w 245730"/>
                <a:gd name="connsiteY10" fmla="*/ 28707 h 177915"/>
                <a:gd name="connsiteX11" fmla="*/ 124595 w 245730"/>
                <a:gd name="connsiteY11" fmla="*/ 28151 h 177915"/>
                <a:gd name="connsiteX12" fmla="*/ 125749 w 245730"/>
                <a:gd name="connsiteY12" fmla="*/ 25898 h 177915"/>
                <a:gd name="connsiteX13" fmla="*/ 136132 w 245730"/>
                <a:gd name="connsiteY13" fmla="*/ 20268 h 177915"/>
                <a:gd name="connsiteX14" fmla="*/ 168434 w 245730"/>
                <a:gd name="connsiteY14" fmla="*/ 0 h 177915"/>
                <a:gd name="connsiteX15" fmla="*/ 170741 w 245730"/>
                <a:gd name="connsiteY15" fmla="*/ 5630 h 177915"/>
                <a:gd name="connsiteX16" fmla="*/ 181124 w 245730"/>
                <a:gd name="connsiteY16" fmla="*/ 13512 h 177915"/>
                <a:gd name="connsiteX17" fmla="*/ 189200 w 245730"/>
                <a:gd name="connsiteY17" fmla="*/ 12386 h 177915"/>
                <a:gd name="connsiteX18" fmla="*/ 197276 w 245730"/>
                <a:gd name="connsiteY18" fmla="*/ 7882 h 177915"/>
                <a:gd name="connsiteX19" fmla="*/ 199584 w 245730"/>
                <a:gd name="connsiteY19" fmla="*/ 10134 h 177915"/>
                <a:gd name="connsiteX20" fmla="*/ 236501 w 245730"/>
                <a:gd name="connsiteY20" fmla="*/ 6756 h 177915"/>
                <a:gd name="connsiteX21" fmla="*/ 244577 w 245730"/>
                <a:gd name="connsiteY21" fmla="*/ 7882 h 177915"/>
                <a:gd name="connsiteX22" fmla="*/ 245730 w 245730"/>
                <a:gd name="connsiteY22" fmla="*/ 10134 h 177915"/>
                <a:gd name="connsiteX23" fmla="*/ 239962 w 245730"/>
                <a:gd name="connsiteY23" fmla="*/ 28151 h 177915"/>
                <a:gd name="connsiteX24" fmla="*/ 230733 w 245730"/>
                <a:gd name="connsiteY24" fmla="*/ 45041 h 177915"/>
                <a:gd name="connsiteX25" fmla="*/ 223811 w 245730"/>
                <a:gd name="connsiteY25" fmla="*/ 49546 h 177915"/>
                <a:gd name="connsiteX26" fmla="*/ 196122 w 245730"/>
                <a:gd name="connsiteY26" fmla="*/ 45041 h 177915"/>
                <a:gd name="connsiteX27" fmla="*/ 189200 w 245730"/>
                <a:gd name="connsiteY27" fmla="*/ 49546 h 177915"/>
                <a:gd name="connsiteX28" fmla="*/ 189200 w 245730"/>
                <a:gd name="connsiteY28" fmla="*/ 47293 h 177915"/>
                <a:gd name="connsiteX29" fmla="*/ 183432 w 245730"/>
                <a:gd name="connsiteY29" fmla="*/ 45041 h 177915"/>
                <a:gd name="connsiteX30" fmla="*/ 184586 w 245730"/>
                <a:gd name="connsiteY30" fmla="*/ 41663 h 177915"/>
                <a:gd name="connsiteX31" fmla="*/ 179971 w 245730"/>
                <a:gd name="connsiteY31" fmla="*/ 42790 h 177915"/>
                <a:gd name="connsiteX32" fmla="*/ 177664 w 245730"/>
                <a:gd name="connsiteY32" fmla="*/ 48420 h 177915"/>
                <a:gd name="connsiteX33" fmla="*/ 173603 w 245730"/>
                <a:gd name="connsiteY33" fmla="*/ 51987 h 177915"/>
                <a:gd name="connsiteX34" fmla="*/ 173454 w 245730"/>
                <a:gd name="connsiteY34" fmla="*/ 52481 h 177915"/>
                <a:gd name="connsiteX35" fmla="*/ 167714 w 245730"/>
                <a:gd name="connsiteY35" fmla="*/ 63617 h 177915"/>
                <a:gd name="connsiteX36" fmla="*/ 163409 w 245730"/>
                <a:gd name="connsiteY36" fmla="*/ 66587 h 177915"/>
                <a:gd name="connsiteX37" fmla="*/ 154429 w 245730"/>
                <a:gd name="connsiteY37" fmla="*/ 65039 h 177915"/>
                <a:gd name="connsiteX38" fmla="*/ 148821 w 245730"/>
                <a:gd name="connsiteY38" fmla="*/ 68688 h 177915"/>
                <a:gd name="connsiteX39" fmla="*/ 144207 w 245730"/>
                <a:gd name="connsiteY39" fmla="*/ 76570 h 177915"/>
                <a:gd name="connsiteX40" fmla="*/ 147668 w 245730"/>
                <a:gd name="connsiteY40" fmla="*/ 82200 h 177915"/>
                <a:gd name="connsiteX41" fmla="*/ 131517 w 245730"/>
                <a:gd name="connsiteY41" fmla="*/ 91209 h 177915"/>
                <a:gd name="connsiteX42" fmla="*/ 130049 w 245730"/>
                <a:gd name="connsiteY42" fmla="*/ 90595 h 177915"/>
                <a:gd name="connsiteX43" fmla="*/ 131518 w 245730"/>
                <a:gd name="connsiteY43" fmla="*/ 93462 h 177915"/>
                <a:gd name="connsiteX44" fmla="*/ 122289 w 245730"/>
                <a:gd name="connsiteY44" fmla="*/ 101345 h 177915"/>
                <a:gd name="connsiteX45" fmla="*/ 116521 w 245730"/>
                <a:gd name="connsiteY45" fmla="*/ 100219 h 177915"/>
                <a:gd name="connsiteX46" fmla="*/ 111906 w 245730"/>
                <a:gd name="connsiteY46" fmla="*/ 104723 h 177915"/>
                <a:gd name="connsiteX47" fmla="*/ 110752 w 245730"/>
                <a:gd name="connsiteY47" fmla="*/ 108101 h 177915"/>
                <a:gd name="connsiteX48" fmla="*/ 108445 w 245730"/>
                <a:gd name="connsiteY48" fmla="*/ 106975 h 177915"/>
                <a:gd name="connsiteX49" fmla="*/ 106138 w 245730"/>
                <a:gd name="connsiteY49" fmla="*/ 113731 h 177915"/>
                <a:gd name="connsiteX50" fmla="*/ 109598 w 245730"/>
                <a:gd name="connsiteY50" fmla="*/ 118235 h 177915"/>
                <a:gd name="connsiteX51" fmla="*/ 115367 w 245730"/>
                <a:gd name="connsiteY51" fmla="*/ 117109 h 177915"/>
                <a:gd name="connsiteX52" fmla="*/ 118828 w 245730"/>
                <a:gd name="connsiteY52" fmla="*/ 120488 h 177915"/>
                <a:gd name="connsiteX53" fmla="*/ 115367 w 245730"/>
                <a:gd name="connsiteY53" fmla="*/ 123865 h 177915"/>
                <a:gd name="connsiteX54" fmla="*/ 128057 w 245730"/>
                <a:gd name="connsiteY54" fmla="*/ 129495 h 177915"/>
                <a:gd name="connsiteX55" fmla="*/ 136133 w 245730"/>
                <a:gd name="connsiteY55" fmla="*/ 138504 h 177915"/>
                <a:gd name="connsiteX56" fmla="*/ 132672 w 245730"/>
                <a:gd name="connsiteY56" fmla="*/ 140756 h 177915"/>
                <a:gd name="connsiteX57" fmla="*/ 128057 w 245730"/>
                <a:gd name="connsiteY57" fmla="*/ 138504 h 177915"/>
                <a:gd name="connsiteX58" fmla="*/ 124596 w 245730"/>
                <a:gd name="connsiteY58" fmla="*/ 141882 h 177915"/>
                <a:gd name="connsiteX59" fmla="*/ 126904 w 245730"/>
                <a:gd name="connsiteY59" fmla="*/ 143008 h 177915"/>
                <a:gd name="connsiteX60" fmla="*/ 111906 w 245730"/>
                <a:gd name="connsiteY60" fmla="*/ 153142 h 177915"/>
                <a:gd name="connsiteX61" fmla="*/ 114214 w 245730"/>
                <a:gd name="connsiteY61" fmla="*/ 155395 h 177915"/>
                <a:gd name="connsiteX62" fmla="*/ 100369 w 245730"/>
                <a:gd name="connsiteY62" fmla="*/ 165529 h 177915"/>
                <a:gd name="connsiteX63" fmla="*/ 104984 w 245730"/>
                <a:gd name="connsiteY63" fmla="*/ 170033 h 177915"/>
                <a:gd name="connsiteX64" fmla="*/ 100369 w 245730"/>
                <a:gd name="connsiteY64" fmla="*/ 170033 h 177915"/>
                <a:gd name="connsiteX65" fmla="*/ 96908 w 245730"/>
                <a:gd name="connsiteY65" fmla="*/ 172285 h 177915"/>
                <a:gd name="connsiteX66" fmla="*/ 95755 w 245730"/>
                <a:gd name="connsiteY66" fmla="*/ 172285 h 177915"/>
                <a:gd name="connsiteX67" fmla="*/ 89986 w 245730"/>
                <a:gd name="connsiteY67" fmla="*/ 174537 h 177915"/>
                <a:gd name="connsiteX68" fmla="*/ 79603 w 245730"/>
                <a:gd name="connsiteY68" fmla="*/ 173411 h 177915"/>
                <a:gd name="connsiteX69" fmla="*/ 63452 w 245730"/>
                <a:gd name="connsiteY69" fmla="*/ 175664 h 177915"/>
                <a:gd name="connsiteX70" fmla="*/ 58837 w 245730"/>
                <a:gd name="connsiteY70" fmla="*/ 175664 h 177915"/>
                <a:gd name="connsiteX71" fmla="*/ 56530 w 245730"/>
                <a:gd name="connsiteY71" fmla="*/ 173411 h 177915"/>
                <a:gd name="connsiteX72" fmla="*/ 41532 w 245730"/>
                <a:gd name="connsiteY72" fmla="*/ 177915 h 177915"/>
                <a:gd name="connsiteX73" fmla="*/ 41532 w 245730"/>
                <a:gd name="connsiteY73" fmla="*/ 175664 h 177915"/>
                <a:gd name="connsiteX74" fmla="*/ 39225 w 245730"/>
                <a:gd name="connsiteY74" fmla="*/ 174537 h 177915"/>
                <a:gd name="connsiteX75" fmla="*/ 39225 w 245730"/>
                <a:gd name="connsiteY75" fmla="*/ 170033 h 177915"/>
                <a:gd name="connsiteX76" fmla="*/ 42686 w 245730"/>
                <a:gd name="connsiteY76" fmla="*/ 159898 h 177915"/>
                <a:gd name="connsiteX77" fmla="*/ 39225 w 245730"/>
                <a:gd name="connsiteY77" fmla="*/ 158773 h 177915"/>
                <a:gd name="connsiteX78" fmla="*/ 26534 w 245730"/>
                <a:gd name="connsiteY78" fmla="*/ 168907 h 177915"/>
                <a:gd name="connsiteX79" fmla="*/ 24227 w 245730"/>
                <a:gd name="connsiteY79" fmla="*/ 173411 h 177915"/>
                <a:gd name="connsiteX80" fmla="*/ 14998 w 245730"/>
                <a:gd name="connsiteY80" fmla="*/ 166654 h 177915"/>
                <a:gd name="connsiteX81" fmla="*/ 6923 w 245730"/>
                <a:gd name="connsiteY81" fmla="*/ 167781 h 177915"/>
                <a:gd name="connsiteX82" fmla="*/ 3461 w 245730"/>
                <a:gd name="connsiteY82" fmla="*/ 170033 h 177915"/>
                <a:gd name="connsiteX83" fmla="*/ 1154 w 245730"/>
                <a:gd name="connsiteY83" fmla="*/ 163277 h 177915"/>
                <a:gd name="connsiteX84" fmla="*/ 0 w 245730"/>
                <a:gd name="connsiteY84" fmla="*/ 150890 h 177915"/>
                <a:gd name="connsiteX85" fmla="*/ 4615 w 245730"/>
                <a:gd name="connsiteY85" fmla="*/ 149765 h 177915"/>
                <a:gd name="connsiteX86" fmla="*/ 5768 w 245730"/>
                <a:gd name="connsiteY86" fmla="*/ 153142 h 177915"/>
                <a:gd name="connsiteX87" fmla="*/ 8076 w 245730"/>
                <a:gd name="connsiteY87" fmla="*/ 149765 h 177915"/>
                <a:gd name="connsiteX88" fmla="*/ 5768 w 245730"/>
                <a:gd name="connsiteY88" fmla="*/ 145260 h 177915"/>
                <a:gd name="connsiteX89" fmla="*/ 2308 w 245730"/>
                <a:gd name="connsiteY89" fmla="*/ 145260 h 177915"/>
                <a:gd name="connsiteX90" fmla="*/ 5768 w 245730"/>
                <a:gd name="connsiteY90" fmla="*/ 143008 h 177915"/>
                <a:gd name="connsiteX91" fmla="*/ 0 w 245730"/>
                <a:gd name="connsiteY91" fmla="*/ 134000 h 177915"/>
                <a:gd name="connsiteX92" fmla="*/ 4615 w 245730"/>
                <a:gd name="connsiteY92" fmla="*/ 131748 h 177915"/>
                <a:gd name="connsiteX93" fmla="*/ 5768 w 245730"/>
                <a:gd name="connsiteY93" fmla="*/ 122739 h 177915"/>
                <a:gd name="connsiteX94" fmla="*/ 27209 w 245730"/>
                <a:gd name="connsiteY94" fmla="*/ 119639 h 177915"/>
                <a:gd name="connsiteX95" fmla="*/ 27788 w 245730"/>
                <a:gd name="connsiteY95" fmla="*/ 114846 h 177915"/>
                <a:gd name="connsiteX96" fmla="*/ 38632 w 245730"/>
                <a:gd name="connsiteY96" fmla="*/ 113184 h 177915"/>
                <a:gd name="connsiteX97" fmla="*/ 39225 w 245730"/>
                <a:gd name="connsiteY97" fmla="*/ 112605 h 177915"/>
                <a:gd name="connsiteX98" fmla="*/ 40996 w 245730"/>
                <a:gd name="connsiteY98" fmla="*/ 112821 h 177915"/>
                <a:gd name="connsiteX99" fmla="*/ 47163 w 245730"/>
                <a:gd name="connsiteY99" fmla="*/ 111876 h 177915"/>
                <a:gd name="connsiteX100" fmla="*/ 47163 w 245730"/>
                <a:gd name="connsiteY100" fmla="*/ 109649 h 177915"/>
                <a:gd name="connsiteX101" fmla="*/ 48598 w 245730"/>
                <a:gd name="connsiteY101" fmla="*/ 108164 h 177915"/>
                <a:gd name="connsiteX102" fmla="*/ 51415 w 245730"/>
                <a:gd name="connsiteY102" fmla="*/ 108529 h 177915"/>
                <a:gd name="connsiteX103" fmla="*/ 54223 w 245730"/>
                <a:gd name="connsiteY103" fmla="*/ 103597 h 177915"/>
                <a:gd name="connsiteX104" fmla="*/ 55295 w 245730"/>
                <a:gd name="connsiteY104" fmla="*/ 105166 h 177915"/>
                <a:gd name="connsiteX105" fmla="*/ 55883 w 245730"/>
                <a:gd name="connsiteY105" fmla="*/ 106028 h 177915"/>
                <a:gd name="connsiteX106" fmla="*/ 55884 w 245730"/>
                <a:gd name="connsiteY106" fmla="*/ 106028 h 177915"/>
                <a:gd name="connsiteX107" fmla="*/ 55295 w 245730"/>
                <a:gd name="connsiteY107" fmla="*/ 105166 h 177915"/>
                <a:gd name="connsiteX108" fmla="*/ 54223 w 245730"/>
                <a:gd name="connsiteY108" fmla="*/ 103596 h 177915"/>
                <a:gd name="connsiteX109" fmla="*/ 54223 w 245730"/>
                <a:gd name="connsiteY109" fmla="*/ 103597 h 177915"/>
                <a:gd name="connsiteX110" fmla="*/ 54222 w 245730"/>
                <a:gd name="connsiteY110" fmla="*/ 103595 h 177915"/>
                <a:gd name="connsiteX111" fmla="*/ 56529 w 245730"/>
                <a:gd name="connsiteY111" fmla="*/ 101343 h 177915"/>
                <a:gd name="connsiteX112" fmla="*/ 62297 w 245730"/>
                <a:gd name="connsiteY112" fmla="*/ 86704 h 177915"/>
                <a:gd name="connsiteX113" fmla="*/ 63267 w 245730"/>
                <a:gd name="connsiteY113" fmla="*/ 81023 h 177915"/>
                <a:gd name="connsiteX114" fmla="*/ 62231 w 245730"/>
                <a:gd name="connsiteY114" fmla="*/ 79951 h 177915"/>
                <a:gd name="connsiteX115" fmla="*/ 59361 w 245730"/>
                <a:gd name="connsiteY115" fmla="*/ 81436 h 177915"/>
                <a:gd name="connsiteX116" fmla="*/ 57926 w 245730"/>
                <a:gd name="connsiteY116" fmla="*/ 81436 h 177915"/>
                <a:gd name="connsiteX117" fmla="*/ 52902 w 245730"/>
                <a:gd name="connsiteY117" fmla="*/ 75496 h 177915"/>
                <a:gd name="connsiteX118" fmla="*/ 52902 w 245730"/>
                <a:gd name="connsiteY118" fmla="*/ 70594 h 177915"/>
                <a:gd name="connsiteX119" fmla="*/ 46146 w 245730"/>
                <a:gd name="connsiteY119" fmla="*/ 63058 h 177915"/>
                <a:gd name="connsiteX120" fmla="*/ 46146 w 245730"/>
                <a:gd name="connsiteY120" fmla="*/ 51797 h 177915"/>
                <a:gd name="connsiteX121" fmla="*/ 49607 w 245730"/>
                <a:gd name="connsiteY121" fmla="*/ 41663 h 177915"/>
                <a:gd name="connsiteX122" fmla="*/ 58837 w 245730"/>
                <a:gd name="connsiteY122" fmla="*/ 33781 h 177915"/>
                <a:gd name="connsiteX123" fmla="*/ 63451 w 245730"/>
                <a:gd name="connsiteY123" fmla="*/ 39411 h 177915"/>
                <a:gd name="connsiteX124" fmla="*/ 65758 w 245730"/>
                <a:gd name="connsiteY124" fmla="*/ 36032 h 177915"/>
                <a:gd name="connsiteX125" fmla="*/ 73834 w 245730"/>
                <a:gd name="connsiteY125" fmla="*/ 40537 h 177915"/>
                <a:gd name="connsiteX126" fmla="*/ 77295 w 245730"/>
                <a:gd name="connsiteY126" fmla="*/ 36032 h 177915"/>
                <a:gd name="connsiteX127" fmla="*/ 81909 w 245730"/>
                <a:gd name="connsiteY127" fmla="*/ 42789 h 177915"/>
                <a:gd name="connsiteX128" fmla="*/ 85371 w 245730"/>
                <a:gd name="connsiteY128" fmla="*/ 39411 h 177915"/>
                <a:gd name="connsiteX129" fmla="*/ 87678 w 245730"/>
                <a:gd name="connsiteY129" fmla="*/ 40537 h 177915"/>
                <a:gd name="connsiteX130" fmla="*/ 95753 w 245730"/>
                <a:gd name="connsiteY130" fmla="*/ 32654 h 177915"/>
                <a:gd name="connsiteX131" fmla="*/ 100368 w 245730"/>
                <a:gd name="connsiteY131" fmla="*/ 27024 h 177915"/>
                <a:gd name="connsiteX132" fmla="*/ 100368 w 245730"/>
                <a:gd name="connsiteY132" fmla="*/ 23646 h 177915"/>
                <a:gd name="connsiteX133" fmla="*/ 104982 w 245730"/>
                <a:gd name="connsiteY133" fmla="*/ 22520 h 177915"/>
                <a:gd name="connsiteX134" fmla="*/ 115366 w 245730"/>
                <a:gd name="connsiteY134" fmla="*/ 22520 h 177915"/>
                <a:gd name="connsiteX135" fmla="*/ 130363 w 245730"/>
                <a:gd name="connsiteY135" fmla="*/ 16890 h 177915"/>
                <a:gd name="connsiteX136" fmla="*/ 130364 w 245730"/>
                <a:gd name="connsiteY136" fmla="*/ 16891 h 177915"/>
                <a:gd name="connsiteX137" fmla="*/ 146515 w 245730"/>
                <a:gd name="connsiteY137" fmla="*/ 4504 h 1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45730" h="177915">
                  <a:moveTo>
                    <a:pt x="123441" y="87830"/>
                  </a:moveTo>
                  <a:lnTo>
                    <a:pt x="105409" y="94315"/>
                  </a:lnTo>
                  <a:lnTo>
                    <a:pt x="105410" y="94316"/>
                  </a:lnTo>
                  <a:lnTo>
                    <a:pt x="123442" y="87832"/>
                  </a:lnTo>
                  <a:lnTo>
                    <a:pt x="126904" y="90084"/>
                  </a:lnTo>
                  <a:lnTo>
                    <a:pt x="127792" y="89651"/>
                  </a:lnTo>
                  <a:close/>
                  <a:moveTo>
                    <a:pt x="135156" y="19697"/>
                  </a:moveTo>
                  <a:lnTo>
                    <a:pt x="136131" y="20268"/>
                  </a:lnTo>
                  <a:lnTo>
                    <a:pt x="125749" y="25898"/>
                  </a:lnTo>
                  <a:lnTo>
                    <a:pt x="124594" y="28151"/>
                  </a:lnTo>
                  <a:lnTo>
                    <a:pt x="125735" y="28707"/>
                  </a:lnTo>
                  <a:lnTo>
                    <a:pt x="124595" y="28151"/>
                  </a:lnTo>
                  <a:lnTo>
                    <a:pt x="125749" y="25898"/>
                  </a:lnTo>
                  <a:lnTo>
                    <a:pt x="136132" y="20268"/>
                  </a:lnTo>
                  <a:close/>
                  <a:moveTo>
                    <a:pt x="168434" y="0"/>
                  </a:moveTo>
                  <a:lnTo>
                    <a:pt x="170741" y="5630"/>
                  </a:lnTo>
                  <a:lnTo>
                    <a:pt x="181124" y="13512"/>
                  </a:lnTo>
                  <a:lnTo>
                    <a:pt x="189200" y="12386"/>
                  </a:lnTo>
                  <a:lnTo>
                    <a:pt x="197276" y="7882"/>
                  </a:lnTo>
                  <a:lnTo>
                    <a:pt x="199584" y="10134"/>
                  </a:lnTo>
                  <a:lnTo>
                    <a:pt x="236501" y="6756"/>
                  </a:lnTo>
                  <a:lnTo>
                    <a:pt x="244577" y="7882"/>
                  </a:lnTo>
                  <a:lnTo>
                    <a:pt x="245730" y="10134"/>
                  </a:lnTo>
                  <a:lnTo>
                    <a:pt x="239962" y="28151"/>
                  </a:lnTo>
                  <a:lnTo>
                    <a:pt x="230733" y="45041"/>
                  </a:lnTo>
                  <a:lnTo>
                    <a:pt x="223811" y="49546"/>
                  </a:lnTo>
                  <a:lnTo>
                    <a:pt x="196122" y="45041"/>
                  </a:lnTo>
                  <a:lnTo>
                    <a:pt x="189200" y="49546"/>
                  </a:lnTo>
                  <a:lnTo>
                    <a:pt x="189200" y="47293"/>
                  </a:lnTo>
                  <a:lnTo>
                    <a:pt x="183432" y="45041"/>
                  </a:lnTo>
                  <a:lnTo>
                    <a:pt x="184586" y="41663"/>
                  </a:lnTo>
                  <a:lnTo>
                    <a:pt x="179971" y="42790"/>
                  </a:lnTo>
                  <a:lnTo>
                    <a:pt x="177664" y="48420"/>
                  </a:lnTo>
                  <a:lnTo>
                    <a:pt x="173603" y="51987"/>
                  </a:lnTo>
                  <a:lnTo>
                    <a:pt x="173454" y="52481"/>
                  </a:lnTo>
                  <a:lnTo>
                    <a:pt x="167714" y="63617"/>
                  </a:lnTo>
                  <a:lnTo>
                    <a:pt x="163409" y="66587"/>
                  </a:lnTo>
                  <a:lnTo>
                    <a:pt x="154429" y="65039"/>
                  </a:lnTo>
                  <a:lnTo>
                    <a:pt x="148821" y="68688"/>
                  </a:lnTo>
                  <a:lnTo>
                    <a:pt x="144207" y="76570"/>
                  </a:lnTo>
                  <a:lnTo>
                    <a:pt x="147668" y="82200"/>
                  </a:lnTo>
                  <a:lnTo>
                    <a:pt x="131517" y="91209"/>
                  </a:lnTo>
                  <a:lnTo>
                    <a:pt x="130049" y="90595"/>
                  </a:lnTo>
                  <a:lnTo>
                    <a:pt x="131518" y="93462"/>
                  </a:lnTo>
                  <a:lnTo>
                    <a:pt x="122289" y="101345"/>
                  </a:lnTo>
                  <a:lnTo>
                    <a:pt x="116521" y="100219"/>
                  </a:lnTo>
                  <a:lnTo>
                    <a:pt x="111906" y="104723"/>
                  </a:lnTo>
                  <a:lnTo>
                    <a:pt x="110752" y="108101"/>
                  </a:lnTo>
                  <a:lnTo>
                    <a:pt x="108445" y="106975"/>
                  </a:lnTo>
                  <a:lnTo>
                    <a:pt x="106138" y="113731"/>
                  </a:lnTo>
                  <a:lnTo>
                    <a:pt x="109598" y="118235"/>
                  </a:lnTo>
                  <a:lnTo>
                    <a:pt x="115367" y="117109"/>
                  </a:lnTo>
                  <a:lnTo>
                    <a:pt x="118828" y="120488"/>
                  </a:lnTo>
                  <a:lnTo>
                    <a:pt x="115367" y="123865"/>
                  </a:lnTo>
                  <a:lnTo>
                    <a:pt x="128057" y="129495"/>
                  </a:lnTo>
                  <a:lnTo>
                    <a:pt x="136133" y="138504"/>
                  </a:lnTo>
                  <a:lnTo>
                    <a:pt x="132672" y="140756"/>
                  </a:lnTo>
                  <a:lnTo>
                    <a:pt x="128057" y="138504"/>
                  </a:lnTo>
                  <a:lnTo>
                    <a:pt x="124596" y="141882"/>
                  </a:lnTo>
                  <a:lnTo>
                    <a:pt x="126904" y="143008"/>
                  </a:lnTo>
                  <a:lnTo>
                    <a:pt x="111906" y="153142"/>
                  </a:lnTo>
                  <a:lnTo>
                    <a:pt x="114214" y="155395"/>
                  </a:lnTo>
                  <a:lnTo>
                    <a:pt x="100369" y="165529"/>
                  </a:lnTo>
                  <a:lnTo>
                    <a:pt x="104984" y="170033"/>
                  </a:lnTo>
                  <a:lnTo>
                    <a:pt x="100369" y="170033"/>
                  </a:lnTo>
                  <a:lnTo>
                    <a:pt x="96908" y="172285"/>
                  </a:lnTo>
                  <a:lnTo>
                    <a:pt x="95755" y="172285"/>
                  </a:lnTo>
                  <a:lnTo>
                    <a:pt x="89986" y="174537"/>
                  </a:lnTo>
                  <a:lnTo>
                    <a:pt x="79603" y="173411"/>
                  </a:lnTo>
                  <a:lnTo>
                    <a:pt x="63452" y="175664"/>
                  </a:lnTo>
                  <a:lnTo>
                    <a:pt x="58837" y="175664"/>
                  </a:lnTo>
                  <a:lnTo>
                    <a:pt x="56530" y="173411"/>
                  </a:lnTo>
                  <a:lnTo>
                    <a:pt x="41532" y="177915"/>
                  </a:lnTo>
                  <a:lnTo>
                    <a:pt x="41532" y="175664"/>
                  </a:lnTo>
                  <a:lnTo>
                    <a:pt x="39225" y="174537"/>
                  </a:lnTo>
                  <a:lnTo>
                    <a:pt x="39225" y="170033"/>
                  </a:lnTo>
                  <a:lnTo>
                    <a:pt x="42686" y="159898"/>
                  </a:lnTo>
                  <a:lnTo>
                    <a:pt x="39225" y="158773"/>
                  </a:lnTo>
                  <a:lnTo>
                    <a:pt x="26534" y="168907"/>
                  </a:lnTo>
                  <a:lnTo>
                    <a:pt x="24227" y="173411"/>
                  </a:lnTo>
                  <a:lnTo>
                    <a:pt x="14998" y="166654"/>
                  </a:lnTo>
                  <a:lnTo>
                    <a:pt x="6923" y="167781"/>
                  </a:lnTo>
                  <a:lnTo>
                    <a:pt x="3461" y="170033"/>
                  </a:lnTo>
                  <a:lnTo>
                    <a:pt x="1154" y="163277"/>
                  </a:lnTo>
                  <a:lnTo>
                    <a:pt x="0" y="150890"/>
                  </a:lnTo>
                  <a:lnTo>
                    <a:pt x="4615" y="149765"/>
                  </a:lnTo>
                  <a:lnTo>
                    <a:pt x="5768" y="153142"/>
                  </a:lnTo>
                  <a:lnTo>
                    <a:pt x="8076" y="149765"/>
                  </a:lnTo>
                  <a:lnTo>
                    <a:pt x="5768" y="145260"/>
                  </a:lnTo>
                  <a:lnTo>
                    <a:pt x="2308" y="145260"/>
                  </a:lnTo>
                  <a:lnTo>
                    <a:pt x="5768" y="143008"/>
                  </a:lnTo>
                  <a:lnTo>
                    <a:pt x="0" y="134000"/>
                  </a:lnTo>
                  <a:lnTo>
                    <a:pt x="4615" y="131748"/>
                  </a:lnTo>
                  <a:lnTo>
                    <a:pt x="5768" y="122739"/>
                  </a:lnTo>
                  <a:lnTo>
                    <a:pt x="27209" y="119639"/>
                  </a:lnTo>
                  <a:lnTo>
                    <a:pt x="27788" y="114846"/>
                  </a:lnTo>
                  <a:lnTo>
                    <a:pt x="38632" y="113184"/>
                  </a:lnTo>
                  <a:lnTo>
                    <a:pt x="39225" y="112605"/>
                  </a:lnTo>
                  <a:lnTo>
                    <a:pt x="40996" y="112821"/>
                  </a:lnTo>
                  <a:lnTo>
                    <a:pt x="47163" y="111876"/>
                  </a:lnTo>
                  <a:lnTo>
                    <a:pt x="47163" y="109649"/>
                  </a:lnTo>
                  <a:lnTo>
                    <a:pt x="48598" y="108164"/>
                  </a:lnTo>
                  <a:lnTo>
                    <a:pt x="51415" y="108529"/>
                  </a:lnTo>
                  <a:lnTo>
                    <a:pt x="54223" y="103597"/>
                  </a:lnTo>
                  <a:lnTo>
                    <a:pt x="55295" y="105166"/>
                  </a:lnTo>
                  <a:lnTo>
                    <a:pt x="55883" y="106028"/>
                  </a:lnTo>
                  <a:lnTo>
                    <a:pt x="55884" y="106028"/>
                  </a:lnTo>
                  <a:lnTo>
                    <a:pt x="55295" y="105166"/>
                  </a:lnTo>
                  <a:lnTo>
                    <a:pt x="54223" y="103596"/>
                  </a:lnTo>
                  <a:lnTo>
                    <a:pt x="54223" y="103597"/>
                  </a:lnTo>
                  <a:lnTo>
                    <a:pt x="54222" y="103595"/>
                  </a:lnTo>
                  <a:lnTo>
                    <a:pt x="56529" y="101343"/>
                  </a:lnTo>
                  <a:lnTo>
                    <a:pt x="62297" y="86704"/>
                  </a:lnTo>
                  <a:lnTo>
                    <a:pt x="63267" y="81023"/>
                  </a:lnTo>
                  <a:lnTo>
                    <a:pt x="62231" y="79951"/>
                  </a:lnTo>
                  <a:lnTo>
                    <a:pt x="59361" y="81436"/>
                  </a:lnTo>
                  <a:lnTo>
                    <a:pt x="57926" y="81436"/>
                  </a:lnTo>
                  <a:lnTo>
                    <a:pt x="52902" y="75496"/>
                  </a:lnTo>
                  <a:lnTo>
                    <a:pt x="52902" y="70594"/>
                  </a:lnTo>
                  <a:lnTo>
                    <a:pt x="46146" y="63058"/>
                  </a:lnTo>
                  <a:lnTo>
                    <a:pt x="46146" y="51797"/>
                  </a:lnTo>
                  <a:lnTo>
                    <a:pt x="49607" y="41663"/>
                  </a:lnTo>
                  <a:lnTo>
                    <a:pt x="58837" y="33781"/>
                  </a:lnTo>
                  <a:lnTo>
                    <a:pt x="63451" y="39411"/>
                  </a:lnTo>
                  <a:lnTo>
                    <a:pt x="65758" y="36032"/>
                  </a:lnTo>
                  <a:lnTo>
                    <a:pt x="73834" y="40537"/>
                  </a:lnTo>
                  <a:lnTo>
                    <a:pt x="77295" y="36032"/>
                  </a:lnTo>
                  <a:lnTo>
                    <a:pt x="81909" y="42789"/>
                  </a:lnTo>
                  <a:lnTo>
                    <a:pt x="85371" y="39411"/>
                  </a:lnTo>
                  <a:lnTo>
                    <a:pt x="87678" y="40537"/>
                  </a:lnTo>
                  <a:lnTo>
                    <a:pt x="95753" y="32654"/>
                  </a:lnTo>
                  <a:lnTo>
                    <a:pt x="100368" y="27024"/>
                  </a:lnTo>
                  <a:lnTo>
                    <a:pt x="100368" y="23646"/>
                  </a:lnTo>
                  <a:lnTo>
                    <a:pt x="104982" y="22520"/>
                  </a:lnTo>
                  <a:lnTo>
                    <a:pt x="115366" y="22520"/>
                  </a:lnTo>
                  <a:lnTo>
                    <a:pt x="130363" y="16890"/>
                  </a:lnTo>
                  <a:lnTo>
                    <a:pt x="130364" y="16891"/>
                  </a:lnTo>
                  <a:lnTo>
                    <a:pt x="146515" y="4504"/>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4" name="Haarlemmermeer">
              <a:extLst>
                <a:ext uri="{FF2B5EF4-FFF2-40B4-BE49-F238E27FC236}">
                  <a16:creationId xmlns:a16="http://schemas.microsoft.com/office/drawing/2014/main" id="{6AB13655-7526-4497-AC7C-4B4A6D4AE1AD}"/>
                </a:ext>
              </a:extLst>
            </p:cNvPr>
            <p:cNvSpPr/>
            <p:nvPr/>
          </p:nvSpPr>
          <p:spPr>
            <a:xfrm>
              <a:off x="5346904" y="2979906"/>
              <a:ext cx="288339" cy="348622"/>
            </a:xfrm>
            <a:custGeom>
              <a:avLst/>
              <a:gdLst>
                <a:gd name="connsiteX0" fmla="*/ 181124 w 280339"/>
                <a:gd name="connsiteY0" fmla="*/ 0 h 360333"/>
                <a:gd name="connsiteX1" fmla="*/ 198428 w 280339"/>
                <a:gd name="connsiteY1" fmla="*/ 4504 h 360333"/>
                <a:gd name="connsiteX2" fmla="*/ 192893 w 280339"/>
                <a:gd name="connsiteY2" fmla="*/ 30921 h 360333"/>
                <a:gd name="connsiteX3" fmla="*/ 200378 w 280339"/>
                <a:gd name="connsiteY3" fmla="*/ 32869 h 360333"/>
                <a:gd name="connsiteX4" fmla="*/ 195570 w 280339"/>
                <a:gd name="connsiteY4" fmla="*/ 55812 h 360333"/>
                <a:gd name="connsiteX5" fmla="*/ 216887 w 280339"/>
                <a:gd name="connsiteY5" fmla="*/ 60806 h 360333"/>
                <a:gd name="connsiteX6" fmla="*/ 218041 w 280339"/>
                <a:gd name="connsiteY6" fmla="*/ 90083 h 360333"/>
                <a:gd name="connsiteX7" fmla="*/ 215734 w 280339"/>
                <a:gd name="connsiteY7" fmla="*/ 92335 h 360333"/>
                <a:gd name="connsiteX8" fmla="*/ 215273 w 280339"/>
                <a:gd name="connsiteY8" fmla="*/ 91886 h 360333"/>
                <a:gd name="connsiteX9" fmla="*/ 218042 w 280339"/>
                <a:gd name="connsiteY9" fmla="*/ 99091 h 360333"/>
                <a:gd name="connsiteX10" fmla="*/ 214215 w 280339"/>
                <a:gd name="connsiteY10" fmla="*/ 119636 h 360333"/>
                <a:gd name="connsiteX11" fmla="*/ 235980 w 280339"/>
                <a:gd name="connsiteY11" fmla="*/ 134028 h 360333"/>
                <a:gd name="connsiteX12" fmla="*/ 241519 w 280339"/>
                <a:gd name="connsiteY12" fmla="*/ 141750 h 360333"/>
                <a:gd name="connsiteX13" fmla="*/ 254968 w 280339"/>
                <a:gd name="connsiteY13" fmla="*/ 151016 h 360333"/>
                <a:gd name="connsiteX14" fmla="*/ 256550 w 280339"/>
                <a:gd name="connsiteY14" fmla="*/ 154105 h 360333"/>
                <a:gd name="connsiteX15" fmla="*/ 255684 w 280339"/>
                <a:gd name="connsiteY15" fmla="*/ 159461 h 360333"/>
                <a:gd name="connsiteX16" fmla="*/ 258420 w 280339"/>
                <a:gd name="connsiteY16" fmla="*/ 163276 h 360333"/>
                <a:gd name="connsiteX17" fmla="*/ 278032 w 280339"/>
                <a:gd name="connsiteY17" fmla="*/ 176788 h 360333"/>
                <a:gd name="connsiteX18" fmla="*/ 280339 w 280339"/>
                <a:gd name="connsiteY18" fmla="*/ 181293 h 360333"/>
                <a:gd name="connsiteX19" fmla="*/ 276878 w 280339"/>
                <a:gd name="connsiteY19" fmla="*/ 202687 h 360333"/>
                <a:gd name="connsiteX20" fmla="*/ 269956 w 280339"/>
                <a:gd name="connsiteY20" fmla="*/ 211696 h 360333"/>
                <a:gd name="connsiteX21" fmla="*/ 254959 w 280339"/>
                <a:gd name="connsiteY21" fmla="*/ 221830 h 360333"/>
                <a:gd name="connsiteX22" fmla="*/ 249190 w 280339"/>
                <a:gd name="connsiteY22" fmla="*/ 238721 h 360333"/>
                <a:gd name="connsiteX23" fmla="*/ 238808 w 280339"/>
                <a:gd name="connsiteY23" fmla="*/ 248855 h 360333"/>
                <a:gd name="connsiteX24" fmla="*/ 223810 w 280339"/>
                <a:gd name="connsiteY24" fmla="*/ 258989 h 360333"/>
                <a:gd name="connsiteX25" fmla="*/ 204198 w 280339"/>
                <a:gd name="connsiteY25" fmla="*/ 266872 h 360333"/>
                <a:gd name="connsiteX26" fmla="*/ 196122 w 280339"/>
                <a:gd name="connsiteY26" fmla="*/ 273628 h 360333"/>
                <a:gd name="connsiteX27" fmla="*/ 185739 w 280339"/>
                <a:gd name="connsiteY27" fmla="*/ 278132 h 360333"/>
                <a:gd name="connsiteX28" fmla="*/ 176510 w 280339"/>
                <a:gd name="connsiteY28" fmla="*/ 288267 h 360333"/>
                <a:gd name="connsiteX29" fmla="*/ 169588 w 280339"/>
                <a:gd name="connsiteY29" fmla="*/ 293897 h 360333"/>
                <a:gd name="connsiteX30" fmla="*/ 156898 w 280339"/>
                <a:gd name="connsiteY30" fmla="*/ 313040 h 360333"/>
                <a:gd name="connsiteX31" fmla="*/ 136132 w 280339"/>
                <a:gd name="connsiteY31" fmla="*/ 320922 h 360333"/>
                <a:gd name="connsiteX32" fmla="*/ 131517 w 280339"/>
                <a:gd name="connsiteY32" fmla="*/ 327678 h 360333"/>
                <a:gd name="connsiteX33" fmla="*/ 118827 w 280339"/>
                <a:gd name="connsiteY33" fmla="*/ 338938 h 360333"/>
                <a:gd name="connsiteX34" fmla="*/ 110752 w 280339"/>
                <a:gd name="connsiteY34" fmla="*/ 342317 h 360333"/>
                <a:gd name="connsiteX35" fmla="*/ 99215 w 280339"/>
                <a:gd name="connsiteY35" fmla="*/ 350199 h 360333"/>
                <a:gd name="connsiteX36" fmla="*/ 85371 w 280339"/>
                <a:gd name="connsiteY36" fmla="*/ 358081 h 360333"/>
                <a:gd name="connsiteX37" fmla="*/ 70373 w 280339"/>
                <a:gd name="connsiteY37" fmla="*/ 360333 h 360333"/>
                <a:gd name="connsiteX38" fmla="*/ 53069 w 280339"/>
                <a:gd name="connsiteY38" fmla="*/ 360333 h 360333"/>
                <a:gd name="connsiteX39" fmla="*/ 33456 w 280339"/>
                <a:gd name="connsiteY39" fmla="*/ 353577 h 360333"/>
                <a:gd name="connsiteX40" fmla="*/ 20766 w 280339"/>
                <a:gd name="connsiteY40" fmla="*/ 355829 h 360333"/>
                <a:gd name="connsiteX41" fmla="*/ 5768 w 280339"/>
                <a:gd name="connsiteY41" fmla="*/ 352451 h 360333"/>
                <a:gd name="connsiteX42" fmla="*/ 0 w 280339"/>
                <a:gd name="connsiteY42" fmla="*/ 340064 h 360333"/>
                <a:gd name="connsiteX43" fmla="*/ 3461 w 280339"/>
                <a:gd name="connsiteY43" fmla="*/ 332182 h 360333"/>
                <a:gd name="connsiteX44" fmla="*/ 10383 w 280339"/>
                <a:gd name="connsiteY44" fmla="*/ 328804 h 360333"/>
                <a:gd name="connsiteX45" fmla="*/ 12690 w 280339"/>
                <a:gd name="connsiteY45" fmla="*/ 326552 h 360333"/>
                <a:gd name="connsiteX46" fmla="*/ 19612 w 280339"/>
                <a:gd name="connsiteY46" fmla="*/ 286015 h 360333"/>
                <a:gd name="connsiteX47" fmla="*/ 18459 w 280339"/>
                <a:gd name="connsiteY47" fmla="*/ 271376 h 360333"/>
                <a:gd name="connsiteX48" fmla="*/ 40378 w 280339"/>
                <a:gd name="connsiteY48" fmla="*/ 251107 h 360333"/>
                <a:gd name="connsiteX49" fmla="*/ 48454 w 280339"/>
                <a:gd name="connsiteY49" fmla="*/ 233090 h 360333"/>
                <a:gd name="connsiteX50" fmla="*/ 49608 w 280339"/>
                <a:gd name="connsiteY50" fmla="*/ 224082 h 360333"/>
                <a:gd name="connsiteX51" fmla="*/ 56529 w 280339"/>
                <a:gd name="connsiteY51" fmla="*/ 209444 h 360333"/>
                <a:gd name="connsiteX52" fmla="*/ 64605 w 280339"/>
                <a:gd name="connsiteY52" fmla="*/ 199309 h 360333"/>
                <a:gd name="connsiteX53" fmla="*/ 64605 w 280339"/>
                <a:gd name="connsiteY53" fmla="*/ 177915 h 360333"/>
                <a:gd name="connsiteX54" fmla="*/ 70373 w 280339"/>
                <a:gd name="connsiteY54" fmla="*/ 166654 h 360333"/>
                <a:gd name="connsiteX55" fmla="*/ 84218 w 280339"/>
                <a:gd name="connsiteY55" fmla="*/ 157646 h 360333"/>
                <a:gd name="connsiteX56" fmla="*/ 103829 w 280339"/>
                <a:gd name="connsiteY56" fmla="*/ 153142 h 360333"/>
                <a:gd name="connsiteX57" fmla="*/ 110091 w 280339"/>
                <a:gd name="connsiteY57" fmla="*/ 148891 h 360333"/>
                <a:gd name="connsiteX58" fmla="*/ 112562 w 280339"/>
                <a:gd name="connsiteY58" fmla="*/ 144066 h 360333"/>
                <a:gd name="connsiteX59" fmla="*/ 122056 w 280339"/>
                <a:gd name="connsiteY59" fmla="*/ 137889 h 360333"/>
                <a:gd name="connsiteX60" fmla="*/ 128460 w 280339"/>
                <a:gd name="connsiteY60" fmla="*/ 136418 h 360333"/>
                <a:gd name="connsiteX61" fmla="*/ 130364 w 280339"/>
                <a:gd name="connsiteY61" fmla="*/ 135125 h 360333"/>
                <a:gd name="connsiteX62" fmla="*/ 132671 w 280339"/>
                <a:gd name="connsiteY62" fmla="*/ 127243 h 360333"/>
                <a:gd name="connsiteX63" fmla="*/ 128056 w 280339"/>
                <a:gd name="connsiteY63" fmla="*/ 101344 h 360333"/>
                <a:gd name="connsiteX64" fmla="*/ 130364 w 280339"/>
                <a:gd name="connsiteY64" fmla="*/ 95714 h 360333"/>
                <a:gd name="connsiteX65" fmla="*/ 134979 w 280339"/>
                <a:gd name="connsiteY65" fmla="*/ 92335 h 360333"/>
                <a:gd name="connsiteX66" fmla="*/ 152308 w 280339"/>
                <a:gd name="connsiteY66" fmla="*/ 87449 h 360333"/>
                <a:gd name="connsiteX67" fmla="*/ 133824 w 280339"/>
                <a:gd name="connsiteY67" fmla="*/ 92335 h 360333"/>
                <a:gd name="connsiteX68" fmla="*/ 143053 w 280339"/>
                <a:gd name="connsiteY68" fmla="*/ 83327 h 360333"/>
                <a:gd name="connsiteX69" fmla="*/ 144207 w 280339"/>
                <a:gd name="connsiteY69" fmla="*/ 75445 h 360333"/>
                <a:gd name="connsiteX70" fmla="*/ 139592 w 280339"/>
                <a:gd name="connsiteY70" fmla="*/ 74319 h 360333"/>
                <a:gd name="connsiteX71" fmla="*/ 138439 w 280339"/>
                <a:gd name="connsiteY71" fmla="*/ 70940 h 360333"/>
                <a:gd name="connsiteX72" fmla="*/ 134977 w 280339"/>
                <a:gd name="connsiteY72" fmla="*/ 72066 h 360333"/>
                <a:gd name="connsiteX73" fmla="*/ 131516 w 280339"/>
                <a:gd name="connsiteY73" fmla="*/ 69814 h 360333"/>
                <a:gd name="connsiteX74" fmla="*/ 130363 w 280339"/>
                <a:gd name="connsiteY74" fmla="*/ 65310 h 360333"/>
                <a:gd name="connsiteX75" fmla="*/ 136131 w 280339"/>
                <a:gd name="connsiteY75" fmla="*/ 56302 h 360333"/>
                <a:gd name="connsiteX76" fmla="*/ 125748 w 280339"/>
                <a:gd name="connsiteY76" fmla="*/ 52924 h 360333"/>
                <a:gd name="connsiteX77" fmla="*/ 125748 w 280339"/>
                <a:gd name="connsiteY77" fmla="*/ 48419 h 360333"/>
                <a:gd name="connsiteX78" fmla="*/ 131516 w 280339"/>
                <a:gd name="connsiteY78" fmla="*/ 43915 h 360333"/>
                <a:gd name="connsiteX79" fmla="*/ 129209 w 280339"/>
                <a:gd name="connsiteY79" fmla="*/ 39411 h 360333"/>
                <a:gd name="connsiteX80" fmla="*/ 132670 w 280339"/>
                <a:gd name="connsiteY80" fmla="*/ 39411 h 360333"/>
                <a:gd name="connsiteX81" fmla="*/ 138439 w 280339"/>
                <a:gd name="connsiteY81" fmla="*/ 34907 h 360333"/>
                <a:gd name="connsiteX82" fmla="*/ 159204 w 280339"/>
                <a:gd name="connsiteY82" fmla="*/ 13512 h 360333"/>
                <a:gd name="connsiteX83" fmla="*/ 169587 w 280339"/>
                <a:gd name="connsiteY83" fmla="*/ 9008 h 36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0339" h="360333">
                  <a:moveTo>
                    <a:pt x="181124" y="0"/>
                  </a:moveTo>
                  <a:lnTo>
                    <a:pt x="198428" y="4504"/>
                  </a:lnTo>
                  <a:lnTo>
                    <a:pt x="192893" y="30921"/>
                  </a:lnTo>
                  <a:lnTo>
                    <a:pt x="200378" y="32869"/>
                  </a:lnTo>
                  <a:lnTo>
                    <a:pt x="195570" y="55812"/>
                  </a:lnTo>
                  <a:lnTo>
                    <a:pt x="216887" y="60806"/>
                  </a:lnTo>
                  <a:lnTo>
                    <a:pt x="218041" y="90083"/>
                  </a:lnTo>
                  <a:lnTo>
                    <a:pt x="215734" y="92335"/>
                  </a:lnTo>
                  <a:lnTo>
                    <a:pt x="215273" y="91886"/>
                  </a:lnTo>
                  <a:lnTo>
                    <a:pt x="218042" y="99091"/>
                  </a:lnTo>
                  <a:lnTo>
                    <a:pt x="214215" y="119636"/>
                  </a:lnTo>
                  <a:lnTo>
                    <a:pt x="235980" y="134028"/>
                  </a:lnTo>
                  <a:lnTo>
                    <a:pt x="241519" y="141750"/>
                  </a:lnTo>
                  <a:lnTo>
                    <a:pt x="254968" y="151016"/>
                  </a:lnTo>
                  <a:lnTo>
                    <a:pt x="256550" y="154105"/>
                  </a:lnTo>
                  <a:lnTo>
                    <a:pt x="255684" y="159461"/>
                  </a:lnTo>
                  <a:lnTo>
                    <a:pt x="258420" y="163276"/>
                  </a:lnTo>
                  <a:lnTo>
                    <a:pt x="278032" y="176788"/>
                  </a:lnTo>
                  <a:lnTo>
                    <a:pt x="280339" y="181293"/>
                  </a:lnTo>
                  <a:lnTo>
                    <a:pt x="276878" y="202687"/>
                  </a:lnTo>
                  <a:lnTo>
                    <a:pt x="269956" y="211696"/>
                  </a:lnTo>
                  <a:lnTo>
                    <a:pt x="254959" y="221830"/>
                  </a:lnTo>
                  <a:lnTo>
                    <a:pt x="249190" y="238721"/>
                  </a:lnTo>
                  <a:lnTo>
                    <a:pt x="238808" y="248855"/>
                  </a:lnTo>
                  <a:lnTo>
                    <a:pt x="223810" y="258989"/>
                  </a:lnTo>
                  <a:lnTo>
                    <a:pt x="204198" y="266872"/>
                  </a:lnTo>
                  <a:lnTo>
                    <a:pt x="196122" y="273628"/>
                  </a:lnTo>
                  <a:lnTo>
                    <a:pt x="185739" y="278132"/>
                  </a:lnTo>
                  <a:lnTo>
                    <a:pt x="176510" y="288267"/>
                  </a:lnTo>
                  <a:lnTo>
                    <a:pt x="169588" y="293897"/>
                  </a:lnTo>
                  <a:lnTo>
                    <a:pt x="156898" y="313040"/>
                  </a:lnTo>
                  <a:lnTo>
                    <a:pt x="136132" y="320922"/>
                  </a:lnTo>
                  <a:lnTo>
                    <a:pt x="131517" y="327678"/>
                  </a:lnTo>
                  <a:lnTo>
                    <a:pt x="118827" y="338938"/>
                  </a:lnTo>
                  <a:lnTo>
                    <a:pt x="110752" y="342317"/>
                  </a:lnTo>
                  <a:lnTo>
                    <a:pt x="99215" y="350199"/>
                  </a:lnTo>
                  <a:lnTo>
                    <a:pt x="85371" y="358081"/>
                  </a:lnTo>
                  <a:lnTo>
                    <a:pt x="70373" y="360333"/>
                  </a:lnTo>
                  <a:lnTo>
                    <a:pt x="53069" y="360333"/>
                  </a:lnTo>
                  <a:lnTo>
                    <a:pt x="33456" y="353577"/>
                  </a:lnTo>
                  <a:lnTo>
                    <a:pt x="20766" y="355829"/>
                  </a:lnTo>
                  <a:lnTo>
                    <a:pt x="5768" y="352451"/>
                  </a:lnTo>
                  <a:lnTo>
                    <a:pt x="0" y="340064"/>
                  </a:lnTo>
                  <a:lnTo>
                    <a:pt x="3461" y="332182"/>
                  </a:lnTo>
                  <a:lnTo>
                    <a:pt x="10383" y="328804"/>
                  </a:lnTo>
                  <a:lnTo>
                    <a:pt x="12690" y="326552"/>
                  </a:lnTo>
                  <a:lnTo>
                    <a:pt x="19612" y="286015"/>
                  </a:lnTo>
                  <a:lnTo>
                    <a:pt x="18459" y="271376"/>
                  </a:lnTo>
                  <a:lnTo>
                    <a:pt x="40378" y="251107"/>
                  </a:lnTo>
                  <a:lnTo>
                    <a:pt x="48454" y="233090"/>
                  </a:lnTo>
                  <a:lnTo>
                    <a:pt x="49608" y="224082"/>
                  </a:lnTo>
                  <a:lnTo>
                    <a:pt x="56529" y="209444"/>
                  </a:lnTo>
                  <a:lnTo>
                    <a:pt x="64605" y="199309"/>
                  </a:lnTo>
                  <a:lnTo>
                    <a:pt x="64605" y="177915"/>
                  </a:lnTo>
                  <a:lnTo>
                    <a:pt x="70373" y="166654"/>
                  </a:lnTo>
                  <a:lnTo>
                    <a:pt x="84218" y="157646"/>
                  </a:lnTo>
                  <a:lnTo>
                    <a:pt x="103829" y="153142"/>
                  </a:lnTo>
                  <a:lnTo>
                    <a:pt x="110091" y="148891"/>
                  </a:lnTo>
                  <a:lnTo>
                    <a:pt x="112562" y="144066"/>
                  </a:lnTo>
                  <a:lnTo>
                    <a:pt x="122056" y="137889"/>
                  </a:lnTo>
                  <a:lnTo>
                    <a:pt x="128460" y="136418"/>
                  </a:lnTo>
                  <a:lnTo>
                    <a:pt x="130364" y="135125"/>
                  </a:lnTo>
                  <a:lnTo>
                    <a:pt x="132671" y="127243"/>
                  </a:lnTo>
                  <a:lnTo>
                    <a:pt x="128056" y="101344"/>
                  </a:lnTo>
                  <a:lnTo>
                    <a:pt x="130364" y="95714"/>
                  </a:lnTo>
                  <a:lnTo>
                    <a:pt x="134979" y="92335"/>
                  </a:lnTo>
                  <a:lnTo>
                    <a:pt x="152308" y="87449"/>
                  </a:lnTo>
                  <a:lnTo>
                    <a:pt x="133824" y="92335"/>
                  </a:lnTo>
                  <a:lnTo>
                    <a:pt x="143053" y="83327"/>
                  </a:lnTo>
                  <a:lnTo>
                    <a:pt x="144207" y="75445"/>
                  </a:lnTo>
                  <a:lnTo>
                    <a:pt x="139592" y="74319"/>
                  </a:lnTo>
                  <a:lnTo>
                    <a:pt x="138439" y="70940"/>
                  </a:lnTo>
                  <a:lnTo>
                    <a:pt x="134977" y="72066"/>
                  </a:lnTo>
                  <a:lnTo>
                    <a:pt x="131516" y="69814"/>
                  </a:lnTo>
                  <a:lnTo>
                    <a:pt x="130363" y="65310"/>
                  </a:lnTo>
                  <a:lnTo>
                    <a:pt x="136131" y="56302"/>
                  </a:lnTo>
                  <a:lnTo>
                    <a:pt x="125748" y="52924"/>
                  </a:lnTo>
                  <a:lnTo>
                    <a:pt x="125748" y="48419"/>
                  </a:lnTo>
                  <a:lnTo>
                    <a:pt x="131516" y="43915"/>
                  </a:lnTo>
                  <a:lnTo>
                    <a:pt x="129209" y="39411"/>
                  </a:lnTo>
                  <a:lnTo>
                    <a:pt x="132670" y="39411"/>
                  </a:lnTo>
                  <a:lnTo>
                    <a:pt x="138439" y="34907"/>
                  </a:lnTo>
                  <a:lnTo>
                    <a:pt x="159204" y="13512"/>
                  </a:lnTo>
                  <a:lnTo>
                    <a:pt x="169587" y="900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5" name="Altena">
              <a:extLst>
                <a:ext uri="{FF2B5EF4-FFF2-40B4-BE49-F238E27FC236}">
                  <a16:creationId xmlns:a16="http://schemas.microsoft.com/office/drawing/2014/main" id="{DF50162F-1328-4DBF-BBE0-239A4FF6F3A1}"/>
                </a:ext>
              </a:extLst>
            </p:cNvPr>
            <p:cNvSpPr/>
            <p:nvPr/>
          </p:nvSpPr>
          <p:spPr>
            <a:xfrm>
              <a:off x="5475591" y="3955021"/>
              <a:ext cx="496975" cy="191324"/>
            </a:xfrm>
            <a:custGeom>
              <a:avLst/>
              <a:gdLst>
                <a:gd name="connsiteX0" fmla="*/ 422238 w 490304"/>
                <a:gd name="connsiteY0" fmla="*/ 100219 h 194808"/>
                <a:gd name="connsiteX1" fmla="*/ 417549 w 490304"/>
                <a:gd name="connsiteY1" fmla="*/ 102049 h 194808"/>
                <a:gd name="connsiteX2" fmla="*/ 422238 w 490304"/>
                <a:gd name="connsiteY2" fmla="*/ 101346 h 194808"/>
                <a:gd name="connsiteX3" fmla="*/ 425700 w 490304"/>
                <a:gd name="connsiteY3" fmla="*/ 97966 h 194808"/>
                <a:gd name="connsiteX4" fmla="*/ 422238 w 490304"/>
                <a:gd name="connsiteY4" fmla="*/ 97967 h 194808"/>
                <a:gd name="connsiteX5" fmla="*/ 422238 w 490304"/>
                <a:gd name="connsiteY5" fmla="*/ 97968 h 194808"/>
                <a:gd name="connsiteX6" fmla="*/ 425699 w 490304"/>
                <a:gd name="connsiteY6" fmla="*/ 97967 h 194808"/>
                <a:gd name="connsiteX7" fmla="*/ 431468 w 490304"/>
                <a:gd name="connsiteY7" fmla="*/ 83329 h 194808"/>
                <a:gd name="connsiteX8" fmla="*/ 430314 w 490304"/>
                <a:gd name="connsiteY8" fmla="*/ 88959 h 194808"/>
                <a:gd name="connsiteX9" fmla="*/ 425699 w 490304"/>
                <a:gd name="connsiteY9" fmla="*/ 87833 h 194808"/>
                <a:gd name="connsiteX10" fmla="*/ 425699 w 490304"/>
                <a:gd name="connsiteY10" fmla="*/ 87834 h 194808"/>
                <a:gd name="connsiteX11" fmla="*/ 430314 w 490304"/>
                <a:gd name="connsiteY11" fmla="*/ 88960 h 194808"/>
                <a:gd name="connsiteX12" fmla="*/ 430314 w 490304"/>
                <a:gd name="connsiteY12" fmla="*/ 88959 h 194808"/>
                <a:gd name="connsiteX13" fmla="*/ 430315 w 490304"/>
                <a:gd name="connsiteY13" fmla="*/ 88959 h 194808"/>
                <a:gd name="connsiteX14" fmla="*/ 273416 w 490304"/>
                <a:gd name="connsiteY14" fmla="*/ 0 h 194808"/>
                <a:gd name="connsiteX15" fmla="*/ 309179 w 490304"/>
                <a:gd name="connsiteY15" fmla="*/ 7883 h 194808"/>
                <a:gd name="connsiteX16" fmla="*/ 309179 w 490304"/>
                <a:gd name="connsiteY16" fmla="*/ 7882 h 194808"/>
                <a:gd name="connsiteX17" fmla="*/ 333406 w 490304"/>
                <a:gd name="connsiteY17" fmla="*/ 13513 h 194808"/>
                <a:gd name="connsiteX18" fmla="*/ 341482 w 490304"/>
                <a:gd name="connsiteY18" fmla="*/ 12387 h 194808"/>
                <a:gd name="connsiteX19" fmla="*/ 349558 w 490304"/>
                <a:gd name="connsiteY19" fmla="*/ 18017 h 194808"/>
                <a:gd name="connsiteX20" fmla="*/ 351865 w 490304"/>
                <a:gd name="connsiteY20" fmla="*/ 27025 h 194808"/>
                <a:gd name="connsiteX21" fmla="*/ 357634 w 490304"/>
                <a:gd name="connsiteY21" fmla="*/ 33781 h 194808"/>
                <a:gd name="connsiteX22" fmla="*/ 369170 w 490304"/>
                <a:gd name="connsiteY22" fmla="*/ 41665 h 194808"/>
                <a:gd name="connsiteX23" fmla="*/ 391089 w 490304"/>
                <a:gd name="connsiteY23" fmla="*/ 50672 h 194808"/>
                <a:gd name="connsiteX24" fmla="*/ 395705 w 490304"/>
                <a:gd name="connsiteY24" fmla="*/ 55177 h 194808"/>
                <a:gd name="connsiteX25" fmla="*/ 404933 w 490304"/>
                <a:gd name="connsiteY25" fmla="*/ 73193 h 194808"/>
                <a:gd name="connsiteX26" fmla="*/ 410702 w 490304"/>
                <a:gd name="connsiteY26" fmla="*/ 79949 h 194808"/>
                <a:gd name="connsiteX27" fmla="*/ 418778 w 490304"/>
                <a:gd name="connsiteY27" fmla="*/ 82202 h 194808"/>
                <a:gd name="connsiteX28" fmla="*/ 426853 w 490304"/>
                <a:gd name="connsiteY28" fmla="*/ 79950 h 194808"/>
                <a:gd name="connsiteX29" fmla="*/ 426854 w 490304"/>
                <a:gd name="connsiteY29" fmla="*/ 79950 h 194808"/>
                <a:gd name="connsiteX30" fmla="*/ 431467 w 490304"/>
                <a:gd name="connsiteY30" fmla="*/ 72068 h 194808"/>
                <a:gd name="connsiteX31" fmla="*/ 439543 w 490304"/>
                <a:gd name="connsiteY31" fmla="*/ 68690 h 194808"/>
                <a:gd name="connsiteX32" fmla="*/ 448773 w 490304"/>
                <a:gd name="connsiteY32" fmla="*/ 70942 h 194808"/>
                <a:gd name="connsiteX33" fmla="*/ 462616 w 490304"/>
                <a:gd name="connsiteY33" fmla="*/ 83329 h 194808"/>
                <a:gd name="connsiteX34" fmla="*/ 471846 w 490304"/>
                <a:gd name="connsiteY34" fmla="*/ 87833 h 194808"/>
                <a:gd name="connsiteX35" fmla="*/ 485690 w 490304"/>
                <a:gd name="connsiteY35" fmla="*/ 94589 h 194808"/>
                <a:gd name="connsiteX36" fmla="*/ 486844 w 490304"/>
                <a:gd name="connsiteY36" fmla="*/ 99093 h 194808"/>
                <a:gd name="connsiteX37" fmla="*/ 483382 w 490304"/>
                <a:gd name="connsiteY37" fmla="*/ 113733 h 194808"/>
                <a:gd name="connsiteX38" fmla="*/ 484536 w 490304"/>
                <a:gd name="connsiteY38" fmla="*/ 118236 h 194808"/>
                <a:gd name="connsiteX39" fmla="*/ 490304 w 490304"/>
                <a:gd name="connsiteY39" fmla="*/ 121615 h 194808"/>
                <a:gd name="connsiteX40" fmla="*/ 485690 w 490304"/>
                <a:gd name="connsiteY40" fmla="*/ 129496 h 194808"/>
                <a:gd name="connsiteX41" fmla="*/ 472999 w 490304"/>
                <a:gd name="connsiteY41" fmla="*/ 138505 h 194808"/>
                <a:gd name="connsiteX42" fmla="*/ 471846 w 490304"/>
                <a:gd name="connsiteY42" fmla="*/ 147514 h 194808"/>
                <a:gd name="connsiteX43" fmla="*/ 474154 w 490304"/>
                <a:gd name="connsiteY43" fmla="*/ 150891 h 194808"/>
                <a:gd name="connsiteX44" fmla="*/ 458001 w 490304"/>
                <a:gd name="connsiteY44" fmla="*/ 156522 h 194808"/>
                <a:gd name="connsiteX45" fmla="*/ 445312 w 490304"/>
                <a:gd name="connsiteY45" fmla="*/ 162153 h 194808"/>
                <a:gd name="connsiteX46" fmla="*/ 410702 w 490304"/>
                <a:gd name="connsiteY46" fmla="*/ 186924 h 194808"/>
                <a:gd name="connsiteX47" fmla="*/ 396858 w 490304"/>
                <a:gd name="connsiteY47" fmla="*/ 193682 h 194808"/>
                <a:gd name="connsiteX48" fmla="*/ 384167 w 490304"/>
                <a:gd name="connsiteY48" fmla="*/ 194808 h 194808"/>
                <a:gd name="connsiteX49" fmla="*/ 365709 w 490304"/>
                <a:gd name="connsiteY49" fmla="*/ 193682 h 194808"/>
                <a:gd name="connsiteX50" fmla="*/ 346097 w 490304"/>
                <a:gd name="connsiteY50" fmla="*/ 190303 h 194808"/>
                <a:gd name="connsiteX51" fmla="*/ 327638 w 490304"/>
                <a:gd name="connsiteY51" fmla="*/ 184673 h 194808"/>
                <a:gd name="connsiteX52" fmla="*/ 328792 w 490304"/>
                <a:gd name="connsiteY52" fmla="*/ 181295 h 194808"/>
                <a:gd name="connsiteX53" fmla="*/ 333398 w 490304"/>
                <a:gd name="connsiteY53" fmla="*/ 177441 h 194808"/>
                <a:gd name="connsiteX54" fmla="*/ 333396 w 490304"/>
                <a:gd name="connsiteY54" fmla="*/ 177442 h 194808"/>
                <a:gd name="connsiteX55" fmla="*/ 328791 w 490304"/>
                <a:gd name="connsiteY55" fmla="*/ 181295 h 194808"/>
                <a:gd name="connsiteX56" fmla="*/ 327638 w 490304"/>
                <a:gd name="connsiteY56" fmla="*/ 184673 h 194808"/>
                <a:gd name="connsiteX57" fmla="*/ 303411 w 490304"/>
                <a:gd name="connsiteY57" fmla="*/ 176790 h 194808"/>
                <a:gd name="connsiteX58" fmla="*/ 282645 w 490304"/>
                <a:gd name="connsiteY58" fmla="*/ 174537 h 194808"/>
                <a:gd name="connsiteX59" fmla="*/ 242268 w 490304"/>
                <a:gd name="connsiteY59" fmla="*/ 181295 h 194808"/>
                <a:gd name="connsiteX60" fmla="*/ 206505 w 490304"/>
                <a:gd name="connsiteY60" fmla="*/ 179043 h 194808"/>
                <a:gd name="connsiteX61" fmla="*/ 168434 w 490304"/>
                <a:gd name="connsiteY61" fmla="*/ 190303 h 194808"/>
                <a:gd name="connsiteX62" fmla="*/ 178817 w 490304"/>
                <a:gd name="connsiteY62" fmla="*/ 170034 h 194808"/>
                <a:gd name="connsiteX63" fmla="*/ 178817 w 490304"/>
                <a:gd name="connsiteY63" fmla="*/ 152018 h 194808"/>
                <a:gd name="connsiteX64" fmla="*/ 182278 w 490304"/>
                <a:gd name="connsiteY64" fmla="*/ 147513 h 194808"/>
                <a:gd name="connsiteX65" fmla="*/ 182278 w 490304"/>
                <a:gd name="connsiteY65" fmla="*/ 137378 h 194808"/>
                <a:gd name="connsiteX66" fmla="*/ 185738 w 490304"/>
                <a:gd name="connsiteY66" fmla="*/ 128370 h 194808"/>
                <a:gd name="connsiteX67" fmla="*/ 184585 w 490304"/>
                <a:gd name="connsiteY67" fmla="*/ 119363 h 194808"/>
                <a:gd name="connsiteX68" fmla="*/ 178817 w 490304"/>
                <a:gd name="connsiteY68" fmla="*/ 117110 h 194808"/>
                <a:gd name="connsiteX69" fmla="*/ 174202 w 490304"/>
                <a:gd name="connsiteY69" fmla="*/ 118236 h 194808"/>
                <a:gd name="connsiteX70" fmla="*/ 164973 w 490304"/>
                <a:gd name="connsiteY70" fmla="*/ 122740 h 194808"/>
                <a:gd name="connsiteX71" fmla="*/ 159204 w 490304"/>
                <a:gd name="connsiteY71" fmla="*/ 122740 h 194808"/>
                <a:gd name="connsiteX72" fmla="*/ 153436 w 490304"/>
                <a:gd name="connsiteY72" fmla="*/ 122740 h 194808"/>
                <a:gd name="connsiteX73" fmla="*/ 143053 w 490304"/>
                <a:gd name="connsiteY73" fmla="*/ 118235 h 194808"/>
                <a:gd name="connsiteX74" fmla="*/ 132671 w 490304"/>
                <a:gd name="connsiteY74" fmla="*/ 115983 h 194808"/>
                <a:gd name="connsiteX75" fmla="*/ 114213 w 490304"/>
                <a:gd name="connsiteY75" fmla="*/ 118235 h 194808"/>
                <a:gd name="connsiteX76" fmla="*/ 111906 w 490304"/>
                <a:gd name="connsiteY76" fmla="*/ 101345 h 194808"/>
                <a:gd name="connsiteX77" fmla="*/ 109598 w 490304"/>
                <a:gd name="connsiteY77" fmla="*/ 101346 h 194808"/>
                <a:gd name="connsiteX78" fmla="*/ 109598 w 490304"/>
                <a:gd name="connsiteY78" fmla="*/ 105850 h 194808"/>
                <a:gd name="connsiteX79" fmla="*/ 107290 w 490304"/>
                <a:gd name="connsiteY79" fmla="*/ 104724 h 194808"/>
                <a:gd name="connsiteX80" fmla="*/ 100368 w 490304"/>
                <a:gd name="connsiteY80" fmla="*/ 112605 h 194808"/>
                <a:gd name="connsiteX81" fmla="*/ 94600 w 490304"/>
                <a:gd name="connsiteY81" fmla="*/ 113732 h 194808"/>
                <a:gd name="connsiteX82" fmla="*/ 92293 w 490304"/>
                <a:gd name="connsiteY82" fmla="*/ 112605 h 194808"/>
                <a:gd name="connsiteX83" fmla="*/ 83063 w 490304"/>
                <a:gd name="connsiteY83" fmla="*/ 120488 h 194808"/>
                <a:gd name="connsiteX84" fmla="*/ 78449 w 490304"/>
                <a:gd name="connsiteY84" fmla="*/ 124992 h 194808"/>
                <a:gd name="connsiteX85" fmla="*/ 74988 w 490304"/>
                <a:gd name="connsiteY85" fmla="*/ 134000 h 194808"/>
                <a:gd name="connsiteX86" fmla="*/ 64605 w 490304"/>
                <a:gd name="connsiteY86" fmla="*/ 143009 h 194808"/>
                <a:gd name="connsiteX87" fmla="*/ 59990 w 490304"/>
                <a:gd name="connsiteY87" fmla="*/ 150891 h 194808"/>
                <a:gd name="connsiteX88" fmla="*/ 47301 w 490304"/>
                <a:gd name="connsiteY88" fmla="*/ 154269 h 194808"/>
                <a:gd name="connsiteX89" fmla="*/ 23073 w 490304"/>
                <a:gd name="connsiteY89" fmla="*/ 174538 h 194808"/>
                <a:gd name="connsiteX90" fmla="*/ 1154 w 490304"/>
                <a:gd name="connsiteY90" fmla="*/ 176791 h 194808"/>
                <a:gd name="connsiteX91" fmla="*/ 0 w 490304"/>
                <a:gd name="connsiteY91" fmla="*/ 168908 h 194808"/>
                <a:gd name="connsiteX92" fmla="*/ 5768 w 490304"/>
                <a:gd name="connsiteY92" fmla="*/ 163278 h 194808"/>
                <a:gd name="connsiteX93" fmla="*/ 28842 w 490304"/>
                <a:gd name="connsiteY93" fmla="*/ 149765 h 194808"/>
                <a:gd name="connsiteX94" fmla="*/ 63451 w 490304"/>
                <a:gd name="connsiteY94" fmla="*/ 119363 h 194808"/>
                <a:gd name="connsiteX95" fmla="*/ 72680 w 490304"/>
                <a:gd name="connsiteY95" fmla="*/ 105850 h 194808"/>
                <a:gd name="connsiteX96" fmla="*/ 78449 w 490304"/>
                <a:gd name="connsiteY96" fmla="*/ 85581 h 194808"/>
                <a:gd name="connsiteX97" fmla="*/ 83063 w 490304"/>
                <a:gd name="connsiteY97" fmla="*/ 76573 h 194808"/>
                <a:gd name="connsiteX98" fmla="*/ 94600 w 490304"/>
                <a:gd name="connsiteY98" fmla="*/ 63059 h 194808"/>
                <a:gd name="connsiteX99" fmla="*/ 102675 w 490304"/>
                <a:gd name="connsiteY99" fmla="*/ 57429 h 194808"/>
                <a:gd name="connsiteX100" fmla="*/ 128056 w 490304"/>
                <a:gd name="connsiteY100" fmla="*/ 46170 h 194808"/>
                <a:gd name="connsiteX101" fmla="*/ 138439 w 490304"/>
                <a:gd name="connsiteY101" fmla="*/ 45042 h 194808"/>
                <a:gd name="connsiteX102" fmla="*/ 168434 w 490304"/>
                <a:gd name="connsiteY102" fmla="*/ 49547 h 194808"/>
                <a:gd name="connsiteX103" fmla="*/ 188046 w 490304"/>
                <a:gd name="connsiteY103" fmla="*/ 45042 h 194808"/>
                <a:gd name="connsiteX104" fmla="*/ 199582 w 490304"/>
                <a:gd name="connsiteY104" fmla="*/ 37160 h 194808"/>
                <a:gd name="connsiteX105" fmla="*/ 224963 w 490304"/>
                <a:gd name="connsiteY105" fmla="*/ 15765 h 194808"/>
                <a:gd name="connsiteX106" fmla="*/ 254958 w 490304"/>
                <a:gd name="connsiteY106" fmla="*/ 1127 h 19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490304" h="194808">
                  <a:moveTo>
                    <a:pt x="422238" y="100219"/>
                  </a:moveTo>
                  <a:lnTo>
                    <a:pt x="417549" y="102049"/>
                  </a:lnTo>
                  <a:lnTo>
                    <a:pt x="422238" y="101346"/>
                  </a:lnTo>
                  <a:close/>
                  <a:moveTo>
                    <a:pt x="425700" y="97966"/>
                  </a:moveTo>
                  <a:lnTo>
                    <a:pt x="422238" y="97967"/>
                  </a:lnTo>
                  <a:lnTo>
                    <a:pt x="422238" y="97968"/>
                  </a:lnTo>
                  <a:lnTo>
                    <a:pt x="425699" y="97967"/>
                  </a:lnTo>
                  <a:close/>
                  <a:moveTo>
                    <a:pt x="431468" y="83329"/>
                  </a:moveTo>
                  <a:lnTo>
                    <a:pt x="430314" y="88959"/>
                  </a:lnTo>
                  <a:lnTo>
                    <a:pt x="425699" y="87833"/>
                  </a:lnTo>
                  <a:lnTo>
                    <a:pt x="425699" y="87834"/>
                  </a:lnTo>
                  <a:lnTo>
                    <a:pt x="430314" y="88960"/>
                  </a:lnTo>
                  <a:lnTo>
                    <a:pt x="430314" y="88959"/>
                  </a:lnTo>
                  <a:lnTo>
                    <a:pt x="430315" y="88959"/>
                  </a:lnTo>
                  <a:close/>
                  <a:moveTo>
                    <a:pt x="273416" y="0"/>
                  </a:moveTo>
                  <a:lnTo>
                    <a:pt x="309179" y="7883"/>
                  </a:lnTo>
                  <a:lnTo>
                    <a:pt x="309179" y="7882"/>
                  </a:lnTo>
                  <a:lnTo>
                    <a:pt x="333406" y="13513"/>
                  </a:lnTo>
                  <a:lnTo>
                    <a:pt x="341482" y="12387"/>
                  </a:lnTo>
                  <a:lnTo>
                    <a:pt x="349558" y="18017"/>
                  </a:lnTo>
                  <a:lnTo>
                    <a:pt x="351865" y="27025"/>
                  </a:lnTo>
                  <a:lnTo>
                    <a:pt x="357634" y="33781"/>
                  </a:lnTo>
                  <a:lnTo>
                    <a:pt x="369170" y="41665"/>
                  </a:lnTo>
                  <a:lnTo>
                    <a:pt x="391089" y="50672"/>
                  </a:lnTo>
                  <a:lnTo>
                    <a:pt x="395705" y="55177"/>
                  </a:lnTo>
                  <a:lnTo>
                    <a:pt x="404933" y="73193"/>
                  </a:lnTo>
                  <a:lnTo>
                    <a:pt x="410702" y="79949"/>
                  </a:lnTo>
                  <a:lnTo>
                    <a:pt x="418778" y="82202"/>
                  </a:lnTo>
                  <a:lnTo>
                    <a:pt x="426853" y="79950"/>
                  </a:lnTo>
                  <a:lnTo>
                    <a:pt x="426854" y="79950"/>
                  </a:lnTo>
                  <a:lnTo>
                    <a:pt x="431467" y="72068"/>
                  </a:lnTo>
                  <a:lnTo>
                    <a:pt x="439543" y="68690"/>
                  </a:lnTo>
                  <a:lnTo>
                    <a:pt x="448773" y="70942"/>
                  </a:lnTo>
                  <a:lnTo>
                    <a:pt x="462616" y="83329"/>
                  </a:lnTo>
                  <a:lnTo>
                    <a:pt x="471846" y="87833"/>
                  </a:lnTo>
                  <a:lnTo>
                    <a:pt x="485690" y="94589"/>
                  </a:lnTo>
                  <a:lnTo>
                    <a:pt x="486844" y="99093"/>
                  </a:lnTo>
                  <a:lnTo>
                    <a:pt x="483382" y="113733"/>
                  </a:lnTo>
                  <a:lnTo>
                    <a:pt x="484536" y="118236"/>
                  </a:lnTo>
                  <a:lnTo>
                    <a:pt x="490304" y="121615"/>
                  </a:lnTo>
                  <a:lnTo>
                    <a:pt x="485690" y="129496"/>
                  </a:lnTo>
                  <a:lnTo>
                    <a:pt x="472999" y="138505"/>
                  </a:lnTo>
                  <a:lnTo>
                    <a:pt x="471846" y="147514"/>
                  </a:lnTo>
                  <a:lnTo>
                    <a:pt x="474154" y="150891"/>
                  </a:lnTo>
                  <a:lnTo>
                    <a:pt x="458001" y="156522"/>
                  </a:lnTo>
                  <a:lnTo>
                    <a:pt x="445312" y="162153"/>
                  </a:lnTo>
                  <a:lnTo>
                    <a:pt x="410702" y="186924"/>
                  </a:lnTo>
                  <a:lnTo>
                    <a:pt x="396858" y="193682"/>
                  </a:lnTo>
                  <a:lnTo>
                    <a:pt x="384167" y="194808"/>
                  </a:lnTo>
                  <a:lnTo>
                    <a:pt x="365709" y="193682"/>
                  </a:lnTo>
                  <a:lnTo>
                    <a:pt x="346097" y="190303"/>
                  </a:lnTo>
                  <a:lnTo>
                    <a:pt x="327638" y="184673"/>
                  </a:lnTo>
                  <a:lnTo>
                    <a:pt x="328792" y="181295"/>
                  </a:lnTo>
                  <a:lnTo>
                    <a:pt x="333398" y="177441"/>
                  </a:lnTo>
                  <a:lnTo>
                    <a:pt x="333396" y="177442"/>
                  </a:lnTo>
                  <a:lnTo>
                    <a:pt x="328791" y="181295"/>
                  </a:lnTo>
                  <a:lnTo>
                    <a:pt x="327638" y="184673"/>
                  </a:lnTo>
                  <a:lnTo>
                    <a:pt x="303411" y="176790"/>
                  </a:lnTo>
                  <a:lnTo>
                    <a:pt x="282645" y="174537"/>
                  </a:lnTo>
                  <a:lnTo>
                    <a:pt x="242268" y="181295"/>
                  </a:lnTo>
                  <a:lnTo>
                    <a:pt x="206505" y="179043"/>
                  </a:lnTo>
                  <a:lnTo>
                    <a:pt x="168434" y="190303"/>
                  </a:lnTo>
                  <a:lnTo>
                    <a:pt x="178817" y="170034"/>
                  </a:lnTo>
                  <a:lnTo>
                    <a:pt x="178817" y="152018"/>
                  </a:lnTo>
                  <a:lnTo>
                    <a:pt x="182278" y="147513"/>
                  </a:lnTo>
                  <a:lnTo>
                    <a:pt x="182278" y="137378"/>
                  </a:lnTo>
                  <a:lnTo>
                    <a:pt x="185738" y="128370"/>
                  </a:lnTo>
                  <a:lnTo>
                    <a:pt x="184585" y="119363"/>
                  </a:lnTo>
                  <a:lnTo>
                    <a:pt x="178817" y="117110"/>
                  </a:lnTo>
                  <a:lnTo>
                    <a:pt x="174202" y="118236"/>
                  </a:lnTo>
                  <a:lnTo>
                    <a:pt x="164973" y="122740"/>
                  </a:lnTo>
                  <a:lnTo>
                    <a:pt x="159204" y="122740"/>
                  </a:lnTo>
                  <a:lnTo>
                    <a:pt x="153436" y="122740"/>
                  </a:lnTo>
                  <a:lnTo>
                    <a:pt x="143053" y="118235"/>
                  </a:lnTo>
                  <a:lnTo>
                    <a:pt x="132671" y="115983"/>
                  </a:lnTo>
                  <a:lnTo>
                    <a:pt x="114213" y="118235"/>
                  </a:lnTo>
                  <a:lnTo>
                    <a:pt x="111906" y="101345"/>
                  </a:lnTo>
                  <a:lnTo>
                    <a:pt x="109598" y="101346"/>
                  </a:lnTo>
                  <a:lnTo>
                    <a:pt x="109598" y="105850"/>
                  </a:lnTo>
                  <a:lnTo>
                    <a:pt x="107290" y="104724"/>
                  </a:lnTo>
                  <a:lnTo>
                    <a:pt x="100368" y="112605"/>
                  </a:lnTo>
                  <a:lnTo>
                    <a:pt x="94600" y="113732"/>
                  </a:lnTo>
                  <a:lnTo>
                    <a:pt x="92293" y="112605"/>
                  </a:lnTo>
                  <a:lnTo>
                    <a:pt x="83063" y="120488"/>
                  </a:lnTo>
                  <a:lnTo>
                    <a:pt x="78449" y="124992"/>
                  </a:lnTo>
                  <a:lnTo>
                    <a:pt x="74988" y="134000"/>
                  </a:lnTo>
                  <a:lnTo>
                    <a:pt x="64605" y="143009"/>
                  </a:lnTo>
                  <a:lnTo>
                    <a:pt x="59990" y="150891"/>
                  </a:lnTo>
                  <a:lnTo>
                    <a:pt x="47301" y="154269"/>
                  </a:lnTo>
                  <a:lnTo>
                    <a:pt x="23073" y="174538"/>
                  </a:lnTo>
                  <a:lnTo>
                    <a:pt x="1154" y="176791"/>
                  </a:lnTo>
                  <a:lnTo>
                    <a:pt x="0" y="168908"/>
                  </a:lnTo>
                  <a:lnTo>
                    <a:pt x="5768" y="163278"/>
                  </a:lnTo>
                  <a:lnTo>
                    <a:pt x="28842" y="149765"/>
                  </a:lnTo>
                  <a:lnTo>
                    <a:pt x="63451" y="119363"/>
                  </a:lnTo>
                  <a:lnTo>
                    <a:pt x="72680" y="105850"/>
                  </a:lnTo>
                  <a:lnTo>
                    <a:pt x="78449" y="85581"/>
                  </a:lnTo>
                  <a:lnTo>
                    <a:pt x="83063" y="76573"/>
                  </a:lnTo>
                  <a:lnTo>
                    <a:pt x="94600" y="63059"/>
                  </a:lnTo>
                  <a:lnTo>
                    <a:pt x="102675" y="57429"/>
                  </a:lnTo>
                  <a:lnTo>
                    <a:pt x="128056" y="46170"/>
                  </a:lnTo>
                  <a:lnTo>
                    <a:pt x="138439" y="45042"/>
                  </a:lnTo>
                  <a:lnTo>
                    <a:pt x="168434" y="49547"/>
                  </a:lnTo>
                  <a:lnTo>
                    <a:pt x="188046" y="45042"/>
                  </a:lnTo>
                  <a:lnTo>
                    <a:pt x="199582" y="37160"/>
                  </a:lnTo>
                  <a:lnTo>
                    <a:pt x="224963" y="15765"/>
                  </a:lnTo>
                  <a:lnTo>
                    <a:pt x="254958" y="1127"/>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86" name="Groningen">
              <a:extLst>
                <a:ext uri="{FF2B5EF4-FFF2-40B4-BE49-F238E27FC236}">
                  <a16:creationId xmlns:a16="http://schemas.microsoft.com/office/drawing/2014/main" id="{F9F0E543-0E7A-45CB-B70E-0CD6FF6F414D}"/>
                </a:ext>
              </a:extLst>
            </p:cNvPr>
            <p:cNvSpPr/>
            <p:nvPr/>
          </p:nvSpPr>
          <p:spPr>
            <a:xfrm>
              <a:off x="7333007" y="1557114"/>
              <a:ext cx="318674" cy="338007"/>
            </a:xfrm>
            <a:custGeom>
              <a:avLst/>
              <a:gdLst>
                <a:gd name="connsiteX0" fmla="*/ 275724 w 312641"/>
                <a:gd name="connsiteY0" fmla="*/ 0 h 343443"/>
                <a:gd name="connsiteX1" fmla="*/ 279185 w 312641"/>
                <a:gd name="connsiteY1" fmla="*/ 2252 h 343443"/>
                <a:gd name="connsiteX2" fmla="*/ 281492 w 312641"/>
                <a:gd name="connsiteY2" fmla="*/ 3378 h 343443"/>
                <a:gd name="connsiteX3" fmla="*/ 282646 w 312641"/>
                <a:gd name="connsiteY3" fmla="*/ 2252 h 343443"/>
                <a:gd name="connsiteX4" fmla="*/ 286107 w 312641"/>
                <a:gd name="connsiteY4" fmla="*/ 2252 h 343443"/>
                <a:gd name="connsiteX5" fmla="*/ 287260 w 312641"/>
                <a:gd name="connsiteY5" fmla="*/ 5630 h 343443"/>
                <a:gd name="connsiteX6" fmla="*/ 283800 w 312641"/>
                <a:gd name="connsiteY6" fmla="*/ 10134 h 343443"/>
                <a:gd name="connsiteX7" fmla="*/ 291875 w 312641"/>
                <a:gd name="connsiteY7" fmla="*/ 23647 h 343443"/>
                <a:gd name="connsiteX8" fmla="*/ 294183 w 312641"/>
                <a:gd name="connsiteY8" fmla="*/ 21394 h 343443"/>
                <a:gd name="connsiteX9" fmla="*/ 299951 w 312641"/>
                <a:gd name="connsiteY9" fmla="*/ 29277 h 343443"/>
                <a:gd name="connsiteX10" fmla="*/ 303411 w 312641"/>
                <a:gd name="connsiteY10" fmla="*/ 24773 h 343443"/>
                <a:gd name="connsiteX11" fmla="*/ 311487 w 312641"/>
                <a:gd name="connsiteY11" fmla="*/ 34907 h 343443"/>
                <a:gd name="connsiteX12" fmla="*/ 309180 w 312641"/>
                <a:gd name="connsiteY12" fmla="*/ 36034 h 343443"/>
                <a:gd name="connsiteX13" fmla="*/ 311487 w 312641"/>
                <a:gd name="connsiteY13" fmla="*/ 41664 h 343443"/>
                <a:gd name="connsiteX14" fmla="*/ 309180 w 312641"/>
                <a:gd name="connsiteY14" fmla="*/ 42790 h 343443"/>
                <a:gd name="connsiteX15" fmla="*/ 312641 w 312641"/>
                <a:gd name="connsiteY15" fmla="*/ 48420 h 343443"/>
                <a:gd name="connsiteX16" fmla="*/ 262620 w 312641"/>
                <a:gd name="connsiteY16" fmla="*/ 79539 h 343443"/>
                <a:gd name="connsiteX17" fmla="*/ 263181 w 312641"/>
                <a:gd name="connsiteY17" fmla="*/ 80908 h 343443"/>
                <a:gd name="connsiteX18" fmla="*/ 261623 w 312641"/>
                <a:gd name="connsiteY18" fmla="*/ 81668 h 343443"/>
                <a:gd name="connsiteX19" fmla="*/ 263960 w 312641"/>
                <a:gd name="connsiteY19" fmla="*/ 85469 h 343443"/>
                <a:gd name="connsiteX20" fmla="*/ 193081 w 312641"/>
                <a:gd name="connsiteY20" fmla="*/ 129563 h 343443"/>
                <a:gd name="connsiteX21" fmla="*/ 183219 w 312641"/>
                <a:gd name="connsiteY21" fmla="*/ 136127 h 343443"/>
                <a:gd name="connsiteX22" fmla="*/ 183432 w 312641"/>
                <a:gd name="connsiteY22" fmla="*/ 137377 h 343443"/>
                <a:gd name="connsiteX23" fmla="*/ 179971 w 312641"/>
                <a:gd name="connsiteY23" fmla="*/ 140755 h 343443"/>
                <a:gd name="connsiteX24" fmla="*/ 183432 w 312641"/>
                <a:gd name="connsiteY24" fmla="*/ 144134 h 343443"/>
                <a:gd name="connsiteX25" fmla="*/ 188047 w 312641"/>
                <a:gd name="connsiteY25" fmla="*/ 159898 h 343443"/>
                <a:gd name="connsiteX26" fmla="*/ 207659 w 312641"/>
                <a:gd name="connsiteY26" fmla="*/ 184671 h 343443"/>
                <a:gd name="connsiteX27" fmla="*/ 190354 w 312641"/>
                <a:gd name="connsiteY27" fmla="*/ 199310 h 343443"/>
                <a:gd name="connsiteX28" fmla="*/ 186008 w 312641"/>
                <a:gd name="connsiteY28" fmla="*/ 200724 h 343443"/>
                <a:gd name="connsiteX29" fmla="*/ 186850 w 312641"/>
                <a:gd name="connsiteY29" fmla="*/ 201027 h 343443"/>
                <a:gd name="connsiteX30" fmla="*/ 190745 w 312641"/>
                <a:gd name="connsiteY30" fmla="*/ 212430 h 343443"/>
                <a:gd name="connsiteX31" fmla="*/ 201649 w 312641"/>
                <a:gd name="connsiteY31" fmla="*/ 219272 h 343443"/>
                <a:gd name="connsiteX32" fmla="*/ 205543 w 312641"/>
                <a:gd name="connsiteY32" fmla="*/ 223834 h 343443"/>
                <a:gd name="connsiteX33" fmla="*/ 210217 w 312641"/>
                <a:gd name="connsiteY33" fmla="*/ 233717 h 343443"/>
                <a:gd name="connsiteX34" fmla="*/ 207102 w 312641"/>
                <a:gd name="connsiteY34" fmla="*/ 237518 h 343443"/>
                <a:gd name="connsiteX35" fmla="*/ 207570 w 312641"/>
                <a:gd name="connsiteY35" fmla="*/ 238585 h 343443"/>
                <a:gd name="connsiteX36" fmla="*/ 220349 w 312641"/>
                <a:gd name="connsiteY36" fmla="*/ 246604 h 343443"/>
                <a:gd name="connsiteX37" fmla="*/ 226117 w 312641"/>
                <a:gd name="connsiteY37" fmla="*/ 253360 h 343443"/>
                <a:gd name="connsiteX38" fmla="*/ 233039 w 312641"/>
                <a:gd name="connsiteY38" fmla="*/ 267998 h 343443"/>
                <a:gd name="connsiteX39" fmla="*/ 228425 w 312641"/>
                <a:gd name="connsiteY39" fmla="*/ 273629 h 343443"/>
                <a:gd name="connsiteX40" fmla="*/ 231885 w 312641"/>
                <a:gd name="connsiteY40" fmla="*/ 281511 h 343443"/>
                <a:gd name="connsiteX41" fmla="*/ 238807 w 312641"/>
                <a:gd name="connsiteY41" fmla="*/ 317544 h 343443"/>
                <a:gd name="connsiteX42" fmla="*/ 213427 w 312641"/>
                <a:gd name="connsiteY42" fmla="*/ 326553 h 343443"/>
                <a:gd name="connsiteX43" fmla="*/ 177664 w 312641"/>
                <a:gd name="connsiteY43" fmla="*/ 343443 h 343443"/>
                <a:gd name="connsiteX44" fmla="*/ 179971 w 312641"/>
                <a:gd name="connsiteY44" fmla="*/ 340065 h 343443"/>
                <a:gd name="connsiteX45" fmla="*/ 177664 w 312641"/>
                <a:gd name="connsiteY45" fmla="*/ 335561 h 343443"/>
                <a:gd name="connsiteX46" fmla="*/ 178817 w 312641"/>
                <a:gd name="connsiteY46" fmla="*/ 332183 h 343443"/>
                <a:gd name="connsiteX47" fmla="*/ 170741 w 312641"/>
                <a:gd name="connsiteY47" fmla="*/ 327679 h 343443"/>
                <a:gd name="connsiteX48" fmla="*/ 169588 w 312641"/>
                <a:gd name="connsiteY48" fmla="*/ 325426 h 343443"/>
                <a:gd name="connsiteX49" fmla="*/ 173049 w 312641"/>
                <a:gd name="connsiteY49" fmla="*/ 322049 h 343443"/>
                <a:gd name="connsiteX50" fmla="*/ 170741 w 312641"/>
                <a:gd name="connsiteY50" fmla="*/ 322049 h 343443"/>
                <a:gd name="connsiteX51" fmla="*/ 169588 w 312641"/>
                <a:gd name="connsiteY51" fmla="*/ 316418 h 343443"/>
                <a:gd name="connsiteX52" fmla="*/ 163820 w 312641"/>
                <a:gd name="connsiteY52" fmla="*/ 310788 h 343443"/>
                <a:gd name="connsiteX53" fmla="*/ 160358 w 312641"/>
                <a:gd name="connsiteY53" fmla="*/ 301780 h 343443"/>
                <a:gd name="connsiteX54" fmla="*/ 158051 w 312641"/>
                <a:gd name="connsiteY54" fmla="*/ 299527 h 343443"/>
                <a:gd name="connsiteX55" fmla="*/ 155744 w 312641"/>
                <a:gd name="connsiteY55" fmla="*/ 300654 h 343443"/>
                <a:gd name="connsiteX56" fmla="*/ 155744 w 312641"/>
                <a:gd name="connsiteY56" fmla="*/ 295024 h 343443"/>
                <a:gd name="connsiteX57" fmla="*/ 147668 w 312641"/>
                <a:gd name="connsiteY57" fmla="*/ 289394 h 343443"/>
                <a:gd name="connsiteX58" fmla="*/ 140747 w 312641"/>
                <a:gd name="connsiteY58" fmla="*/ 280385 h 343443"/>
                <a:gd name="connsiteX59" fmla="*/ 138439 w 312641"/>
                <a:gd name="connsiteY59" fmla="*/ 281511 h 343443"/>
                <a:gd name="connsiteX60" fmla="*/ 136132 w 312641"/>
                <a:gd name="connsiteY60" fmla="*/ 279259 h 343443"/>
                <a:gd name="connsiteX61" fmla="*/ 129210 w 312641"/>
                <a:gd name="connsiteY61" fmla="*/ 279259 h 343443"/>
                <a:gd name="connsiteX62" fmla="*/ 124595 w 312641"/>
                <a:gd name="connsiteY62" fmla="*/ 266872 h 343443"/>
                <a:gd name="connsiteX63" fmla="*/ 128056 w 312641"/>
                <a:gd name="connsiteY63" fmla="*/ 262368 h 343443"/>
                <a:gd name="connsiteX64" fmla="*/ 124595 w 312641"/>
                <a:gd name="connsiteY64" fmla="*/ 258990 h 343443"/>
                <a:gd name="connsiteX65" fmla="*/ 121134 w 312641"/>
                <a:gd name="connsiteY65" fmla="*/ 252234 h 343443"/>
                <a:gd name="connsiteX66" fmla="*/ 122288 w 312641"/>
                <a:gd name="connsiteY66" fmla="*/ 249982 h 343443"/>
                <a:gd name="connsiteX67" fmla="*/ 103829 w 312641"/>
                <a:gd name="connsiteY67" fmla="*/ 260116 h 343443"/>
                <a:gd name="connsiteX68" fmla="*/ 99214 w 312641"/>
                <a:gd name="connsiteY68" fmla="*/ 240973 h 343443"/>
                <a:gd name="connsiteX69" fmla="*/ 87825 w 312641"/>
                <a:gd name="connsiteY69" fmla="*/ 220964 h 343443"/>
                <a:gd name="connsiteX70" fmla="*/ 80757 w 312641"/>
                <a:gd name="connsiteY70" fmla="*/ 225209 h 343443"/>
                <a:gd name="connsiteX71" fmla="*/ 72681 w 312641"/>
                <a:gd name="connsiteY71" fmla="*/ 216201 h 343443"/>
                <a:gd name="connsiteX72" fmla="*/ 69220 w 312641"/>
                <a:gd name="connsiteY72" fmla="*/ 198184 h 343443"/>
                <a:gd name="connsiteX73" fmla="*/ 44993 w 312641"/>
                <a:gd name="connsiteY73" fmla="*/ 190301 h 343443"/>
                <a:gd name="connsiteX74" fmla="*/ 32303 w 312641"/>
                <a:gd name="connsiteY74" fmla="*/ 193680 h 343443"/>
                <a:gd name="connsiteX75" fmla="*/ 29995 w 312641"/>
                <a:gd name="connsiteY75" fmla="*/ 189175 h 343443"/>
                <a:gd name="connsiteX76" fmla="*/ 23074 w 312641"/>
                <a:gd name="connsiteY76" fmla="*/ 184671 h 343443"/>
                <a:gd name="connsiteX77" fmla="*/ 1154 w 312641"/>
                <a:gd name="connsiteY77" fmla="*/ 191428 h 343443"/>
                <a:gd name="connsiteX78" fmla="*/ 0 w 312641"/>
                <a:gd name="connsiteY78" fmla="*/ 188049 h 343443"/>
                <a:gd name="connsiteX79" fmla="*/ 4615 w 312641"/>
                <a:gd name="connsiteY79" fmla="*/ 184671 h 343443"/>
                <a:gd name="connsiteX80" fmla="*/ 4615 w 312641"/>
                <a:gd name="connsiteY80" fmla="*/ 181293 h 343443"/>
                <a:gd name="connsiteX81" fmla="*/ 1154 w 312641"/>
                <a:gd name="connsiteY81" fmla="*/ 179041 h 343443"/>
                <a:gd name="connsiteX82" fmla="*/ 16152 w 312641"/>
                <a:gd name="connsiteY82" fmla="*/ 118234 h 343443"/>
                <a:gd name="connsiteX83" fmla="*/ 17305 w 312641"/>
                <a:gd name="connsiteY83" fmla="*/ 108100 h 343443"/>
                <a:gd name="connsiteX84" fmla="*/ 25381 w 312641"/>
                <a:gd name="connsiteY84" fmla="*/ 110352 h 343443"/>
                <a:gd name="connsiteX85" fmla="*/ 25381 w 312641"/>
                <a:gd name="connsiteY85" fmla="*/ 112604 h 343443"/>
                <a:gd name="connsiteX86" fmla="*/ 28842 w 312641"/>
                <a:gd name="connsiteY86" fmla="*/ 113730 h 343443"/>
                <a:gd name="connsiteX87" fmla="*/ 28842 w 312641"/>
                <a:gd name="connsiteY87" fmla="*/ 115982 h 343443"/>
                <a:gd name="connsiteX88" fmla="*/ 32303 w 312641"/>
                <a:gd name="connsiteY88" fmla="*/ 115982 h 343443"/>
                <a:gd name="connsiteX89" fmla="*/ 35764 w 312641"/>
                <a:gd name="connsiteY89" fmla="*/ 111478 h 343443"/>
                <a:gd name="connsiteX90" fmla="*/ 39225 w 312641"/>
                <a:gd name="connsiteY90" fmla="*/ 112604 h 343443"/>
                <a:gd name="connsiteX91" fmla="*/ 48454 w 312641"/>
                <a:gd name="connsiteY91" fmla="*/ 101344 h 343443"/>
                <a:gd name="connsiteX92" fmla="*/ 44993 w 312641"/>
                <a:gd name="connsiteY92" fmla="*/ 95713 h 343443"/>
                <a:gd name="connsiteX93" fmla="*/ 47300 w 312641"/>
                <a:gd name="connsiteY93" fmla="*/ 96839 h 343443"/>
                <a:gd name="connsiteX94" fmla="*/ 55376 w 312641"/>
                <a:gd name="connsiteY94" fmla="*/ 93461 h 343443"/>
                <a:gd name="connsiteX95" fmla="*/ 61144 w 312641"/>
                <a:gd name="connsiteY95" fmla="*/ 96839 h 343443"/>
                <a:gd name="connsiteX96" fmla="*/ 63452 w 312641"/>
                <a:gd name="connsiteY96" fmla="*/ 94588 h 343443"/>
                <a:gd name="connsiteX97" fmla="*/ 76142 w 312641"/>
                <a:gd name="connsiteY97" fmla="*/ 90083 h 343443"/>
                <a:gd name="connsiteX98" fmla="*/ 74988 w 312641"/>
                <a:gd name="connsiteY98" fmla="*/ 84453 h 343443"/>
                <a:gd name="connsiteX99" fmla="*/ 86525 w 312641"/>
                <a:gd name="connsiteY99" fmla="*/ 83327 h 343443"/>
                <a:gd name="connsiteX100" fmla="*/ 89986 w 312641"/>
                <a:gd name="connsiteY100" fmla="*/ 87831 h 343443"/>
                <a:gd name="connsiteX101" fmla="*/ 103829 w 312641"/>
                <a:gd name="connsiteY101" fmla="*/ 84453 h 343443"/>
                <a:gd name="connsiteX102" fmla="*/ 104984 w 312641"/>
                <a:gd name="connsiteY102" fmla="*/ 87831 h 343443"/>
                <a:gd name="connsiteX103" fmla="*/ 123442 w 312641"/>
                <a:gd name="connsiteY103" fmla="*/ 87831 h 343443"/>
                <a:gd name="connsiteX104" fmla="*/ 123442 w 312641"/>
                <a:gd name="connsiteY104" fmla="*/ 86705 h 343443"/>
                <a:gd name="connsiteX105" fmla="*/ 125750 w 312641"/>
                <a:gd name="connsiteY105" fmla="*/ 86705 h 343443"/>
                <a:gd name="connsiteX106" fmla="*/ 124595 w 312641"/>
                <a:gd name="connsiteY106" fmla="*/ 96839 h 343443"/>
                <a:gd name="connsiteX107" fmla="*/ 144208 w 312641"/>
                <a:gd name="connsiteY107" fmla="*/ 100218 h 343443"/>
                <a:gd name="connsiteX108" fmla="*/ 144208 w 312641"/>
                <a:gd name="connsiteY108" fmla="*/ 104721 h 343443"/>
                <a:gd name="connsiteX109" fmla="*/ 156898 w 312641"/>
                <a:gd name="connsiteY109" fmla="*/ 103596 h 343443"/>
                <a:gd name="connsiteX110" fmla="*/ 158052 w 312641"/>
                <a:gd name="connsiteY110" fmla="*/ 106974 h 343443"/>
                <a:gd name="connsiteX111" fmla="*/ 163855 w 312641"/>
                <a:gd name="connsiteY111" fmla="*/ 105760 h 343443"/>
                <a:gd name="connsiteX112" fmla="*/ 170414 w 312641"/>
                <a:gd name="connsiteY112" fmla="*/ 88225 h 343443"/>
                <a:gd name="connsiteX113" fmla="*/ 163819 w 312641"/>
                <a:gd name="connsiteY113" fmla="*/ 79949 h 343443"/>
                <a:gd name="connsiteX114" fmla="*/ 190353 w 312641"/>
                <a:gd name="connsiteY114" fmla="*/ 9008 h 343443"/>
                <a:gd name="connsiteX115" fmla="*/ 214580 w 312641"/>
                <a:gd name="connsiteY115" fmla="*/ 16891 h 343443"/>
                <a:gd name="connsiteX116" fmla="*/ 227271 w 312641"/>
                <a:gd name="connsiteY116" fmla="*/ 27025 h 343443"/>
                <a:gd name="connsiteX117" fmla="*/ 243422 w 312641"/>
                <a:gd name="connsiteY117" fmla="*/ 10134 h 343443"/>
                <a:gd name="connsiteX118" fmla="*/ 244575 w 312641"/>
                <a:gd name="connsiteY118" fmla="*/ 10134 h 343443"/>
                <a:gd name="connsiteX119" fmla="*/ 246882 w 312641"/>
                <a:gd name="connsiteY119" fmla="*/ 5630 h 343443"/>
                <a:gd name="connsiteX120" fmla="*/ 265341 w 312641"/>
                <a:gd name="connsiteY120" fmla="*/ 13512 h 343443"/>
                <a:gd name="connsiteX121" fmla="*/ 267648 w 312641"/>
                <a:gd name="connsiteY121" fmla="*/ 13512 h 343443"/>
                <a:gd name="connsiteX122" fmla="*/ 271109 w 312641"/>
                <a:gd name="connsiteY122" fmla="*/ 3378 h 3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312641" h="343443">
                  <a:moveTo>
                    <a:pt x="275724" y="0"/>
                  </a:moveTo>
                  <a:lnTo>
                    <a:pt x="279185" y="2252"/>
                  </a:lnTo>
                  <a:lnTo>
                    <a:pt x="281492" y="3378"/>
                  </a:lnTo>
                  <a:lnTo>
                    <a:pt x="282646" y="2252"/>
                  </a:lnTo>
                  <a:lnTo>
                    <a:pt x="286107" y="2252"/>
                  </a:lnTo>
                  <a:lnTo>
                    <a:pt x="287260" y="5630"/>
                  </a:lnTo>
                  <a:lnTo>
                    <a:pt x="283800" y="10134"/>
                  </a:lnTo>
                  <a:lnTo>
                    <a:pt x="291875" y="23647"/>
                  </a:lnTo>
                  <a:lnTo>
                    <a:pt x="294183" y="21394"/>
                  </a:lnTo>
                  <a:lnTo>
                    <a:pt x="299951" y="29277"/>
                  </a:lnTo>
                  <a:lnTo>
                    <a:pt x="303411" y="24773"/>
                  </a:lnTo>
                  <a:lnTo>
                    <a:pt x="311487" y="34907"/>
                  </a:lnTo>
                  <a:lnTo>
                    <a:pt x="309180" y="36034"/>
                  </a:lnTo>
                  <a:lnTo>
                    <a:pt x="311487" y="41664"/>
                  </a:lnTo>
                  <a:lnTo>
                    <a:pt x="309180" y="42790"/>
                  </a:lnTo>
                  <a:lnTo>
                    <a:pt x="312641" y="48420"/>
                  </a:lnTo>
                  <a:lnTo>
                    <a:pt x="262620" y="79539"/>
                  </a:lnTo>
                  <a:lnTo>
                    <a:pt x="263181" y="80908"/>
                  </a:lnTo>
                  <a:lnTo>
                    <a:pt x="261623" y="81668"/>
                  </a:lnTo>
                  <a:lnTo>
                    <a:pt x="263960" y="85469"/>
                  </a:lnTo>
                  <a:lnTo>
                    <a:pt x="193081" y="129563"/>
                  </a:lnTo>
                  <a:lnTo>
                    <a:pt x="183219" y="136127"/>
                  </a:lnTo>
                  <a:lnTo>
                    <a:pt x="183432" y="137377"/>
                  </a:lnTo>
                  <a:lnTo>
                    <a:pt x="179971" y="140755"/>
                  </a:lnTo>
                  <a:lnTo>
                    <a:pt x="183432" y="144134"/>
                  </a:lnTo>
                  <a:lnTo>
                    <a:pt x="188047" y="159898"/>
                  </a:lnTo>
                  <a:lnTo>
                    <a:pt x="207659" y="184671"/>
                  </a:lnTo>
                  <a:lnTo>
                    <a:pt x="190354" y="199310"/>
                  </a:lnTo>
                  <a:lnTo>
                    <a:pt x="186008" y="200724"/>
                  </a:lnTo>
                  <a:lnTo>
                    <a:pt x="186850" y="201027"/>
                  </a:lnTo>
                  <a:lnTo>
                    <a:pt x="190745" y="212430"/>
                  </a:lnTo>
                  <a:lnTo>
                    <a:pt x="201649" y="219272"/>
                  </a:lnTo>
                  <a:lnTo>
                    <a:pt x="205543" y="223834"/>
                  </a:lnTo>
                  <a:lnTo>
                    <a:pt x="210217" y="233717"/>
                  </a:lnTo>
                  <a:lnTo>
                    <a:pt x="207102" y="237518"/>
                  </a:lnTo>
                  <a:lnTo>
                    <a:pt x="207570" y="238585"/>
                  </a:lnTo>
                  <a:lnTo>
                    <a:pt x="220349" y="246604"/>
                  </a:lnTo>
                  <a:lnTo>
                    <a:pt x="226117" y="253360"/>
                  </a:lnTo>
                  <a:lnTo>
                    <a:pt x="233039" y="267998"/>
                  </a:lnTo>
                  <a:lnTo>
                    <a:pt x="228425" y="273629"/>
                  </a:lnTo>
                  <a:lnTo>
                    <a:pt x="231885" y="281511"/>
                  </a:lnTo>
                  <a:lnTo>
                    <a:pt x="238807" y="317544"/>
                  </a:lnTo>
                  <a:lnTo>
                    <a:pt x="213427" y="326553"/>
                  </a:lnTo>
                  <a:lnTo>
                    <a:pt x="177664" y="343443"/>
                  </a:lnTo>
                  <a:lnTo>
                    <a:pt x="179971" y="340065"/>
                  </a:lnTo>
                  <a:lnTo>
                    <a:pt x="177664" y="335561"/>
                  </a:lnTo>
                  <a:lnTo>
                    <a:pt x="178817" y="332183"/>
                  </a:lnTo>
                  <a:lnTo>
                    <a:pt x="170741" y="327679"/>
                  </a:lnTo>
                  <a:lnTo>
                    <a:pt x="169588" y="325426"/>
                  </a:lnTo>
                  <a:lnTo>
                    <a:pt x="173049" y="322049"/>
                  </a:lnTo>
                  <a:lnTo>
                    <a:pt x="170741" y="322049"/>
                  </a:lnTo>
                  <a:lnTo>
                    <a:pt x="169588" y="316418"/>
                  </a:lnTo>
                  <a:lnTo>
                    <a:pt x="163820" y="310788"/>
                  </a:lnTo>
                  <a:lnTo>
                    <a:pt x="160358" y="301780"/>
                  </a:lnTo>
                  <a:lnTo>
                    <a:pt x="158051" y="299527"/>
                  </a:lnTo>
                  <a:lnTo>
                    <a:pt x="155744" y="300654"/>
                  </a:lnTo>
                  <a:lnTo>
                    <a:pt x="155744" y="295024"/>
                  </a:lnTo>
                  <a:lnTo>
                    <a:pt x="147668" y="289394"/>
                  </a:lnTo>
                  <a:lnTo>
                    <a:pt x="140747" y="280385"/>
                  </a:lnTo>
                  <a:lnTo>
                    <a:pt x="138439" y="281511"/>
                  </a:lnTo>
                  <a:lnTo>
                    <a:pt x="136132" y="279259"/>
                  </a:lnTo>
                  <a:lnTo>
                    <a:pt x="129210" y="279259"/>
                  </a:lnTo>
                  <a:lnTo>
                    <a:pt x="124595" y="266872"/>
                  </a:lnTo>
                  <a:lnTo>
                    <a:pt x="128056" y="262368"/>
                  </a:lnTo>
                  <a:lnTo>
                    <a:pt x="124595" y="258990"/>
                  </a:lnTo>
                  <a:lnTo>
                    <a:pt x="121134" y="252234"/>
                  </a:lnTo>
                  <a:lnTo>
                    <a:pt x="122288" y="249982"/>
                  </a:lnTo>
                  <a:lnTo>
                    <a:pt x="103829" y="260116"/>
                  </a:lnTo>
                  <a:lnTo>
                    <a:pt x="99214" y="240973"/>
                  </a:lnTo>
                  <a:lnTo>
                    <a:pt x="87825" y="220964"/>
                  </a:lnTo>
                  <a:lnTo>
                    <a:pt x="80757" y="225209"/>
                  </a:lnTo>
                  <a:lnTo>
                    <a:pt x="72681" y="216201"/>
                  </a:lnTo>
                  <a:lnTo>
                    <a:pt x="69220" y="198184"/>
                  </a:lnTo>
                  <a:lnTo>
                    <a:pt x="44993" y="190301"/>
                  </a:lnTo>
                  <a:lnTo>
                    <a:pt x="32303" y="193680"/>
                  </a:lnTo>
                  <a:lnTo>
                    <a:pt x="29995" y="189175"/>
                  </a:lnTo>
                  <a:lnTo>
                    <a:pt x="23074" y="184671"/>
                  </a:lnTo>
                  <a:lnTo>
                    <a:pt x="1154" y="191428"/>
                  </a:lnTo>
                  <a:lnTo>
                    <a:pt x="0" y="188049"/>
                  </a:lnTo>
                  <a:lnTo>
                    <a:pt x="4615" y="184671"/>
                  </a:lnTo>
                  <a:lnTo>
                    <a:pt x="4615" y="181293"/>
                  </a:lnTo>
                  <a:lnTo>
                    <a:pt x="1154" y="179041"/>
                  </a:lnTo>
                  <a:lnTo>
                    <a:pt x="16152" y="118234"/>
                  </a:lnTo>
                  <a:lnTo>
                    <a:pt x="17305" y="108100"/>
                  </a:lnTo>
                  <a:lnTo>
                    <a:pt x="25381" y="110352"/>
                  </a:lnTo>
                  <a:lnTo>
                    <a:pt x="25381" y="112604"/>
                  </a:lnTo>
                  <a:lnTo>
                    <a:pt x="28842" y="113730"/>
                  </a:lnTo>
                  <a:lnTo>
                    <a:pt x="28842" y="115982"/>
                  </a:lnTo>
                  <a:lnTo>
                    <a:pt x="32303" y="115982"/>
                  </a:lnTo>
                  <a:lnTo>
                    <a:pt x="35764" y="111478"/>
                  </a:lnTo>
                  <a:lnTo>
                    <a:pt x="39225" y="112604"/>
                  </a:lnTo>
                  <a:lnTo>
                    <a:pt x="48454" y="101344"/>
                  </a:lnTo>
                  <a:lnTo>
                    <a:pt x="44993" y="95713"/>
                  </a:lnTo>
                  <a:lnTo>
                    <a:pt x="47300" y="96839"/>
                  </a:lnTo>
                  <a:lnTo>
                    <a:pt x="55376" y="93461"/>
                  </a:lnTo>
                  <a:lnTo>
                    <a:pt x="61144" y="96839"/>
                  </a:lnTo>
                  <a:lnTo>
                    <a:pt x="63452" y="94588"/>
                  </a:lnTo>
                  <a:lnTo>
                    <a:pt x="76142" y="90083"/>
                  </a:lnTo>
                  <a:lnTo>
                    <a:pt x="74988" y="84453"/>
                  </a:lnTo>
                  <a:lnTo>
                    <a:pt x="86525" y="83327"/>
                  </a:lnTo>
                  <a:lnTo>
                    <a:pt x="89986" y="87831"/>
                  </a:lnTo>
                  <a:lnTo>
                    <a:pt x="103829" y="84453"/>
                  </a:lnTo>
                  <a:lnTo>
                    <a:pt x="104984" y="87831"/>
                  </a:lnTo>
                  <a:lnTo>
                    <a:pt x="123442" y="87831"/>
                  </a:lnTo>
                  <a:lnTo>
                    <a:pt x="123442" y="86705"/>
                  </a:lnTo>
                  <a:lnTo>
                    <a:pt x="125750" y="86705"/>
                  </a:lnTo>
                  <a:lnTo>
                    <a:pt x="124595" y="96839"/>
                  </a:lnTo>
                  <a:lnTo>
                    <a:pt x="144208" y="100218"/>
                  </a:lnTo>
                  <a:lnTo>
                    <a:pt x="144208" y="104721"/>
                  </a:lnTo>
                  <a:lnTo>
                    <a:pt x="156898" y="103596"/>
                  </a:lnTo>
                  <a:lnTo>
                    <a:pt x="158052" y="106974"/>
                  </a:lnTo>
                  <a:lnTo>
                    <a:pt x="163855" y="105760"/>
                  </a:lnTo>
                  <a:lnTo>
                    <a:pt x="170414" y="88225"/>
                  </a:lnTo>
                  <a:lnTo>
                    <a:pt x="163819" y="79949"/>
                  </a:lnTo>
                  <a:lnTo>
                    <a:pt x="190353" y="9008"/>
                  </a:lnTo>
                  <a:lnTo>
                    <a:pt x="214580" y="16891"/>
                  </a:lnTo>
                  <a:lnTo>
                    <a:pt x="227271" y="27025"/>
                  </a:lnTo>
                  <a:lnTo>
                    <a:pt x="243422" y="10134"/>
                  </a:lnTo>
                  <a:lnTo>
                    <a:pt x="244575" y="10134"/>
                  </a:lnTo>
                  <a:lnTo>
                    <a:pt x="246882" y="5630"/>
                  </a:lnTo>
                  <a:lnTo>
                    <a:pt x="265341" y="13512"/>
                  </a:lnTo>
                  <a:lnTo>
                    <a:pt x="267648" y="13512"/>
                  </a:lnTo>
                  <a:lnTo>
                    <a:pt x="271109" y="337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7" name="Midden-Groningen">
              <a:extLst>
                <a:ext uri="{FF2B5EF4-FFF2-40B4-BE49-F238E27FC236}">
                  <a16:creationId xmlns:a16="http://schemas.microsoft.com/office/drawing/2014/main" id="{64FFE288-228C-4B1F-A616-3CE8C2135C39}"/>
                </a:ext>
              </a:extLst>
            </p:cNvPr>
            <p:cNvSpPr/>
            <p:nvPr/>
          </p:nvSpPr>
          <p:spPr>
            <a:xfrm>
              <a:off x="7515457" y="1584599"/>
              <a:ext cx="332007" cy="358151"/>
            </a:xfrm>
            <a:custGeom>
              <a:avLst/>
              <a:gdLst>
                <a:gd name="connsiteX0" fmla="*/ 271030 w 334560"/>
                <a:gd name="connsiteY0" fmla="*/ 121437 h 376100"/>
                <a:gd name="connsiteX1" fmla="*/ 264511 w 334560"/>
                <a:gd name="connsiteY1" fmla="*/ 123750 h 376100"/>
                <a:gd name="connsiteX2" fmla="*/ 265341 w 334560"/>
                <a:gd name="connsiteY2" fmla="*/ 123866 h 376100"/>
                <a:gd name="connsiteX3" fmla="*/ 251939 w 334560"/>
                <a:gd name="connsiteY3" fmla="*/ 120412 h 376100"/>
                <a:gd name="connsiteX4" fmla="*/ 251939 w 334560"/>
                <a:gd name="connsiteY4" fmla="*/ 121007 h 376100"/>
                <a:gd name="connsiteX5" fmla="*/ 254502 w 334560"/>
                <a:gd name="connsiteY5" fmla="*/ 121841 h 376100"/>
                <a:gd name="connsiteX6" fmla="*/ 239961 w 334560"/>
                <a:gd name="connsiteY6" fmla="*/ 0 h 376100"/>
                <a:gd name="connsiteX7" fmla="*/ 248037 w 334560"/>
                <a:gd name="connsiteY7" fmla="*/ 0 h 376100"/>
                <a:gd name="connsiteX8" fmla="*/ 251497 w 334560"/>
                <a:gd name="connsiteY8" fmla="*/ 11260 h 376100"/>
                <a:gd name="connsiteX9" fmla="*/ 250344 w 334560"/>
                <a:gd name="connsiteY9" fmla="*/ 13512 h 376100"/>
                <a:gd name="connsiteX10" fmla="*/ 252652 w 334560"/>
                <a:gd name="connsiteY10" fmla="*/ 18016 h 376100"/>
                <a:gd name="connsiteX11" fmla="*/ 253805 w 334560"/>
                <a:gd name="connsiteY11" fmla="*/ 15764 h 376100"/>
                <a:gd name="connsiteX12" fmla="*/ 257266 w 334560"/>
                <a:gd name="connsiteY12" fmla="*/ 19143 h 376100"/>
                <a:gd name="connsiteX13" fmla="*/ 249190 w 334560"/>
                <a:gd name="connsiteY13" fmla="*/ 25899 h 376100"/>
                <a:gd name="connsiteX14" fmla="*/ 248037 w 334560"/>
                <a:gd name="connsiteY14" fmla="*/ 29277 h 376100"/>
                <a:gd name="connsiteX15" fmla="*/ 249190 w 334560"/>
                <a:gd name="connsiteY15" fmla="*/ 30403 h 376100"/>
                <a:gd name="connsiteX16" fmla="*/ 271110 w 334560"/>
                <a:gd name="connsiteY16" fmla="*/ 30403 h 376100"/>
                <a:gd name="connsiteX17" fmla="*/ 269956 w 334560"/>
                <a:gd name="connsiteY17" fmla="*/ 47293 h 376100"/>
                <a:gd name="connsiteX18" fmla="*/ 272264 w 334560"/>
                <a:gd name="connsiteY18" fmla="*/ 48419 h 376100"/>
                <a:gd name="connsiteX19" fmla="*/ 271110 w 334560"/>
                <a:gd name="connsiteY19" fmla="*/ 56302 h 376100"/>
                <a:gd name="connsiteX20" fmla="*/ 274571 w 334560"/>
                <a:gd name="connsiteY20" fmla="*/ 56302 h 376100"/>
                <a:gd name="connsiteX21" fmla="*/ 272264 w 334560"/>
                <a:gd name="connsiteY21" fmla="*/ 88957 h 376100"/>
                <a:gd name="connsiteX22" fmla="*/ 274571 w 334560"/>
                <a:gd name="connsiteY22" fmla="*/ 90083 h 376100"/>
                <a:gd name="connsiteX23" fmla="*/ 272264 w 334560"/>
                <a:gd name="connsiteY23" fmla="*/ 104722 h 376100"/>
                <a:gd name="connsiteX24" fmla="*/ 276761 w 334560"/>
                <a:gd name="connsiteY24" fmla="*/ 118989 h 376100"/>
                <a:gd name="connsiteX25" fmla="*/ 283799 w 334560"/>
                <a:gd name="connsiteY25" fmla="*/ 115984 h 376100"/>
                <a:gd name="connsiteX26" fmla="*/ 289567 w 334560"/>
                <a:gd name="connsiteY26" fmla="*/ 124992 h 376100"/>
                <a:gd name="connsiteX27" fmla="*/ 287260 w 334560"/>
                <a:gd name="connsiteY27" fmla="*/ 126118 h 376100"/>
                <a:gd name="connsiteX28" fmla="*/ 294183 w 334560"/>
                <a:gd name="connsiteY28" fmla="*/ 139631 h 376100"/>
                <a:gd name="connsiteX29" fmla="*/ 284953 w 334560"/>
                <a:gd name="connsiteY29" fmla="*/ 148639 h 376100"/>
                <a:gd name="connsiteX30" fmla="*/ 289567 w 334560"/>
                <a:gd name="connsiteY30" fmla="*/ 152017 h 376100"/>
                <a:gd name="connsiteX31" fmla="*/ 281492 w 334560"/>
                <a:gd name="connsiteY31" fmla="*/ 167782 h 376100"/>
                <a:gd name="connsiteX32" fmla="*/ 290721 w 334560"/>
                <a:gd name="connsiteY32" fmla="*/ 170033 h 376100"/>
                <a:gd name="connsiteX33" fmla="*/ 288414 w 334560"/>
                <a:gd name="connsiteY33" fmla="*/ 175664 h 376100"/>
                <a:gd name="connsiteX34" fmla="*/ 283799 w 334560"/>
                <a:gd name="connsiteY34" fmla="*/ 174538 h 376100"/>
                <a:gd name="connsiteX35" fmla="*/ 281492 w 334560"/>
                <a:gd name="connsiteY35" fmla="*/ 180168 h 376100"/>
                <a:gd name="connsiteX36" fmla="*/ 279184 w 334560"/>
                <a:gd name="connsiteY36" fmla="*/ 189176 h 376100"/>
                <a:gd name="connsiteX37" fmla="*/ 276877 w 334560"/>
                <a:gd name="connsiteY37" fmla="*/ 191429 h 376100"/>
                <a:gd name="connsiteX38" fmla="*/ 278031 w 334560"/>
                <a:gd name="connsiteY38" fmla="*/ 201563 h 376100"/>
                <a:gd name="connsiteX39" fmla="*/ 273416 w 334560"/>
                <a:gd name="connsiteY39" fmla="*/ 203815 h 376100"/>
                <a:gd name="connsiteX40" fmla="*/ 273416 w 334560"/>
                <a:gd name="connsiteY40" fmla="*/ 206067 h 376100"/>
                <a:gd name="connsiteX41" fmla="*/ 278031 w 334560"/>
                <a:gd name="connsiteY41" fmla="*/ 207193 h 376100"/>
                <a:gd name="connsiteX42" fmla="*/ 268802 w 334560"/>
                <a:gd name="connsiteY42" fmla="*/ 216202 h 376100"/>
                <a:gd name="connsiteX43" fmla="*/ 295335 w 334560"/>
                <a:gd name="connsiteY43" fmla="*/ 211697 h 376100"/>
                <a:gd name="connsiteX44" fmla="*/ 296490 w 334560"/>
                <a:gd name="connsiteY44" fmla="*/ 217328 h 376100"/>
                <a:gd name="connsiteX45" fmla="*/ 309180 w 334560"/>
                <a:gd name="connsiteY45" fmla="*/ 215075 h 376100"/>
                <a:gd name="connsiteX46" fmla="*/ 310334 w 334560"/>
                <a:gd name="connsiteY46" fmla="*/ 227462 h 376100"/>
                <a:gd name="connsiteX47" fmla="*/ 317256 w 334560"/>
                <a:gd name="connsiteY47" fmla="*/ 227462 h 376100"/>
                <a:gd name="connsiteX48" fmla="*/ 321870 w 334560"/>
                <a:gd name="connsiteY48" fmla="*/ 254487 h 376100"/>
                <a:gd name="connsiteX49" fmla="*/ 321870 w 334560"/>
                <a:gd name="connsiteY49" fmla="*/ 264621 h 376100"/>
                <a:gd name="connsiteX50" fmla="*/ 328792 w 334560"/>
                <a:gd name="connsiteY50" fmla="*/ 283764 h 376100"/>
                <a:gd name="connsiteX51" fmla="*/ 334560 w 334560"/>
                <a:gd name="connsiteY51" fmla="*/ 307411 h 376100"/>
                <a:gd name="connsiteX52" fmla="*/ 331099 w 334560"/>
                <a:gd name="connsiteY52" fmla="*/ 308537 h 376100"/>
                <a:gd name="connsiteX53" fmla="*/ 327638 w 334560"/>
                <a:gd name="connsiteY53" fmla="*/ 291646 h 376100"/>
                <a:gd name="connsiteX54" fmla="*/ 283494 w 334560"/>
                <a:gd name="connsiteY54" fmla="*/ 283029 h 376100"/>
                <a:gd name="connsiteX55" fmla="*/ 285342 w 334560"/>
                <a:gd name="connsiteY55" fmla="*/ 290603 h 376100"/>
                <a:gd name="connsiteX56" fmla="*/ 282664 w 334560"/>
                <a:gd name="connsiteY56" fmla="*/ 291474 h 376100"/>
                <a:gd name="connsiteX57" fmla="*/ 280827 w 334560"/>
                <a:gd name="connsiteY57" fmla="*/ 282508 h 376100"/>
                <a:gd name="connsiteX58" fmla="*/ 264187 w 334560"/>
                <a:gd name="connsiteY58" fmla="*/ 279260 h 376100"/>
                <a:gd name="connsiteX59" fmla="*/ 264187 w 334560"/>
                <a:gd name="connsiteY59" fmla="*/ 280386 h 376100"/>
                <a:gd name="connsiteX60" fmla="*/ 252651 w 334560"/>
                <a:gd name="connsiteY60" fmla="*/ 279260 h 376100"/>
                <a:gd name="connsiteX61" fmla="*/ 251497 w 334560"/>
                <a:gd name="connsiteY61" fmla="*/ 284890 h 376100"/>
                <a:gd name="connsiteX62" fmla="*/ 241114 w 334560"/>
                <a:gd name="connsiteY62" fmla="*/ 284890 h 376100"/>
                <a:gd name="connsiteX63" fmla="*/ 241114 w 334560"/>
                <a:gd name="connsiteY63" fmla="*/ 288268 h 376100"/>
                <a:gd name="connsiteX64" fmla="*/ 189199 w 334560"/>
                <a:gd name="connsiteY64" fmla="*/ 284890 h 376100"/>
                <a:gd name="connsiteX65" fmla="*/ 186892 w 334560"/>
                <a:gd name="connsiteY65" fmla="*/ 280386 h 376100"/>
                <a:gd name="connsiteX66" fmla="*/ 168675 w 334560"/>
                <a:gd name="connsiteY66" fmla="*/ 288165 h 376100"/>
                <a:gd name="connsiteX67" fmla="*/ 171896 w 334560"/>
                <a:gd name="connsiteY67" fmla="*/ 295024 h 376100"/>
                <a:gd name="connsiteX68" fmla="*/ 167281 w 334560"/>
                <a:gd name="connsiteY68" fmla="*/ 296150 h 376100"/>
                <a:gd name="connsiteX69" fmla="*/ 181124 w 334560"/>
                <a:gd name="connsiteY69" fmla="*/ 376100 h 376100"/>
                <a:gd name="connsiteX70" fmla="*/ 101522 w 334560"/>
                <a:gd name="connsiteY70" fmla="*/ 297277 h 376100"/>
                <a:gd name="connsiteX71" fmla="*/ 58837 w 334560"/>
                <a:gd name="connsiteY71" fmla="*/ 295024 h 376100"/>
                <a:gd name="connsiteX72" fmla="*/ 51915 w 334560"/>
                <a:gd name="connsiteY72" fmla="*/ 258991 h 376100"/>
                <a:gd name="connsiteX73" fmla="*/ 48454 w 334560"/>
                <a:gd name="connsiteY73" fmla="*/ 251108 h 376100"/>
                <a:gd name="connsiteX74" fmla="*/ 53069 w 334560"/>
                <a:gd name="connsiteY74" fmla="*/ 245478 h 376100"/>
                <a:gd name="connsiteX75" fmla="*/ 46146 w 334560"/>
                <a:gd name="connsiteY75" fmla="*/ 231966 h 376100"/>
                <a:gd name="connsiteX76" fmla="*/ 40378 w 334560"/>
                <a:gd name="connsiteY76" fmla="*/ 224084 h 376100"/>
                <a:gd name="connsiteX77" fmla="*/ 24227 w 334560"/>
                <a:gd name="connsiteY77" fmla="*/ 213949 h 376100"/>
                <a:gd name="connsiteX78" fmla="*/ 18459 w 334560"/>
                <a:gd name="connsiteY78" fmla="*/ 197058 h 376100"/>
                <a:gd name="connsiteX79" fmla="*/ 0 w 334560"/>
                <a:gd name="connsiteY79" fmla="*/ 189176 h 376100"/>
                <a:gd name="connsiteX80" fmla="*/ 8076 w 334560"/>
                <a:gd name="connsiteY80" fmla="*/ 185798 h 376100"/>
                <a:gd name="connsiteX81" fmla="*/ 0 w 334560"/>
                <a:gd name="connsiteY81" fmla="*/ 182420 h 376100"/>
                <a:gd name="connsiteX82" fmla="*/ 3461 w 334560"/>
                <a:gd name="connsiteY82" fmla="*/ 179042 h 376100"/>
                <a:gd name="connsiteX83" fmla="*/ 10383 w 334560"/>
                <a:gd name="connsiteY83" fmla="*/ 176789 h 376100"/>
                <a:gd name="connsiteX84" fmla="*/ 27688 w 334560"/>
                <a:gd name="connsiteY84" fmla="*/ 162151 h 376100"/>
                <a:gd name="connsiteX85" fmla="*/ 27710 w 334560"/>
                <a:gd name="connsiteY85" fmla="*/ 162156 h 376100"/>
                <a:gd name="connsiteX86" fmla="*/ 27688 w 334560"/>
                <a:gd name="connsiteY86" fmla="*/ 162150 h 376100"/>
                <a:gd name="connsiteX87" fmla="*/ 8076 w 334560"/>
                <a:gd name="connsiteY87" fmla="*/ 137377 h 376100"/>
                <a:gd name="connsiteX88" fmla="*/ 3461 w 334560"/>
                <a:gd name="connsiteY88" fmla="*/ 121612 h 376100"/>
                <a:gd name="connsiteX89" fmla="*/ 0 w 334560"/>
                <a:gd name="connsiteY89" fmla="*/ 118235 h 376100"/>
                <a:gd name="connsiteX90" fmla="*/ 3461 w 334560"/>
                <a:gd name="connsiteY90" fmla="*/ 114856 h 376100"/>
                <a:gd name="connsiteX91" fmla="*/ 2308 w 334560"/>
                <a:gd name="connsiteY91" fmla="*/ 108100 h 376100"/>
                <a:gd name="connsiteX92" fmla="*/ 27688 w 334560"/>
                <a:gd name="connsiteY92" fmla="*/ 91209 h 376100"/>
                <a:gd name="connsiteX93" fmla="*/ 92293 w 334560"/>
                <a:gd name="connsiteY93" fmla="*/ 50672 h 376100"/>
                <a:gd name="connsiteX94" fmla="*/ 174202 w 334560"/>
                <a:gd name="connsiteY94" fmla="*/ 1126 h 376100"/>
                <a:gd name="connsiteX95" fmla="*/ 176510 w 334560"/>
                <a:gd name="connsiteY95" fmla="*/ 5630 h 376100"/>
                <a:gd name="connsiteX96" fmla="*/ 184585 w 334560"/>
                <a:gd name="connsiteY96" fmla="*/ 1126 h 376100"/>
                <a:gd name="connsiteX97" fmla="*/ 188047 w 334560"/>
                <a:gd name="connsiteY97" fmla="*/ 12386 h 376100"/>
                <a:gd name="connsiteX98" fmla="*/ 206505 w 334560"/>
                <a:gd name="connsiteY98" fmla="*/ 13512 h 376100"/>
                <a:gd name="connsiteX99" fmla="*/ 211119 w 334560"/>
                <a:gd name="connsiteY99" fmla="*/ 2252 h 376100"/>
                <a:gd name="connsiteX100" fmla="*/ 220349 w 334560"/>
                <a:gd name="connsiteY100" fmla="*/ 3378 h 376100"/>
                <a:gd name="connsiteX101" fmla="*/ 221502 w 334560"/>
                <a:gd name="connsiteY101" fmla="*/ 4503 h 376100"/>
                <a:gd name="connsiteX102" fmla="*/ 234193 w 334560"/>
                <a:gd name="connsiteY102" fmla="*/ 2252 h 376100"/>
                <a:gd name="connsiteX103" fmla="*/ 235346 w 334560"/>
                <a:gd name="connsiteY103" fmla="*/ 3378 h 376100"/>
                <a:gd name="connsiteX104" fmla="*/ 239961 w 334560"/>
                <a:gd name="connsiteY104" fmla="*/ 2252 h 37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34560" h="376100">
                  <a:moveTo>
                    <a:pt x="271030" y="121437"/>
                  </a:moveTo>
                  <a:lnTo>
                    <a:pt x="264511" y="123750"/>
                  </a:lnTo>
                  <a:lnTo>
                    <a:pt x="265341" y="123866"/>
                  </a:lnTo>
                  <a:close/>
                  <a:moveTo>
                    <a:pt x="251939" y="120412"/>
                  </a:moveTo>
                  <a:lnTo>
                    <a:pt x="251939" y="121007"/>
                  </a:lnTo>
                  <a:lnTo>
                    <a:pt x="254502" y="121841"/>
                  </a:lnTo>
                  <a:close/>
                  <a:moveTo>
                    <a:pt x="239961" y="0"/>
                  </a:moveTo>
                  <a:lnTo>
                    <a:pt x="248037" y="0"/>
                  </a:lnTo>
                  <a:lnTo>
                    <a:pt x="251497" y="11260"/>
                  </a:lnTo>
                  <a:lnTo>
                    <a:pt x="250344" y="13512"/>
                  </a:lnTo>
                  <a:lnTo>
                    <a:pt x="252652" y="18016"/>
                  </a:lnTo>
                  <a:lnTo>
                    <a:pt x="253805" y="15764"/>
                  </a:lnTo>
                  <a:lnTo>
                    <a:pt x="257266" y="19143"/>
                  </a:lnTo>
                  <a:lnTo>
                    <a:pt x="249190" y="25899"/>
                  </a:lnTo>
                  <a:lnTo>
                    <a:pt x="248037" y="29277"/>
                  </a:lnTo>
                  <a:lnTo>
                    <a:pt x="249190" y="30403"/>
                  </a:lnTo>
                  <a:lnTo>
                    <a:pt x="271110" y="30403"/>
                  </a:lnTo>
                  <a:lnTo>
                    <a:pt x="269956" y="47293"/>
                  </a:lnTo>
                  <a:lnTo>
                    <a:pt x="272264" y="48419"/>
                  </a:lnTo>
                  <a:lnTo>
                    <a:pt x="271110" y="56302"/>
                  </a:lnTo>
                  <a:lnTo>
                    <a:pt x="274571" y="56302"/>
                  </a:lnTo>
                  <a:lnTo>
                    <a:pt x="272264" y="88957"/>
                  </a:lnTo>
                  <a:lnTo>
                    <a:pt x="274571" y="90083"/>
                  </a:lnTo>
                  <a:lnTo>
                    <a:pt x="272264" y="104722"/>
                  </a:lnTo>
                  <a:lnTo>
                    <a:pt x="276761" y="118989"/>
                  </a:lnTo>
                  <a:lnTo>
                    <a:pt x="283799" y="115984"/>
                  </a:lnTo>
                  <a:lnTo>
                    <a:pt x="289567" y="124992"/>
                  </a:lnTo>
                  <a:lnTo>
                    <a:pt x="287260" y="126118"/>
                  </a:lnTo>
                  <a:lnTo>
                    <a:pt x="294183" y="139631"/>
                  </a:lnTo>
                  <a:lnTo>
                    <a:pt x="284953" y="148639"/>
                  </a:lnTo>
                  <a:lnTo>
                    <a:pt x="289567" y="152017"/>
                  </a:lnTo>
                  <a:lnTo>
                    <a:pt x="281492" y="167782"/>
                  </a:lnTo>
                  <a:lnTo>
                    <a:pt x="290721" y="170033"/>
                  </a:lnTo>
                  <a:lnTo>
                    <a:pt x="288414" y="175664"/>
                  </a:lnTo>
                  <a:lnTo>
                    <a:pt x="283799" y="174538"/>
                  </a:lnTo>
                  <a:lnTo>
                    <a:pt x="281492" y="180168"/>
                  </a:lnTo>
                  <a:lnTo>
                    <a:pt x="279184" y="189176"/>
                  </a:lnTo>
                  <a:lnTo>
                    <a:pt x="276877" y="191429"/>
                  </a:lnTo>
                  <a:lnTo>
                    <a:pt x="278031" y="201563"/>
                  </a:lnTo>
                  <a:lnTo>
                    <a:pt x="273416" y="203815"/>
                  </a:lnTo>
                  <a:lnTo>
                    <a:pt x="273416" y="206067"/>
                  </a:lnTo>
                  <a:lnTo>
                    <a:pt x="278031" y="207193"/>
                  </a:lnTo>
                  <a:lnTo>
                    <a:pt x="268802" y="216202"/>
                  </a:lnTo>
                  <a:lnTo>
                    <a:pt x="295335" y="211697"/>
                  </a:lnTo>
                  <a:lnTo>
                    <a:pt x="296490" y="217328"/>
                  </a:lnTo>
                  <a:lnTo>
                    <a:pt x="309180" y="215075"/>
                  </a:lnTo>
                  <a:lnTo>
                    <a:pt x="310334" y="227462"/>
                  </a:lnTo>
                  <a:lnTo>
                    <a:pt x="317256" y="227462"/>
                  </a:lnTo>
                  <a:lnTo>
                    <a:pt x="321870" y="254487"/>
                  </a:lnTo>
                  <a:lnTo>
                    <a:pt x="321870" y="264621"/>
                  </a:lnTo>
                  <a:lnTo>
                    <a:pt x="328792" y="283764"/>
                  </a:lnTo>
                  <a:lnTo>
                    <a:pt x="334560" y="307411"/>
                  </a:lnTo>
                  <a:lnTo>
                    <a:pt x="331099" y="308537"/>
                  </a:lnTo>
                  <a:lnTo>
                    <a:pt x="327638" y="291646"/>
                  </a:lnTo>
                  <a:lnTo>
                    <a:pt x="283494" y="283029"/>
                  </a:lnTo>
                  <a:lnTo>
                    <a:pt x="285342" y="290603"/>
                  </a:lnTo>
                  <a:lnTo>
                    <a:pt x="282664" y="291474"/>
                  </a:lnTo>
                  <a:lnTo>
                    <a:pt x="280827" y="282508"/>
                  </a:lnTo>
                  <a:lnTo>
                    <a:pt x="264187" y="279260"/>
                  </a:lnTo>
                  <a:lnTo>
                    <a:pt x="264187" y="280386"/>
                  </a:lnTo>
                  <a:lnTo>
                    <a:pt x="252651" y="279260"/>
                  </a:lnTo>
                  <a:lnTo>
                    <a:pt x="251497" y="284890"/>
                  </a:lnTo>
                  <a:lnTo>
                    <a:pt x="241114" y="284890"/>
                  </a:lnTo>
                  <a:lnTo>
                    <a:pt x="241114" y="288268"/>
                  </a:lnTo>
                  <a:lnTo>
                    <a:pt x="189199" y="284890"/>
                  </a:lnTo>
                  <a:lnTo>
                    <a:pt x="186892" y="280386"/>
                  </a:lnTo>
                  <a:lnTo>
                    <a:pt x="168675" y="288165"/>
                  </a:lnTo>
                  <a:lnTo>
                    <a:pt x="171896" y="295024"/>
                  </a:lnTo>
                  <a:lnTo>
                    <a:pt x="167281" y="296150"/>
                  </a:lnTo>
                  <a:lnTo>
                    <a:pt x="181124" y="376100"/>
                  </a:lnTo>
                  <a:lnTo>
                    <a:pt x="101522" y="297277"/>
                  </a:lnTo>
                  <a:lnTo>
                    <a:pt x="58837" y="295024"/>
                  </a:lnTo>
                  <a:lnTo>
                    <a:pt x="51915" y="258991"/>
                  </a:lnTo>
                  <a:lnTo>
                    <a:pt x="48454" y="251108"/>
                  </a:lnTo>
                  <a:lnTo>
                    <a:pt x="53069" y="245478"/>
                  </a:lnTo>
                  <a:lnTo>
                    <a:pt x="46146" y="231966"/>
                  </a:lnTo>
                  <a:lnTo>
                    <a:pt x="40378" y="224084"/>
                  </a:lnTo>
                  <a:lnTo>
                    <a:pt x="24227" y="213949"/>
                  </a:lnTo>
                  <a:lnTo>
                    <a:pt x="18459" y="197058"/>
                  </a:lnTo>
                  <a:lnTo>
                    <a:pt x="0" y="189176"/>
                  </a:lnTo>
                  <a:lnTo>
                    <a:pt x="8076" y="185798"/>
                  </a:lnTo>
                  <a:lnTo>
                    <a:pt x="0" y="182420"/>
                  </a:lnTo>
                  <a:lnTo>
                    <a:pt x="3461" y="179042"/>
                  </a:lnTo>
                  <a:lnTo>
                    <a:pt x="10383" y="176789"/>
                  </a:lnTo>
                  <a:lnTo>
                    <a:pt x="27688" y="162151"/>
                  </a:lnTo>
                  <a:lnTo>
                    <a:pt x="27710" y="162156"/>
                  </a:lnTo>
                  <a:lnTo>
                    <a:pt x="27688" y="162150"/>
                  </a:lnTo>
                  <a:lnTo>
                    <a:pt x="8076" y="137377"/>
                  </a:lnTo>
                  <a:lnTo>
                    <a:pt x="3461" y="121612"/>
                  </a:lnTo>
                  <a:lnTo>
                    <a:pt x="0" y="118235"/>
                  </a:lnTo>
                  <a:lnTo>
                    <a:pt x="3461" y="114856"/>
                  </a:lnTo>
                  <a:lnTo>
                    <a:pt x="2308" y="108100"/>
                  </a:lnTo>
                  <a:lnTo>
                    <a:pt x="27688" y="91209"/>
                  </a:lnTo>
                  <a:lnTo>
                    <a:pt x="92293" y="50672"/>
                  </a:lnTo>
                  <a:lnTo>
                    <a:pt x="174202" y="1126"/>
                  </a:lnTo>
                  <a:lnTo>
                    <a:pt x="176510" y="5630"/>
                  </a:lnTo>
                  <a:lnTo>
                    <a:pt x="184585" y="1126"/>
                  </a:lnTo>
                  <a:lnTo>
                    <a:pt x="188047" y="12386"/>
                  </a:lnTo>
                  <a:lnTo>
                    <a:pt x="206505" y="13512"/>
                  </a:lnTo>
                  <a:lnTo>
                    <a:pt x="211119" y="2252"/>
                  </a:lnTo>
                  <a:lnTo>
                    <a:pt x="220349" y="3378"/>
                  </a:lnTo>
                  <a:lnTo>
                    <a:pt x="221502" y="4503"/>
                  </a:lnTo>
                  <a:lnTo>
                    <a:pt x="234193" y="2252"/>
                  </a:lnTo>
                  <a:lnTo>
                    <a:pt x="235346" y="3378"/>
                  </a:lnTo>
                  <a:lnTo>
                    <a:pt x="239961" y="2252"/>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88" name="Molenlanden">
              <a:extLst>
                <a:ext uri="{FF2B5EF4-FFF2-40B4-BE49-F238E27FC236}">
                  <a16:creationId xmlns:a16="http://schemas.microsoft.com/office/drawing/2014/main" id="{69FAC0F3-CB2C-4FCB-BF0B-8A6977311AE1}"/>
                </a:ext>
              </a:extLst>
            </p:cNvPr>
            <p:cNvSpPr/>
            <p:nvPr/>
          </p:nvSpPr>
          <p:spPr>
            <a:xfrm>
              <a:off x="5421830" y="3761797"/>
              <a:ext cx="429082" cy="184790"/>
            </a:xfrm>
            <a:custGeom>
              <a:avLst/>
              <a:gdLst>
                <a:gd name="connsiteX0" fmla="*/ 323023 w 428006"/>
                <a:gd name="connsiteY0" fmla="*/ 0 h 195931"/>
                <a:gd name="connsiteX1" fmla="*/ 326485 w 428006"/>
                <a:gd name="connsiteY1" fmla="*/ 2252 h 195931"/>
                <a:gd name="connsiteX2" fmla="*/ 328792 w 428006"/>
                <a:gd name="connsiteY2" fmla="*/ 9008 h 195931"/>
                <a:gd name="connsiteX3" fmla="*/ 335562 w 428006"/>
                <a:gd name="connsiteY3" fmla="*/ 36543 h 195931"/>
                <a:gd name="connsiteX4" fmla="*/ 336867 w 428006"/>
                <a:gd name="connsiteY4" fmla="*/ 36033 h 195931"/>
                <a:gd name="connsiteX5" fmla="*/ 344943 w 428006"/>
                <a:gd name="connsiteY5" fmla="*/ 29277 h 195931"/>
                <a:gd name="connsiteX6" fmla="*/ 353018 w 428006"/>
                <a:gd name="connsiteY6" fmla="*/ 58554 h 195931"/>
                <a:gd name="connsiteX7" fmla="*/ 362248 w 428006"/>
                <a:gd name="connsiteY7" fmla="*/ 61932 h 195931"/>
                <a:gd name="connsiteX8" fmla="*/ 361094 w 428006"/>
                <a:gd name="connsiteY8" fmla="*/ 63058 h 195931"/>
                <a:gd name="connsiteX9" fmla="*/ 362248 w 428006"/>
                <a:gd name="connsiteY9" fmla="*/ 67563 h 195931"/>
                <a:gd name="connsiteX10" fmla="*/ 371477 w 428006"/>
                <a:gd name="connsiteY10" fmla="*/ 72067 h 195931"/>
                <a:gd name="connsiteX11" fmla="*/ 371477 w 428006"/>
                <a:gd name="connsiteY11" fmla="*/ 88957 h 195931"/>
                <a:gd name="connsiteX12" fmla="*/ 393396 w 428006"/>
                <a:gd name="connsiteY12" fmla="*/ 81075 h 195931"/>
                <a:gd name="connsiteX13" fmla="*/ 394550 w 428006"/>
                <a:gd name="connsiteY13" fmla="*/ 97966 h 195931"/>
                <a:gd name="connsiteX14" fmla="*/ 398011 w 428006"/>
                <a:gd name="connsiteY14" fmla="*/ 111478 h 195931"/>
                <a:gd name="connsiteX15" fmla="*/ 393396 w 428006"/>
                <a:gd name="connsiteY15" fmla="*/ 121612 h 195931"/>
                <a:gd name="connsiteX16" fmla="*/ 394550 w 428006"/>
                <a:gd name="connsiteY16" fmla="*/ 129495 h 195931"/>
                <a:gd name="connsiteX17" fmla="*/ 426853 w 428006"/>
                <a:gd name="connsiteY17" fmla="*/ 114856 h 195931"/>
                <a:gd name="connsiteX18" fmla="*/ 423392 w 428006"/>
                <a:gd name="connsiteY18" fmla="*/ 124991 h 195931"/>
                <a:gd name="connsiteX19" fmla="*/ 421085 w 428006"/>
                <a:gd name="connsiteY19" fmla="*/ 136251 h 195931"/>
                <a:gd name="connsiteX20" fmla="*/ 428006 w 428006"/>
                <a:gd name="connsiteY20" fmla="*/ 145259 h 195931"/>
                <a:gd name="connsiteX21" fmla="*/ 426853 w 428006"/>
                <a:gd name="connsiteY21" fmla="*/ 153141 h 195931"/>
                <a:gd name="connsiteX22" fmla="*/ 415316 w 428006"/>
                <a:gd name="connsiteY22" fmla="*/ 152015 h 195931"/>
                <a:gd name="connsiteX23" fmla="*/ 403779 w 428006"/>
                <a:gd name="connsiteY23" fmla="*/ 154268 h 195931"/>
                <a:gd name="connsiteX24" fmla="*/ 393396 w 428006"/>
                <a:gd name="connsiteY24" fmla="*/ 148638 h 195931"/>
                <a:gd name="connsiteX25" fmla="*/ 392243 w 428006"/>
                <a:gd name="connsiteY25" fmla="*/ 149763 h 195931"/>
                <a:gd name="connsiteX26" fmla="*/ 396858 w 428006"/>
                <a:gd name="connsiteY26" fmla="*/ 161024 h 195931"/>
                <a:gd name="connsiteX27" fmla="*/ 394550 w 428006"/>
                <a:gd name="connsiteY27" fmla="*/ 168906 h 195931"/>
                <a:gd name="connsiteX28" fmla="*/ 379552 w 428006"/>
                <a:gd name="connsiteY28" fmla="*/ 164402 h 195931"/>
                <a:gd name="connsiteX29" fmla="*/ 380706 w 428006"/>
                <a:gd name="connsiteY29" fmla="*/ 155394 h 195931"/>
                <a:gd name="connsiteX30" fmla="*/ 373784 w 428006"/>
                <a:gd name="connsiteY30" fmla="*/ 152015 h 195931"/>
                <a:gd name="connsiteX31" fmla="*/ 356480 w 428006"/>
                <a:gd name="connsiteY31" fmla="*/ 146385 h 195931"/>
                <a:gd name="connsiteX32" fmla="*/ 354172 w 428006"/>
                <a:gd name="connsiteY32" fmla="*/ 152015 h 195931"/>
                <a:gd name="connsiteX33" fmla="*/ 334560 w 428006"/>
                <a:gd name="connsiteY33" fmla="*/ 144133 h 195931"/>
                <a:gd name="connsiteX34" fmla="*/ 339174 w 428006"/>
                <a:gd name="connsiteY34" fmla="*/ 175662 h 195931"/>
                <a:gd name="connsiteX35" fmla="*/ 332253 w 428006"/>
                <a:gd name="connsiteY35" fmla="*/ 176788 h 195931"/>
                <a:gd name="connsiteX36" fmla="*/ 332253 w 428006"/>
                <a:gd name="connsiteY36" fmla="*/ 179040 h 195931"/>
                <a:gd name="connsiteX37" fmla="*/ 327638 w 428006"/>
                <a:gd name="connsiteY37" fmla="*/ 182419 h 195931"/>
                <a:gd name="connsiteX38" fmla="*/ 321870 w 428006"/>
                <a:gd name="connsiteY38" fmla="*/ 183544 h 195931"/>
                <a:gd name="connsiteX39" fmla="*/ 316101 w 428006"/>
                <a:gd name="connsiteY39" fmla="*/ 182419 h 195931"/>
                <a:gd name="connsiteX40" fmla="*/ 319563 w 428006"/>
                <a:gd name="connsiteY40" fmla="*/ 183544 h 195931"/>
                <a:gd name="connsiteX41" fmla="*/ 301104 w 428006"/>
                <a:gd name="connsiteY41" fmla="*/ 185797 h 195931"/>
                <a:gd name="connsiteX42" fmla="*/ 269955 w 428006"/>
                <a:gd name="connsiteY42" fmla="*/ 195931 h 195931"/>
                <a:gd name="connsiteX43" fmla="*/ 259572 w 428006"/>
                <a:gd name="connsiteY43" fmla="*/ 195931 h 195931"/>
                <a:gd name="connsiteX44" fmla="*/ 258419 w 428006"/>
                <a:gd name="connsiteY44" fmla="*/ 191427 h 195931"/>
                <a:gd name="connsiteX45" fmla="*/ 254958 w 428006"/>
                <a:gd name="connsiteY45" fmla="*/ 194805 h 195931"/>
                <a:gd name="connsiteX46" fmla="*/ 238806 w 428006"/>
                <a:gd name="connsiteY46" fmla="*/ 194805 h 195931"/>
                <a:gd name="connsiteX47" fmla="*/ 229577 w 428006"/>
                <a:gd name="connsiteY47" fmla="*/ 148638 h 195931"/>
                <a:gd name="connsiteX48" fmla="*/ 246882 w 428006"/>
                <a:gd name="connsiteY48" fmla="*/ 137377 h 195931"/>
                <a:gd name="connsiteX49" fmla="*/ 192661 w 428006"/>
                <a:gd name="connsiteY49" fmla="*/ 172284 h 195931"/>
                <a:gd name="connsiteX50" fmla="*/ 177663 w 428006"/>
                <a:gd name="connsiteY50" fmla="*/ 174536 h 195931"/>
                <a:gd name="connsiteX51" fmla="*/ 168434 w 428006"/>
                <a:gd name="connsiteY51" fmla="*/ 171158 h 195931"/>
                <a:gd name="connsiteX52" fmla="*/ 155744 w 428006"/>
                <a:gd name="connsiteY52" fmla="*/ 175663 h 195931"/>
                <a:gd name="connsiteX53" fmla="*/ 148822 w 428006"/>
                <a:gd name="connsiteY53" fmla="*/ 175663 h 195931"/>
                <a:gd name="connsiteX54" fmla="*/ 143053 w 428006"/>
                <a:gd name="connsiteY54" fmla="*/ 174536 h 195931"/>
                <a:gd name="connsiteX55" fmla="*/ 129209 w 428006"/>
                <a:gd name="connsiteY55" fmla="*/ 180166 h 195931"/>
                <a:gd name="connsiteX56" fmla="*/ 129209 w 428006"/>
                <a:gd name="connsiteY56" fmla="*/ 177914 h 195931"/>
                <a:gd name="connsiteX57" fmla="*/ 124595 w 428006"/>
                <a:gd name="connsiteY57" fmla="*/ 176788 h 195931"/>
                <a:gd name="connsiteX58" fmla="*/ 123441 w 428006"/>
                <a:gd name="connsiteY58" fmla="*/ 171158 h 195931"/>
                <a:gd name="connsiteX59" fmla="*/ 100368 w 428006"/>
                <a:gd name="connsiteY59" fmla="*/ 180166 h 195931"/>
                <a:gd name="connsiteX60" fmla="*/ 89985 w 428006"/>
                <a:gd name="connsiteY60" fmla="*/ 180166 h 195931"/>
                <a:gd name="connsiteX61" fmla="*/ 66912 w 428006"/>
                <a:gd name="connsiteY61" fmla="*/ 167780 h 195931"/>
                <a:gd name="connsiteX62" fmla="*/ 64605 w 428006"/>
                <a:gd name="connsiteY62" fmla="*/ 148637 h 195931"/>
                <a:gd name="connsiteX63" fmla="*/ 70373 w 428006"/>
                <a:gd name="connsiteY63" fmla="*/ 138503 h 195931"/>
                <a:gd name="connsiteX64" fmla="*/ 74988 w 428006"/>
                <a:gd name="connsiteY64" fmla="*/ 137377 h 195931"/>
                <a:gd name="connsiteX65" fmla="*/ 85371 w 428006"/>
                <a:gd name="connsiteY65" fmla="*/ 115982 h 195931"/>
                <a:gd name="connsiteX66" fmla="*/ 71527 w 428006"/>
                <a:gd name="connsiteY66" fmla="*/ 118234 h 195931"/>
                <a:gd name="connsiteX67" fmla="*/ 61144 w 428006"/>
                <a:gd name="connsiteY67" fmla="*/ 122738 h 195931"/>
                <a:gd name="connsiteX68" fmla="*/ 56529 w 428006"/>
                <a:gd name="connsiteY68" fmla="*/ 123864 h 195931"/>
                <a:gd name="connsiteX69" fmla="*/ 47300 w 428006"/>
                <a:gd name="connsiteY69" fmla="*/ 123864 h 195931"/>
                <a:gd name="connsiteX70" fmla="*/ 24227 w 428006"/>
                <a:gd name="connsiteY70" fmla="*/ 114856 h 195931"/>
                <a:gd name="connsiteX71" fmla="*/ 18459 w 428006"/>
                <a:gd name="connsiteY71" fmla="*/ 121612 h 195931"/>
                <a:gd name="connsiteX72" fmla="*/ 10383 w 428006"/>
                <a:gd name="connsiteY72" fmla="*/ 112604 h 195931"/>
                <a:gd name="connsiteX73" fmla="*/ 8076 w 428006"/>
                <a:gd name="connsiteY73" fmla="*/ 113730 h 195931"/>
                <a:gd name="connsiteX74" fmla="*/ 0 w 428006"/>
                <a:gd name="connsiteY74" fmla="*/ 101344 h 195931"/>
                <a:gd name="connsiteX75" fmla="*/ 1154 w 428006"/>
                <a:gd name="connsiteY75" fmla="*/ 99092 h 195931"/>
                <a:gd name="connsiteX76" fmla="*/ 18459 w 428006"/>
                <a:gd name="connsiteY76" fmla="*/ 96839 h 195931"/>
                <a:gd name="connsiteX77" fmla="*/ 51914 w 428006"/>
                <a:gd name="connsiteY77" fmla="*/ 99092 h 195931"/>
                <a:gd name="connsiteX78" fmla="*/ 79232 w 428006"/>
                <a:gd name="connsiteY78" fmla="*/ 89897 h 195931"/>
                <a:gd name="connsiteX79" fmla="*/ 78403 w 428006"/>
                <a:gd name="connsiteY79" fmla="*/ 88626 h 195931"/>
                <a:gd name="connsiteX80" fmla="*/ 79249 w 428006"/>
                <a:gd name="connsiteY80" fmla="*/ 86976 h 195931"/>
                <a:gd name="connsiteX81" fmla="*/ 91929 w 428006"/>
                <a:gd name="connsiteY81" fmla="*/ 85325 h 195931"/>
                <a:gd name="connsiteX82" fmla="*/ 108926 w 428006"/>
                <a:gd name="connsiteY82" fmla="*/ 86470 h 195931"/>
                <a:gd name="connsiteX83" fmla="*/ 124595 w 428006"/>
                <a:gd name="connsiteY83" fmla="*/ 78822 h 195931"/>
                <a:gd name="connsiteX84" fmla="*/ 152283 w 428006"/>
                <a:gd name="connsiteY84" fmla="*/ 58554 h 195931"/>
                <a:gd name="connsiteX85" fmla="*/ 170741 w 428006"/>
                <a:gd name="connsiteY85" fmla="*/ 54050 h 195931"/>
                <a:gd name="connsiteX86" fmla="*/ 200736 w 428006"/>
                <a:gd name="connsiteY86" fmla="*/ 43916 h 195931"/>
                <a:gd name="connsiteX87" fmla="*/ 227271 w 428006"/>
                <a:gd name="connsiteY87" fmla="*/ 18017 h 195931"/>
                <a:gd name="connsiteX88" fmla="*/ 245729 w 428006"/>
                <a:gd name="connsiteY88" fmla="*/ 15764 h 195931"/>
                <a:gd name="connsiteX89" fmla="*/ 268802 w 428006"/>
                <a:gd name="connsiteY89" fmla="*/ 21394 h 195931"/>
                <a:gd name="connsiteX90" fmla="*/ 279185 w 428006"/>
                <a:gd name="connsiteY90" fmla="*/ 20269 h 195931"/>
                <a:gd name="connsiteX91" fmla="*/ 310334 w 428006"/>
                <a:gd name="connsiteY91" fmla="*/ 14638 h 195931"/>
                <a:gd name="connsiteX92" fmla="*/ 316102 w 428006"/>
                <a:gd name="connsiteY92" fmla="*/ 9008 h 19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28006" h="195931">
                  <a:moveTo>
                    <a:pt x="323023" y="0"/>
                  </a:moveTo>
                  <a:lnTo>
                    <a:pt x="326485" y="2252"/>
                  </a:lnTo>
                  <a:lnTo>
                    <a:pt x="328792" y="9008"/>
                  </a:lnTo>
                  <a:lnTo>
                    <a:pt x="335562" y="36543"/>
                  </a:lnTo>
                  <a:lnTo>
                    <a:pt x="336867" y="36033"/>
                  </a:lnTo>
                  <a:lnTo>
                    <a:pt x="344943" y="29277"/>
                  </a:lnTo>
                  <a:lnTo>
                    <a:pt x="353018" y="58554"/>
                  </a:lnTo>
                  <a:lnTo>
                    <a:pt x="362248" y="61932"/>
                  </a:lnTo>
                  <a:lnTo>
                    <a:pt x="361094" y="63058"/>
                  </a:lnTo>
                  <a:lnTo>
                    <a:pt x="362248" y="67563"/>
                  </a:lnTo>
                  <a:lnTo>
                    <a:pt x="371477" y="72067"/>
                  </a:lnTo>
                  <a:lnTo>
                    <a:pt x="371477" y="88957"/>
                  </a:lnTo>
                  <a:lnTo>
                    <a:pt x="393396" y="81075"/>
                  </a:lnTo>
                  <a:lnTo>
                    <a:pt x="394550" y="97966"/>
                  </a:lnTo>
                  <a:lnTo>
                    <a:pt x="398011" y="111478"/>
                  </a:lnTo>
                  <a:lnTo>
                    <a:pt x="393396" y="121612"/>
                  </a:lnTo>
                  <a:lnTo>
                    <a:pt x="394550" y="129495"/>
                  </a:lnTo>
                  <a:lnTo>
                    <a:pt x="426853" y="114856"/>
                  </a:lnTo>
                  <a:lnTo>
                    <a:pt x="423392" y="124991"/>
                  </a:lnTo>
                  <a:lnTo>
                    <a:pt x="421085" y="136251"/>
                  </a:lnTo>
                  <a:lnTo>
                    <a:pt x="428006" y="145259"/>
                  </a:lnTo>
                  <a:lnTo>
                    <a:pt x="426853" y="153141"/>
                  </a:lnTo>
                  <a:lnTo>
                    <a:pt x="415316" y="152015"/>
                  </a:lnTo>
                  <a:lnTo>
                    <a:pt x="403779" y="154268"/>
                  </a:lnTo>
                  <a:lnTo>
                    <a:pt x="393396" y="148638"/>
                  </a:lnTo>
                  <a:lnTo>
                    <a:pt x="392243" y="149763"/>
                  </a:lnTo>
                  <a:lnTo>
                    <a:pt x="396858" y="161024"/>
                  </a:lnTo>
                  <a:lnTo>
                    <a:pt x="394550" y="168906"/>
                  </a:lnTo>
                  <a:lnTo>
                    <a:pt x="379552" y="164402"/>
                  </a:lnTo>
                  <a:lnTo>
                    <a:pt x="380706" y="155394"/>
                  </a:lnTo>
                  <a:lnTo>
                    <a:pt x="373784" y="152015"/>
                  </a:lnTo>
                  <a:lnTo>
                    <a:pt x="356480" y="146385"/>
                  </a:lnTo>
                  <a:lnTo>
                    <a:pt x="354172" y="152015"/>
                  </a:lnTo>
                  <a:lnTo>
                    <a:pt x="334560" y="144133"/>
                  </a:lnTo>
                  <a:lnTo>
                    <a:pt x="339174" y="175662"/>
                  </a:lnTo>
                  <a:lnTo>
                    <a:pt x="332253" y="176788"/>
                  </a:lnTo>
                  <a:lnTo>
                    <a:pt x="332253" y="179040"/>
                  </a:lnTo>
                  <a:lnTo>
                    <a:pt x="327638" y="182419"/>
                  </a:lnTo>
                  <a:lnTo>
                    <a:pt x="321870" y="183544"/>
                  </a:lnTo>
                  <a:lnTo>
                    <a:pt x="316101" y="182419"/>
                  </a:lnTo>
                  <a:lnTo>
                    <a:pt x="319563" y="183544"/>
                  </a:lnTo>
                  <a:lnTo>
                    <a:pt x="301104" y="185797"/>
                  </a:lnTo>
                  <a:lnTo>
                    <a:pt x="269955" y="195931"/>
                  </a:lnTo>
                  <a:lnTo>
                    <a:pt x="259572" y="195931"/>
                  </a:lnTo>
                  <a:lnTo>
                    <a:pt x="258419" y="191427"/>
                  </a:lnTo>
                  <a:lnTo>
                    <a:pt x="254958" y="194805"/>
                  </a:lnTo>
                  <a:lnTo>
                    <a:pt x="238806" y="194805"/>
                  </a:lnTo>
                  <a:lnTo>
                    <a:pt x="229577" y="148638"/>
                  </a:lnTo>
                  <a:lnTo>
                    <a:pt x="246882" y="137377"/>
                  </a:lnTo>
                  <a:lnTo>
                    <a:pt x="192661" y="172284"/>
                  </a:lnTo>
                  <a:lnTo>
                    <a:pt x="177663" y="174536"/>
                  </a:lnTo>
                  <a:lnTo>
                    <a:pt x="168434" y="171158"/>
                  </a:lnTo>
                  <a:lnTo>
                    <a:pt x="155744" y="175663"/>
                  </a:lnTo>
                  <a:lnTo>
                    <a:pt x="148822" y="175663"/>
                  </a:lnTo>
                  <a:lnTo>
                    <a:pt x="143053" y="174536"/>
                  </a:lnTo>
                  <a:lnTo>
                    <a:pt x="129209" y="180166"/>
                  </a:lnTo>
                  <a:lnTo>
                    <a:pt x="129209" y="177914"/>
                  </a:lnTo>
                  <a:lnTo>
                    <a:pt x="124595" y="176788"/>
                  </a:lnTo>
                  <a:lnTo>
                    <a:pt x="123441" y="171158"/>
                  </a:lnTo>
                  <a:lnTo>
                    <a:pt x="100368" y="180166"/>
                  </a:lnTo>
                  <a:lnTo>
                    <a:pt x="89985" y="180166"/>
                  </a:lnTo>
                  <a:lnTo>
                    <a:pt x="66912" y="167780"/>
                  </a:lnTo>
                  <a:lnTo>
                    <a:pt x="64605" y="148637"/>
                  </a:lnTo>
                  <a:lnTo>
                    <a:pt x="70373" y="138503"/>
                  </a:lnTo>
                  <a:lnTo>
                    <a:pt x="74988" y="137377"/>
                  </a:lnTo>
                  <a:lnTo>
                    <a:pt x="85371" y="115982"/>
                  </a:lnTo>
                  <a:lnTo>
                    <a:pt x="71527" y="118234"/>
                  </a:lnTo>
                  <a:lnTo>
                    <a:pt x="61144" y="122738"/>
                  </a:lnTo>
                  <a:lnTo>
                    <a:pt x="56529" y="123864"/>
                  </a:lnTo>
                  <a:lnTo>
                    <a:pt x="47300" y="123864"/>
                  </a:lnTo>
                  <a:lnTo>
                    <a:pt x="24227" y="114856"/>
                  </a:lnTo>
                  <a:lnTo>
                    <a:pt x="18459" y="121612"/>
                  </a:lnTo>
                  <a:lnTo>
                    <a:pt x="10383" y="112604"/>
                  </a:lnTo>
                  <a:lnTo>
                    <a:pt x="8076" y="113730"/>
                  </a:lnTo>
                  <a:lnTo>
                    <a:pt x="0" y="101344"/>
                  </a:lnTo>
                  <a:lnTo>
                    <a:pt x="1154" y="99092"/>
                  </a:lnTo>
                  <a:lnTo>
                    <a:pt x="18459" y="96839"/>
                  </a:lnTo>
                  <a:lnTo>
                    <a:pt x="51914" y="99092"/>
                  </a:lnTo>
                  <a:lnTo>
                    <a:pt x="79232" y="89897"/>
                  </a:lnTo>
                  <a:lnTo>
                    <a:pt x="78403" y="88626"/>
                  </a:lnTo>
                  <a:lnTo>
                    <a:pt x="79249" y="86976"/>
                  </a:lnTo>
                  <a:lnTo>
                    <a:pt x="91929" y="85325"/>
                  </a:lnTo>
                  <a:lnTo>
                    <a:pt x="108926" y="86470"/>
                  </a:lnTo>
                  <a:lnTo>
                    <a:pt x="124595" y="78822"/>
                  </a:lnTo>
                  <a:lnTo>
                    <a:pt x="152283" y="58554"/>
                  </a:lnTo>
                  <a:lnTo>
                    <a:pt x="170741" y="54050"/>
                  </a:lnTo>
                  <a:lnTo>
                    <a:pt x="200736" y="43916"/>
                  </a:lnTo>
                  <a:lnTo>
                    <a:pt x="227271" y="18017"/>
                  </a:lnTo>
                  <a:lnTo>
                    <a:pt x="245729" y="15764"/>
                  </a:lnTo>
                  <a:lnTo>
                    <a:pt x="268802" y="21394"/>
                  </a:lnTo>
                  <a:lnTo>
                    <a:pt x="279185" y="20269"/>
                  </a:lnTo>
                  <a:lnTo>
                    <a:pt x="310334" y="14638"/>
                  </a:lnTo>
                  <a:lnTo>
                    <a:pt x="316102" y="900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89" name="Zevenaar">
              <a:extLst>
                <a:ext uri="{FF2B5EF4-FFF2-40B4-BE49-F238E27FC236}">
                  <a16:creationId xmlns:a16="http://schemas.microsoft.com/office/drawing/2014/main" id="{06ED6AB2-8C41-478B-99F6-1482EEAE237C}"/>
                </a:ext>
              </a:extLst>
            </p:cNvPr>
            <p:cNvSpPr/>
            <p:nvPr/>
          </p:nvSpPr>
          <p:spPr>
            <a:xfrm>
              <a:off x="6867078" y="3657301"/>
              <a:ext cx="194075" cy="279760"/>
            </a:xfrm>
            <a:custGeom>
              <a:avLst/>
              <a:gdLst>
                <a:gd name="connsiteX0" fmla="*/ 62498 w 192543"/>
                <a:gd name="connsiteY0" fmla="*/ 168809 h 287141"/>
                <a:gd name="connsiteX1" fmla="*/ 62219 w 192543"/>
                <a:gd name="connsiteY1" fmla="*/ 168945 h 287141"/>
                <a:gd name="connsiteX2" fmla="*/ 62219 w 192543"/>
                <a:gd name="connsiteY2" fmla="*/ 168945 h 287141"/>
                <a:gd name="connsiteX3" fmla="*/ 62498 w 192543"/>
                <a:gd name="connsiteY3" fmla="*/ 168809 h 287141"/>
                <a:gd name="connsiteX4" fmla="*/ 76142 w 192543"/>
                <a:gd name="connsiteY4" fmla="*/ 0 h 287141"/>
                <a:gd name="connsiteX5" fmla="*/ 78816 w 192543"/>
                <a:gd name="connsiteY5" fmla="*/ 435 h 287141"/>
                <a:gd name="connsiteX6" fmla="*/ 79485 w 192543"/>
                <a:gd name="connsiteY6" fmla="*/ 0 h 287141"/>
                <a:gd name="connsiteX7" fmla="*/ 86407 w 192543"/>
                <a:gd name="connsiteY7" fmla="*/ 1126 h 287141"/>
                <a:gd name="connsiteX8" fmla="*/ 94482 w 192543"/>
                <a:gd name="connsiteY8" fmla="*/ 6756 h 287141"/>
                <a:gd name="connsiteX9" fmla="*/ 96790 w 192543"/>
                <a:gd name="connsiteY9" fmla="*/ 12387 h 287141"/>
                <a:gd name="connsiteX10" fmla="*/ 96790 w 192543"/>
                <a:gd name="connsiteY10" fmla="*/ 22521 h 287141"/>
                <a:gd name="connsiteX11" fmla="*/ 102558 w 192543"/>
                <a:gd name="connsiteY11" fmla="*/ 31529 h 287141"/>
                <a:gd name="connsiteX12" fmla="*/ 107173 w 192543"/>
                <a:gd name="connsiteY12" fmla="*/ 34907 h 287141"/>
                <a:gd name="connsiteX13" fmla="*/ 109878 w 192543"/>
                <a:gd name="connsiteY13" fmla="*/ 35567 h 287141"/>
                <a:gd name="connsiteX14" fmla="*/ 125749 w 192543"/>
                <a:gd name="connsiteY14" fmla="*/ 30403 h 287141"/>
                <a:gd name="connsiteX15" fmla="*/ 126585 w 192543"/>
                <a:gd name="connsiteY15" fmla="*/ 31219 h 287141"/>
                <a:gd name="connsiteX16" fmla="*/ 129092 w 192543"/>
                <a:gd name="connsiteY16" fmla="*/ 30403 h 287141"/>
                <a:gd name="connsiteX17" fmla="*/ 129291 w 192543"/>
                <a:gd name="connsiteY17" fmla="*/ 30597 h 287141"/>
                <a:gd name="connsiteX18" fmla="*/ 132671 w 192543"/>
                <a:gd name="connsiteY18" fmla="*/ 29277 h 287141"/>
                <a:gd name="connsiteX19" fmla="*/ 136014 w 192543"/>
                <a:gd name="connsiteY19" fmla="*/ 29277 h 287141"/>
                <a:gd name="connsiteX20" fmla="*/ 158051 w 192543"/>
                <a:gd name="connsiteY20" fmla="*/ 29277 h 287141"/>
                <a:gd name="connsiteX21" fmla="*/ 168434 w 192543"/>
                <a:gd name="connsiteY21" fmla="*/ 20269 h 287141"/>
                <a:gd name="connsiteX22" fmla="*/ 170917 w 192543"/>
                <a:gd name="connsiteY22" fmla="*/ 21015 h 287141"/>
                <a:gd name="connsiteX23" fmla="*/ 171777 w 192543"/>
                <a:gd name="connsiteY23" fmla="*/ 20269 h 287141"/>
                <a:gd name="connsiteX24" fmla="*/ 186775 w 192543"/>
                <a:gd name="connsiteY24" fmla="*/ 24773 h 287141"/>
                <a:gd name="connsiteX25" fmla="*/ 182160 w 192543"/>
                <a:gd name="connsiteY25" fmla="*/ 27025 h 287141"/>
                <a:gd name="connsiteX26" fmla="*/ 184468 w 192543"/>
                <a:gd name="connsiteY26" fmla="*/ 36033 h 287141"/>
                <a:gd name="connsiteX27" fmla="*/ 183314 w 192543"/>
                <a:gd name="connsiteY27" fmla="*/ 55176 h 287141"/>
                <a:gd name="connsiteX28" fmla="*/ 167163 w 192543"/>
                <a:gd name="connsiteY28" fmla="*/ 56302 h 287141"/>
                <a:gd name="connsiteX29" fmla="*/ 151011 w 192543"/>
                <a:gd name="connsiteY29" fmla="*/ 59680 h 287141"/>
                <a:gd name="connsiteX30" fmla="*/ 141782 w 192543"/>
                <a:gd name="connsiteY30" fmla="*/ 67563 h 287141"/>
                <a:gd name="connsiteX31" fmla="*/ 142936 w 192543"/>
                <a:gd name="connsiteY31" fmla="*/ 70940 h 287141"/>
                <a:gd name="connsiteX32" fmla="*/ 125631 w 192543"/>
                <a:gd name="connsiteY32" fmla="*/ 78822 h 287141"/>
                <a:gd name="connsiteX33" fmla="*/ 122761 w 192543"/>
                <a:gd name="connsiteY33" fmla="*/ 78607 h 287141"/>
                <a:gd name="connsiteX34" fmla="*/ 122288 w 192543"/>
                <a:gd name="connsiteY34" fmla="*/ 78822 h 287141"/>
                <a:gd name="connsiteX35" fmla="*/ 110591 w 192543"/>
                <a:gd name="connsiteY35" fmla="*/ 77945 h 287141"/>
                <a:gd name="connsiteX36" fmla="*/ 109480 w 192543"/>
                <a:gd name="connsiteY36" fmla="*/ 84453 h 287141"/>
                <a:gd name="connsiteX37" fmla="*/ 111788 w 192543"/>
                <a:gd name="connsiteY37" fmla="*/ 85579 h 287141"/>
                <a:gd name="connsiteX38" fmla="*/ 111788 w 192543"/>
                <a:gd name="connsiteY38" fmla="*/ 124991 h 287141"/>
                <a:gd name="connsiteX39" fmla="*/ 114095 w 192543"/>
                <a:gd name="connsiteY39" fmla="*/ 124991 h 287141"/>
                <a:gd name="connsiteX40" fmla="*/ 115248 w 192543"/>
                <a:gd name="connsiteY40" fmla="*/ 128368 h 287141"/>
                <a:gd name="connsiteX41" fmla="*/ 160648 w 192543"/>
                <a:gd name="connsiteY41" fmla="*/ 162712 h 287141"/>
                <a:gd name="connsiteX42" fmla="*/ 162666 w 192543"/>
                <a:gd name="connsiteY42" fmla="*/ 158772 h 287141"/>
                <a:gd name="connsiteX43" fmla="*/ 162666 w 192543"/>
                <a:gd name="connsiteY43" fmla="*/ 163276 h 287141"/>
                <a:gd name="connsiteX44" fmla="*/ 163702 w 192543"/>
                <a:gd name="connsiteY44" fmla="*/ 163276 h 287141"/>
                <a:gd name="connsiteX45" fmla="*/ 166009 w 192543"/>
                <a:gd name="connsiteY45" fmla="*/ 158772 h 287141"/>
                <a:gd name="connsiteX46" fmla="*/ 166009 w 192543"/>
                <a:gd name="connsiteY46" fmla="*/ 166654 h 287141"/>
                <a:gd name="connsiteX47" fmla="*/ 173985 w 192543"/>
                <a:gd name="connsiteY47" fmla="*/ 172709 h 287141"/>
                <a:gd name="connsiteX48" fmla="*/ 175357 w 192543"/>
                <a:gd name="connsiteY48" fmla="*/ 170032 h 287141"/>
                <a:gd name="connsiteX49" fmla="*/ 176510 w 192543"/>
                <a:gd name="connsiteY49" fmla="*/ 170032 h 287141"/>
                <a:gd name="connsiteX50" fmla="*/ 176997 w 192543"/>
                <a:gd name="connsiteY50" fmla="*/ 173356 h 287141"/>
                <a:gd name="connsiteX51" fmla="*/ 178700 w 192543"/>
                <a:gd name="connsiteY51" fmla="*/ 170032 h 287141"/>
                <a:gd name="connsiteX52" fmla="*/ 179853 w 192543"/>
                <a:gd name="connsiteY52" fmla="*/ 170032 h 287141"/>
                <a:gd name="connsiteX53" fmla="*/ 181007 w 192543"/>
                <a:gd name="connsiteY53" fmla="*/ 177914 h 287141"/>
                <a:gd name="connsiteX54" fmla="*/ 192543 w 192543"/>
                <a:gd name="connsiteY54" fmla="*/ 186923 h 287141"/>
                <a:gd name="connsiteX55" fmla="*/ 190236 w 192543"/>
                <a:gd name="connsiteY55" fmla="*/ 191427 h 287141"/>
                <a:gd name="connsiteX56" fmla="*/ 188087 w 192543"/>
                <a:gd name="connsiteY56" fmla="*/ 189096 h 287141"/>
                <a:gd name="connsiteX57" fmla="*/ 186893 w 192543"/>
                <a:gd name="connsiteY57" fmla="*/ 191427 h 287141"/>
                <a:gd name="connsiteX58" fmla="*/ 177407 w 192543"/>
                <a:gd name="connsiteY58" fmla="*/ 181139 h 287141"/>
                <a:gd name="connsiteX59" fmla="*/ 148704 w 192543"/>
                <a:gd name="connsiteY59" fmla="*/ 192553 h 287141"/>
                <a:gd name="connsiteX60" fmla="*/ 147385 w 192543"/>
                <a:gd name="connsiteY60" fmla="*/ 191748 h 287141"/>
                <a:gd name="connsiteX61" fmla="*/ 145361 w 192543"/>
                <a:gd name="connsiteY61" fmla="*/ 192553 h 287141"/>
                <a:gd name="connsiteX62" fmla="*/ 138806 w 192543"/>
                <a:gd name="connsiteY62" fmla="*/ 188555 h 287141"/>
                <a:gd name="connsiteX63" fmla="*/ 137168 w 192543"/>
                <a:gd name="connsiteY63" fmla="*/ 192553 h 287141"/>
                <a:gd name="connsiteX64" fmla="*/ 134218 w 192543"/>
                <a:gd name="connsiteY64" fmla="*/ 191594 h 287141"/>
                <a:gd name="connsiteX65" fmla="*/ 133825 w 192543"/>
                <a:gd name="connsiteY65" fmla="*/ 192553 h 287141"/>
                <a:gd name="connsiteX66" fmla="*/ 133229 w 192543"/>
                <a:gd name="connsiteY66" fmla="*/ 192359 h 287141"/>
                <a:gd name="connsiteX67" fmla="*/ 131399 w 192543"/>
                <a:gd name="connsiteY67" fmla="*/ 195931 h 287141"/>
                <a:gd name="connsiteX68" fmla="*/ 132553 w 192543"/>
                <a:gd name="connsiteY68" fmla="*/ 198183 h 287141"/>
                <a:gd name="connsiteX69" fmla="*/ 124478 w 192543"/>
                <a:gd name="connsiteY69" fmla="*/ 201561 h 287141"/>
                <a:gd name="connsiteX70" fmla="*/ 126824 w 192543"/>
                <a:gd name="connsiteY70" fmla="*/ 202325 h 287141"/>
                <a:gd name="connsiteX71" fmla="*/ 131517 w 192543"/>
                <a:gd name="connsiteY71" fmla="*/ 201561 h 287141"/>
                <a:gd name="connsiteX72" fmla="*/ 133037 w 192543"/>
                <a:gd name="connsiteY72" fmla="*/ 201858 h 287141"/>
                <a:gd name="connsiteX73" fmla="*/ 134860 w 192543"/>
                <a:gd name="connsiteY73" fmla="*/ 201561 h 287141"/>
                <a:gd name="connsiteX74" fmla="*/ 140629 w 192543"/>
                <a:gd name="connsiteY74" fmla="*/ 202687 h 287141"/>
                <a:gd name="connsiteX75" fmla="*/ 160241 w 192543"/>
                <a:gd name="connsiteY75" fmla="*/ 212822 h 287141"/>
                <a:gd name="connsiteX76" fmla="*/ 167163 w 192543"/>
                <a:gd name="connsiteY76" fmla="*/ 228586 h 287141"/>
                <a:gd name="connsiteX77" fmla="*/ 168316 w 192543"/>
                <a:gd name="connsiteY77" fmla="*/ 238721 h 287141"/>
                <a:gd name="connsiteX78" fmla="*/ 174084 w 192543"/>
                <a:gd name="connsiteY78" fmla="*/ 244351 h 287141"/>
                <a:gd name="connsiteX79" fmla="*/ 179853 w 192543"/>
                <a:gd name="connsiteY79" fmla="*/ 245477 h 287141"/>
                <a:gd name="connsiteX80" fmla="*/ 192543 w 192543"/>
                <a:gd name="connsiteY80" fmla="*/ 252233 h 287141"/>
                <a:gd name="connsiteX81" fmla="*/ 189082 w 192543"/>
                <a:gd name="connsiteY81" fmla="*/ 256738 h 287141"/>
                <a:gd name="connsiteX82" fmla="*/ 189082 w 192543"/>
                <a:gd name="connsiteY82" fmla="*/ 265746 h 287141"/>
                <a:gd name="connsiteX83" fmla="*/ 191390 w 192543"/>
                <a:gd name="connsiteY83" fmla="*/ 271376 h 287141"/>
                <a:gd name="connsiteX84" fmla="*/ 192543 w 192543"/>
                <a:gd name="connsiteY84" fmla="*/ 287141 h 287141"/>
                <a:gd name="connsiteX85" fmla="*/ 189116 w 192543"/>
                <a:gd name="connsiteY85" fmla="*/ 285988 h 287141"/>
                <a:gd name="connsiteX86" fmla="*/ 189200 w 192543"/>
                <a:gd name="connsiteY86" fmla="*/ 287141 h 287141"/>
                <a:gd name="connsiteX87" fmla="*/ 155744 w 192543"/>
                <a:gd name="connsiteY87" fmla="*/ 275880 h 287141"/>
                <a:gd name="connsiteX88" fmla="*/ 131399 w 192543"/>
                <a:gd name="connsiteY88" fmla="*/ 275880 h 287141"/>
                <a:gd name="connsiteX89" fmla="*/ 128056 w 192543"/>
                <a:gd name="connsiteY89" fmla="*/ 275880 h 287141"/>
                <a:gd name="connsiteX90" fmla="*/ 117673 w 192543"/>
                <a:gd name="connsiteY90" fmla="*/ 272502 h 287141"/>
                <a:gd name="connsiteX91" fmla="*/ 107290 w 192543"/>
                <a:gd name="connsiteY91" fmla="*/ 267998 h 287141"/>
                <a:gd name="connsiteX92" fmla="*/ 74988 w 192543"/>
                <a:gd name="connsiteY92" fmla="*/ 243225 h 287141"/>
                <a:gd name="connsiteX93" fmla="*/ 57683 w 192543"/>
                <a:gd name="connsiteY93" fmla="*/ 234216 h 287141"/>
                <a:gd name="connsiteX94" fmla="*/ 43839 w 192543"/>
                <a:gd name="connsiteY94" fmla="*/ 220704 h 287141"/>
                <a:gd name="connsiteX95" fmla="*/ 38071 w 192543"/>
                <a:gd name="connsiteY95" fmla="*/ 200436 h 287141"/>
                <a:gd name="connsiteX96" fmla="*/ 34610 w 192543"/>
                <a:gd name="connsiteY96" fmla="*/ 193679 h 287141"/>
                <a:gd name="connsiteX97" fmla="*/ 27688 w 192543"/>
                <a:gd name="connsiteY97" fmla="*/ 188049 h 287141"/>
                <a:gd name="connsiteX98" fmla="*/ 10383 w 192543"/>
                <a:gd name="connsiteY98" fmla="*/ 177914 h 287141"/>
                <a:gd name="connsiteX99" fmla="*/ 0 w 192543"/>
                <a:gd name="connsiteY99" fmla="*/ 168906 h 287141"/>
                <a:gd name="connsiteX100" fmla="*/ 1154 w 192543"/>
                <a:gd name="connsiteY100" fmla="*/ 167780 h 287141"/>
                <a:gd name="connsiteX101" fmla="*/ 3382 w 192543"/>
                <a:gd name="connsiteY101" fmla="*/ 168868 h 287141"/>
                <a:gd name="connsiteX102" fmla="*/ 4497 w 192543"/>
                <a:gd name="connsiteY102" fmla="*/ 167780 h 287141"/>
                <a:gd name="connsiteX103" fmla="*/ 7735 w 192543"/>
                <a:gd name="connsiteY103" fmla="*/ 169360 h 287141"/>
                <a:gd name="connsiteX104" fmla="*/ 28842 w 192543"/>
                <a:gd name="connsiteY104" fmla="*/ 162150 h 287141"/>
                <a:gd name="connsiteX105" fmla="*/ 30218 w 192543"/>
                <a:gd name="connsiteY105" fmla="*/ 162822 h 287141"/>
                <a:gd name="connsiteX106" fmla="*/ 32185 w 192543"/>
                <a:gd name="connsiteY106" fmla="*/ 162150 h 287141"/>
                <a:gd name="connsiteX107" fmla="*/ 34492 w 192543"/>
                <a:gd name="connsiteY107" fmla="*/ 163276 h 287141"/>
                <a:gd name="connsiteX108" fmla="*/ 41532 w 192543"/>
                <a:gd name="connsiteY108" fmla="*/ 163276 h 287141"/>
                <a:gd name="connsiteX109" fmla="*/ 44875 w 192543"/>
                <a:gd name="connsiteY109" fmla="*/ 163276 h 287141"/>
                <a:gd name="connsiteX110" fmla="*/ 51488 w 192543"/>
                <a:gd name="connsiteY110" fmla="*/ 166042 h 287141"/>
                <a:gd name="connsiteX111" fmla="*/ 53068 w 192543"/>
                <a:gd name="connsiteY111" fmla="*/ 165528 h 287141"/>
                <a:gd name="connsiteX112" fmla="*/ 54740 w 192543"/>
                <a:gd name="connsiteY112" fmla="*/ 166072 h 287141"/>
                <a:gd name="connsiteX113" fmla="*/ 54979 w 192543"/>
                <a:gd name="connsiteY113" fmla="*/ 165994 h 287141"/>
                <a:gd name="connsiteX114" fmla="*/ 53069 w 192543"/>
                <a:gd name="connsiteY114" fmla="*/ 165528 h 287141"/>
                <a:gd name="connsiteX115" fmla="*/ 53069 w 192543"/>
                <a:gd name="connsiteY115" fmla="*/ 163276 h 287141"/>
                <a:gd name="connsiteX116" fmla="*/ 56412 w 192543"/>
                <a:gd name="connsiteY116" fmla="*/ 164364 h 287141"/>
                <a:gd name="connsiteX117" fmla="*/ 56412 w 192543"/>
                <a:gd name="connsiteY117" fmla="*/ 163276 h 287141"/>
                <a:gd name="connsiteX118" fmla="*/ 57007 w 192543"/>
                <a:gd name="connsiteY118" fmla="*/ 163470 h 287141"/>
                <a:gd name="connsiteX119" fmla="*/ 57683 w 192543"/>
                <a:gd name="connsiteY119" fmla="*/ 162150 h 287141"/>
                <a:gd name="connsiteX120" fmla="*/ 59990 w 192543"/>
                <a:gd name="connsiteY120" fmla="*/ 156520 h 287141"/>
                <a:gd name="connsiteX121" fmla="*/ 58837 w 192543"/>
                <a:gd name="connsiteY121" fmla="*/ 155393 h 287141"/>
                <a:gd name="connsiteX122" fmla="*/ 62298 w 192543"/>
                <a:gd name="connsiteY122" fmla="*/ 148637 h 287141"/>
                <a:gd name="connsiteX123" fmla="*/ 61144 w 192543"/>
                <a:gd name="connsiteY123" fmla="*/ 145260 h 287141"/>
                <a:gd name="connsiteX124" fmla="*/ 57683 w 192543"/>
                <a:gd name="connsiteY124" fmla="*/ 144134 h 287141"/>
                <a:gd name="connsiteX125" fmla="*/ 63452 w 192543"/>
                <a:gd name="connsiteY125" fmla="*/ 137377 h 287141"/>
                <a:gd name="connsiteX126" fmla="*/ 66068 w 192543"/>
                <a:gd name="connsiteY126" fmla="*/ 138229 h 287141"/>
                <a:gd name="connsiteX127" fmla="*/ 66795 w 192543"/>
                <a:gd name="connsiteY127" fmla="*/ 137377 h 287141"/>
                <a:gd name="connsiteX128" fmla="*/ 66990 w 192543"/>
                <a:gd name="connsiteY128" fmla="*/ 137441 h 287141"/>
                <a:gd name="connsiteX129" fmla="*/ 68066 w 192543"/>
                <a:gd name="connsiteY129" fmla="*/ 122738 h 287141"/>
                <a:gd name="connsiteX130" fmla="*/ 70373 w 192543"/>
                <a:gd name="connsiteY130" fmla="*/ 123864 h 287141"/>
                <a:gd name="connsiteX131" fmla="*/ 78449 w 192543"/>
                <a:gd name="connsiteY131" fmla="*/ 108100 h 287141"/>
                <a:gd name="connsiteX132" fmla="*/ 68066 w 192543"/>
                <a:gd name="connsiteY132" fmla="*/ 102470 h 287141"/>
                <a:gd name="connsiteX133" fmla="*/ 73835 w 192543"/>
                <a:gd name="connsiteY133" fmla="*/ 93462 h 287141"/>
                <a:gd name="connsiteX134" fmla="*/ 76142 w 192543"/>
                <a:gd name="connsiteY134" fmla="*/ 66436 h 287141"/>
                <a:gd name="connsiteX135" fmla="*/ 79485 w 192543"/>
                <a:gd name="connsiteY135" fmla="*/ 66436 h 287141"/>
                <a:gd name="connsiteX136" fmla="*/ 83064 w 192543"/>
                <a:gd name="connsiteY136" fmla="*/ 66436 h 287141"/>
                <a:gd name="connsiteX137" fmla="*/ 84217 w 192543"/>
                <a:gd name="connsiteY137" fmla="*/ 57428 h 287141"/>
                <a:gd name="connsiteX138" fmla="*/ 77296 w 192543"/>
                <a:gd name="connsiteY138" fmla="*/ 56302 h 287141"/>
                <a:gd name="connsiteX139" fmla="*/ 75615 w 192543"/>
                <a:gd name="connsiteY139" fmla="*/ 54662 h 287141"/>
                <a:gd name="connsiteX140" fmla="*/ 63333 w 192543"/>
                <a:gd name="connsiteY140" fmla="*/ 57428 h 287141"/>
                <a:gd name="connsiteX141" fmla="*/ 59873 w 192543"/>
                <a:gd name="connsiteY141" fmla="*/ 59680 h 287141"/>
                <a:gd name="connsiteX142" fmla="*/ 51797 w 192543"/>
                <a:gd name="connsiteY142" fmla="*/ 72066 h 287141"/>
                <a:gd name="connsiteX143" fmla="*/ 43721 w 192543"/>
                <a:gd name="connsiteY143" fmla="*/ 73192 h 287141"/>
                <a:gd name="connsiteX144" fmla="*/ 43517 w 192543"/>
                <a:gd name="connsiteY144" fmla="*/ 72755 h 287141"/>
                <a:gd name="connsiteX145" fmla="*/ 40378 w 192543"/>
                <a:gd name="connsiteY145" fmla="*/ 73192 h 287141"/>
                <a:gd name="connsiteX146" fmla="*/ 34610 w 192543"/>
                <a:gd name="connsiteY146" fmla="*/ 60806 h 287141"/>
                <a:gd name="connsiteX147" fmla="*/ 21384 w 192543"/>
                <a:gd name="connsiteY147" fmla="*/ 59884 h 287141"/>
                <a:gd name="connsiteX148" fmla="*/ 17187 w 192543"/>
                <a:gd name="connsiteY148" fmla="*/ 61933 h 287141"/>
                <a:gd name="connsiteX149" fmla="*/ 17605 w 192543"/>
                <a:gd name="connsiteY149" fmla="*/ 60097 h 287141"/>
                <a:gd name="connsiteX150" fmla="*/ 13844 w 192543"/>
                <a:gd name="connsiteY150" fmla="*/ 61933 h 287141"/>
                <a:gd name="connsiteX151" fmla="*/ 18459 w 192543"/>
                <a:gd name="connsiteY151" fmla="*/ 41663 h 287141"/>
                <a:gd name="connsiteX152" fmla="*/ 21920 w 192543"/>
                <a:gd name="connsiteY152" fmla="*/ 34907 h 287141"/>
                <a:gd name="connsiteX153" fmla="*/ 27688 w 192543"/>
                <a:gd name="connsiteY153" fmla="*/ 30403 h 287141"/>
                <a:gd name="connsiteX154" fmla="*/ 30660 w 192543"/>
                <a:gd name="connsiteY154" fmla="*/ 30693 h 287141"/>
                <a:gd name="connsiteX155" fmla="*/ 31031 w 192543"/>
                <a:gd name="connsiteY155" fmla="*/ 30403 h 287141"/>
                <a:gd name="connsiteX156" fmla="*/ 40478 w 192543"/>
                <a:gd name="connsiteY156" fmla="*/ 31325 h 287141"/>
                <a:gd name="connsiteX157" fmla="*/ 46146 w 192543"/>
                <a:gd name="connsiteY157" fmla="*/ 30403 h 287141"/>
                <a:gd name="connsiteX158" fmla="*/ 56530 w 192543"/>
                <a:gd name="connsiteY158" fmla="*/ 21394 h 287141"/>
                <a:gd name="connsiteX159" fmla="*/ 62298 w 192543"/>
                <a:gd name="connsiteY159" fmla="*/ 9008 h 28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2543" h="287141">
                  <a:moveTo>
                    <a:pt x="62498" y="168809"/>
                  </a:moveTo>
                  <a:lnTo>
                    <a:pt x="62219" y="168945"/>
                  </a:lnTo>
                  <a:lnTo>
                    <a:pt x="62219" y="168945"/>
                  </a:lnTo>
                  <a:lnTo>
                    <a:pt x="62498" y="168809"/>
                  </a:lnTo>
                  <a:close/>
                  <a:moveTo>
                    <a:pt x="76142" y="0"/>
                  </a:moveTo>
                  <a:lnTo>
                    <a:pt x="78816" y="435"/>
                  </a:lnTo>
                  <a:lnTo>
                    <a:pt x="79485" y="0"/>
                  </a:lnTo>
                  <a:lnTo>
                    <a:pt x="86407" y="1126"/>
                  </a:lnTo>
                  <a:lnTo>
                    <a:pt x="94482" y="6756"/>
                  </a:lnTo>
                  <a:lnTo>
                    <a:pt x="96790" y="12387"/>
                  </a:lnTo>
                  <a:lnTo>
                    <a:pt x="96790" y="22521"/>
                  </a:lnTo>
                  <a:lnTo>
                    <a:pt x="102558" y="31529"/>
                  </a:lnTo>
                  <a:lnTo>
                    <a:pt x="107173" y="34907"/>
                  </a:lnTo>
                  <a:lnTo>
                    <a:pt x="109878" y="35567"/>
                  </a:lnTo>
                  <a:lnTo>
                    <a:pt x="125749" y="30403"/>
                  </a:lnTo>
                  <a:lnTo>
                    <a:pt x="126585" y="31219"/>
                  </a:lnTo>
                  <a:lnTo>
                    <a:pt x="129092" y="30403"/>
                  </a:lnTo>
                  <a:lnTo>
                    <a:pt x="129291" y="30597"/>
                  </a:lnTo>
                  <a:lnTo>
                    <a:pt x="132671" y="29277"/>
                  </a:lnTo>
                  <a:lnTo>
                    <a:pt x="136014" y="29277"/>
                  </a:lnTo>
                  <a:lnTo>
                    <a:pt x="158051" y="29277"/>
                  </a:lnTo>
                  <a:lnTo>
                    <a:pt x="168434" y="20269"/>
                  </a:lnTo>
                  <a:lnTo>
                    <a:pt x="170917" y="21015"/>
                  </a:lnTo>
                  <a:lnTo>
                    <a:pt x="171777" y="20269"/>
                  </a:lnTo>
                  <a:lnTo>
                    <a:pt x="186775" y="24773"/>
                  </a:lnTo>
                  <a:lnTo>
                    <a:pt x="182160" y="27025"/>
                  </a:lnTo>
                  <a:lnTo>
                    <a:pt x="184468" y="36033"/>
                  </a:lnTo>
                  <a:lnTo>
                    <a:pt x="183314" y="55176"/>
                  </a:lnTo>
                  <a:lnTo>
                    <a:pt x="167163" y="56302"/>
                  </a:lnTo>
                  <a:lnTo>
                    <a:pt x="151011" y="59680"/>
                  </a:lnTo>
                  <a:lnTo>
                    <a:pt x="141782" y="67563"/>
                  </a:lnTo>
                  <a:lnTo>
                    <a:pt x="142936" y="70940"/>
                  </a:lnTo>
                  <a:lnTo>
                    <a:pt x="125631" y="78822"/>
                  </a:lnTo>
                  <a:lnTo>
                    <a:pt x="122761" y="78607"/>
                  </a:lnTo>
                  <a:lnTo>
                    <a:pt x="122288" y="78822"/>
                  </a:lnTo>
                  <a:lnTo>
                    <a:pt x="110591" y="77945"/>
                  </a:lnTo>
                  <a:lnTo>
                    <a:pt x="109480" y="84453"/>
                  </a:lnTo>
                  <a:lnTo>
                    <a:pt x="111788" y="85579"/>
                  </a:lnTo>
                  <a:lnTo>
                    <a:pt x="111788" y="124991"/>
                  </a:lnTo>
                  <a:lnTo>
                    <a:pt x="114095" y="124991"/>
                  </a:lnTo>
                  <a:lnTo>
                    <a:pt x="115248" y="128368"/>
                  </a:lnTo>
                  <a:lnTo>
                    <a:pt x="160648" y="162712"/>
                  </a:lnTo>
                  <a:lnTo>
                    <a:pt x="162666" y="158772"/>
                  </a:lnTo>
                  <a:lnTo>
                    <a:pt x="162666" y="163276"/>
                  </a:lnTo>
                  <a:lnTo>
                    <a:pt x="163702" y="163276"/>
                  </a:lnTo>
                  <a:lnTo>
                    <a:pt x="166009" y="158772"/>
                  </a:lnTo>
                  <a:lnTo>
                    <a:pt x="166009" y="166654"/>
                  </a:lnTo>
                  <a:lnTo>
                    <a:pt x="173985" y="172709"/>
                  </a:lnTo>
                  <a:lnTo>
                    <a:pt x="175357" y="170032"/>
                  </a:lnTo>
                  <a:lnTo>
                    <a:pt x="176510" y="170032"/>
                  </a:lnTo>
                  <a:lnTo>
                    <a:pt x="176997" y="173356"/>
                  </a:lnTo>
                  <a:lnTo>
                    <a:pt x="178700" y="170032"/>
                  </a:lnTo>
                  <a:lnTo>
                    <a:pt x="179853" y="170032"/>
                  </a:lnTo>
                  <a:lnTo>
                    <a:pt x="181007" y="177914"/>
                  </a:lnTo>
                  <a:lnTo>
                    <a:pt x="192543" y="186923"/>
                  </a:lnTo>
                  <a:lnTo>
                    <a:pt x="190236" y="191427"/>
                  </a:lnTo>
                  <a:lnTo>
                    <a:pt x="188087" y="189096"/>
                  </a:lnTo>
                  <a:lnTo>
                    <a:pt x="186893" y="191427"/>
                  </a:lnTo>
                  <a:lnTo>
                    <a:pt x="177407" y="181139"/>
                  </a:lnTo>
                  <a:lnTo>
                    <a:pt x="148704" y="192553"/>
                  </a:lnTo>
                  <a:lnTo>
                    <a:pt x="147385" y="191748"/>
                  </a:lnTo>
                  <a:lnTo>
                    <a:pt x="145361" y="192553"/>
                  </a:lnTo>
                  <a:lnTo>
                    <a:pt x="138806" y="188555"/>
                  </a:lnTo>
                  <a:lnTo>
                    <a:pt x="137168" y="192553"/>
                  </a:lnTo>
                  <a:lnTo>
                    <a:pt x="134218" y="191594"/>
                  </a:lnTo>
                  <a:lnTo>
                    <a:pt x="133825" y="192553"/>
                  </a:lnTo>
                  <a:lnTo>
                    <a:pt x="133229" y="192359"/>
                  </a:lnTo>
                  <a:lnTo>
                    <a:pt x="131399" y="195931"/>
                  </a:lnTo>
                  <a:lnTo>
                    <a:pt x="132553" y="198183"/>
                  </a:lnTo>
                  <a:lnTo>
                    <a:pt x="124478" y="201561"/>
                  </a:lnTo>
                  <a:lnTo>
                    <a:pt x="126824" y="202325"/>
                  </a:lnTo>
                  <a:lnTo>
                    <a:pt x="131517" y="201561"/>
                  </a:lnTo>
                  <a:lnTo>
                    <a:pt x="133037" y="201858"/>
                  </a:lnTo>
                  <a:lnTo>
                    <a:pt x="134860" y="201561"/>
                  </a:lnTo>
                  <a:lnTo>
                    <a:pt x="140629" y="202687"/>
                  </a:lnTo>
                  <a:lnTo>
                    <a:pt x="160241" y="212822"/>
                  </a:lnTo>
                  <a:lnTo>
                    <a:pt x="167163" y="228586"/>
                  </a:lnTo>
                  <a:lnTo>
                    <a:pt x="168316" y="238721"/>
                  </a:lnTo>
                  <a:lnTo>
                    <a:pt x="174084" y="244351"/>
                  </a:lnTo>
                  <a:lnTo>
                    <a:pt x="179853" y="245477"/>
                  </a:lnTo>
                  <a:lnTo>
                    <a:pt x="192543" y="252233"/>
                  </a:lnTo>
                  <a:lnTo>
                    <a:pt x="189082" y="256738"/>
                  </a:lnTo>
                  <a:lnTo>
                    <a:pt x="189082" y="265746"/>
                  </a:lnTo>
                  <a:lnTo>
                    <a:pt x="191390" y="271376"/>
                  </a:lnTo>
                  <a:lnTo>
                    <a:pt x="192543" y="287141"/>
                  </a:lnTo>
                  <a:lnTo>
                    <a:pt x="189116" y="285988"/>
                  </a:lnTo>
                  <a:lnTo>
                    <a:pt x="189200" y="287141"/>
                  </a:lnTo>
                  <a:lnTo>
                    <a:pt x="155744" y="275880"/>
                  </a:lnTo>
                  <a:lnTo>
                    <a:pt x="131399" y="275880"/>
                  </a:lnTo>
                  <a:lnTo>
                    <a:pt x="128056" y="275880"/>
                  </a:lnTo>
                  <a:lnTo>
                    <a:pt x="117673" y="272502"/>
                  </a:lnTo>
                  <a:lnTo>
                    <a:pt x="107290" y="267998"/>
                  </a:lnTo>
                  <a:lnTo>
                    <a:pt x="74988" y="243225"/>
                  </a:lnTo>
                  <a:lnTo>
                    <a:pt x="57683" y="234216"/>
                  </a:lnTo>
                  <a:lnTo>
                    <a:pt x="43839" y="220704"/>
                  </a:lnTo>
                  <a:lnTo>
                    <a:pt x="38071" y="200436"/>
                  </a:lnTo>
                  <a:lnTo>
                    <a:pt x="34610" y="193679"/>
                  </a:lnTo>
                  <a:lnTo>
                    <a:pt x="27688" y="188049"/>
                  </a:lnTo>
                  <a:lnTo>
                    <a:pt x="10383" y="177914"/>
                  </a:lnTo>
                  <a:lnTo>
                    <a:pt x="0" y="168906"/>
                  </a:lnTo>
                  <a:lnTo>
                    <a:pt x="1154" y="167780"/>
                  </a:lnTo>
                  <a:lnTo>
                    <a:pt x="3382" y="168868"/>
                  </a:lnTo>
                  <a:lnTo>
                    <a:pt x="4497" y="167780"/>
                  </a:lnTo>
                  <a:lnTo>
                    <a:pt x="7735" y="169360"/>
                  </a:lnTo>
                  <a:lnTo>
                    <a:pt x="28842" y="162150"/>
                  </a:lnTo>
                  <a:lnTo>
                    <a:pt x="30218" y="162822"/>
                  </a:lnTo>
                  <a:lnTo>
                    <a:pt x="32185" y="162150"/>
                  </a:lnTo>
                  <a:lnTo>
                    <a:pt x="34492" y="163276"/>
                  </a:lnTo>
                  <a:lnTo>
                    <a:pt x="41532" y="163276"/>
                  </a:lnTo>
                  <a:lnTo>
                    <a:pt x="44875" y="163276"/>
                  </a:lnTo>
                  <a:lnTo>
                    <a:pt x="51488" y="166042"/>
                  </a:lnTo>
                  <a:lnTo>
                    <a:pt x="53068" y="165528"/>
                  </a:lnTo>
                  <a:lnTo>
                    <a:pt x="54740" y="166072"/>
                  </a:lnTo>
                  <a:lnTo>
                    <a:pt x="54979" y="165994"/>
                  </a:lnTo>
                  <a:lnTo>
                    <a:pt x="53069" y="165528"/>
                  </a:lnTo>
                  <a:lnTo>
                    <a:pt x="53069" y="163276"/>
                  </a:lnTo>
                  <a:lnTo>
                    <a:pt x="56412" y="164364"/>
                  </a:lnTo>
                  <a:lnTo>
                    <a:pt x="56412" y="163276"/>
                  </a:lnTo>
                  <a:lnTo>
                    <a:pt x="57007" y="163470"/>
                  </a:lnTo>
                  <a:lnTo>
                    <a:pt x="57683" y="162150"/>
                  </a:lnTo>
                  <a:lnTo>
                    <a:pt x="59990" y="156520"/>
                  </a:lnTo>
                  <a:lnTo>
                    <a:pt x="58837" y="155393"/>
                  </a:lnTo>
                  <a:lnTo>
                    <a:pt x="62298" y="148637"/>
                  </a:lnTo>
                  <a:lnTo>
                    <a:pt x="61144" y="145260"/>
                  </a:lnTo>
                  <a:lnTo>
                    <a:pt x="57683" y="144134"/>
                  </a:lnTo>
                  <a:lnTo>
                    <a:pt x="63452" y="137377"/>
                  </a:lnTo>
                  <a:lnTo>
                    <a:pt x="66068" y="138229"/>
                  </a:lnTo>
                  <a:lnTo>
                    <a:pt x="66795" y="137377"/>
                  </a:lnTo>
                  <a:lnTo>
                    <a:pt x="66990" y="137441"/>
                  </a:lnTo>
                  <a:lnTo>
                    <a:pt x="68066" y="122738"/>
                  </a:lnTo>
                  <a:lnTo>
                    <a:pt x="70373" y="123864"/>
                  </a:lnTo>
                  <a:lnTo>
                    <a:pt x="78449" y="108100"/>
                  </a:lnTo>
                  <a:lnTo>
                    <a:pt x="68066" y="102470"/>
                  </a:lnTo>
                  <a:lnTo>
                    <a:pt x="73835" y="93462"/>
                  </a:lnTo>
                  <a:lnTo>
                    <a:pt x="76142" y="66436"/>
                  </a:lnTo>
                  <a:lnTo>
                    <a:pt x="79485" y="66436"/>
                  </a:lnTo>
                  <a:lnTo>
                    <a:pt x="83064" y="66436"/>
                  </a:lnTo>
                  <a:lnTo>
                    <a:pt x="84217" y="57428"/>
                  </a:lnTo>
                  <a:lnTo>
                    <a:pt x="77296" y="56302"/>
                  </a:lnTo>
                  <a:lnTo>
                    <a:pt x="75615" y="54662"/>
                  </a:lnTo>
                  <a:lnTo>
                    <a:pt x="63333" y="57428"/>
                  </a:lnTo>
                  <a:lnTo>
                    <a:pt x="59873" y="59680"/>
                  </a:lnTo>
                  <a:lnTo>
                    <a:pt x="51797" y="72066"/>
                  </a:lnTo>
                  <a:lnTo>
                    <a:pt x="43721" y="73192"/>
                  </a:lnTo>
                  <a:lnTo>
                    <a:pt x="43517" y="72755"/>
                  </a:lnTo>
                  <a:lnTo>
                    <a:pt x="40378" y="73192"/>
                  </a:lnTo>
                  <a:lnTo>
                    <a:pt x="34610" y="60806"/>
                  </a:lnTo>
                  <a:lnTo>
                    <a:pt x="21384" y="59884"/>
                  </a:lnTo>
                  <a:lnTo>
                    <a:pt x="17187" y="61933"/>
                  </a:lnTo>
                  <a:lnTo>
                    <a:pt x="17605" y="60097"/>
                  </a:lnTo>
                  <a:lnTo>
                    <a:pt x="13844" y="61933"/>
                  </a:lnTo>
                  <a:lnTo>
                    <a:pt x="18459" y="41663"/>
                  </a:lnTo>
                  <a:lnTo>
                    <a:pt x="21920" y="34907"/>
                  </a:lnTo>
                  <a:lnTo>
                    <a:pt x="27688" y="30403"/>
                  </a:lnTo>
                  <a:lnTo>
                    <a:pt x="30660" y="30693"/>
                  </a:lnTo>
                  <a:lnTo>
                    <a:pt x="31031" y="30403"/>
                  </a:lnTo>
                  <a:lnTo>
                    <a:pt x="40478" y="31325"/>
                  </a:lnTo>
                  <a:lnTo>
                    <a:pt x="46146" y="30403"/>
                  </a:lnTo>
                  <a:lnTo>
                    <a:pt x="56530" y="21394"/>
                  </a:lnTo>
                  <a:lnTo>
                    <a:pt x="62298" y="9008"/>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90" name="West Betuwe">
              <a:extLst>
                <a:ext uri="{FF2B5EF4-FFF2-40B4-BE49-F238E27FC236}">
                  <a16:creationId xmlns:a16="http://schemas.microsoft.com/office/drawing/2014/main" id="{CF82D7B2-A97C-4C4E-810D-3D77BBCCE2AC}"/>
                </a:ext>
              </a:extLst>
            </p:cNvPr>
            <p:cNvSpPr/>
            <p:nvPr/>
          </p:nvSpPr>
          <p:spPr>
            <a:xfrm>
              <a:off x="5817124" y="3786023"/>
              <a:ext cx="441918" cy="209285"/>
            </a:xfrm>
            <a:custGeom>
              <a:avLst/>
              <a:gdLst>
                <a:gd name="connsiteX0" fmla="*/ 131937 w 441850"/>
                <a:gd name="connsiteY0" fmla="*/ 93408 h 217325"/>
                <a:gd name="connsiteX1" fmla="*/ 130363 w 441850"/>
                <a:gd name="connsiteY1" fmla="*/ 95713 h 217325"/>
                <a:gd name="connsiteX2" fmla="*/ 130363 w 441850"/>
                <a:gd name="connsiteY2" fmla="*/ 95714 h 217325"/>
                <a:gd name="connsiteX3" fmla="*/ 126903 w 441850"/>
                <a:gd name="connsiteY3" fmla="*/ 76572 h 217325"/>
                <a:gd name="connsiteX4" fmla="*/ 126903 w 441850"/>
                <a:gd name="connsiteY4" fmla="*/ 77696 h 217325"/>
                <a:gd name="connsiteX5" fmla="*/ 133821 w 441850"/>
                <a:gd name="connsiteY5" fmla="*/ 86700 h 217325"/>
                <a:gd name="connsiteX6" fmla="*/ 274570 w 441850"/>
                <a:gd name="connsiteY6" fmla="*/ 0 h 217325"/>
                <a:gd name="connsiteX7" fmla="*/ 287260 w 441850"/>
                <a:gd name="connsiteY7" fmla="*/ 4504 h 217325"/>
                <a:gd name="connsiteX8" fmla="*/ 301104 w 441850"/>
                <a:gd name="connsiteY8" fmla="*/ 4504 h 217325"/>
                <a:gd name="connsiteX9" fmla="*/ 305718 w 441850"/>
                <a:gd name="connsiteY9" fmla="*/ 7882 h 217325"/>
                <a:gd name="connsiteX10" fmla="*/ 306872 w 441850"/>
                <a:gd name="connsiteY10" fmla="*/ 12387 h 217325"/>
                <a:gd name="connsiteX11" fmla="*/ 305718 w 441850"/>
                <a:gd name="connsiteY11" fmla="*/ 21395 h 217325"/>
                <a:gd name="connsiteX12" fmla="*/ 293029 w 441850"/>
                <a:gd name="connsiteY12" fmla="*/ 25899 h 217325"/>
                <a:gd name="connsiteX13" fmla="*/ 316101 w 441850"/>
                <a:gd name="connsiteY13" fmla="*/ 58554 h 217325"/>
                <a:gd name="connsiteX14" fmla="*/ 318409 w 441850"/>
                <a:gd name="connsiteY14" fmla="*/ 56302 h 217325"/>
                <a:gd name="connsiteX15" fmla="*/ 327638 w 441850"/>
                <a:gd name="connsiteY15" fmla="*/ 65310 h 217325"/>
                <a:gd name="connsiteX16" fmla="*/ 334560 w 441850"/>
                <a:gd name="connsiteY16" fmla="*/ 66436 h 217325"/>
                <a:gd name="connsiteX17" fmla="*/ 344943 w 441850"/>
                <a:gd name="connsiteY17" fmla="*/ 76571 h 217325"/>
                <a:gd name="connsiteX18" fmla="*/ 344943 w 441850"/>
                <a:gd name="connsiteY18" fmla="*/ 81075 h 217325"/>
                <a:gd name="connsiteX19" fmla="*/ 338021 w 441850"/>
                <a:gd name="connsiteY19" fmla="*/ 86705 h 217325"/>
                <a:gd name="connsiteX20" fmla="*/ 336867 w 441850"/>
                <a:gd name="connsiteY20" fmla="*/ 90083 h 217325"/>
                <a:gd name="connsiteX21" fmla="*/ 339175 w 441850"/>
                <a:gd name="connsiteY21" fmla="*/ 91209 h 217325"/>
                <a:gd name="connsiteX22" fmla="*/ 349558 w 441850"/>
                <a:gd name="connsiteY22" fmla="*/ 87832 h 217325"/>
                <a:gd name="connsiteX23" fmla="*/ 357633 w 441850"/>
                <a:gd name="connsiteY23" fmla="*/ 88957 h 217325"/>
                <a:gd name="connsiteX24" fmla="*/ 361094 w 441850"/>
                <a:gd name="connsiteY24" fmla="*/ 91209 h 217325"/>
                <a:gd name="connsiteX25" fmla="*/ 362247 w 441850"/>
                <a:gd name="connsiteY25" fmla="*/ 101344 h 217325"/>
                <a:gd name="connsiteX26" fmla="*/ 358786 w 441850"/>
                <a:gd name="connsiteY26" fmla="*/ 108100 h 217325"/>
                <a:gd name="connsiteX27" fmla="*/ 350711 w 441850"/>
                <a:gd name="connsiteY27" fmla="*/ 117108 h 217325"/>
                <a:gd name="connsiteX28" fmla="*/ 350711 w 441850"/>
                <a:gd name="connsiteY28" fmla="*/ 126116 h 217325"/>
                <a:gd name="connsiteX29" fmla="*/ 350711 w 441850"/>
                <a:gd name="connsiteY29" fmla="*/ 126117 h 217325"/>
                <a:gd name="connsiteX30" fmla="*/ 350711 w 441850"/>
                <a:gd name="connsiteY30" fmla="*/ 129494 h 217325"/>
                <a:gd name="connsiteX31" fmla="*/ 361094 w 441850"/>
                <a:gd name="connsiteY31" fmla="*/ 127242 h 217325"/>
                <a:gd name="connsiteX32" fmla="*/ 361094 w 441850"/>
                <a:gd name="connsiteY32" fmla="*/ 129494 h 217325"/>
                <a:gd name="connsiteX33" fmla="*/ 365709 w 441850"/>
                <a:gd name="connsiteY33" fmla="*/ 130621 h 217325"/>
                <a:gd name="connsiteX34" fmla="*/ 371477 w 441850"/>
                <a:gd name="connsiteY34" fmla="*/ 127242 h 217325"/>
                <a:gd name="connsiteX35" fmla="*/ 384168 w 441850"/>
                <a:gd name="connsiteY35" fmla="*/ 127242 h 217325"/>
                <a:gd name="connsiteX36" fmla="*/ 402626 w 441850"/>
                <a:gd name="connsiteY36" fmla="*/ 119360 h 217325"/>
                <a:gd name="connsiteX37" fmla="*/ 403779 w 441850"/>
                <a:gd name="connsiteY37" fmla="*/ 122738 h 217325"/>
                <a:gd name="connsiteX38" fmla="*/ 416470 w 441850"/>
                <a:gd name="connsiteY38" fmla="*/ 135124 h 217325"/>
                <a:gd name="connsiteX39" fmla="*/ 421085 w 441850"/>
                <a:gd name="connsiteY39" fmla="*/ 136251 h 217325"/>
                <a:gd name="connsiteX40" fmla="*/ 425699 w 441850"/>
                <a:gd name="connsiteY40" fmla="*/ 133998 h 217325"/>
                <a:gd name="connsiteX41" fmla="*/ 433775 w 441850"/>
                <a:gd name="connsiteY41" fmla="*/ 133998 h 217325"/>
                <a:gd name="connsiteX42" fmla="*/ 441850 w 441850"/>
                <a:gd name="connsiteY42" fmla="*/ 138503 h 217325"/>
                <a:gd name="connsiteX43" fmla="*/ 431468 w 441850"/>
                <a:gd name="connsiteY43" fmla="*/ 156519 h 217325"/>
                <a:gd name="connsiteX44" fmla="*/ 410702 w 441850"/>
                <a:gd name="connsiteY44" fmla="*/ 177914 h 217325"/>
                <a:gd name="connsiteX45" fmla="*/ 391089 w 441850"/>
                <a:gd name="connsiteY45" fmla="*/ 209443 h 217325"/>
                <a:gd name="connsiteX46" fmla="*/ 385321 w 441850"/>
                <a:gd name="connsiteY46" fmla="*/ 215073 h 217325"/>
                <a:gd name="connsiteX47" fmla="*/ 379553 w 441850"/>
                <a:gd name="connsiteY47" fmla="*/ 217325 h 217325"/>
                <a:gd name="connsiteX48" fmla="*/ 370324 w 441850"/>
                <a:gd name="connsiteY48" fmla="*/ 217325 h 217325"/>
                <a:gd name="connsiteX49" fmla="*/ 364555 w 441850"/>
                <a:gd name="connsiteY49" fmla="*/ 215073 h 217325"/>
                <a:gd name="connsiteX50" fmla="*/ 341482 w 441850"/>
                <a:gd name="connsiteY50" fmla="*/ 190300 h 217325"/>
                <a:gd name="connsiteX51" fmla="*/ 325331 w 441850"/>
                <a:gd name="connsiteY51" fmla="*/ 184670 h 217325"/>
                <a:gd name="connsiteX52" fmla="*/ 312641 w 441850"/>
                <a:gd name="connsiteY52" fmla="*/ 184670 h 217325"/>
                <a:gd name="connsiteX53" fmla="*/ 293029 w 441850"/>
                <a:gd name="connsiteY53" fmla="*/ 191426 h 217325"/>
                <a:gd name="connsiteX54" fmla="*/ 269955 w 441850"/>
                <a:gd name="connsiteY54" fmla="*/ 194805 h 217325"/>
                <a:gd name="connsiteX55" fmla="*/ 234192 w 441850"/>
                <a:gd name="connsiteY55" fmla="*/ 207191 h 217325"/>
                <a:gd name="connsiteX56" fmla="*/ 214580 w 441850"/>
                <a:gd name="connsiteY56" fmla="*/ 206065 h 217325"/>
                <a:gd name="connsiteX57" fmla="*/ 190353 w 441850"/>
                <a:gd name="connsiteY57" fmla="*/ 197056 h 217325"/>
                <a:gd name="connsiteX58" fmla="*/ 173049 w 441850"/>
                <a:gd name="connsiteY58" fmla="*/ 197056 h 217325"/>
                <a:gd name="connsiteX59" fmla="*/ 153437 w 441850"/>
                <a:gd name="connsiteY59" fmla="*/ 200434 h 217325"/>
                <a:gd name="connsiteX60" fmla="*/ 143054 w 441850"/>
                <a:gd name="connsiteY60" fmla="*/ 199308 h 217325"/>
                <a:gd name="connsiteX61" fmla="*/ 133824 w 441850"/>
                <a:gd name="connsiteY61" fmla="*/ 197056 h 217325"/>
                <a:gd name="connsiteX62" fmla="*/ 111905 w 441850"/>
                <a:gd name="connsiteY62" fmla="*/ 183544 h 217325"/>
                <a:gd name="connsiteX63" fmla="*/ 98061 w 441850"/>
                <a:gd name="connsiteY63" fmla="*/ 179040 h 217325"/>
                <a:gd name="connsiteX64" fmla="*/ 84218 w 441850"/>
                <a:gd name="connsiteY64" fmla="*/ 181292 h 217325"/>
                <a:gd name="connsiteX65" fmla="*/ 55376 w 441850"/>
                <a:gd name="connsiteY65" fmla="*/ 193678 h 217325"/>
                <a:gd name="connsiteX66" fmla="*/ 47300 w 441850"/>
                <a:gd name="connsiteY66" fmla="*/ 194804 h 217325"/>
                <a:gd name="connsiteX67" fmla="*/ 33457 w 441850"/>
                <a:gd name="connsiteY67" fmla="*/ 192552 h 217325"/>
                <a:gd name="connsiteX68" fmla="*/ 39225 w 441850"/>
                <a:gd name="connsiteY68" fmla="*/ 155393 h 217325"/>
                <a:gd name="connsiteX69" fmla="*/ 18459 w 441850"/>
                <a:gd name="connsiteY69" fmla="*/ 153141 h 217325"/>
                <a:gd name="connsiteX70" fmla="*/ 10383 w 441850"/>
                <a:gd name="connsiteY70" fmla="*/ 148636 h 217325"/>
                <a:gd name="connsiteX71" fmla="*/ 9229 w 441850"/>
                <a:gd name="connsiteY71" fmla="*/ 150889 h 217325"/>
                <a:gd name="connsiteX72" fmla="*/ 5768 w 441850"/>
                <a:gd name="connsiteY72" fmla="*/ 149762 h 217325"/>
                <a:gd name="connsiteX73" fmla="*/ 4615 w 441850"/>
                <a:gd name="connsiteY73" fmla="*/ 132872 h 217325"/>
                <a:gd name="connsiteX74" fmla="*/ 0 w 441850"/>
                <a:gd name="connsiteY74" fmla="*/ 121612 h 217325"/>
                <a:gd name="connsiteX75" fmla="*/ 2307 w 441850"/>
                <a:gd name="connsiteY75" fmla="*/ 120486 h 217325"/>
                <a:gd name="connsiteX76" fmla="*/ 12691 w 441850"/>
                <a:gd name="connsiteY76" fmla="*/ 127242 h 217325"/>
                <a:gd name="connsiteX77" fmla="*/ 24227 w 441850"/>
                <a:gd name="connsiteY77" fmla="*/ 124990 h 217325"/>
                <a:gd name="connsiteX78" fmla="*/ 51915 w 441850"/>
                <a:gd name="connsiteY78" fmla="*/ 124990 h 217325"/>
                <a:gd name="connsiteX79" fmla="*/ 62298 w 441850"/>
                <a:gd name="connsiteY79" fmla="*/ 128368 h 217325"/>
                <a:gd name="connsiteX80" fmla="*/ 68066 w 441850"/>
                <a:gd name="connsiteY80" fmla="*/ 127242 h 217325"/>
                <a:gd name="connsiteX81" fmla="*/ 72680 w 441850"/>
                <a:gd name="connsiteY81" fmla="*/ 124990 h 217325"/>
                <a:gd name="connsiteX82" fmla="*/ 72680 w 441850"/>
                <a:gd name="connsiteY82" fmla="*/ 122738 h 217325"/>
                <a:gd name="connsiteX83" fmla="*/ 61144 w 441850"/>
                <a:gd name="connsiteY83" fmla="*/ 113730 h 217325"/>
                <a:gd name="connsiteX84" fmla="*/ 61144 w 441850"/>
                <a:gd name="connsiteY84" fmla="*/ 108099 h 217325"/>
                <a:gd name="connsiteX85" fmla="*/ 64605 w 441850"/>
                <a:gd name="connsiteY85" fmla="*/ 103595 h 217325"/>
                <a:gd name="connsiteX86" fmla="*/ 71527 w 441850"/>
                <a:gd name="connsiteY86" fmla="*/ 100217 h 217325"/>
                <a:gd name="connsiteX87" fmla="*/ 84218 w 441850"/>
                <a:gd name="connsiteY87" fmla="*/ 101343 h 217325"/>
                <a:gd name="connsiteX88" fmla="*/ 91139 w 441850"/>
                <a:gd name="connsiteY88" fmla="*/ 99091 h 217325"/>
                <a:gd name="connsiteX89" fmla="*/ 96908 w 441850"/>
                <a:gd name="connsiteY89" fmla="*/ 90083 h 217325"/>
                <a:gd name="connsiteX90" fmla="*/ 99215 w 441850"/>
                <a:gd name="connsiteY90" fmla="*/ 79948 h 217325"/>
                <a:gd name="connsiteX91" fmla="*/ 101522 w 441850"/>
                <a:gd name="connsiteY91" fmla="*/ 76570 h 217325"/>
                <a:gd name="connsiteX92" fmla="*/ 109597 w 441850"/>
                <a:gd name="connsiteY92" fmla="*/ 78822 h 217325"/>
                <a:gd name="connsiteX93" fmla="*/ 117673 w 441850"/>
                <a:gd name="connsiteY93" fmla="*/ 76570 h 217325"/>
                <a:gd name="connsiteX94" fmla="*/ 124595 w 441850"/>
                <a:gd name="connsiteY94" fmla="*/ 78822 h 217325"/>
                <a:gd name="connsiteX95" fmla="*/ 126902 w 441850"/>
                <a:gd name="connsiteY95" fmla="*/ 76571 h 217325"/>
                <a:gd name="connsiteX96" fmla="*/ 130363 w 441850"/>
                <a:gd name="connsiteY96" fmla="*/ 70940 h 217325"/>
                <a:gd name="connsiteX97" fmla="*/ 130363 w 441850"/>
                <a:gd name="connsiteY97" fmla="*/ 64184 h 217325"/>
                <a:gd name="connsiteX98" fmla="*/ 129210 w 441850"/>
                <a:gd name="connsiteY98" fmla="*/ 61933 h 217325"/>
                <a:gd name="connsiteX99" fmla="*/ 131517 w 441850"/>
                <a:gd name="connsiteY99" fmla="*/ 60806 h 217325"/>
                <a:gd name="connsiteX100" fmla="*/ 145361 w 441850"/>
                <a:gd name="connsiteY100" fmla="*/ 33781 h 217325"/>
                <a:gd name="connsiteX101" fmla="*/ 149975 w 441850"/>
                <a:gd name="connsiteY101" fmla="*/ 34907 h 217325"/>
                <a:gd name="connsiteX102" fmla="*/ 148821 w 441850"/>
                <a:gd name="connsiteY102" fmla="*/ 28151 h 217325"/>
                <a:gd name="connsiteX103" fmla="*/ 155744 w 441850"/>
                <a:gd name="connsiteY103" fmla="*/ 16891 h 217325"/>
                <a:gd name="connsiteX104" fmla="*/ 164973 w 441850"/>
                <a:gd name="connsiteY104" fmla="*/ 12387 h 217325"/>
                <a:gd name="connsiteX105" fmla="*/ 171895 w 441850"/>
                <a:gd name="connsiteY105" fmla="*/ 11261 h 217325"/>
                <a:gd name="connsiteX106" fmla="*/ 181124 w 441850"/>
                <a:gd name="connsiteY106" fmla="*/ 15764 h 217325"/>
                <a:gd name="connsiteX107" fmla="*/ 173048 w 441850"/>
                <a:gd name="connsiteY107" fmla="*/ 25899 h 217325"/>
                <a:gd name="connsiteX108" fmla="*/ 191507 w 441850"/>
                <a:gd name="connsiteY108" fmla="*/ 23647 h 217325"/>
                <a:gd name="connsiteX109" fmla="*/ 203043 w 441850"/>
                <a:gd name="connsiteY109" fmla="*/ 19143 h 217325"/>
                <a:gd name="connsiteX110" fmla="*/ 219194 w 441850"/>
                <a:gd name="connsiteY110" fmla="*/ 18017 h 217325"/>
                <a:gd name="connsiteX111" fmla="*/ 224963 w 441850"/>
                <a:gd name="connsiteY111" fmla="*/ 15764 h 217325"/>
                <a:gd name="connsiteX112" fmla="*/ 228424 w 441850"/>
                <a:gd name="connsiteY112" fmla="*/ 25899 h 217325"/>
                <a:gd name="connsiteX113" fmla="*/ 251496 w 441850"/>
                <a:gd name="connsiteY113" fmla="*/ 20269 h 217325"/>
                <a:gd name="connsiteX114" fmla="*/ 261880 w 441850"/>
                <a:gd name="connsiteY114" fmla="*/ 13512 h 21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41850" h="217325">
                  <a:moveTo>
                    <a:pt x="131937" y="93408"/>
                  </a:moveTo>
                  <a:lnTo>
                    <a:pt x="130363" y="95713"/>
                  </a:lnTo>
                  <a:lnTo>
                    <a:pt x="130363" y="95714"/>
                  </a:lnTo>
                  <a:close/>
                  <a:moveTo>
                    <a:pt x="126903" y="76572"/>
                  </a:moveTo>
                  <a:lnTo>
                    <a:pt x="126903" y="77696"/>
                  </a:lnTo>
                  <a:lnTo>
                    <a:pt x="133821" y="86700"/>
                  </a:lnTo>
                  <a:close/>
                  <a:moveTo>
                    <a:pt x="274570" y="0"/>
                  </a:moveTo>
                  <a:lnTo>
                    <a:pt x="287260" y="4504"/>
                  </a:lnTo>
                  <a:lnTo>
                    <a:pt x="301104" y="4504"/>
                  </a:lnTo>
                  <a:lnTo>
                    <a:pt x="305718" y="7882"/>
                  </a:lnTo>
                  <a:lnTo>
                    <a:pt x="306872" y="12387"/>
                  </a:lnTo>
                  <a:lnTo>
                    <a:pt x="305718" y="21395"/>
                  </a:lnTo>
                  <a:lnTo>
                    <a:pt x="293029" y="25899"/>
                  </a:lnTo>
                  <a:lnTo>
                    <a:pt x="316101" y="58554"/>
                  </a:lnTo>
                  <a:lnTo>
                    <a:pt x="318409" y="56302"/>
                  </a:lnTo>
                  <a:lnTo>
                    <a:pt x="327638" y="65310"/>
                  </a:lnTo>
                  <a:lnTo>
                    <a:pt x="334560" y="66436"/>
                  </a:lnTo>
                  <a:lnTo>
                    <a:pt x="344943" y="76571"/>
                  </a:lnTo>
                  <a:lnTo>
                    <a:pt x="344943" y="81075"/>
                  </a:lnTo>
                  <a:lnTo>
                    <a:pt x="338021" y="86705"/>
                  </a:lnTo>
                  <a:lnTo>
                    <a:pt x="336867" y="90083"/>
                  </a:lnTo>
                  <a:lnTo>
                    <a:pt x="339175" y="91209"/>
                  </a:lnTo>
                  <a:lnTo>
                    <a:pt x="349558" y="87832"/>
                  </a:lnTo>
                  <a:lnTo>
                    <a:pt x="357633" y="88957"/>
                  </a:lnTo>
                  <a:lnTo>
                    <a:pt x="361094" y="91209"/>
                  </a:lnTo>
                  <a:lnTo>
                    <a:pt x="362247" y="101344"/>
                  </a:lnTo>
                  <a:lnTo>
                    <a:pt x="358786" y="108100"/>
                  </a:lnTo>
                  <a:lnTo>
                    <a:pt x="350711" y="117108"/>
                  </a:lnTo>
                  <a:lnTo>
                    <a:pt x="350711" y="126116"/>
                  </a:lnTo>
                  <a:lnTo>
                    <a:pt x="350711" y="126117"/>
                  </a:lnTo>
                  <a:lnTo>
                    <a:pt x="350711" y="129494"/>
                  </a:lnTo>
                  <a:lnTo>
                    <a:pt x="361094" y="127242"/>
                  </a:lnTo>
                  <a:lnTo>
                    <a:pt x="361094" y="129494"/>
                  </a:lnTo>
                  <a:lnTo>
                    <a:pt x="365709" y="130621"/>
                  </a:lnTo>
                  <a:lnTo>
                    <a:pt x="371477" y="127242"/>
                  </a:lnTo>
                  <a:lnTo>
                    <a:pt x="384168" y="127242"/>
                  </a:lnTo>
                  <a:lnTo>
                    <a:pt x="402626" y="119360"/>
                  </a:lnTo>
                  <a:lnTo>
                    <a:pt x="403779" y="122738"/>
                  </a:lnTo>
                  <a:lnTo>
                    <a:pt x="416470" y="135124"/>
                  </a:lnTo>
                  <a:lnTo>
                    <a:pt x="421085" y="136251"/>
                  </a:lnTo>
                  <a:lnTo>
                    <a:pt x="425699" y="133998"/>
                  </a:lnTo>
                  <a:lnTo>
                    <a:pt x="433775" y="133998"/>
                  </a:lnTo>
                  <a:lnTo>
                    <a:pt x="441850" y="138503"/>
                  </a:lnTo>
                  <a:lnTo>
                    <a:pt x="431468" y="156519"/>
                  </a:lnTo>
                  <a:lnTo>
                    <a:pt x="410702" y="177914"/>
                  </a:lnTo>
                  <a:lnTo>
                    <a:pt x="391089" y="209443"/>
                  </a:lnTo>
                  <a:lnTo>
                    <a:pt x="385321" y="215073"/>
                  </a:lnTo>
                  <a:lnTo>
                    <a:pt x="379553" y="217325"/>
                  </a:lnTo>
                  <a:lnTo>
                    <a:pt x="370324" y="217325"/>
                  </a:lnTo>
                  <a:lnTo>
                    <a:pt x="364555" y="215073"/>
                  </a:lnTo>
                  <a:lnTo>
                    <a:pt x="341482" y="190300"/>
                  </a:lnTo>
                  <a:lnTo>
                    <a:pt x="325331" y="184670"/>
                  </a:lnTo>
                  <a:lnTo>
                    <a:pt x="312641" y="184670"/>
                  </a:lnTo>
                  <a:lnTo>
                    <a:pt x="293029" y="191426"/>
                  </a:lnTo>
                  <a:lnTo>
                    <a:pt x="269955" y="194805"/>
                  </a:lnTo>
                  <a:lnTo>
                    <a:pt x="234192" y="207191"/>
                  </a:lnTo>
                  <a:lnTo>
                    <a:pt x="214580" y="206065"/>
                  </a:lnTo>
                  <a:lnTo>
                    <a:pt x="190353" y="197056"/>
                  </a:lnTo>
                  <a:lnTo>
                    <a:pt x="173049" y="197056"/>
                  </a:lnTo>
                  <a:lnTo>
                    <a:pt x="153437" y="200434"/>
                  </a:lnTo>
                  <a:lnTo>
                    <a:pt x="143054" y="199308"/>
                  </a:lnTo>
                  <a:lnTo>
                    <a:pt x="133824" y="197056"/>
                  </a:lnTo>
                  <a:lnTo>
                    <a:pt x="111905" y="183544"/>
                  </a:lnTo>
                  <a:lnTo>
                    <a:pt x="98061" y="179040"/>
                  </a:lnTo>
                  <a:lnTo>
                    <a:pt x="84218" y="181292"/>
                  </a:lnTo>
                  <a:lnTo>
                    <a:pt x="55376" y="193678"/>
                  </a:lnTo>
                  <a:lnTo>
                    <a:pt x="47300" y="194804"/>
                  </a:lnTo>
                  <a:lnTo>
                    <a:pt x="33457" y="192552"/>
                  </a:lnTo>
                  <a:lnTo>
                    <a:pt x="39225" y="155393"/>
                  </a:lnTo>
                  <a:lnTo>
                    <a:pt x="18459" y="153141"/>
                  </a:lnTo>
                  <a:lnTo>
                    <a:pt x="10383" y="148636"/>
                  </a:lnTo>
                  <a:lnTo>
                    <a:pt x="9229" y="150889"/>
                  </a:lnTo>
                  <a:lnTo>
                    <a:pt x="5768" y="149762"/>
                  </a:lnTo>
                  <a:lnTo>
                    <a:pt x="4615" y="132872"/>
                  </a:lnTo>
                  <a:lnTo>
                    <a:pt x="0" y="121612"/>
                  </a:lnTo>
                  <a:lnTo>
                    <a:pt x="2307" y="120486"/>
                  </a:lnTo>
                  <a:lnTo>
                    <a:pt x="12691" y="127242"/>
                  </a:lnTo>
                  <a:lnTo>
                    <a:pt x="24227" y="124990"/>
                  </a:lnTo>
                  <a:lnTo>
                    <a:pt x="51915" y="124990"/>
                  </a:lnTo>
                  <a:lnTo>
                    <a:pt x="62298" y="128368"/>
                  </a:lnTo>
                  <a:lnTo>
                    <a:pt x="68066" y="127242"/>
                  </a:lnTo>
                  <a:lnTo>
                    <a:pt x="72680" y="124990"/>
                  </a:lnTo>
                  <a:lnTo>
                    <a:pt x="72680" y="122738"/>
                  </a:lnTo>
                  <a:lnTo>
                    <a:pt x="61144" y="113730"/>
                  </a:lnTo>
                  <a:lnTo>
                    <a:pt x="61144" y="108099"/>
                  </a:lnTo>
                  <a:lnTo>
                    <a:pt x="64605" y="103595"/>
                  </a:lnTo>
                  <a:lnTo>
                    <a:pt x="71527" y="100217"/>
                  </a:lnTo>
                  <a:lnTo>
                    <a:pt x="84218" y="101343"/>
                  </a:lnTo>
                  <a:lnTo>
                    <a:pt x="91139" y="99091"/>
                  </a:lnTo>
                  <a:lnTo>
                    <a:pt x="96908" y="90083"/>
                  </a:lnTo>
                  <a:lnTo>
                    <a:pt x="99215" y="79948"/>
                  </a:lnTo>
                  <a:lnTo>
                    <a:pt x="101522" y="76570"/>
                  </a:lnTo>
                  <a:lnTo>
                    <a:pt x="109597" y="78822"/>
                  </a:lnTo>
                  <a:lnTo>
                    <a:pt x="117673" y="76570"/>
                  </a:lnTo>
                  <a:lnTo>
                    <a:pt x="124595" y="78822"/>
                  </a:lnTo>
                  <a:lnTo>
                    <a:pt x="126902" y="76571"/>
                  </a:lnTo>
                  <a:lnTo>
                    <a:pt x="130363" y="70940"/>
                  </a:lnTo>
                  <a:lnTo>
                    <a:pt x="130363" y="64184"/>
                  </a:lnTo>
                  <a:lnTo>
                    <a:pt x="129210" y="61933"/>
                  </a:lnTo>
                  <a:lnTo>
                    <a:pt x="131517" y="60806"/>
                  </a:lnTo>
                  <a:lnTo>
                    <a:pt x="145361" y="33781"/>
                  </a:lnTo>
                  <a:lnTo>
                    <a:pt x="149975" y="34907"/>
                  </a:lnTo>
                  <a:lnTo>
                    <a:pt x="148821" y="28151"/>
                  </a:lnTo>
                  <a:lnTo>
                    <a:pt x="155744" y="16891"/>
                  </a:lnTo>
                  <a:lnTo>
                    <a:pt x="164973" y="12387"/>
                  </a:lnTo>
                  <a:lnTo>
                    <a:pt x="171895" y="11261"/>
                  </a:lnTo>
                  <a:lnTo>
                    <a:pt x="181124" y="15764"/>
                  </a:lnTo>
                  <a:lnTo>
                    <a:pt x="173048" y="25899"/>
                  </a:lnTo>
                  <a:lnTo>
                    <a:pt x="191507" y="23647"/>
                  </a:lnTo>
                  <a:lnTo>
                    <a:pt x="203043" y="19143"/>
                  </a:lnTo>
                  <a:lnTo>
                    <a:pt x="219194" y="18017"/>
                  </a:lnTo>
                  <a:lnTo>
                    <a:pt x="224963" y="15764"/>
                  </a:lnTo>
                  <a:lnTo>
                    <a:pt x="228424" y="25899"/>
                  </a:lnTo>
                  <a:lnTo>
                    <a:pt x="251496" y="20269"/>
                  </a:lnTo>
                  <a:lnTo>
                    <a:pt x="261880" y="13512"/>
                  </a:lnTo>
                  <a:close/>
                </a:path>
              </a:pathLst>
            </a:custGeom>
            <a:grp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lang="nl-NL" sz="1600" dirty="0">
                <a:solidFill>
                  <a:srgbClr val="002060"/>
                </a:solidFill>
                <a:latin typeface="Corbel" panose="020B0503020204020204" pitchFamily="34" charset="0"/>
                <a:ea typeface="Arial"/>
                <a:cs typeface="Arial"/>
                <a:sym typeface="Arial"/>
              </a:endParaRPr>
            </a:p>
          </p:txBody>
        </p:sp>
        <p:sp>
          <p:nvSpPr>
            <p:cNvPr id="391" name="Vijfheerenlanden">
              <a:extLst>
                <a:ext uri="{FF2B5EF4-FFF2-40B4-BE49-F238E27FC236}">
                  <a16:creationId xmlns:a16="http://schemas.microsoft.com/office/drawing/2014/main" id="{D412007D-F44D-489B-8D5F-201F2CBA475F}"/>
                </a:ext>
              </a:extLst>
            </p:cNvPr>
            <p:cNvSpPr/>
            <p:nvPr/>
          </p:nvSpPr>
          <p:spPr>
            <a:xfrm>
              <a:off x="5740419" y="3680144"/>
              <a:ext cx="272448" cy="227249"/>
            </a:xfrm>
            <a:custGeom>
              <a:avLst/>
              <a:gdLst>
                <a:gd name="connsiteX0" fmla="*/ 215734 w 265342"/>
                <a:gd name="connsiteY0" fmla="*/ 108100 h 239846"/>
                <a:gd name="connsiteX1" fmla="*/ 212274 w 265342"/>
                <a:gd name="connsiteY1" fmla="*/ 112603 h 239846"/>
                <a:gd name="connsiteX2" fmla="*/ 212275 w 265342"/>
                <a:gd name="connsiteY2" fmla="*/ 112604 h 239846"/>
                <a:gd name="connsiteX3" fmla="*/ 215735 w 265342"/>
                <a:gd name="connsiteY3" fmla="*/ 108100 h 239846"/>
                <a:gd name="connsiteX4" fmla="*/ 133824 w 265342"/>
                <a:gd name="connsiteY4" fmla="*/ 42790 h 239846"/>
                <a:gd name="connsiteX5" fmla="*/ 136289 w 265342"/>
                <a:gd name="connsiteY5" fmla="*/ 47601 h 239846"/>
                <a:gd name="connsiteX6" fmla="*/ 133825 w 265342"/>
                <a:gd name="connsiteY6" fmla="*/ 42790 h 239846"/>
                <a:gd name="connsiteX7" fmla="*/ 181124 w 265342"/>
                <a:gd name="connsiteY7" fmla="*/ 0 h 239846"/>
                <a:gd name="connsiteX8" fmla="*/ 194969 w 265342"/>
                <a:gd name="connsiteY8" fmla="*/ 1126 h 239846"/>
                <a:gd name="connsiteX9" fmla="*/ 220349 w 265342"/>
                <a:gd name="connsiteY9" fmla="*/ 12387 h 239846"/>
                <a:gd name="connsiteX10" fmla="*/ 224964 w 265342"/>
                <a:gd name="connsiteY10" fmla="*/ 18017 h 239846"/>
                <a:gd name="connsiteX11" fmla="*/ 228424 w 265342"/>
                <a:gd name="connsiteY11" fmla="*/ 40537 h 239846"/>
                <a:gd name="connsiteX12" fmla="*/ 231885 w 265342"/>
                <a:gd name="connsiteY12" fmla="*/ 46167 h 239846"/>
                <a:gd name="connsiteX13" fmla="*/ 238808 w 265342"/>
                <a:gd name="connsiteY13" fmla="*/ 51797 h 239846"/>
                <a:gd name="connsiteX14" fmla="*/ 257266 w 265342"/>
                <a:gd name="connsiteY14" fmla="*/ 55176 h 239846"/>
                <a:gd name="connsiteX15" fmla="*/ 265342 w 265342"/>
                <a:gd name="connsiteY15" fmla="*/ 58554 h 239846"/>
                <a:gd name="connsiteX16" fmla="*/ 234193 w 265342"/>
                <a:gd name="connsiteY16" fmla="*/ 114856 h 239846"/>
                <a:gd name="connsiteX17" fmla="*/ 215786 w 265342"/>
                <a:gd name="connsiteY17" fmla="*/ 108119 h 239846"/>
                <a:gd name="connsiteX18" fmla="*/ 233041 w 265342"/>
                <a:gd name="connsiteY18" fmla="*/ 114856 h 239846"/>
                <a:gd name="connsiteX19" fmla="*/ 230734 w 265342"/>
                <a:gd name="connsiteY19" fmla="*/ 117108 h 239846"/>
                <a:gd name="connsiteX20" fmla="*/ 231887 w 265342"/>
                <a:gd name="connsiteY20" fmla="*/ 121612 h 239846"/>
                <a:gd name="connsiteX21" fmla="*/ 218043 w 265342"/>
                <a:gd name="connsiteY21" fmla="*/ 139629 h 239846"/>
                <a:gd name="connsiteX22" fmla="*/ 219197 w 265342"/>
                <a:gd name="connsiteY22" fmla="*/ 146385 h 239846"/>
                <a:gd name="connsiteX23" fmla="*/ 214583 w 265342"/>
                <a:gd name="connsiteY23" fmla="*/ 145259 h 239846"/>
                <a:gd name="connsiteX24" fmla="*/ 200738 w 265342"/>
                <a:gd name="connsiteY24" fmla="*/ 172283 h 239846"/>
                <a:gd name="connsiteX25" fmla="*/ 198431 w 265342"/>
                <a:gd name="connsiteY25" fmla="*/ 173410 h 239846"/>
                <a:gd name="connsiteX26" fmla="*/ 199585 w 265342"/>
                <a:gd name="connsiteY26" fmla="*/ 175662 h 239846"/>
                <a:gd name="connsiteX27" fmla="*/ 199585 w 265342"/>
                <a:gd name="connsiteY27" fmla="*/ 182418 h 239846"/>
                <a:gd name="connsiteX28" fmla="*/ 193817 w 265342"/>
                <a:gd name="connsiteY28" fmla="*/ 190300 h 239846"/>
                <a:gd name="connsiteX29" fmla="*/ 186894 w 265342"/>
                <a:gd name="connsiteY29" fmla="*/ 188049 h 239846"/>
                <a:gd name="connsiteX30" fmla="*/ 178819 w 265342"/>
                <a:gd name="connsiteY30" fmla="*/ 190300 h 239846"/>
                <a:gd name="connsiteX31" fmla="*/ 170743 w 265342"/>
                <a:gd name="connsiteY31" fmla="*/ 188049 h 239846"/>
                <a:gd name="connsiteX32" fmla="*/ 168436 w 265342"/>
                <a:gd name="connsiteY32" fmla="*/ 191426 h 239846"/>
                <a:gd name="connsiteX33" fmla="*/ 166128 w 265342"/>
                <a:gd name="connsiteY33" fmla="*/ 201561 h 239846"/>
                <a:gd name="connsiteX34" fmla="*/ 160360 w 265342"/>
                <a:gd name="connsiteY34" fmla="*/ 210569 h 239846"/>
                <a:gd name="connsiteX35" fmla="*/ 153438 w 265342"/>
                <a:gd name="connsiteY35" fmla="*/ 212822 h 239846"/>
                <a:gd name="connsiteX36" fmla="*/ 140748 w 265342"/>
                <a:gd name="connsiteY36" fmla="*/ 211695 h 239846"/>
                <a:gd name="connsiteX37" fmla="*/ 133826 w 265342"/>
                <a:gd name="connsiteY37" fmla="*/ 215073 h 239846"/>
                <a:gd name="connsiteX38" fmla="*/ 130365 w 265342"/>
                <a:gd name="connsiteY38" fmla="*/ 224082 h 239846"/>
                <a:gd name="connsiteX39" fmla="*/ 132672 w 265342"/>
                <a:gd name="connsiteY39" fmla="*/ 227460 h 239846"/>
                <a:gd name="connsiteX40" fmla="*/ 141901 w 265342"/>
                <a:gd name="connsiteY40" fmla="*/ 233090 h 239846"/>
                <a:gd name="connsiteX41" fmla="*/ 141901 w 265342"/>
                <a:gd name="connsiteY41" fmla="*/ 236468 h 239846"/>
                <a:gd name="connsiteX42" fmla="*/ 139594 w 265342"/>
                <a:gd name="connsiteY42" fmla="*/ 237595 h 239846"/>
                <a:gd name="connsiteX43" fmla="*/ 131519 w 265342"/>
                <a:gd name="connsiteY43" fmla="*/ 239846 h 239846"/>
                <a:gd name="connsiteX44" fmla="*/ 121135 w 265342"/>
                <a:gd name="connsiteY44" fmla="*/ 236468 h 239846"/>
                <a:gd name="connsiteX45" fmla="*/ 103830 w 265342"/>
                <a:gd name="connsiteY45" fmla="*/ 237595 h 239846"/>
                <a:gd name="connsiteX46" fmla="*/ 104984 w 265342"/>
                <a:gd name="connsiteY46" fmla="*/ 229712 h 239846"/>
                <a:gd name="connsiteX47" fmla="*/ 98062 w 265342"/>
                <a:gd name="connsiteY47" fmla="*/ 220704 h 239846"/>
                <a:gd name="connsiteX48" fmla="*/ 102677 w 265342"/>
                <a:gd name="connsiteY48" fmla="*/ 201561 h 239846"/>
                <a:gd name="connsiteX49" fmla="*/ 103565 w 265342"/>
                <a:gd name="connsiteY49" fmla="*/ 199826 h 239846"/>
                <a:gd name="connsiteX50" fmla="*/ 71527 w 265342"/>
                <a:gd name="connsiteY50" fmla="*/ 213948 h 239846"/>
                <a:gd name="connsiteX51" fmla="*/ 70373 w 265342"/>
                <a:gd name="connsiteY51" fmla="*/ 206066 h 239846"/>
                <a:gd name="connsiteX52" fmla="*/ 74988 w 265342"/>
                <a:gd name="connsiteY52" fmla="*/ 195931 h 239846"/>
                <a:gd name="connsiteX53" fmla="*/ 71527 w 265342"/>
                <a:gd name="connsiteY53" fmla="*/ 182419 h 239846"/>
                <a:gd name="connsiteX54" fmla="*/ 70373 w 265342"/>
                <a:gd name="connsiteY54" fmla="*/ 165529 h 239846"/>
                <a:gd name="connsiteX55" fmla="*/ 48454 w 265342"/>
                <a:gd name="connsiteY55" fmla="*/ 173411 h 239846"/>
                <a:gd name="connsiteX56" fmla="*/ 48454 w 265342"/>
                <a:gd name="connsiteY56" fmla="*/ 156520 h 239846"/>
                <a:gd name="connsiteX57" fmla="*/ 39225 w 265342"/>
                <a:gd name="connsiteY57" fmla="*/ 152016 h 239846"/>
                <a:gd name="connsiteX58" fmla="*/ 38071 w 265342"/>
                <a:gd name="connsiteY58" fmla="*/ 147512 h 239846"/>
                <a:gd name="connsiteX59" fmla="*/ 39225 w 265342"/>
                <a:gd name="connsiteY59" fmla="*/ 146386 h 239846"/>
                <a:gd name="connsiteX60" fmla="*/ 29995 w 265342"/>
                <a:gd name="connsiteY60" fmla="*/ 143008 h 239846"/>
                <a:gd name="connsiteX61" fmla="*/ 21920 w 265342"/>
                <a:gd name="connsiteY61" fmla="*/ 113730 h 239846"/>
                <a:gd name="connsiteX62" fmla="*/ 12691 w 265342"/>
                <a:gd name="connsiteY62" fmla="*/ 121613 h 239846"/>
                <a:gd name="connsiteX63" fmla="*/ 5768 w 265342"/>
                <a:gd name="connsiteY63" fmla="*/ 90084 h 239846"/>
                <a:gd name="connsiteX64" fmla="*/ 2308 w 265342"/>
                <a:gd name="connsiteY64" fmla="*/ 85580 h 239846"/>
                <a:gd name="connsiteX65" fmla="*/ 0 w 265342"/>
                <a:gd name="connsiteY65" fmla="*/ 84454 h 239846"/>
                <a:gd name="connsiteX66" fmla="*/ 6922 w 265342"/>
                <a:gd name="connsiteY66" fmla="*/ 70941 h 239846"/>
                <a:gd name="connsiteX67" fmla="*/ 13844 w 265342"/>
                <a:gd name="connsiteY67" fmla="*/ 64185 h 239846"/>
                <a:gd name="connsiteX68" fmla="*/ 23074 w 265342"/>
                <a:gd name="connsiteY68" fmla="*/ 64185 h 239846"/>
                <a:gd name="connsiteX69" fmla="*/ 36917 w 265342"/>
                <a:gd name="connsiteY69" fmla="*/ 70941 h 239846"/>
                <a:gd name="connsiteX70" fmla="*/ 43839 w 265342"/>
                <a:gd name="connsiteY70" fmla="*/ 70941 h 239846"/>
                <a:gd name="connsiteX71" fmla="*/ 50761 w 265342"/>
                <a:gd name="connsiteY71" fmla="*/ 65311 h 239846"/>
                <a:gd name="connsiteX72" fmla="*/ 64605 w 265342"/>
                <a:gd name="connsiteY72" fmla="*/ 47294 h 239846"/>
                <a:gd name="connsiteX73" fmla="*/ 74988 w 265342"/>
                <a:gd name="connsiteY73" fmla="*/ 40538 h 239846"/>
                <a:gd name="connsiteX74" fmla="*/ 79603 w 265342"/>
                <a:gd name="connsiteY74" fmla="*/ 40538 h 239846"/>
                <a:gd name="connsiteX75" fmla="*/ 102676 w 265342"/>
                <a:gd name="connsiteY75" fmla="*/ 55176 h 239846"/>
                <a:gd name="connsiteX76" fmla="*/ 111905 w 265342"/>
                <a:gd name="connsiteY76" fmla="*/ 54050 h 239846"/>
                <a:gd name="connsiteX77" fmla="*/ 116520 w 265342"/>
                <a:gd name="connsiteY77" fmla="*/ 49546 h 239846"/>
                <a:gd name="connsiteX78" fmla="*/ 118827 w 265342"/>
                <a:gd name="connsiteY78" fmla="*/ 41664 h 239846"/>
                <a:gd name="connsiteX79" fmla="*/ 126903 w 265342"/>
                <a:gd name="connsiteY79" fmla="*/ 42790 h 239846"/>
                <a:gd name="connsiteX80" fmla="*/ 128056 w 265342"/>
                <a:gd name="connsiteY80" fmla="*/ 47294 h 239846"/>
                <a:gd name="connsiteX81" fmla="*/ 132572 w 265342"/>
                <a:gd name="connsiteY81" fmla="*/ 43768 h 239846"/>
                <a:gd name="connsiteX82" fmla="*/ 128056 w 265342"/>
                <a:gd name="connsiteY82" fmla="*/ 47293 h 239846"/>
                <a:gd name="connsiteX83" fmla="*/ 126903 w 265342"/>
                <a:gd name="connsiteY83" fmla="*/ 42790 h 239846"/>
                <a:gd name="connsiteX84" fmla="*/ 118827 w 265342"/>
                <a:gd name="connsiteY84" fmla="*/ 41663 h 239846"/>
                <a:gd name="connsiteX85" fmla="*/ 123442 w 265342"/>
                <a:gd name="connsiteY85" fmla="*/ 33781 h 239846"/>
                <a:gd name="connsiteX86" fmla="*/ 138439 w 265342"/>
                <a:gd name="connsiteY86" fmla="*/ 22521 h 239846"/>
                <a:gd name="connsiteX87" fmla="*/ 146515 w 265342"/>
                <a:gd name="connsiteY87" fmla="*/ 14638 h 239846"/>
                <a:gd name="connsiteX88" fmla="*/ 169588 w 265342"/>
                <a:gd name="connsiteY88" fmla="*/ 2252 h 23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65342" h="239846">
                  <a:moveTo>
                    <a:pt x="215734" y="108100"/>
                  </a:moveTo>
                  <a:lnTo>
                    <a:pt x="212274" y="112603"/>
                  </a:lnTo>
                  <a:lnTo>
                    <a:pt x="212275" y="112604"/>
                  </a:lnTo>
                  <a:lnTo>
                    <a:pt x="215735" y="108100"/>
                  </a:lnTo>
                  <a:close/>
                  <a:moveTo>
                    <a:pt x="133824" y="42790"/>
                  </a:moveTo>
                  <a:lnTo>
                    <a:pt x="136289" y="47601"/>
                  </a:lnTo>
                  <a:lnTo>
                    <a:pt x="133825" y="42790"/>
                  </a:lnTo>
                  <a:close/>
                  <a:moveTo>
                    <a:pt x="181124" y="0"/>
                  </a:moveTo>
                  <a:lnTo>
                    <a:pt x="194969" y="1126"/>
                  </a:lnTo>
                  <a:lnTo>
                    <a:pt x="220349" y="12387"/>
                  </a:lnTo>
                  <a:lnTo>
                    <a:pt x="224964" y="18017"/>
                  </a:lnTo>
                  <a:lnTo>
                    <a:pt x="228424" y="40537"/>
                  </a:lnTo>
                  <a:lnTo>
                    <a:pt x="231885" y="46167"/>
                  </a:lnTo>
                  <a:lnTo>
                    <a:pt x="238808" y="51797"/>
                  </a:lnTo>
                  <a:lnTo>
                    <a:pt x="257266" y="55176"/>
                  </a:lnTo>
                  <a:lnTo>
                    <a:pt x="265342" y="58554"/>
                  </a:lnTo>
                  <a:lnTo>
                    <a:pt x="234193" y="114856"/>
                  </a:lnTo>
                  <a:lnTo>
                    <a:pt x="215786" y="108119"/>
                  </a:lnTo>
                  <a:lnTo>
                    <a:pt x="233041" y="114856"/>
                  </a:lnTo>
                  <a:lnTo>
                    <a:pt x="230734" y="117108"/>
                  </a:lnTo>
                  <a:lnTo>
                    <a:pt x="231887" y="121612"/>
                  </a:lnTo>
                  <a:lnTo>
                    <a:pt x="218043" y="139629"/>
                  </a:lnTo>
                  <a:lnTo>
                    <a:pt x="219197" y="146385"/>
                  </a:lnTo>
                  <a:lnTo>
                    <a:pt x="214583" y="145259"/>
                  </a:lnTo>
                  <a:lnTo>
                    <a:pt x="200738" y="172283"/>
                  </a:lnTo>
                  <a:lnTo>
                    <a:pt x="198431" y="173410"/>
                  </a:lnTo>
                  <a:lnTo>
                    <a:pt x="199585" y="175662"/>
                  </a:lnTo>
                  <a:lnTo>
                    <a:pt x="199585" y="182418"/>
                  </a:lnTo>
                  <a:lnTo>
                    <a:pt x="193817" y="190300"/>
                  </a:lnTo>
                  <a:lnTo>
                    <a:pt x="186894" y="188049"/>
                  </a:lnTo>
                  <a:lnTo>
                    <a:pt x="178819" y="190300"/>
                  </a:lnTo>
                  <a:lnTo>
                    <a:pt x="170743" y="188049"/>
                  </a:lnTo>
                  <a:lnTo>
                    <a:pt x="168436" y="191426"/>
                  </a:lnTo>
                  <a:lnTo>
                    <a:pt x="166128" y="201561"/>
                  </a:lnTo>
                  <a:lnTo>
                    <a:pt x="160360" y="210569"/>
                  </a:lnTo>
                  <a:lnTo>
                    <a:pt x="153438" y="212822"/>
                  </a:lnTo>
                  <a:lnTo>
                    <a:pt x="140748" y="211695"/>
                  </a:lnTo>
                  <a:lnTo>
                    <a:pt x="133826" y="215073"/>
                  </a:lnTo>
                  <a:lnTo>
                    <a:pt x="130365" y="224082"/>
                  </a:lnTo>
                  <a:lnTo>
                    <a:pt x="132672" y="227460"/>
                  </a:lnTo>
                  <a:lnTo>
                    <a:pt x="141901" y="233090"/>
                  </a:lnTo>
                  <a:lnTo>
                    <a:pt x="141901" y="236468"/>
                  </a:lnTo>
                  <a:lnTo>
                    <a:pt x="139594" y="237595"/>
                  </a:lnTo>
                  <a:lnTo>
                    <a:pt x="131519" y="239846"/>
                  </a:lnTo>
                  <a:lnTo>
                    <a:pt x="121135" y="236468"/>
                  </a:lnTo>
                  <a:lnTo>
                    <a:pt x="103830" y="237595"/>
                  </a:lnTo>
                  <a:lnTo>
                    <a:pt x="104984" y="229712"/>
                  </a:lnTo>
                  <a:lnTo>
                    <a:pt x="98062" y="220704"/>
                  </a:lnTo>
                  <a:lnTo>
                    <a:pt x="102677" y="201561"/>
                  </a:lnTo>
                  <a:lnTo>
                    <a:pt x="103565" y="199826"/>
                  </a:lnTo>
                  <a:lnTo>
                    <a:pt x="71527" y="213948"/>
                  </a:lnTo>
                  <a:lnTo>
                    <a:pt x="70373" y="206066"/>
                  </a:lnTo>
                  <a:lnTo>
                    <a:pt x="74988" y="195931"/>
                  </a:lnTo>
                  <a:lnTo>
                    <a:pt x="71527" y="182419"/>
                  </a:lnTo>
                  <a:lnTo>
                    <a:pt x="70373" y="165529"/>
                  </a:lnTo>
                  <a:lnTo>
                    <a:pt x="48454" y="173411"/>
                  </a:lnTo>
                  <a:lnTo>
                    <a:pt x="48454" y="156520"/>
                  </a:lnTo>
                  <a:lnTo>
                    <a:pt x="39225" y="152016"/>
                  </a:lnTo>
                  <a:lnTo>
                    <a:pt x="38071" y="147512"/>
                  </a:lnTo>
                  <a:lnTo>
                    <a:pt x="39225" y="146386"/>
                  </a:lnTo>
                  <a:lnTo>
                    <a:pt x="29995" y="143008"/>
                  </a:lnTo>
                  <a:lnTo>
                    <a:pt x="21920" y="113730"/>
                  </a:lnTo>
                  <a:lnTo>
                    <a:pt x="12691" y="121613"/>
                  </a:lnTo>
                  <a:lnTo>
                    <a:pt x="5768" y="90084"/>
                  </a:lnTo>
                  <a:lnTo>
                    <a:pt x="2308" y="85580"/>
                  </a:lnTo>
                  <a:lnTo>
                    <a:pt x="0" y="84454"/>
                  </a:lnTo>
                  <a:lnTo>
                    <a:pt x="6922" y="70941"/>
                  </a:lnTo>
                  <a:lnTo>
                    <a:pt x="13844" y="64185"/>
                  </a:lnTo>
                  <a:lnTo>
                    <a:pt x="23074" y="64185"/>
                  </a:lnTo>
                  <a:lnTo>
                    <a:pt x="36917" y="70941"/>
                  </a:lnTo>
                  <a:lnTo>
                    <a:pt x="43839" y="70941"/>
                  </a:lnTo>
                  <a:lnTo>
                    <a:pt x="50761" y="65311"/>
                  </a:lnTo>
                  <a:lnTo>
                    <a:pt x="64605" y="47294"/>
                  </a:lnTo>
                  <a:lnTo>
                    <a:pt x="74988" y="40538"/>
                  </a:lnTo>
                  <a:lnTo>
                    <a:pt x="79603" y="40538"/>
                  </a:lnTo>
                  <a:lnTo>
                    <a:pt x="102676" y="55176"/>
                  </a:lnTo>
                  <a:lnTo>
                    <a:pt x="111905" y="54050"/>
                  </a:lnTo>
                  <a:lnTo>
                    <a:pt x="116520" y="49546"/>
                  </a:lnTo>
                  <a:lnTo>
                    <a:pt x="118827" y="41664"/>
                  </a:lnTo>
                  <a:lnTo>
                    <a:pt x="126903" y="42790"/>
                  </a:lnTo>
                  <a:lnTo>
                    <a:pt x="128056" y="47294"/>
                  </a:lnTo>
                  <a:lnTo>
                    <a:pt x="132572" y="43768"/>
                  </a:lnTo>
                  <a:lnTo>
                    <a:pt x="128056" y="47293"/>
                  </a:lnTo>
                  <a:lnTo>
                    <a:pt x="126903" y="42790"/>
                  </a:lnTo>
                  <a:lnTo>
                    <a:pt x="118827" y="41663"/>
                  </a:lnTo>
                  <a:lnTo>
                    <a:pt x="123442" y="33781"/>
                  </a:lnTo>
                  <a:lnTo>
                    <a:pt x="138439" y="22521"/>
                  </a:lnTo>
                  <a:lnTo>
                    <a:pt x="146515" y="14638"/>
                  </a:lnTo>
                  <a:lnTo>
                    <a:pt x="169588" y="2252"/>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2" name="Meierijstad">
              <a:extLst>
                <a:ext uri="{FF2B5EF4-FFF2-40B4-BE49-F238E27FC236}">
                  <a16:creationId xmlns:a16="http://schemas.microsoft.com/office/drawing/2014/main" id="{1C7DD31B-47D1-4C57-A7B2-8F37367E4F81}"/>
                </a:ext>
              </a:extLst>
            </p:cNvPr>
            <p:cNvSpPr/>
            <p:nvPr/>
          </p:nvSpPr>
          <p:spPr>
            <a:xfrm>
              <a:off x="6211081" y="4234785"/>
              <a:ext cx="308141" cy="215547"/>
            </a:xfrm>
            <a:custGeom>
              <a:avLst/>
              <a:gdLst>
                <a:gd name="connsiteX0" fmla="*/ 19613 w 301104"/>
                <a:gd name="connsiteY0" fmla="*/ 90080 h 221831"/>
                <a:gd name="connsiteX1" fmla="*/ 19612 w 301104"/>
                <a:gd name="connsiteY1" fmla="*/ 90083 h 221831"/>
                <a:gd name="connsiteX2" fmla="*/ 19613 w 301104"/>
                <a:gd name="connsiteY2" fmla="*/ 90083 h 221831"/>
                <a:gd name="connsiteX3" fmla="*/ 23074 w 301104"/>
                <a:gd name="connsiteY3" fmla="*/ 88957 h 221831"/>
                <a:gd name="connsiteX4" fmla="*/ 21869 w 301104"/>
                <a:gd name="connsiteY4" fmla="*/ 89349 h 221831"/>
                <a:gd name="connsiteX5" fmla="*/ 23073 w 301104"/>
                <a:gd name="connsiteY5" fmla="*/ 88958 h 221831"/>
                <a:gd name="connsiteX6" fmla="*/ 25380 w 301104"/>
                <a:gd name="connsiteY6" fmla="*/ 93462 h 221831"/>
                <a:gd name="connsiteX7" fmla="*/ 33456 w 301104"/>
                <a:gd name="connsiteY7" fmla="*/ 93462 h 221831"/>
                <a:gd name="connsiteX8" fmla="*/ 35763 w 301104"/>
                <a:gd name="connsiteY8" fmla="*/ 95714 h 221831"/>
                <a:gd name="connsiteX9" fmla="*/ 40378 w 301104"/>
                <a:gd name="connsiteY9" fmla="*/ 94588 h 221831"/>
                <a:gd name="connsiteX10" fmla="*/ 35764 w 301104"/>
                <a:gd name="connsiteY10" fmla="*/ 95713 h 221831"/>
                <a:gd name="connsiteX11" fmla="*/ 33457 w 301104"/>
                <a:gd name="connsiteY11" fmla="*/ 93461 h 221831"/>
                <a:gd name="connsiteX12" fmla="*/ 25381 w 301104"/>
                <a:gd name="connsiteY12" fmla="*/ 93461 h 221831"/>
                <a:gd name="connsiteX13" fmla="*/ 44993 w 301104"/>
                <a:gd name="connsiteY13" fmla="*/ 0 h 221831"/>
                <a:gd name="connsiteX14" fmla="*/ 101523 w 301104"/>
                <a:gd name="connsiteY14" fmla="*/ 21394 h 221831"/>
                <a:gd name="connsiteX15" fmla="*/ 137282 w 301104"/>
                <a:gd name="connsiteY15" fmla="*/ 52921 h 221831"/>
                <a:gd name="connsiteX16" fmla="*/ 132671 w 301104"/>
                <a:gd name="connsiteY16" fmla="*/ 47293 h 221831"/>
                <a:gd name="connsiteX17" fmla="*/ 140746 w 301104"/>
                <a:gd name="connsiteY17" fmla="*/ 37159 h 221831"/>
                <a:gd name="connsiteX18" fmla="*/ 140746 w 301104"/>
                <a:gd name="connsiteY18" fmla="*/ 31529 h 221831"/>
                <a:gd name="connsiteX19" fmla="*/ 153436 w 301104"/>
                <a:gd name="connsiteY19" fmla="*/ 39411 h 221831"/>
                <a:gd name="connsiteX20" fmla="*/ 161512 w 301104"/>
                <a:gd name="connsiteY20" fmla="*/ 41663 h 221831"/>
                <a:gd name="connsiteX21" fmla="*/ 162666 w 301104"/>
                <a:gd name="connsiteY21" fmla="*/ 37159 h 221831"/>
                <a:gd name="connsiteX22" fmla="*/ 168434 w 301104"/>
                <a:gd name="connsiteY22" fmla="*/ 37159 h 221831"/>
                <a:gd name="connsiteX23" fmla="*/ 170741 w 301104"/>
                <a:gd name="connsiteY23" fmla="*/ 32655 h 221831"/>
                <a:gd name="connsiteX24" fmla="*/ 178817 w 301104"/>
                <a:gd name="connsiteY24" fmla="*/ 34907 h 221831"/>
                <a:gd name="connsiteX25" fmla="*/ 181124 w 301104"/>
                <a:gd name="connsiteY25" fmla="*/ 27025 h 221831"/>
                <a:gd name="connsiteX26" fmla="*/ 178817 w 301104"/>
                <a:gd name="connsiteY26" fmla="*/ 27025 h 221831"/>
                <a:gd name="connsiteX27" fmla="*/ 179970 w 301104"/>
                <a:gd name="connsiteY27" fmla="*/ 24773 h 221831"/>
                <a:gd name="connsiteX28" fmla="*/ 204197 w 301104"/>
                <a:gd name="connsiteY28" fmla="*/ 11260 h 221831"/>
                <a:gd name="connsiteX29" fmla="*/ 208812 w 301104"/>
                <a:gd name="connsiteY29" fmla="*/ 6756 h 221831"/>
                <a:gd name="connsiteX30" fmla="*/ 219195 w 301104"/>
                <a:gd name="connsiteY30" fmla="*/ 15764 h 221831"/>
                <a:gd name="connsiteX31" fmla="*/ 228424 w 301104"/>
                <a:gd name="connsiteY31" fmla="*/ 21394 h 221831"/>
                <a:gd name="connsiteX32" fmla="*/ 227270 w 301104"/>
                <a:gd name="connsiteY32" fmla="*/ 23647 h 221831"/>
                <a:gd name="connsiteX33" fmla="*/ 226117 w 301104"/>
                <a:gd name="connsiteY33" fmla="*/ 25899 h 221831"/>
                <a:gd name="connsiteX34" fmla="*/ 227270 w 301104"/>
                <a:gd name="connsiteY34" fmla="*/ 28151 h 221831"/>
                <a:gd name="connsiteX35" fmla="*/ 234192 w 301104"/>
                <a:gd name="connsiteY35" fmla="*/ 37159 h 221831"/>
                <a:gd name="connsiteX36" fmla="*/ 235346 w 301104"/>
                <a:gd name="connsiteY36" fmla="*/ 34907 h 221831"/>
                <a:gd name="connsiteX37" fmla="*/ 243421 w 301104"/>
                <a:gd name="connsiteY37" fmla="*/ 42789 h 221831"/>
                <a:gd name="connsiteX38" fmla="*/ 248036 w 301104"/>
                <a:gd name="connsiteY38" fmla="*/ 36033 h 221831"/>
                <a:gd name="connsiteX39" fmla="*/ 265341 w 301104"/>
                <a:gd name="connsiteY39" fmla="*/ 48419 h 221831"/>
                <a:gd name="connsiteX40" fmla="*/ 286107 w 301104"/>
                <a:gd name="connsiteY40" fmla="*/ 81075 h 221831"/>
                <a:gd name="connsiteX41" fmla="*/ 291875 w 301104"/>
                <a:gd name="connsiteY41" fmla="*/ 101344 h 221831"/>
                <a:gd name="connsiteX42" fmla="*/ 295336 w 301104"/>
                <a:gd name="connsiteY42" fmla="*/ 123864 h 221831"/>
                <a:gd name="connsiteX43" fmla="*/ 301104 w 301104"/>
                <a:gd name="connsiteY43" fmla="*/ 132873 h 221831"/>
                <a:gd name="connsiteX44" fmla="*/ 297644 w 301104"/>
                <a:gd name="connsiteY44" fmla="*/ 140755 h 221831"/>
                <a:gd name="connsiteX45" fmla="*/ 283800 w 301104"/>
                <a:gd name="connsiteY45" fmla="*/ 149763 h 221831"/>
                <a:gd name="connsiteX46" fmla="*/ 269955 w 301104"/>
                <a:gd name="connsiteY46" fmla="*/ 165528 h 221831"/>
                <a:gd name="connsiteX47" fmla="*/ 264187 w 301104"/>
                <a:gd name="connsiteY47" fmla="*/ 168906 h 221831"/>
                <a:gd name="connsiteX48" fmla="*/ 261880 w 301104"/>
                <a:gd name="connsiteY48" fmla="*/ 167780 h 221831"/>
                <a:gd name="connsiteX49" fmla="*/ 260727 w 301104"/>
                <a:gd name="connsiteY49" fmla="*/ 164402 h 221831"/>
                <a:gd name="connsiteX50" fmla="*/ 256112 w 301104"/>
                <a:gd name="connsiteY50" fmla="*/ 166654 h 221831"/>
                <a:gd name="connsiteX51" fmla="*/ 250343 w 301104"/>
                <a:gd name="connsiteY51" fmla="*/ 157646 h 221831"/>
                <a:gd name="connsiteX52" fmla="*/ 240415 w 301104"/>
                <a:gd name="connsiteY52" fmla="*/ 155884 h 221831"/>
                <a:gd name="connsiteX53" fmla="*/ 235697 w 301104"/>
                <a:gd name="connsiteY53" fmla="*/ 161256 h 221831"/>
                <a:gd name="connsiteX54" fmla="*/ 231193 w 301104"/>
                <a:gd name="connsiteY54" fmla="*/ 163894 h 221831"/>
                <a:gd name="connsiteX55" fmla="*/ 229391 w 301104"/>
                <a:gd name="connsiteY55" fmla="*/ 163014 h 221831"/>
                <a:gd name="connsiteX56" fmla="*/ 228491 w 301104"/>
                <a:gd name="connsiteY56" fmla="*/ 160376 h 221831"/>
                <a:gd name="connsiteX57" fmla="*/ 224887 w 301104"/>
                <a:gd name="connsiteY57" fmla="*/ 162135 h 221831"/>
                <a:gd name="connsiteX58" fmla="*/ 220381 w 301104"/>
                <a:gd name="connsiteY58" fmla="*/ 155100 h 221831"/>
                <a:gd name="connsiteX59" fmla="*/ 217934 w 301104"/>
                <a:gd name="connsiteY59" fmla="*/ 154666 h 221831"/>
                <a:gd name="connsiteX60" fmla="*/ 193814 w 301104"/>
                <a:gd name="connsiteY60" fmla="*/ 159898 h 221831"/>
                <a:gd name="connsiteX61" fmla="*/ 183432 w 301104"/>
                <a:gd name="connsiteY61" fmla="*/ 161023 h 221831"/>
                <a:gd name="connsiteX62" fmla="*/ 184100 w 301104"/>
                <a:gd name="connsiteY62" fmla="*/ 155153 h 221831"/>
                <a:gd name="connsiteX63" fmla="*/ 183431 w 301104"/>
                <a:gd name="connsiteY63" fmla="*/ 161025 h 221831"/>
                <a:gd name="connsiteX64" fmla="*/ 170742 w 301104"/>
                <a:gd name="connsiteY64" fmla="*/ 161025 h 221831"/>
                <a:gd name="connsiteX65" fmla="*/ 183431 w 301104"/>
                <a:gd name="connsiteY65" fmla="*/ 188049 h 221831"/>
                <a:gd name="connsiteX66" fmla="*/ 181124 w 301104"/>
                <a:gd name="connsiteY66" fmla="*/ 190302 h 221831"/>
                <a:gd name="connsiteX67" fmla="*/ 185739 w 301104"/>
                <a:gd name="connsiteY67" fmla="*/ 194806 h 221831"/>
                <a:gd name="connsiteX68" fmla="*/ 162666 w 301104"/>
                <a:gd name="connsiteY68" fmla="*/ 220705 h 221831"/>
                <a:gd name="connsiteX69" fmla="*/ 159205 w 301104"/>
                <a:gd name="connsiteY69" fmla="*/ 218453 h 221831"/>
                <a:gd name="connsiteX70" fmla="*/ 155744 w 301104"/>
                <a:gd name="connsiteY70" fmla="*/ 219579 h 221831"/>
                <a:gd name="connsiteX71" fmla="*/ 148822 w 301104"/>
                <a:gd name="connsiteY71" fmla="*/ 216201 h 221831"/>
                <a:gd name="connsiteX72" fmla="*/ 145361 w 301104"/>
                <a:gd name="connsiteY72" fmla="*/ 219579 h 221831"/>
                <a:gd name="connsiteX73" fmla="*/ 144208 w 301104"/>
                <a:gd name="connsiteY73" fmla="*/ 217327 h 221831"/>
                <a:gd name="connsiteX74" fmla="*/ 141900 w 301104"/>
                <a:gd name="connsiteY74" fmla="*/ 220705 h 221831"/>
                <a:gd name="connsiteX75" fmla="*/ 136132 w 301104"/>
                <a:gd name="connsiteY75" fmla="*/ 221831 h 221831"/>
                <a:gd name="connsiteX76" fmla="*/ 136132 w 301104"/>
                <a:gd name="connsiteY76" fmla="*/ 215075 h 221831"/>
                <a:gd name="connsiteX77" fmla="*/ 139593 w 301104"/>
                <a:gd name="connsiteY77" fmla="*/ 212823 h 221831"/>
                <a:gd name="connsiteX78" fmla="*/ 133824 w 301104"/>
                <a:gd name="connsiteY78" fmla="*/ 209445 h 221831"/>
                <a:gd name="connsiteX79" fmla="*/ 129210 w 301104"/>
                <a:gd name="connsiteY79" fmla="*/ 212823 h 221831"/>
                <a:gd name="connsiteX80" fmla="*/ 123442 w 301104"/>
                <a:gd name="connsiteY80" fmla="*/ 201562 h 221831"/>
                <a:gd name="connsiteX81" fmla="*/ 122628 w 301104"/>
                <a:gd name="connsiteY81" fmla="*/ 192025 h 221831"/>
                <a:gd name="connsiteX82" fmla="*/ 121281 w 301104"/>
                <a:gd name="connsiteY82" fmla="*/ 189396 h 221831"/>
                <a:gd name="connsiteX83" fmla="*/ 121172 w 301104"/>
                <a:gd name="connsiteY83" fmla="*/ 188113 h 221831"/>
                <a:gd name="connsiteX84" fmla="*/ 102675 w 301104"/>
                <a:gd name="connsiteY84" fmla="*/ 189175 h 221831"/>
                <a:gd name="connsiteX85" fmla="*/ 69219 w 301104"/>
                <a:gd name="connsiteY85" fmla="*/ 200436 h 221831"/>
                <a:gd name="connsiteX86" fmla="*/ 66912 w 301104"/>
                <a:gd name="connsiteY86" fmla="*/ 200436 h 221831"/>
                <a:gd name="connsiteX87" fmla="*/ 63451 w 301104"/>
                <a:gd name="connsiteY87" fmla="*/ 201562 h 221831"/>
                <a:gd name="connsiteX88" fmla="*/ 61144 w 301104"/>
                <a:gd name="connsiteY88" fmla="*/ 199310 h 221831"/>
                <a:gd name="connsiteX89" fmla="*/ 54222 w 301104"/>
                <a:gd name="connsiteY89" fmla="*/ 200436 h 221831"/>
                <a:gd name="connsiteX90" fmla="*/ 53068 w 301104"/>
                <a:gd name="connsiteY90" fmla="*/ 194806 h 221831"/>
                <a:gd name="connsiteX91" fmla="*/ 42685 w 301104"/>
                <a:gd name="connsiteY91" fmla="*/ 186924 h 221831"/>
                <a:gd name="connsiteX92" fmla="*/ 41531 w 301104"/>
                <a:gd name="connsiteY92" fmla="*/ 186924 h 221831"/>
                <a:gd name="connsiteX93" fmla="*/ 34610 w 301104"/>
                <a:gd name="connsiteY93" fmla="*/ 176789 h 221831"/>
                <a:gd name="connsiteX94" fmla="*/ 33456 w 301104"/>
                <a:gd name="connsiteY94" fmla="*/ 161025 h 221831"/>
                <a:gd name="connsiteX95" fmla="*/ 35763 w 301104"/>
                <a:gd name="connsiteY95" fmla="*/ 154268 h 221831"/>
                <a:gd name="connsiteX96" fmla="*/ 29995 w 301104"/>
                <a:gd name="connsiteY96" fmla="*/ 154268 h 221831"/>
                <a:gd name="connsiteX97" fmla="*/ 27688 w 301104"/>
                <a:gd name="connsiteY97" fmla="*/ 147512 h 221831"/>
                <a:gd name="connsiteX98" fmla="*/ 29995 w 301104"/>
                <a:gd name="connsiteY98" fmla="*/ 147512 h 221831"/>
                <a:gd name="connsiteX99" fmla="*/ 28841 w 301104"/>
                <a:gd name="connsiteY99" fmla="*/ 137378 h 221831"/>
                <a:gd name="connsiteX100" fmla="*/ 32303 w 301104"/>
                <a:gd name="connsiteY100" fmla="*/ 138504 h 221831"/>
                <a:gd name="connsiteX101" fmla="*/ 32303 w 301104"/>
                <a:gd name="connsiteY101" fmla="*/ 135125 h 221831"/>
                <a:gd name="connsiteX102" fmla="*/ 34610 w 301104"/>
                <a:gd name="connsiteY102" fmla="*/ 131747 h 221831"/>
                <a:gd name="connsiteX103" fmla="*/ 26534 w 301104"/>
                <a:gd name="connsiteY103" fmla="*/ 130621 h 221831"/>
                <a:gd name="connsiteX104" fmla="*/ 20765 w 301104"/>
                <a:gd name="connsiteY104" fmla="*/ 131747 h 221831"/>
                <a:gd name="connsiteX105" fmla="*/ 23073 w 301104"/>
                <a:gd name="connsiteY105" fmla="*/ 124991 h 221831"/>
                <a:gd name="connsiteX106" fmla="*/ 19612 w 301104"/>
                <a:gd name="connsiteY106" fmla="*/ 121613 h 221831"/>
                <a:gd name="connsiteX107" fmla="*/ 18458 w 301104"/>
                <a:gd name="connsiteY107" fmla="*/ 123865 h 221831"/>
                <a:gd name="connsiteX108" fmla="*/ 17305 w 301104"/>
                <a:gd name="connsiteY108" fmla="*/ 120487 h 221831"/>
                <a:gd name="connsiteX109" fmla="*/ 19612 w 301104"/>
                <a:gd name="connsiteY109" fmla="*/ 119361 h 221831"/>
                <a:gd name="connsiteX110" fmla="*/ 10383 w 301104"/>
                <a:gd name="connsiteY110" fmla="*/ 112605 h 221831"/>
                <a:gd name="connsiteX111" fmla="*/ 14997 w 301104"/>
                <a:gd name="connsiteY111" fmla="*/ 109226 h 221831"/>
                <a:gd name="connsiteX112" fmla="*/ 19612 w 301104"/>
                <a:gd name="connsiteY112" fmla="*/ 109226 h 221831"/>
                <a:gd name="connsiteX113" fmla="*/ 16151 w 301104"/>
                <a:gd name="connsiteY113" fmla="*/ 105848 h 221831"/>
                <a:gd name="connsiteX114" fmla="*/ 14997 w 301104"/>
                <a:gd name="connsiteY114" fmla="*/ 106975 h 221831"/>
                <a:gd name="connsiteX115" fmla="*/ 10383 w 301104"/>
                <a:gd name="connsiteY115" fmla="*/ 97965 h 221831"/>
                <a:gd name="connsiteX116" fmla="*/ 12690 w 301104"/>
                <a:gd name="connsiteY116" fmla="*/ 96840 h 221831"/>
                <a:gd name="connsiteX117" fmla="*/ 14997 w 301104"/>
                <a:gd name="connsiteY117" fmla="*/ 90083 h 221831"/>
                <a:gd name="connsiteX118" fmla="*/ 9229 w 301104"/>
                <a:gd name="connsiteY118" fmla="*/ 86705 h 221831"/>
                <a:gd name="connsiteX119" fmla="*/ 19612 w 301104"/>
                <a:gd name="connsiteY119" fmla="*/ 83327 h 221831"/>
                <a:gd name="connsiteX120" fmla="*/ 19613 w 301104"/>
                <a:gd name="connsiteY120" fmla="*/ 83330 h 221831"/>
                <a:gd name="connsiteX121" fmla="*/ 19613 w 301104"/>
                <a:gd name="connsiteY121" fmla="*/ 82201 h 221831"/>
                <a:gd name="connsiteX122" fmla="*/ 24227 w 301104"/>
                <a:gd name="connsiteY122" fmla="*/ 82201 h 221831"/>
                <a:gd name="connsiteX123" fmla="*/ 20766 w 301104"/>
                <a:gd name="connsiteY123" fmla="*/ 72066 h 221831"/>
                <a:gd name="connsiteX124" fmla="*/ 21920 w 301104"/>
                <a:gd name="connsiteY124" fmla="*/ 70940 h 221831"/>
                <a:gd name="connsiteX125" fmla="*/ 19613 w 301104"/>
                <a:gd name="connsiteY125" fmla="*/ 67563 h 221831"/>
                <a:gd name="connsiteX126" fmla="*/ 20766 w 301104"/>
                <a:gd name="connsiteY126" fmla="*/ 64184 h 221831"/>
                <a:gd name="connsiteX127" fmla="*/ 17305 w 301104"/>
                <a:gd name="connsiteY127" fmla="*/ 61932 h 221831"/>
                <a:gd name="connsiteX128" fmla="*/ 18459 w 301104"/>
                <a:gd name="connsiteY128" fmla="*/ 56302 h 221831"/>
                <a:gd name="connsiteX129" fmla="*/ 14998 w 301104"/>
                <a:gd name="connsiteY129" fmla="*/ 57428 h 221831"/>
                <a:gd name="connsiteX130" fmla="*/ 13844 w 301104"/>
                <a:gd name="connsiteY130" fmla="*/ 52924 h 221831"/>
                <a:gd name="connsiteX131" fmla="*/ 14998 w 301104"/>
                <a:gd name="connsiteY131" fmla="*/ 52924 h 221831"/>
                <a:gd name="connsiteX132" fmla="*/ 12691 w 301104"/>
                <a:gd name="connsiteY132" fmla="*/ 51797 h 221831"/>
                <a:gd name="connsiteX133" fmla="*/ 13844 w 301104"/>
                <a:gd name="connsiteY133" fmla="*/ 49546 h 221831"/>
                <a:gd name="connsiteX134" fmla="*/ 17305 w 301104"/>
                <a:gd name="connsiteY134" fmla="*/ 49546 h 221831"/>
                <a:gd name="connsiteX135" fmla="*/ 12691 w 301104"/>
                <a:gd name="connsiteY135" fmla="*/ 46167 h 221831"/>
                <a:gd name="connsiteX136" fmla="*/ 12691 w 301104"/>
                <a:gd name="connsiteY136" fmla="*/ 39411 h 221831"/>
                <a:gd name="connsiteX137" fmla="*/ 3461 w 301104"/>
                <a:gd name="connsiteY137" fmla="*/ 36033 h 221831"/>
                <a:gd name="connsiteX138" fmla="*/ 0 w 301104"/>
                <a:gd name="connsiteY138" fmla="*/ 37159 h 221831"/>
                <a:gd name="connsiteX139" fmla="*/ 0 w 301104"/>
                <a:gd name="connsiteY139" fmla="*/ 30403 h 221831"/>
                <a:gd name="connsiteX140" fmla="*/ 12691 w 301104"/>
                <a:gd name="connsiteY140" fmla="*/ 28151 h 221831"/>
                <a:gd name="connsiteX141" fmla="*/ 3461 w 301104"/>
                <a:gd name="connsiteY141" fmla="*/ 25899 h 221831"/>
                <a:gd name="connsiteX142" fmla="*/ 0 w 301104"/>
                <a:gd name="connsiteY142" fmla="*/ 22521 h 221831"/>
                <a:gd name="connsiteX143" fmla="*/ 4615 w 301104"/>
                <a:gd name="connsiteY143" fmla="*/ 20268 h 221831"/>
                <a:gd name="connsiteX144" fmla="*/ 4615 w 301104"/>
                <a:gd name="connsiteY144" fmla="*/ 18017 h 221831"/>
                <a:gd name="connsiteX145" fmla="*/ 5768 w 301104"/>
                <a:gd name="connsiteY145" fmla="*/ 20268 h 221831"/>
                <a:gd name="connsiteX146" fmla="*/ 8076 w 301104"/>
                <a:gd name="connsiteY146" fmla="*/ 19143 h 221831"/>
                <a:gd name="connsiteX147" fmla="*/ 9230 w 301104"/>
                <a:gd name="connsiteY147" fmla="*/ 15764 h 221831"/>
                <a:gd name="connsiteX148" fmla="*/ 6923 w 301104"/>
                <a:gd name="connsiteY148" fmla="*/ 14638 h 221831"/>
                <a:gd name="connsiteX149" fmla="*/ 8076 w 301104"/>
                <a:gd name="connsiteY149" fmla="*/ 13512 h 221831"/>
                <a:gd name="connsiteX150" fmla="*/ 10383 w 301104"/>
                <a:gd name="connsiteY150" fmla="*/ 15764 h 221831"/>
                <a:gd name="connsiteX151" fmla="*/ 25381 w 301104"/>
                <a:gd name="connsiteY151" fmla="*/ 15764 h 221831"/>
                <a:gd name="connsiteX152" fmla="*/ 26534 w 301104"/>
                <a:gd name="connsiteY152" fmla="*/ 16891 h 221831"/>
                <a:gd name="connsiteX153" fmla="*/ 32303 w 301104"/>
                <a:gd name="connsiteY153" fmla="*/ 12386 h 221831"/>
                <a:gd name="connsiteX154" fmla="*/ 35764 w 301104"/>
                <a:gd name="connsiteY154" fmla="*/ 12386 h 221831"/>
                <a:gd name="connsiteX155" fmla="*/ 35764 w 301104"/>
                <a:gd name="connsiteY155" fmla="*/ 9008 h 221831"/>
                <a:gd name="connsiteX156" fmla="*/ 42686 w 301104"/>
                <a:gd name="connsiteY156" fmla="*/ 9008 h 221831"/>
                <a:gd name="connsiteX157" fmla="*/ 41532 w 301104"/>
                <a:gd name="connsiteY157" fmla="*/ 4504 h 221831"/>
                <a:gd name="connsiteX158" fmla="*/ 43840 w 301104"/>
                <a:gd name="connsiteY158" fmla="*/ 3378 h 221831"/>
                <a:gd name="connsiteX159" fmla="*/ 41532 w 301104"/>
                <a:gd name="connsiteY159" fmla="*/ 2252 h 221831"/>
                <a:gd name="connsiteX160" fmla="*/ 46147 w 301104"/>
                <a:gd name="connsiteY160" fmla="*/ 2252 h 2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01104" h="221831">
                  <a:moveTo>
                    <a:pt x="19613" y="90080"/>
                  </a:moveTo>
                  <a:lnTo>
                    <a:pt x="19612" y="90083"/>
                  </a:lnTo>
                  <a:lnTo>
                    <a:pt x="19613" y="90083"/>
                  </a:lnTo>
                  <a:close/>
                  <a:moveTo>
                    <a:pt x="23074" y="88957"/>
                  </a:moveTo>
                  <a:lnTo>
                    <a:pt x="21869" y="89349"/>
                  </a:lnTo>
                  <a:lnTo>
                    <a:pt x="23073" y="88958"/>
                  </a:lnTo>
                  <a:lnTo>
                    <a:pt x="25380" y="93462"/>
                  </a:lnTo>
                  <a:lnTo>
                    <a:pt x="33456" y="93462"/>
                  </a:lnTo>
                  <a:lnTo>
                    <a:pt x="35763" y="95714"/>
                  </a:lnTo>
                  <a:lnTo>
                    <a:pt x="40378" y="94588"/>
                  </a:lnTo>
                  <a:lnTo>
                    <a:pt x="35764" y="95713"/>
                  </a:lnTo>
                  <a:lnTo>
                    <a:pt x="33457" y="93461"/>
                  </a:lnTo>
                  <a:lnTo>
                    <a:pt x="25381" y="93461"/>
                  </a:lnTo>
                  <a:close/>
                  <a:moveTo>
                    <a:pt x="44993" y="0"/>
                  </a:moveTo>
                  <a:lnTo>
                    <a:pt x="101523" y="21394"/>
                  </a:lnTo>
                  <a:lnTo>
                    <a:pt x="137282" y="52921"/>
                  </a:lnTo>
                  <a:lnTo>
                    <a:pt x="132671" y="47293"/>
                  </a:lnTo>
                  <a:lnTo>
                    <a:pt x="140746" y="37159"/>
                  </a:lnTo>
                  <a:lnTo>
                    <a:pt x="140746" y="31529"/>
                  </a:lnTo>
                  <a:lnTo>
                    <a:pt x="153436" y="39411"/>
                  </a:lnTo>
                  <a:lnTo>
                    <a:pt x="161512" y="41663"/>
                  </a:lnTo>
                  <a:lnTo>
                    <a:pt x="162666" y="37159"/>
                  </a:lnTo>
                  <a:lnTo>
                    <a:pt x="168434" y="37159"/>
                  </a:lnTo>
                  <a:lnTo>
                    <a:pt x="170741" y="32655"/>
                  </a:lnTo>
                  <a:lnTo>
                    <a:pt x="178817" y="34907"/>
                  </a:lnTo>
                  <a:lnTo>
                    <a:pt x="181124" y="27025"/>
                  </a:lnTo>
                  <a:lnTo>
                    <a:pt x="178817" y="27025"/>
                  </a:lnTo>
                  <a:lnTo>
                    <a:pt x="179970" y="24773"/>
                  </a:lnTo>
                  <a:lnTo>
                    <a:pt x="204197" y="11260"/>
                  </a:lnTo>
                  <a:lnTo>
                    <a:pt x="208812" y="6756"/>
                  </a:lnTo>
                  <a:lnTo>
                    <a:pt x="219195" y="15764"/>
                  </a:lnTo>
                  <a:lnTo>
                    <a:pt x="228424" y="21394"/>
                  </a:lnTo>
                  <a:lnTo>
                    <a:pt x="227270" y="23647"/>
                  </a:lnTo>
                  <a:lnTo>
                    <a:pt x="226117" y="25899"/>
                  </a:lnTo>
                  <a:lnTo>
                    <a:pt x="227270" y="28151"/>
                  </a:lnTo>
                  <a:lnTo>
                    <a:pt x="234192" y="37159"/>
                  </a:lnTo>
                  <a:lnTo>
                    <a:pt x="235346" y="34907"/>
                  </a:lnTo>
                  <a:lnTo>
                    <a:pt x="243421" y="42789"/>
                  </a:lnTo>
                  <a:lnTo>
                    <a:pt x="248036" y="36033"/>
                  </a:lnTo>
                  <a:lnTo>
                    <a:pt x="265341" y="48419"/>
                  </a:lnTo>
                  <a:lnTo>
                    <a:pt x="286107" y="81075"/>
                  </a:lnTo>
                  <a:lnTo>
                    <a:pt x="291875" y="101344"/>
                  </a:lnTo>
                  <a:lnTo>
                    <a:pt x="295336" y="123864"/>
                  </a:lnTo>
                  <a:lnTo>
                    <a:pt x="301104" y="132873"/>
                  </a:lnTo>
                  <a:lnTo>
                    <a:pt x="297644" y="140755"/>
                  </a:lnTo>
                  <a:lnTo>
                    <a:pt x="283800" y="149763"/>
                  </a:lnTo>
                  <a:lnTo>
                    <a:pt x="269955" y="165528"/>
                  </a:lnTo>
                  <a:lnTo>
                    <a:pt x="264187" y="168906"/>
                  </a:lnTo>
                  <a:lnTo>
                    <a:pt x="261880" y="167780"/>
                  </a:lnTo>
                  <a:lnTo>
                    <a:pt x="260727" y="164402"/>
                  </a:lnTo>
                  <a:lnTo>
                    <a:pt x="256112" y="166654"/>
                  </a:lnTo>
                  <a:lnTo>
                    <a:pt x="250343" y="157646"/>
                  </a:lnTo>
                  <a:lnTo>
                    <a:pt x="240415" y="155884"/>
                  </a:lnTo>
                  <a:lnTo>
                    <a:pt x="235697" y="161256"/>
                  </a:lnTo>
                  <a:lnTo>
                    <a:pt x="231193" y="163894"/>
                  </a:lnTo>
                  <a:lnTo>
                    <a:pt x="229391" y="163014"/>
                  </a:lnTo>
                  <a:lnTo>
                    <a:pt x="228491" y="160376"/>
                  </a:lnTo>
                  <a:lnTo>
                    <a:pt x="224887" y="162135"/>
                  </a:lnTo>
                  <a:lnTo>
                    <a:pt x="220381" y="155100"/>
                  </a:lnTo>
                  <a:lnTo>
                    <a:pt x="217934" y="154666"/>
                  </a:lnTo>
                  <a:lnTo>
                    <a:pt x="193814" y="159898"/>
                  </a:lnTo>
                  <a:lnTo>
                    <a:pt x="183432" y="161023"/>
                  </a:lnTo>
                  <a:lnTo>
                    <a:pt x="184100" y="155153"/>
                  </a:lnTo>
                  <a:lnTo>
                    <a:pt x="183431" y="161025"/>
                  </a:lnTo>
                  <a:lnTo>
                    <a:pt x="170742" y="161025"/>
                  </a:lnTo>
                  <a:lnTo>
                    <a:pt x="183431" y="188049"/>
                  </a:lnTo>
                  <a:lnTo>
                    <a:pt x="181124" y="190302"/>
                  </a:lnTo>
                  <a:lnTo>
                    <a:pt x="185739" y="194806"/>
                  </a:lnTo>
                  <a:lnTo>
                    <a:pt x="162666" y="220705"/>
                  </a:lnTo>
                  <a:lnTo>
                    <a:pt x="159205" y="218453"/>
                  </a:lnTo>
                  <a:lnTo>
                    <a:pt x="155744" y="219579"/>
                  </a:lnTo>
                  <a:lnTo>
                    <a:pt x="148822" y="216201"/>
                  </a:lnTo>
                  <a:lnTo>
                    <a:pt x="145361" y="219579"/>
                  </a:lnTo>
                  <a:lnTo>
                    <a:pt x="144208" y="217327"/>
                  </a:lnTo>
                  <a:lnTo>
                    <a:pt x="141900" y="220705"/>
                  </a:lnTo>
                  <a:lnTo>
                    <a:pt x="136132" y="221831"/>
                  </a:lnTo>
                  <a:lnTo>
                    <a:pt x="136132" y="215075"/>
                  </a:lnTo>
                  <a:lnTo>
                    <a:pt x="139593" y="212823"/>
                  </a:lnTo>
                  <a:lnTo>
                    <a:pt x="133824" y="209445"/>
                  </a:lnTo>
                  <a:lnTo>
                    <a:pt x="129210" y="212823"/>
                  </a:lnTo>
                  <a:lnTo>
                    <a:pt x="123442" y="201562"/>
                  </a:lnTo>
                  <a:lnTo>
                    <a:pt x="122628" y="192025"/>
                  </a:lnTo>
                  <a:lnTo>
                    <a:pt x="121281" y="189396"/>
                  </a:lnTo>
                  <a:lnTo>
                    <a:pt x="121172" y="188113"/>
                  </a:lnTo>
                  <a:lnTo>
                    <a:pt x="102675" y="189175"/>
                  </a:lnTo>
                  <a:lnTo>
                    <a:pt x="69219" y="200436"/>
                  </a:lnTo>
                  <a:lnTo>
                    <a:pt x="66912" y="200436"/>
                  </a:lnTo>
                  <a:lnTo>
                    <a:pt x="63451" y="201562"/>
                  </a:lnTo>
                  <a:lnTo>
                    <a:pt x="61144" y="199310"/>
                  </a:lnTo>
                  <a:lnTo>
                    <a:pt x="54222" y="200436"/>
                  </a:lnTo>
                  <a:lnTo>
                    <a:pt x="53068" y="194806"/>
                  </a:lnTo>
                  <a:lnTo>
                    <a:pt x="42685" y="186924"/>
                  </a:lnTo>
                  <a:lnTo>
                    <a:pt x="41531" y="186924"/>
                  </a:lnTo>
                  <a:lnTo>
                    <a:pt x="34610" y="176789"/>
                  </a:lnTo>
                  <a:lnTo>
                    <a:pt x="33456" y="161025"/>
                  </a:lnTo>
                  <a:lnTo>
                    <a:pt x="35763" y="154268"/>
                  </a:lnTo>
                  <a:lnTo>
                    <a:pt x="29995" y="154268"/>
                  </a:lnTo>
                  <a:lnTo>
                    <a:pt x="27688" y="147512"/>
                  </a:lnTo>
                  <a:lnTo>
                    <a:pt x="29995" y="147512"/>
                  </a:lnTo>
                  <a:lnTo>
                    <a:pt x="28841" y="137378"/>
                  </a:lnTo>
                  <a:lnTo>
                    <a:pt x="32303" y="138504"/>
                  </a:lnTo>
                  <a:lnTo>
                    <a:pt x="32303" y="135125"/>
                  </a:lnTo>
                  <a:lnTo>
                    <a:pt x="34610" y="131747"/>
                  </a:lnTo>
                  <a:lnTo>
                    <a:pt x="26534" y="130621"/>
                  </a:lnTo>
                  <a:lnTo>
                    <a:pt x="20765" y="131747"/>
                  </a:lnTo>
                  <a:lnTo>
                    <a:pt x="23073" y="124991"/>
                  </a:lnTo>
                  <a:lnTo>
                    <a:pt x="19612" y="121613"/>
                  </a:lnTo>
                  <a:lnTo>
                    <a:pt x="18458" y="123865"/>
                  </a:lnTo>
                  <a:lnTo>
                    <a:pt x="17305" y="120487"/>
                  </a:lnTo>
                  <a:lnTo>
                    <a:pt x="19612" y="119361"/>
                  </a:lnTo>
                  <a:lnTo>
                    <a:pt x="10383" y="112605"/>
                  </a:lnTo>
                  <a:lnTo>
                    <a:pt x="14997" y="109226"/>
                  </a:lnTo>
                  <a:lnTo>
                    <a:pt x="19612" y="109226"/>
                  </a:lnTo>
                  <a:lnTo>
                    <a:pt x="16151" y="105848"/>
                  </a:lnTo>
                  <a:lnTo>
                    <a:pt x="14997" y="106975"/>
                  </a:lnTo>
                  <a:lnTo>
                    <a:pt x="10383" y="97965"/>
                  </a:lnTo>
                  <a:lnTo>
                    <a:pt x="12690" y="96840"/>
                  </a:lnTo>
                  <a:lnTo>
                    <a:pt x="14997" y="90083"/>
                  </a:lnTo>
                  <a:lnTo>
                    <a:pt x="9229" y="86705"/>
                  </a:lnTo>
                  <a:lnTo>
                    <a:pt x="19612" y="83327"/>
                  </a:lnTo>
                  <a:lnTo>
                    <a:pt x="19613" y="83330"/>
                  </a:lnTo>
                  <a:lnTo>
                    <a:pt x="19613" y="82201"/>
                  </a:lnTo>
                  <a:lnTo>
                    <a:pt x="24227" y="82201"/>
                  </a:lnTo>
                  <a:lnTo>
                    <a:pt x="20766" y="72066"/>
                  </a:lnTo>
                  <a:lnTo>
                    <a:pt x="21920" y="70940"/>
                  </a:lnTo>
                  <a:lnTo>
                    <a:pt x="19613" y="67563"/>
                  </a:lnTo>
                  <a:lnTo>
                    <a:pt x="20766" y="64184"/>
                  </a:lnTo>
                  <a:lnTo>
                    <a:pt x="17305" y="61932"/>
                  </a:lnTo>
                  <a:lnTo>
                    <a:pt x="18459" y="56302"/>
                  </a:lnTo>
                  <a:lnTo>
                    <a:pt x="14998" y="57428"/>
                  </a:lnTo>
                  <a:lnTo>
                    <a:pt x="13844" y="52924"/>
                  </a:lnTo>
                  <a:lnTo>
                    <a:pt x="14998" y="52924"/>
                  </a:lnTo>
                  <a:lnTo>
                    <a:pt x="12691" y="51797"/>
                  </a:lnTo>
                  <a:lnTo>
                    <a:pt x="13844" y="49546"/>
                  </a:lnTo>
                  <a:lnTo>
                    <a:pt x="17305" y="49546"/>
                  </a:lnTo>
                  <a:lnTo>
                    <a:pt x="12691" y="46167"/>
                  </a:lnTo>
                  <a:lnTo>
                    <a:pt x="12691" y="39411"/>
                  </a:lnTo>
                  <a:lnTo>
                    <a:pt x="3461" y="36033"/>
                  </a:lnTo>
                  <a:lnTo>
                    <a:pt x="0" y="37159"/>
                  </a:lnTo>
                  <a:lnTo>
                    <a:pt x="0" y="30403"/>
                  </a:lnTo>
                  <a:lnTo>
                    <a:pt x="12691" y="28151"/>
                  </a:lnTo>
                  <a:lnTo>
                    <a:pt x="3461" y="25899"/>
                  </a:lnTo>
                  <a:lnTo>
                    <a:pt x="0" y="22521"/>
                  </a:lnTo>
                  <a:lnTo>
                    <a:pt x="4615" y="20268"/>
                  </a:lnTo>
                  <a:lnTo>
                    <a:pt x="4615" y="18017"/>
                  </a:lnTo>
                  <a:lnTo>
                    <a:pt x="5768" y="20268"/>
                  </a:lnTo>
                  <a:lnTo>
                    <a:pt x="8076" y="19143"/>
                  </a:lnTo>
                  <a:lnTo>
                    <a:pt x="9230" y="15764"/>
                  </a:lnTo>
                  <a:lnTo>
                    <a:pt x="6923" y="14638"/>
                  </a:lnTo>
                  <a:lnTo>
                    <a:pt x="8076" y="13512"/>
                  </a:lnTo>
                  <a:lnTo>
                    <a:pt x="10383" y="15764"/>
                  </a:lnTo>
                  <a:lnTo>
                    <a:pt x="25381" y="15764"/>
                  </a:lnTo>
                  <a:lnTo>
                    <a:pt x="26534" y="16891"/>
                  </a:lnTo>
                  <a:lnTo>
                    <a:pt x="32303" y="12386"/>
                  </a:lnTo>
                  <a:lnTo>
                    <a:pt x="35764" y="12386"/>
                  </a:lnTo>
                  <a:lnTo>
                    <a:pt x="35764" y="9008"/>
                  </a:lnTo>
                  <a:lnTo>
                    <a:pt x="42686" y="9008"/>
                  </a:lnTo>
                  <a:lnTo>
                    <a:pt x="41532" y="4504"/>
                  </a:lnTo>
                  <a:lnTo>
                    <a:pt x="43840" y="3378"/>
                  </a:lnTo>
                  <a:lnTo>
                    <a:pt x="41532" y="2252"/>
                  </a:lnTo>
                  <a:lnTo>
                    <a:pt x="46147" y="2252"/>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3" name="Noordwijk">
              <a:extLst>
                <a:ext uri="{FF2B5EF4-FFF2-40B4-BE49-F238E27FC236}">
                  <a16:creationId xmlns:a16="http://schemas.microsoft.com/office/drawing/2014/main" id="{D4FAAC7C-7B34-4CC1-B99E-43A6D006A322}"/>
                </a:ext>
              </a:extLst>
            </p:cNvPr>
            <p:cNvSpPr/>
            <p:nvPr/>
          </p:nvSpPr>
          <p:spPr>
            <a:xfrm>
              <a:off x="5196067" y="3152176"/>
              <a:ext cx="169616" cy="188056"/>
            </a:xfrm>
            <a:custGeom>
              <a:avLst/>
              <a:gdLst>
                <a:gd name="connsiteX0" fmla="*/ 93446 w 166128"/>
                <a:gd name="connsiteY0" fmla="*/ 0 h 199309"/>
                <a:gd name="connsiteX1" fmla="*/ 145362 w 166128"/>
                <a:gd name="connsiteY1" fmla="*/ 22520 h 199309"/>
                <a:gd name="connsiteX2" fmla="*/ 144444 w 166128"/>
                <a:gd name="connsiteY2" fmla="*/ 23736 h 199309"/>
                <a:gd name="connsiteX3" fmla="*/ 144445 w 166128"/>
                <a:gd name="connsiteY3" fmla="*/ 23737 h 199309"/>
                <a:gd name="connsiteX4" fmla="*/ 145362 w 166128"/>
                <a:gd name="connsiteY4" fmla="*/ 22522 h 199309"/>
                <a:gd name="connsiteX5" fmla="*/ 153438 w 166128"/>
                <a:gd name="connsiteY5" fmla="*/ 25900 h 199309"/>
                <a:gd name="connsiteX6" fmla="*/ 166128 w 166128"/>
                <a:gd name="connsiteY6" fmla="*/ 32656 h 199309"/>
                <a:gd name="connsiteX7" fmla="*/ 156899 w 166128"/>
                <a:gd name="connsiteY7" fmla="*/ 49547 h 199309"/>
                <a:gd name="connsiteX8" fmla="*/ 146516 w 166128"/>
                <a:gd name="connsiteY8" fmla="*/ 63060 h 199309"/>
                <a:gd name="connsiteX9" fmla="*/ 137286 w 166128"/>
                <a:gd name="connsiteY9" fmla="*/ 83329 h 199309"/>
                <a:gd name="connsiteX10" fmla="*/ 136133 w 166128"/>
                <a:gd name="connsiteY10" fmla="*/ 82203 h 199309"/>
                <a:gd name="connsiteX11" fmla="*/ 130365 w 166128"/>
                <a:gd name="connsiteY11" fmla="*/ 90085 h 199309"/>
                <a:gd name="connsiteX12" fmla="*/ 133826 w 166128"/>
                <a:gd name="connsiteY12" fmla="*/ 92336 h 199309"/>
                <a:gd name="connsiteX13" fmla="*/ 119981 w 166128"/>
                <a:gd name="connsiteY13" fmla="*/ 112606 h 199309"/>
                <a:gd name="connsiteX14" fmla="*/ 113059 w 166128"/>
                <a:gd name="connsiteY14" fmla="*/ 121614 h 199309"/>
                <a:gd name="connsiteX15" fmla="*/ 101522 w 166128"/>
                <a:gd name="connsiteY15" fmla="*/ 130623 h 199309"/>
                <a:gd name="connsiteX16" fmla="*/ 74988 w 166128"/>
                <a:gd name="connsiteY16" fmla="*/ 158774 h 199309"/>
                <a:gd name="connsiteX17" fmla="*/ 74987 w 166128"/>
                <a:gd name="connsiteY17" fmla="*/ 158773 h 199309"/>
                <a:gd name="connsiteX18" fmla="*/ 63452 w 166128"/>
                <a:gd name="connsiteY18" fmla="*/ 170032 h 199309"/>
                <a:gd name="connsiteX19" fmla="*/ 68066 w 166128"/>
                <a:gd name="connsiteY19" fmla="*/ 175662 h 199309"/>
                <a:gd name="connsiteX20" fmla="*/ 65759 w 166128"/>
                <a:gd name="connsiteY20" fmla="*/ 177914 h 199309"/>
                <a:gd name="connsiteX21" fmla="*/ 66912 w 166128"/>
                <a:gd name="connsiteY21" fmla="*/ 179040 h 199309"/>
                <a:gd name="connsiteX22" fmla="*/ 61144 w 166128"/>
                <a:gd name="connsiteY22" fmla="*/ 182419 h 199309"/>
                <a:gd name="connsiteX23" fmla="*/ 62298 w 166128"/>
                <a:gd name="connsiteY23" fmla="*/ 183545 h 199309"/>
                <a:gd name="connsiteX24" fmla="*/ 61144 w 166128"/>
                <a:gd name="connsiteY24" fmla="*/ 185797 h 199309"/>
                <a:gd name="connsiteX25" fmla="*/ 51915 w 166128"/>
                <a:gd name="connsiteY25" fmla="*/ 188049 h 199309"/>
                <a:gd name="connsiteX26" fmla="*/ 47300 w 166128"/>
                <a:gd name="connsiteY26" fmla="*/ 192553 h 199309"/>
                <a:gd name="connsiteX27" fmla="*/ 43840 w 166128"/>
                <a:gd name="connsiteY27" fmla="*/ 190301 h 199309"/>
                <a:gd name="connsiteX28" fmla="*/ 35764 w 166128"/>
                <a:gd name="connsiteY28" fmla="*/ 199309 h 199309"/>
                <a:gd name="connsiteX29" fmla="*/ 32303 w 166128"/>
                <a:gd name="connsiteY29" fmla="*/ 192553 h 199309"/>
                <a:gd name="connsiteX30" fmla="*/ 31149 w 166128"/>
                <a:gd name="connsiteY30" fmla="*/ 193679 h 199309"/>
                <a:gd name="connsiteX31" fmla="*/ 28842 w 166128"/>
                <a:gd name="connsiteY31" fmla="*/ 189175 h 199309"/>
                <a:gd name="connsiteX32" fmla="*/ 24227 w 166128"/>
                <a:gd name="connsiteY32" fmla="*/ 191427 h 199309"/>
                <a:gd name="connsiteX33" fmla="*/ 20766 w 166128"/>
                <a:gd name="connsiteY33" fmla="*/ 184670 h 199309"/>
                <a:gd name="connsiteX34" fmla="*/ 17306 w 166128"/>
                <a:gd name="connsiteY34" fmla="*/ 186922 h 199309"/>
                <a:gd name="connsiteX35" fmla="*/ 13844 w 166128"/>
                <a:gd name="connsiteY35" fmla="*/ 186922 h 199309"/>
                <a:gd name="connsiteX36" fmla="*/ 0 w 166128"/>
                <a:gd name="connsiteY36" fmla="*/ 179040 h 199309"/>
                <a:gd name="connsiteX37" fmla="*/ 38071 w 166128"/>
                <a:gd name="connsiteY37" fmla="*/ 112604 h 199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128" h="199309">
                  <a:moveTo>
                    <a:pt x="93446" y="0"/>
                  </a:moveTo>
                  <a:lnTo>
                    <a:pt x="145362" y="22520"/>
                  </a:lnTo>
                  <a:lnTo>
                    <a:pt x="144444" y="23736"/>
                  </a:lnTo>
                  <a:lnTo>
                    <a:pt x="144445" y="23737"/>
                  </a:lnTo>
                  <a:lnTo>
                    <a:pt x="145362" y="22522"/>
                  </a:lnTo>
                  <a:lnTo>
                    <a:pt x="153438" y="25900"/>
                  </a:lnTo>
                  <a:lnTo>
                    <a:pt x="166128" y="32656"/>
                  </a:lnTo>
                  <a:lnTo>
                    <a:pt x="156899" y="49547"/>
                  </a:lnTo>
                  <a:lnTo>
                    <a:pt x="146516" y="63060"/>
                  </a:lnTo>
                  <a:lnTo>
                    <a:pt x="137286" y="83329"/>
                  </a:lnTo>
                  <a:lnTo>
                    <a:pt x="136133" y="82203"/>
                  </a:lnTo>
                  <a:lnTo>
                    <a:pt x="130365" y="90085"/>
                  </a:lnTo>
                  <a:lnTo>
                    <a:pt x="133826" y="92336"/>
                  </a:lnTo>
                  <a:lnTo>
                    <a:pt x="119981" y="112606"/>
                  </a:lnTo>
                  <a:lnTo>
                    <a:pt x="113059" y="121614"/>
                  </a:lnTo>
                  <a:lnTo>
                    <a:pt x="101522" y="130623"/>
                  </a:lnTo>
                  <a:lnTo>
                    <a:pt x="74988" y="158774"/>
                  </a:lnTo>
                  <a:lnTo>
                    <a:pt x="74987" y="158773"/>
                  </a:lnTo>
                  <a:lnTo>
                    <a:pt x="63452" y="170032"/>
                  </a:lnTo>
                  <a:lnTo>
                    <a:pt x="68066" y="175662"/>
                  </a:lnTo>
                  <a:lnTo>
                    <a:pt x="65759" y="177914"/>
                  </a:lnTo>
                  <a:lnTo>
                    <a:pt x="66912" y="179040"/>
                  </a:lnTo>
                  <a:lnTo>
                    <a:pt x="61144" y="182419"/>
                  </a:lnTo>
                  <a:lnTo>
                    <a:pt x="62298" y="183545"/>
                  </a:lnTo>
                  <a:lnTo>
                    <a:pt x="61144" y="185797"/>
                  </a:lnTo>
                  <a:lnTo>
                    <a:pt x="51915" y="188049"/>
                  </a:lnTo>
                  <a:lnTo>
                    <a:pt x="47300" y="192553"/>
                  </a:lnTo>
                  <a:lnTo>
                    <a:pt x="43840" y="190301"/>
                  </a:lnTo>
                  <a:lnTo>
                    <a:pt x="35764" y="199309"/>
                  </a:lnTo>
                  <a:lnTo>
                    <a:pt x="32303" y="192553"/>
                  </a:lnTo>
                  <a:lnTo>
                    <a:pt x="31149" y="193679"/>
                  </a:lnTo>
                  <a:lnTo>
                    <a:pt x="28842" y="189175"/>
                  </a:lnTo>
                  <a:lnTo>
                    <a:pt x="24227" y="191427"/>
                  </a:lnTo>
                  <a:lnTo>
                    <a:pt x="20766" y="184670"/>
                  </a:lnTo>
                  <a:lnTo>
                    <a:pt x="17306" y="186922"/>
                  </a:lnTo>
                  <a:lnTo>
                    <a:pt x="13844" y="186922"/>
                  </a:lnTo>
                  <a:lnTo>
                    <a:pt x="0" y="179040"/>
                  </a:lnTo>
                  <a:lnTo>
                    <a:pt x="38071" y="112604"/>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4" name="Het Hogeland">
              <a:extLst>
                <a:ext uri="{FF2B5EF4-FFF2-40B4-BE49-F238E27FC236}">
                  <a16:creationId xmlns:a16="http://schemas.microsoft.com/office/drawing/2014/main" id="{D93CD85B-DD1C-4B1A-B46C-881175631AEA}"/>
                </a:ext>
              </a:extLst>
            </p:cNvPr>
            <p:cNvSpPr/>
            <p:nvPr/>
          </p:nvSpPr>
          <p:spPr>
            <a:xfrm>
              <a:off x="7035982" y="1174739"/>
              <a:ext cx="720878" cy="491515"/>
            </a:xfrm>
            <a:custGeom>
              <a:avLst/>
              <a:gdLst>
                <a:gd name="connsiteX0" fmla="*/ 273413 w 711807"/>
                <a:gd name="connsiteY0" fmla="*/ 376108 h 502214"/>
                <a:gd name="connsiteX1" fmla="*/ 272263 w 711807"/>
                <a:gd name="connsiteY1" fmla="*/ 379475 h 502214"/>
                <a:gd name="connsiteX2" fmla="*/ 272479 w 711807"/>
                <a:gd name="connsiteY2" fmla="*/ 379757 h 502214"/>
                <a:gd name="connsiteX3" fmla="*/ 28897 w 711807"/>
                <a:gd name="connsiteY3" fmla="*/ 319688 h 502214"/>
                <a:gd name="connsiteX4" fmla="*/ 29995 w 711807"/>
                <a:gd name="connsiteY4" fmla="*/ 319795 h 502214"/>
                <a:gd name="connsiteX5" fmla="*/ 28842 w 711807"/>
                <a:gd name="connsiteY5" fmla="*/ 319795 h 502214"/>
                <a:gd name="connsiteX6" fmla="*/ 32302 w 711807"/>
                <a:gd name="connsiteY6" fmla="*/ 317543 h 502214"/>
                <a:gd name="connsiteX7" fmla="*/ 34610 w 711807"/>
                <a:gd name="connsiteY7" fmla="*/ 318669 h 502214"/>
                <a:gd name="connsiteX8" fmla="*/ 34610 w 711807"/>
                <a:gd name="connsiteY8" fmla="*/ 320921 h 502214"/>
                <a:gd name="connsiteX9" fmla="*/ 31149 w 711807"/>
                <a:gd name="connsiteY9" fmla="*/ 319795 h 502214"/>
                <a:gd name="connsiteX10" fmla="*/ 61252 w 711807"/>
                <a:gd name="connsiteY10" fmla="*/ 309133 h 502214"/>
                <a:gd name="connsiteX11" fmla="*/ 62874 w 711807"/>
                <a:gd name="connsiteY11" fmla="*/ 311350 h 502214"/>
                <a:gd name="connsiteX12" fmla="*/ 61144 w 711807"/>
                <a:gd name="connsiteY12" fmla="*/ 309661 h 502214"/>
                <a:gd name="connsiteX13" fmla="*/ 28842 w 711807"/>
                <a:gd name="connsiteY13" fmla="*/ 305156 h 502214"/>
                <a:gd name="connsiteX14" fmla="*/ 31149 w 711807"/>
                <a:gd name="connsiteY14" fmla="*/ 305156 h 502214"/>
                <a:gd name="connsiteX15" fmla="*/ 31149 w 711807"/>
                <a:gd name="connsiteY15" fmla="*/ 308535 h 502214"/>
                <a:gd name="connsiteX16" fmla="*/ 13844 w 711807"/>
                <a:gd name="connsiteY16" fmla="*/ 300653 h 502214"/>
                <a:gd name="connsiteX17" fmla="*/ 19612 w 711807"/>
                <a:gd name="connsiteY17" fmla="*/ 304031 h 502214"/>
                <a:gd name="connsiteX18" fmla="*/ 26534 w 711807"/>
                <a:gd name="connsiteY18" fmla="*/ 305156 h 502214"/>
                <a:gd name="connsiteX19" fmla="*/ 28842 w 711807"/>
                <a:gd name="connsiteY19" fmla="*/ 307409 h 502214"/>
                <a:gd name="connsiteX20" fmla="*/ 27688 w 711807"/>
                <a:gd name="connsiteY20" fmla="*/ 315291 h 502214"/>
                <a:gd name="connsiteX21" fmla="*/ 29995 w 711807"/>
                <a:gd name="connsiteY21" fmla="*/ 317543 h 502214"/>
                <a:gd name="connsiteX22" fmla="*/ 28897 w 711807"/>
                <a:gd name="connsiteY22" fmla="*/ 319688 h 502214"/>
                <a:gd name="connsiteX23" fmla="*/ 18459 w 711807"/>
                <a:gd name="connsiteY23" fmla="*/ 318669 h 502214"/>
                <a:gd name="connsiteX24" fmla="*/ 5768 w 711807"/>
                <a:gd name="connsiteY24" fmla="*/ 309661 h 502214"/>
                <a:gd name="connsiteX25" fmla="*/ 14998 w 711807"/>
                <a:gd name="connsiteY25" fmla="*/ 317543 h 502214"/>
                <a:gd name="connsiteX26" fmla="*/ 3461 w 711807"/>
                <a:gd name="connsiteY26" fmla="*/ 308535 h 502214"/>
                <a:gd name="connsiteX27" fmla="*/ 4615 w 711807"/>
                <a:gd name="connsiteY27" fmla="*/ 302905 h 502214"/>
                <a:gd name="connsiteX28" fmla="*/ 9229 w 711807"/>
                <a:gd name="connsiteY28" fmla="*/ 305156 h 502214"/>
                <a:gd name="connsiteX29" fmla="*/ 11536 w 711807"/>
                <a:gd name="connsiteY29" fmla="*/ 310787 h 502214"/>
                <a:gd name="connsiteX30" fmla="*/ 11536 w 711807"/>
                <a:gd name="connsiteY30" fmla="*/ 302905 h 502214"/>
                <a:gd name="connsiteX31" fmla="*/ 14998 w 711807"/>
                <a:gd name="connsiteY31" fmla="*/ 282636 h 502214"/>
                <a:gd name="connsiteX32" fmla="*/ 16151 w 711807"/>
                <a:gd name="connsiteY32" fmla="*/ 283762 h 502214"/>
                <a:gd name="connsiteX33" fmla="*/ 14998 w 711807"/>
                <a:gd name="connsiteY33" fmla="*/ 283762 h 502214"/>
                <a:gd name="connsiteX34" fmla="*/ 16151 w 711807"/>
                <a:gd name="connsiteY34" fmla="*/ 280383 h 502214"/>
                <a:gd name="connsiteX35" fmla="*/ 17305 w 711807"/>
                <a:gd name="connsiteY35" fmla="*/ 281510 h 502214"/>
                <a:gd name="connsiteX36" fmla="*/ 17305 w 711807"/>
                <a:gd name="connsiteY36" fmla="*/ 282636 h 502214"/>
                <a:gd name="connsiteX37" fmla="*/ 8076 w 711807"/>
                <a:gd name="connsiteY37" fmla="*/ 280383 h 502214"/>
                <a:gd name="connsiteX38" fmla="*/ 10383 w 711807"/>
                <a:gd name="connsiteY38" fmla="*/ 282636 h 502214"/>
                <a:gd name="connsiteX39" fmla="*/ 5768 w 711807"/>
                <a:gd name="connsiteY39" fmla="*/ 287140 h 502214"/>
                <a:gd name="connsiteX40" fmla="*/ 4615 w 711807"/>
                <a:gd name="connsiteY40" fmla="*/ 281510 h 502214"/>
                <a:gd name="connsiteX41" fmla="*/ 1154 w 711807"/>
                <a:gd name="connsiteY41" fmla="*/ 274753 h 502214"/>
                <a:gd name="connsiteX42" fmla="*/ 3461 w 711807"/>
                <a:gd name="connsiteY42" fmla="*/ 275880 h 502214"/>
                <a:gd name="connsiteX43" fmla="*/ 1154 w 711807"/>
                <a:gd name="connsiteY43" fmla="*/ 278132 h 502214"/>
                <a:gd name="connsiteX44" fmla="*/ 49608 w 711807"/>
                <a:gd name="connsiteY44" fmla="*/ 270250 h 502214"/>
                <a:gd name="connsiteX45" fmla="*/ 53068 w 711807"/>
                <a:gd name="connsiteY45" fmla="*/ 273627 h 502214"/>
                <a:gd name="connsiteX46" fmla="*/ 44993 w 711807"/>
                <a:gd name="connsiteY46" fmla="*/ 275880 h 502214"/>
                <a:gd name="connsiteX47" fmla="*/ 40378 w 711807"/>
                <a:gd name="connsiteY47" fmla="*/ 274753 h 502214"/>
                <a:gd name="connsiteX48" fmla="*/ 43839 w 711807"/>
                <a:gd name="connsiteY48" fmla="*/ 271375 h 502214"/>
                <a:gd name="connsiteX49" fmla="*/ 12691 w 711807"/>
                <a:gd name="connsiteY49" fmla="*/ 248854 h 502214"/>
                <a:gd name="connsiteX50" fmla="*/ 11536 w 711807"/>
                <a:gd name="connsiteY50" fmla="*/ 249981 h 502214"/>
                <a:gd name="connsiteX51" fmla="*/ 5768 w 711807"/>
                <a:gd name="connsiteY51" fmla="*/ 252233 h 502214"/>
                <a:gd name="connsiteX52" fmla="*/ 113751 w 711807"/>
                <a:gd name="connsiteY52" fmla="*/ 242293 h 502214"/>
                <a:gd name="connsiteX53" fmla="*/ 113022 w 711807"/>
                <a:gd name="connsiteY53" fmla="*/ 245137 h 502214"/>
                <a:gd name="connsiteX54" fmla="*/ 111428 w 711807"/>
                <a:gd name="connsiteY54" fmla="*/ 246693 h 502214"/>
                <a:gd name="connsiteX55" fmla="*/ 109833 w 711807"/>
                <a:gd name="connsiteY55" fmla="*/ 245137 h 502214"/>
                <a:gd name="connsiteX56" fmla="*/ 110630 w 711807"/>
                <a:gd name="connsiteY56" fmla="*/ 242801 h 502214"/>
                <a:gd name="connsiteX57" fmla="*/ 113820 w 711807"/>
                <a:gd name="connsiteY57" fmla="*/ 242022 h 502214"/>
                <a:gd name="connsiteX58" fmla="*/ 115415 w 711807"/>
                <a:gd name="connsiteY58" fmla="*/ 242022 h 502214"/>
                <a:gd name="connsiteX59" fmla="*/ 113751 w 711807"/>
                <a:gd name="connsiteY59" fmla="*/ 242293 h 502214"/>
                <a:gd name="connsiteX60" fmla="*/ 18359 w 711807"/>
                <a:gd name="connsiteY60" fmla="*/ 241364 h 502214"/>
                <a:gd name="connsiteX61" fmla="*/ 17305 w 711807"/>
                <a:gd name="connsiteY61" fmla="*/ 245477 h 502214"/>
                <a:gd name="connsiteX62" fmla="*/ 14998 w 711807"/>
                <a:gd name="connsiteY62" fmla="*/ 247728 h 502214"/>
                <a:gd name="connsiteX63" fmla="*/ 12691 w 711807"/>
                <a:gd name="connsiteY63" fmla="*/ 245477 h 502214"/>
                <a:gd name="connsiteX64" fmla="*/ 13844 w 711807"/>
                <a:gd name="connsiteY64" fmla="*/ 242098 h 502214"/>
                <a:gd name="connsiteX65" fmla="*/ 18459 w 711807"/>
                <a:gd name="connsiteY65" fmla="*/ 240972 h 502214"/>
                <a:gd name="connsiteX66" fmla="*/ 20766 w 711807"/>
                <a:gd name="connsiteY66" fmla="*/ 240972 h 502214"/>
                <a:gd name="connsiteX67" fmla="*/ 18359 w 711807"/>
                <a:gd name="connsiteY67" fmla="*/ 241364 h 502214"/>
                <a:gd name="connsiteX68" fmla="*/ 357235 w 711807"/>
                <a:gd name="connsiteY68" fmla="*/ 215452 h 502214"/>
                <a:gd name="connsiteX69" fmla="*/ 357230 w 711807"/>
                <a:gd name="connsiteY69" fmla="*/ 215453 h 502214"/>
                <a:gd name="connsiteX70" fmla="*/ 357230 w 711807"/>
                <a:gd name="connsiteY70" fmla="*/ 215454 h 502214"/>
                <a:gd name="connsiteX71" fmla="*/ 357235 w 711807"/>
                <a:gd name="connsiteY71" fmla="*/ 215453 h 502214"/>
                <a:gd name="connsiteX72" fmla="*/ 346097 w 711807"/>
                <a:gd name="connsiteY72" fmla="*/ 211695 h 502214"/>
                <a:gd name="connsiteX73" fmla="*/ 339175 w 711807"/>
                <a:gd name="connsiteY73" fmla="*/ 212822 h 502214"/>
                <a:gd name="connsiteX74" fmla="*/ 346097 w 711807"/>
                <a:gd name="connsiteY74" fmla="*/ 211696 h 502214"/>
                <a:gd name="connsiteX75" fmla="*/ 352552 w 711807"/>
                <a:gd name="connsiteY75" fmla="*/ 215296 h 502214"/>
                <a:gd name="connsiteX76" fmla="*/ 352554 w 711807"/>
                <a:gd name="connsiteY76" fmla="*/ 215296 h 502214"/>
                <a:gd name="connsiteX77" fmla="*/ 370328 w 711807"/>
                <a:gd name="connsiteY77" fmla="*/ 201578 h 502214"/>
                <a:gd name="connsiteX78" fmla="*/ 372410 w 711807"/>
                <a:gd name="connsiteY78" fmla="*/ 210722 h 502214"/>
                <a:gd name="connsiteX79" fmla="*/ 372485 w 711807"/>
                <a:gd name="connsiteY79" fmla="*/ 210701 h 502214"/>
                <a:gd name="connsiteX80" fmla="*/ 667968 w 711807"/>
                <a:gd name="connsiteY80" fmla="*/ 149763 h 502214"/>
                <a:gd name="connsiteX81" fmla="*/ 669122 w 711807"/>
                <a:gd name="connsiteY81" fmla="*/ 155393 h 502214"/>
                <a:gd name="connsiteX82" fmla="*/ 669017 w 711807"/>
                <a:gd name="connsiteY82" fmla="*/ 155905 h 502214"/>
                <a:gd name="connsiteX83" fmla="*/ 571061 w 711807"/>
                <a:gd name="connsiteY83" fmla="*/ 143007 h 502214"/>
                <a:gd name="connsiteX84" fmla="*/ 583751 w 711807"/>
                <a:gd name="connsiteY84" fmla="*/ 144133 h 502214"/>
                <a:gd name="connsiteX85" fmla="*/ 609132 w 711807"/>
                <a:gd name="connsiteY85" fmla="*/ 153141 h 502214"/>
                <a:gd name="connsiteX86" fmla="*/ 624129 w 711807"/>
                <a:gd name="connsiteY86" fmla="*/ 159898 h 502214"/>
                <a:gd name="connsiteX87" fmla="*/ 639126 w 711807"/>
                <a:gd name="connsiteY87" fmla="*/ 146385 h 502214"/>
                <a:gd name="connsiteX88" fmla="*/ 655277 w 711807"/>
                <a:gd name="connsiteY88" fmla="*/ 150889 h 502214"/>
                <a:gd name="connsiteX89" fmla="*/ 661046 w 711807"/>
                <a:gd name="connsiteY89" fmla="*/ 146385 h 502214"/>
                <a:gd name="connsiteX90" fmla="*/ 657585 w 711807"/>
                <a:gd name="connsiteY90" fmla="*/ 152015 h 502214"/>
                <a:gd name="connsiteX91" fmla="*/ 661046 w 711807"/>
                <a:gd name="connsiteY91" fmla="*/ 156519 h 502214"/>
                <a:gd name="connsiteX92" fmla="*/ 655277 w 711807"/>
                <a:gd name="connsiteY92" fmla="*/ 156519 h 502214"/>
                <a:gd name="connsiteX93" fmla="*/ 661046 w 711807"/>
                <a:gd name="connsiteY93" fmla="*/ 159898 h 502214"/>
                <a:gd name="connsiteX94" fmla="*/ 658739 w 711807"/>
                <a:gd name="connsiteY94" fmla="*/ 165528 h 502214"/>
                <a:gd name="connsiteX95" fmla="*/ 640280 w 711807"/>
                <a:gd name="connsiteY95" fmla="*/ 162149 h 502214"/>
                <a:gd name="connsiteX96" fmla="*/ 639126 w 711807"/>
                <a:gd name="connsiteY96" fmla="*/ 166654 h 502214"/>
                <a:gd name="connsiteX97" fmla="*/ 656432 w 711807"/>
                <a:gd name="connsiteY97" fmla="*/ 170032 h 502214"/>
                <a:gd name="connsiteX98" fmla="*/ 655277 w 711807"/>
                <a:gd name="connsiteY98" fmla="*/ 174536 h 502214"/>
                <a:gd name="connsiteX99" fmla="*/ 646049 w 711807"/>
                <a:gd name="connsiteY99" fmla="*/ 172284 h 502214"/>
                <a:gd name="connsiteX100" fmla="*/ 646049 w 711807"/>
                <a:gd name="connsiteY100" fmla="*/ 175662 h 502214"/>
                <a:gd name="connsiteX101" fmla="*/ 674890 w 711807"/>
                <a:gd name="connsiteY101" fmla="*/ 179040 h 502214"/>
                <a:gd name="connsiteX102" fmla="*/ 674890 w 711807"/>
                <a:gd name="connsiteY102" fmla="*/ 175662 h 502214"/>
                <a:gd name="connsiteX103" fmla="*/ 665661 w 711807"/>
                <a:gd name="connsiteY103" fmla="*/ 172284 h 502214"/>
                <a:gd name="connsiteX104" fmla="*/ 669017 w 711807"/>
                <a:gd name="connsiteY104" fmla="*/ 155905 h 502214"/>
                <a:gd name="connsiteX105" fmla="*/ 669122 w 711807"/>
                <a:gd name="connsiteY105" fmla="*/ 156519 h 502214"/>
                <a:gd name="connsiteX106" fmla="*/ 689887 w 711807"/>
                <a:gd name="connsiteY106" fmla="*/ 165528 h 502214"/>
                <a:gd name="connsiteX107" fmla="*/ 709500 w 711807"/>
                <a:gd name="connsiteY107" fmla="*/ 182418 h 502214"/>
                <a:gd name="connsiteX108" fmla="*/ 711807 w 711807"/>
                <a:gd name="connsiteY108" fmla="*/ 190301 h 502214"/>
                <a:gd name="connsiteX109" fmla="*/ 709500 w 711807"/>
                <a:gd name="connsiteY109" fmla="*/ 192553 h 502214"/>
                <a:gd name="connsiteX110" fmla="*/ 711807 w 711807"/>
                <a:gd name="connsiteY110" fmla="*/ 192553 h 502214"/>
                <a:gd name="connsiteX111" fmla="*/ 709500 w 711807"/>
                <a:gd name="connsiteY111" fmla="*/ 193678 h 502214"/>
                <a:gd name="connsiteX112" fmla="*/ 703731 w 711807"/>
                <a:gd name="connsiteY112" fmla="*/ 212821 h 502214"/>
                <a:gd name="connsiteX113" fmla="*/ 702577 w 711807"/>
                <a:gd name="connsiteY113" fmla="*/ 235342 h 502214"/>
                <a:gd name="connsiteX114" fmla="*/ 689887 w 711807"/>
                <a:gd name="connsiteY114" fmla="*/ 228586 h 502214"/>
                <a:gd name="connsiteX115" fmla="*/ 671429 w 711807"/>
                <a:gd name="connsiteY115" fmla="*/ 212821 h 502214"/>
                <a:gd name="connsiteX116" fmla="*/ 620668 w 711807"/>
                <a:gd name="connsiteY116" fmla="*/ 244350 h 502214"/>
                <a:gd name="connsiteX117" fmla="*/ 616053 w 711807"/>
                <a:gd name="connsiteY117" fmla="*/ 237594 h 502214"/>
                <a:gd name="connsiteX118" fmla="*/ 611439 w 711807"/>
                <a:gd name="connsiteY118" fmla="*/ 238720 h 502214"/>
                <a:gd name="connsiteX119" fmla="*/ 610285 w 711807"/>
                <a:gd name="connsiteY119" fmla="*/ 233090 h 502214"/>
                <a:gd name="connsiteX120" fmla="*/ 605671 w 711807"/>
                <a:gd name="connsiteY120" fmla="*/ 233090 h 502214"/>
                <a:gd name="connsiteX121" fmla="*/ 597595 w 711807"/>
                <a:gd name="connsiteY121" fmla="*/ 245477 h 502214"/>
                <a:gd name="connsiteX122" fmla="*/ 576829 w 711807"/>
                <a:gd name="connsiteY122" fmla="*/ 258990 h 502214"/>
                <a:gd name="connsiteX123" fmla="*/ 557216 w 711807"/>
                <a:gd name="connsiteY123" fmla="*/ 282636 h 502214"/>
                <a:gd name="connsiteX124" fmla="*/ 536451 w 711807"/>
                <a:gd name="connsiteY124" fmla="*/ 302905 h 502214"/>
                <a:gd name="connsiteX125" fmla="*/ 529529 w 711807"/>
                <a:gd name="connsiteY125" fmla="*/ 307409 h 502214"/>
                <a:gd name="connsiteX126" fmla="*/ 524914 w 711807"/>
                <a:gd name="connsiteY126" fmla="*/ 314165 h 502214"/>
                <a:gd name="connsiteX127" fmla="*/ 519146 w 711807"/>
                <a:gd name="connsiteY127" fmla="*/ 309661 h 502214"/>
                <a:gd name="connsiteX128" fmla="*/ 512224 w 711807"/>
                <a:gd name="connsiteY128" fmla="*/ 307409 h 502214"/>
                <a:gd name="connsiteX129" fmla="*/ 508763 w 711807"/>
                <a:gd name="connsiteY129" fmla="*/ 309661 h 502214"/>
                <a:gd name="connsiteX130" fmla="*/ 504148 w 711807"/>
                <a:gd name="connsiteY130" fmla="*/ 307409 h 502214"/>
                <a:gd name="connsiteX131" fmla="*/ 501841 w 711807"/>
                <a:gd name="connsiteY131" fmla="*/ 309661 h 502214"/>
                <a:gd name="connsiteX132" fmla="*/ 498380 w 711807"/>
                <a:gd name="connsiteY132" fmla="*/ 310787 h 502214"/>
                <a:gd name="connsiteX133" fmla="*/ 491458 w 711807"/>
                <a:gd name="connsiteY133" fmla="*/ 307409 h 502214"/>
                <a:gd name="connsiteX134" fmla="*/ 486844 w 711807"/>
                <a:gd name="connsiteY134" fmla="*/ 309661 h 502214"/>
                <a:gd name="connsiteX135" fmla="*/ 484536 w 711807"/>
                <a:gd name="connsiteY135" fmla="*/ 308535 h 502214"/>
                <a:gd name="connsiteX136" fmla="*/ 484536 w 711807"/>
                <a:gd name="connsiteY136" fmla="*/ 309661 h 502214"/>
                <a:gd name="connsiteX137" fmla="*/ 482229 w 711807"/>
                <a:gd name="connsiteY137" fmla="*/ 309661 h 502214"/>
                <a:gd name="connsiteX138" fmla="*/ 478768 w 711807"/>
                <a:gd name="connsiteY138" fmla="*/ 311913 h 502214"/>
                <a:gd name="connsiteX139" fmla="*/ 474153 w 711807"/>
                <a:gd name="connsiteY139" fmla="*/ 311913 h 502214"/>
                <a:gd name="connsiteX140" fmla="*/ 471846 w 711807"/>
                <a:gd name="connsiteY140" fmla="*/ 308535 h 502214"/>
                <a:gd name="connsiteX141" fmla="*/ 470692 w 711807"/>
                <a:gd name="connsiteY141" fmla="*/ 309661 h 502214"/>
                <a:gd name="connsiteX142" fmla="*/ 469538 w 711807"/>
                <a:gd name="connsiteY142" fmla="*/ 314165 h 502214"/>
                <a:gd name="connsiteX143" fmla="*/ 462617 w 711807"/>
                <a:gd name="connsiteY143" fmla="*/ 315291 h 502214"/>
                <a:gd name="connsiteX144" fmla="*/ 463770 w 711807"/>
                <a:gd name="connsiteY144" fmla="*/ 318669 h 502214"/>
                <a:gd name="connsiteX145" fmla="*/ 461463 w 711807"/>
                <a:gd name="connsiteY145" fmla="*/ 315291 h 502214"/>
                <a:gd name="connsiteX146" fmla="*/ 453387 w 711807"/>
                <a:gd name="connsiteY146" fmla="*/ 318669 h 502214"/>
                <a:gd name="connsiteX147" fmla="*/ 455694 w 711807"/>
                <a:gd name="connsiteY147" fmla="*/ 331056 h 502214"/>
                <a:gd name="connsiteX148" fmla="*/ 453387 w 711807"/>
                <a:gd name="connsiteY148" fmla="*/ 335560 h 502214"/>
                <a:gd name="connsiteX149" fmla="*/ 446466 w 711807"/>
                <a:gd name="connsiteY149" fmla="*/ 336686 h 502214"/>
                <a:gd name="connsiteX150" fmla="*/ 445312 w 711807"/>
                <a:gd name="connsiteY150" fmla="*/ 338938 h 502214"/>
                <a:gd name="connsiteX151" fmla="*/ 429161 w 711807"/>
                <a:gd name="connsiteY151" fmla="*/ 336686 h 502214"/>
                <a:gd name="connsiteX152" fmla="*/ 419932 w 711807"/>
                <a:gd name="connsiteY152" fmla="*/ 343442 h 502214"/>
                <a:gd name="connsiteX153" fmla="*/ 423392 w 711807"/>
                <a:gd name="connsiteY153" fmla="*/ 341191 h 502214"/>
                <a:gd name="connsiteX154" fmla="*/ 429160 w 711807"/>
                <a:gd name="connsiteY154" fmla="*/ 352451 h 502214"/>
                <a:gd name="connsiteX155" fmla="*/ 432621 w 711807"/>
                <a:gd name="connsiteY155" fmla="*/ 351325 h 502214"/>
                <a:gd name="connsiteX156" fmla="*/ 432621 w 711807"/>
                <a:gd name="connsiteY156" fmla="*/ 356955 h 502214"/>
                <a:gd name="connsiteX157" fmla="*/ 419931 w 711807"/>
                <a:gd name="connsiteY157" fmla="*/ 360334 h 502214"/>
                <a:gd name="connsiteX158" fmla="*/ 425699 w 711807"/>
                <a:gd name="connsiteY158" fmla="*/ 360334 h 502214"/>
                <a:gd name="connsiteX159" fmla="*/ 429160 w 711807"/>
                <a:gd name="connsiteY159" fmla="*/ 370467 h 502214"/>
                <a:gd name="connsiteX160" fmla="*/ 438389 w 711807"/>
                <a:gd name="connsiteY160" fmla="*/ 369342 h 502214"/>
                <a:gd name="connsiteX161" fmla="*/ 441851 w 711807"/>
                <a:gd name="connsiteY161" fmla="*/ 377224 h 502214"/>
                <a:gd name="connsiteX162" fmla="*/ 440696 w 711807"/>
                <a:gd name="connsiteY162" fmla="*/ 380602 h 502214"/>
                <a:gd name="connsiteX163" fmla="*/ 448772 w 711807"/>
                <a:gd name="connsiteY163" fmla="*/ 395240 h 502214"/>
                <a:gd name="connsiteX164" fmla="*/ 466077 w 711807"/>
                <a:gd name="connsiteY164" fmla="*/ 394115 h 502214"/>
                <a:gd name="connsiteX165" fmla="*/ 471845 w 711807"/>
                <a:gd name="connsiteY165" fmla="*/ 405375 h 502214"/>
                <a:gd name="connsiteX166" fmla="*/ 478767 w 711807"/>
                <a:gd name="connsiteY166" fmla="*/ 403123 h 502214"/>
                <a:gd name="connsiteX167" fmla="*/ 483382 w 711807"/>
                <a:gd name="connsiteY167" fmla="*/ 404249 h 502214"/>
                <a:gd name="connsiteX168" fmla="*/ 455694 w 711807"/>
                <a:gd name="connsiteY168" fmla="*/ 475190 h 502214"/>
                <a:gd name="connsiteX169" fmla="*/ 463770 w 711807"/>
                <a:gd name="connsiteY169" fmla="*/ 485324 h 502214"/>
                <a:gd name="connsiteX170" fmla="*/ 466077 w 711807"/>
                <a:gd name="connsiteY170" fmla="*/ 498837 h 502214"/>
                <a:gd name="connsiteX171" fmla="*/ 449926 w 711807"/>
                <a:gd name="connsiteY171" fmla="*/ 502214 h 502214"/>
                <a:gd name="connsiteX172" fmla="*/ 448772 w 711807"/>
                <a:gd name="connsiteY172" fmla="*/ 498837 h 502214"/>
                <a:gd name="connsiteX173" fmla="*/ 436082 w 711807"/>
                <a:gd name="connsiteY173" fmla="*/ 499963 h 502214"/>
                <a:gd name="connsiteX174" fmla="*/ 436082 w 711807"/>
                <a:gd name="connsiteY174" fmla="*/ 495458 h 502214"/>
                <a:gd name="connsiteX175" fmla="*/ 416469 w 711807"/>
                <a:gd name="connsiteY175" fmla="*/ 492081 h 502214"/>
                <a:gd name="connsiteX176" fmla="*/ 417624 w 711807"/>
                <a:gd name="connsiteY176" fmla="*/ 481946 h 502214"/>
                <a:gd name="connsiteX177" fmla="*/ 415316 w 711807"/>
                <a:gd name="connsiteY177" fmla="*/ 481946 h 502214"/>
                <a:gd name="connsiteX178" fmla="*/ 415316 w 711807"/>
                <a:gd name="connsiteY178" fmla="*/ 483072 h 502214"/>
                <a:gd name="connsiteX179" fmla="*/ 396858 w 711807"/>
                <a:gd name="connsiteY179" fmla="*/ 483072 h 502214"/>
                <a:gd name="connsiteX180" fmla="*/ 395704 w 711807"/>
                <a:gd name="connsiteY180" fmla="*/ 479694 h 502214"/>
                <a:gd name="connsiteX181" fmla="*/ 381860 w 711807"/>
                <a:gd name="connsiteY181" fmla="*/ 483072 h 502214"/>
                <a:gd name="connsiteX182" fmla="*/ 378399 w 711807"/>
                <a:gd name="connsiteY182" fmla="*/ 478568 h 502214"/>
                <a:gd name="connsiteX183" fmla="*/ 378687 w 711807"/>
                <a:gd name="connsiteY183" fmla="*/ 477723 h 502214"/>
                <a:gd name="connsiteX184" fmla="*/ 369170 w 711807"/>
                <a:gd name="connsiteY184" fmla="*/ 480819 h 502214"/>
                <a:gd name="connsiteX185" fmla="*/ 366863 w 711807"/>
                <a:gd name="connsiteY185" fmla="*/ 479694 h 502214"/>
                <a:gd name="connsiteX186" fmla="*/ 368016 w 711807"/>
                <a:gd name="connsiteY186" fmla="*/ 485324 h 502214"/>
                <a:gd name="connsiteX187" fmla="*/ 355326 w 711807"/>
                <a:gd name="connsiteY187" fmla="*/ 489828 h 502214"/>
                <a:gd name="connsiteX188" fmla="*/ 353019 w 711807"/>
                <a:gd name="connsiteY188" fmla="*/ 492080 h 502214"/>
                <a:gd name="connsiteX189" fmla="*/ 347250 w 711807"/>
                <a:gd name="connsiteY189" fmla="*/ 488702 h 502214"/>
                <a:gd name="connsiteX190" fmla="*/ 339174 w 711807"/>
                <a:gd name="connsiteY190" fmla="*/ 492080 h 502214"/>
                <a:gd name="connsiteX191" fmla="*/ 336867 w 711807"/>
                <a:gd name="connsiteY191" fmla="*/ 490954 h 502214"/>
                <a:gd name="connsiteX192" fmla="*/ 334560 w 711807"/>
                <a:gd name="connsiteY192" fmla="*/ 471812 h 502214"/>
                <a:gd name="connsiteX193" fmla="*/ 331099 w 711807"/>
                <a:gd name="connsiteY193" fmla="*/ 469559 h 502214"/>
                <a:gd name="connsiteX194" fmla="*/ 320716 w 711807"/>
                <a:gd name="connsiteY194" fmla="*/ 472937 h 502214"/>
                <a:gd name="connsiteX195" fmla="*/ 311487 w 711807"/>
                <a:gd name="connsiteY195" fmla="*/ 472937 h 502214"/>
                <a:gd name="connsiteX196" fmla="*/ 311487 w 711807"/>
                <a:gd name="connsiteY196" fmla="*/ 467307 h 502214"/>
                <a:gd name="connsiteX197" fmla="*/ 303411 w 711807"/>
                <a:gd name="connsiteY197" fmla="*/ 469559 h 502214"/>
                <a:gd name="connsiteX198" fmla="*/ 298796 w 711807"/>
                <a:gd name="connsiteY198" fmla="*/ 456046 h 502214"/>
                <a:gd name="connsiteX199" fmla="*/ 289568 w 711807"/>
                <a:gd name="connsiteY199" fmla="*/ 456046 h 502214"/>
                <a:gd name="connsiteX200" fmla="*/ 287260 w 711807"/>
                <a:gd name="connsiteY200" fmla="*/ 449290 h 502214"/>
                <a:gd name="connsiteX201" fmla="*/ 283799 w 711807"/>
                <a:gd name="connsiteY201" fmla="*/ 449290 h 502214"/>
                <a:gd name="connsiteX202" fmla="*/ 275724 w 711807"/>
                <a:gd name="connsiteY202" fmla="*/ 454921 h 502214"/>
                <a:gd name="connsiteX203" fmla="*/ 273416 w 711807"/>
                <a:gd name="connsiteY203" fmla="*/ 453795 h 502214"/>
                <a:gd name="connsiteX204" fmla="*/ 274570 w 711807"/>
                <a:gd name="connsiteY204" fmla="*/ 451543 h 502214"/>
                <a:gd name="connsiteX205" fmla="*/ 271109 w 711807"/>
                <a:gd name="connsiteY205" fmla="*/ 453795 h 502214"/>
                <a:gd name="connsiteX206" fmla="*/ 268802 w 711807"/>
                <a:gd name="connsiteY206" fmla="*/ 449290 h 502214"/>
                <a:gd name="connsiteX207" fmla="*/ 257265 w 711807"/>
                <a:gd name="connsiteY207" fmla="*/ 458299 h 502214"/>
                <a:gd name="connsiteX208" fmla="*/ 256111 w 711807"/>
                <a:gd name="connsiteY208" fmla="*/ 453795 h 502214"/>
                <a:gd name="connsiteX209" fmla="*/ 249190 w 711807"/>
                <a:gd name="connsiteY209" fmla="*/ 451543 h 502214"/>
                <a:gd name="connsiteX210" fmla="*/ 253804 w 711807"/>
                <a:gd name="connsiteY210" fmla="*/ 444787 h 502214"/>
                <a:gd name="connsiteX211" fmla="*/ 257265 w 711807"/>
                <a:gd name="connsiteY211" fmla="*/ 444787 h 502214"/>
                <a:gd name="connsiteX212" fmla="*/ 259573 w 711807"/>
                <a:gd name="connsiteY212" fmla="*/ 443660 h 502214"/>
                <a:gd name="connsiteX213" fmla="*/ 261880 w 711807"/>
                <a:gd name="connsiteY213" fmla="*/ 436904 h 502214"/>
                <a:gd name="connsiteX214" fmla="*/ 258418 w 711807"/>
                <a:gd name="connsiteY214" fmla="*/ 431274 h 502214"/>
                <a:gd name="connsiteX215" fmla="*/ 254958 w 711807"/>
                <a:gd name="connsiteY215" fmla="*/ 432400 h 502214"/>
                <a:gd name="connsiteX216" fmla="*/ 250343 w 711807"/>
                <a:gd name="connsiteY216" fmla="*/ 430148 h 502214"/>
                <a:gd name="connsiteX217" fmla="*/ 249190 w 711807"/>
                <a:gd name="connsiteY217" fmla="*/ 425644 h 502214"/>
                <a:gd name="connsiteX218" fmla="*/ 246882 w 711807"/>
                <a:gd name="connsiteY218" fmla="*/ 425644 h 502214"/>
                <a:gd name="connsiteX219" fmla="*/ 246882 w 711807"/>
                <a:gd name="connsiteY219" fmla="*/ 420014 h 502214"/>
                <a:gd name="connsiteX220" fmla="*/ 249190 w 711807"/>
                <a:gd name="connsiteY220" fmla="*/ 420014 h 502214"/>
                <a:gd name="connsiteX221" fmla="*/ 248036 w 711807"/>
                <a:gd name="connsiteY221" fmla="*/ 417761 h 502214"/>
                <a:gd name="connsiteX222" fmla="*/ 253804 w 711807"/>
                <a:gd name="connsiteY222" fmla="*/ 408753 h 502214"/>
                <a:gd name="connsiteX223" fmla="*/ 253804 w 711807"/>
                <a:gd name="connsiteY223" fmla="*/ 394114 h 502214"/>
                <a:gd name="connsiteX224" fmla="*/ 257265 w 711807"/>
                <a:gd name="connsiteY224" fmla="*/ 392988 h 502214"/>
                <a:gd name="connsiteX225" fmla="*/ 264023 w 711807"/>
                <a:gd name="connsiteY225" fmla="*/ 392988 h 502214"/>
                <a:gd name="connsiteX226" fmla="*/ 263034 w 711807"/>
                <a:gd name="connsiteY226" fmla="*/ 386231 h 502214"/>
                <a:gd name="connsiteX227" fmla="*/ 256112 w 711807"/>
                <a:gd name="connsiteY227" fmla="*/ 374971 h 502214"/>
                <a:gd name="connsiteX228" fmla="*/ 249190 w 711807"/>
                <a:gd name="connsiteY228" fmla="*/ 377224 h 502214"/>
                <a:gd name="connsiteX229" fmla="*/ 241115 w 711807"/>
                <a:gd name="connsiteY229" fmla="*/ 374971 h 502214"/>
                <a:gd name="connsiteX230" fmla="*/ 234193 w 711807"/>
                <a:gd name="connsiteY230" fmla="*/ 387357 h 502214"/>
                <a:gd name="connsiteX231" fmla="*/ 228425 w 711807"/>
                <a:gd name="connsiteY231" fmla="*/ 390736 h 502214"/>
                <a:gd name="connsiteX232" fmla="*/ 203043 w 711807"/>
                <a:gd name="connsiteY232" fmla="*/ 389610 h 502214"/>
                <a:gd name="connsiteX233" fmla="*/ 191507 w 711807"/>
                <a:gd name="connsiteY233" fmla="*/ 387357 h 502214"/>
                <a:gd name="connsiteX234" fmla="*/ 185739 w 711807"/>
                <a:gd name="connsiteY234" fmla="*/ 397492 h 502214"/>
                <a:gd name="connsiteX235" fmla="*/ 179971 w 711807"/>
                <a:gd name="connsiteY235" fmla="*/ 399744 h 502214"/>
                <a:gd name="connsiteX236" fmla="*/ 174202 w 711807"/>
                <a:gd name="connsiteY236" fmla="*/ 394114 h 502214"/>
                <a:gd name="connsiteX237" fmla="*/ 169588 w 711807"/>
                <a:gd name="connsiteY237" fmla="*/ 391862 h 502214"/>
                <a:gd name="connsiteX238" fmla="*/ 154590 w 711807"/>
                <a:gd name="connsiteY238" fmla="*/ 398618 h 502214"/>
                <a:gd name="connsiteX239" fmla="*/ 143054 w 711807"/>
                <a:gd name="connsiteY239" fmla="*/ 395240 h 502214"/>
                <a:gd name="connsiteX240" fmla="*/ 140747 w 711807"/>
                <a:gd name="connsiteY240" fmla="*/ 390736 h 502214"/>
                <a:gd name="connsiteX241" fmla="*/ 139593 w 711807"/>
                <a:gd name="connsiteY241" fmla="*/ 381727 h 502214"/>
                <a:gd name="connsiteX242" fmla="*/ 137286 w 711807"/>
                <a:gd name="connsiteY242" fmla="*/ 376097 h 502214"/>
                <a:gd name="connsiteX243" fmla="*/ 115366 w 711807"/>
                <a:gd name="connsiteY243" fmla="*/ 360333 h 502214"/>
                <a:gd name="connsiteX244" fmla="*/ 119981 w 711807"/>
                <a:gd name="connsiteY244" fmla="*/ 362584 h 502214"/>
                <a:gd name="connsiteX245" fmla="*/ 119981 w 711807"/>
                <a:gd name="connsiteY245" fmla="*/ 359207 h 502214"/>
                <a:gd name="connsiteX246" fmla="*/ 123441 w 711807"/>
                <a:gd name="connsiteY246" fmla="*/ 358081 h 502214"/>
                <a:gd name="connsiteX247" fmla="*/ 116520 w 711807"/>
                <a:gd name="connsiteY247" fmla="*/ 358081 h 502214"/>
                <a:gd name="connsiteX248" fmla="*/ 121134 w 711807"/>
                <a:gd name="connsiteY248" fmla="*/ 356954 h 502214"/>
                <a:gd name="connsiteX249" fmla="*/ 119981 w 711807"/>
                <a:gd name="connsiteY249" fmla="*/ 355828 h 502214"/>
                <a:gd name="connsiteX250" fmla="*/ 115366 w 711807"/>
                <a:gd name="connsiteY250" fmla="*/ 358081 h 502214"/>
                <a:gd name="connsiteX251" fmla="*/ 94600 w 711807"/>
                <a:gd name="connsiteY251" fmla="*/ 347946 h 502214"/>
                <a:gd name="connsiteX252" fmla="*/ 76142 w 711807"/>
                <a:gd name="connsiteY252" fmla="*/ 342316 h 502214"/>
                <a:gd name="connsiteX253" fmla="*/ 71527 w 711807"/>
                <a:gd name="connsiteY253" fmla="*/ 343442 h 502214"/>
                <a:gd name="connsiteX254" fmla="*/ 62298 w 711807"/>
                <a:gd name="connsiteY254" fmla="*/ 351324 h 502214"/>
                <a:gd name="connsiteX255" fmla="*/ 55376 w 711807"/>
                <a:gd name="connsiteY255" fmla="*/ 351324 h 502214"/>
                <a:gd name="connsiteX256" fmla="*/ 55376 w 711807"/>
                <a:gd name="connsiteY256" fmla="*/ 337812 h 502214"/>
                <a:gd name="connsiteX257" fmla="*/ 56529 w 711807"/>
                <a:gd name="connsiteY257" fmla="*/ 338938 h 502214"/>
                <a:gd name="connsiteX258" fmla="*/ 69220 w 711807"/>
                <a:gd name="connsiteY258" fmla="*/ 335560 h 502214"/>
                <a:gd name="connsiteX259" fmla="*/ 73834 w 711807"/>
                <a:gd name="connsiteY259" fmla="*/ 328804 h 502214"/>
                <a:gd name="connsiteX260" fmla="*/ 74988 w 711807"/>
                <a:gd name="connsiteY260" fmla="*/ 327678 h 502214"/>
                <a:gd name="connsiteX261" fmla="*/ 79603 w 711807"/>
                <a:gd name="connsiteY261" fmla="*/ 329929 h 502214"/>
                <a:gd name="connsiteX262" fmla="*/ 79603 w 711807"/>
                <a:gd name="connsiteY262" fmla="*/ 327678 h 502214"/>
                <a:gd name="connsiteX263" fmla="*/ 77295 w 711807"/>
                <a:gd name="connsiteY263" fmla="*/ 325425 h 502214"/>
                <a:gd name="connsiteX264" fmla="*/ 78449 w 711807"/>
                <a:gd name="connsiteY264" fmla="*/ 323173 h 502214"/>
                <a:gd name="connsiteX265" fmla="*/ 76142 w 711807"/>
                <a:gd name="connsiteY265" fmla="*/ 324299 h 502214"/>
                <a:gd name="connsiteX266" fmla="*/ 70373 w 711807"/>
                <a:gd name="connsiteY266" fmla="*/ 322047 h 502214"/>
                <a:gd name="connsiteX267" fmla="*/ 63452 w 711807"/>
                <a:gd name="connsiteY267" fmla="*/ 327678 h 502214"/>
                <a:gd name="connsiteX268" fmla="*/ 55376 w 711807"/>
                <a:gd name="connsiteY268" fmla="*/ 324299 h 502214"/>
                <a:gd name="connsiteX269" fmla="*/ 63452 w 711807"/>
                <a:gd name="connsiteY269" fmla="*/ 317543 h 502214"/>
                <a:gd name="connsiteX270" fmla="*/ 68066 w 711807"/>
                <a:gd name="connsiteY270" fmla="*/ 319795 h 502214"/>
                <a:gd name="connsiteX271" fmla="*/ 70373 w 711807"/>
                <a:gd name="connsiteY271" fmla="*/ 318669 h 502214"/>
                <a:gd name="connsiteX272" fmla="*/ 66912 w 711807"/>
                <a:gd name="connsiteY272" fmla="*/ 318669 h 502214"/>
                <a:gd name="connsiteX273" fmla="*/ 61144 w 711807"/>
                <a:gd name="connsiteY273" fmla="*/ 315291 h 502214"/>
                <a:gd name="connsiteX274" fmla="*/ 61144 w 711807"/>
                <a:gd name="connsiteY274" fmla="*/ 309661 h 502214"/>
                <a:gd name="connsiteX275" fmla="*/ 62298 w 711807"/>
                <a:gd name="connsiteY275" fmla="*/ 314165 h 502214"/>
                <a:gd name="connsiteX276" fmla="*/ 65759 w 711807"/>
                <a:gd name="connsiteY276" fmla="*/ 315291 h 502214"/>
                <a:gd name="connsiteX277" fmla="*/ 62874 w 711807"/>
                <a:gd name="connsiteY277" fmla="*/ 311350 h 502214"/>
                <a:gd name="connsiteX278" fmla="*/ 65759 w 711807"/>
                <a:gd name="connsiteY278" fmla="*/ 314165 h 502214"/>
                <a:gd name="connsiteX279" fmla="*/ 66912 w 711807"/>
                <a:gd name="connsiteY279" fmla="*/ 311912 h 502214"/>
                <a:gd name="connsiteX280" fmla="*/ 76142 w 711807"/>
                <a:gd name="connsiteY280" fmla="*/ 311912 h 502214"/>
                <a:gd name="connsiteX281" fmla="*/ 68066 w 711807"/>
                <a:gd name="connsiteY281" fmla="*/ 309661 h 502214"/>
                <a:gd name="connsiteX282" fmla="*/ 64605 w 711807"/>
                <a:gd name="connsiteY282" fmla="*/ 310787 h 502214"/>
                <a:gd name="connsiteX283" fmla="*/ 62298 w 711807"/>
                <a:gd name="connsiteY283" fmla="*/ 304031 h 502214"/>
                <a:gd name="connsiteX284" fmla="*/ 61252 w 711807"/>
                <a:gd name="connsiteY284" fmla="*/ 309133 h 502214"/>
                <a:gd name="connsiteX285" fmla="*/ 59990 w 711807"/>
                <a:gd name="connsiteY285" fmla="*/ 307409 h 502214"/>
                <a:gd name="connsiteX286" fmla="*/ 59990 w 711807"/>
                <a:gd name="connsiteY286" fmla="*/ 309661 h 502214"/>
                <a:gd name="connsiteX287" fmla="*/ 55376 w 711807"/>
                <a:gd name="connsiteY287" fmla="*/ 314165 h 502214"/>
                <a:gd name="connsiteX288" fmla="*/ 42686 w 711807"/>
                <a:gd name="connsiteY288" fmla="*/ 316417 h 502214"/>
                <a:gd name="connsiteX289" fmla="*/ 39225 w 711807"/>
                <a:gd name="connsiteY289" fmla="*/ 319795 h 502214"/>
                <a:gd name="connsiteX290" fmla="*/ 36917 w 711807"/>
                <a:gd name="connsiteY290" fmla="*/ 315291 h 502214"/>
                <a:gd name="connsiteX291" fmla="*/ 31149 w 711807"/>
                <a:gd name="connsiteY291" fmla="*/ 314165 h 502214"/>
                <a:gd name="connsiteX292" fmla="*/ 31149 w 711807"/>
                <a:gd name="connsiteY292" fmla="*/ 310787 h 502214"/>
                <a:gd name="connsiteX293" fmla="*/ 34610 w 711807"/>
                <a:gd name="connsiteY293" fmla="*/ 309661 h 502214"/>
                <a:gd name="connsiteX294" fmla="*/ 34610 w 711807"/>
                <a:gd name="connsiteY294" fmla="*/ 306282 h 502214"/>
                <a:gd name="connsiteX295" fmla="*/ 42686 w 711807"/>
                <a:gd name="connsiteY295" fmla="*/ 306282 h 502214"/>
                <a:gd name="connsiteX296" fmla="*/ 55376 w 711807"/>
                <a:gd name="connsiteY296" fmla="*/ 304031 h 502214"/>
                <a:gd name="connsiteX297" fmla="*/ 53068 w 711807"/>
                <a:gd name="connsiteY297" fmla="*/ 304031 h 502214"/>
                <a:gd name="connsiteX298" fmla="*/ 47300 w 711807"/>
                <a:gd name="connsiteY298" fmla="*/ 301779 h 502214"/>
                <a:gd name="connsiteX299" fmla="*/ 41532 w 711807"/>
                <a:gd name="connsiteY299" fmla="*/ 302905 h 502214"/>
                <a:gd name="connsiteX300" fmla="*/ 40378 w 711807"/>
                <a:gd name="connsiteY300" fmla="*/ 301779 h 502214"/>
                <a:gd name="connsiteX301" fmla="*/ 29995 w 711807"/>
                <a:gd name="connsiteY301" fmla="*/ 299526 h 502214"/>
                <a:gd name="connsiteX302" fmla="*/ 27688 w 711807"/>
                <a:gd name="connsiteY302" fmla="*/ 296148 h 502214"/>
                <a:gd name="connsiteX303" fmla="*/ 28842 w 711807"/>
                <a:gd name="connsiteY303" fmla="*/ 299526 h 502214"/>
                <a:gd name="connsiteX304" fmla="*/ 23074 w 711807"/>
                <a:gd name="connsiteY304" fmla="*/ 299526 h 502214"/>
                <a:gd name="connsiteX305" fmla="*/ 13844 w 711807"/>
                <a:gd name="connsiteY305" fmla="*/ 296148 h 502214"/>
                <a:gd name="connsiteX306" fmla="*/ 5768 w 711807"/>
                <a:gd name="connsiteY306" fmla="*/ 295023 h 502214"/>
                <a:gd name="connsiteX307" fmla="*/ 4615 w 711807"/>
                <a:gd name="connsiteY307" fmla="*/ 290518 h 502214"/>
                <a:gd name="connsiteX308" fmla="*/ 5768 w 711807"/>
                <a:gd name="connsiteY308" fmla="*/ 288266 h 502214"/>
                <a:gd name="connsiteX309" fmla="*/ 11536 w 711807"/>
                <a:gd name="connsiteY309" fmla="*/ 288266 h 502214"/>
                <a:gd name="connsiteX310" fmla="*/ 12691 w 711807"/>
                <a:gd name="connsiteY310" fmla="*/ 289392 h 502214"/>
                <a:gd name="connsiteX311" fmla="*/ 17305 w 711807"/>
                <a:gd name="connsiteY311" fmla="*/ 288266 h 502214"/>
                <a:gd name="connsiteX312" fmla="*/ 19612 w 711807"/>
                <a:gd name="connsiteY312" fmla="*/ 288266 h 502214"/>
                <a:gd name="connsiteX313" fmla="*/ 21919 w 711807"/>
                <a:gd name="connsiteY313" fmla="*/ 288266 h 502214"/>
                <a:gd name="connsiteX314" fmla="*/ 20766 w 711807"/>
                <a:gd name="connsiteY314" fmla="*/ 287140 h 502214"/>
                <a:gd name="connsiteX315" fmla="*/ 23074 w 711807"/>
                <a:gd name="connsiteY315" fmla="*/ 283762 h 502214"/>
                <a:gd name="connsiteX316" fmla="*/ 20766 w 711807"/>
                <a:gd name="connsiteY316" fmla="*/ 283762 h 502214"/>
                <a:gd name="connsiteX317" fmla="*/ 18459 w 711807"/>
                <a:gd name="connsiteY317" fmla="*/ 281510 h 502214"/>
                <a:gd name="connsiteX318" fmla="*/ 17305 w 711807"/>
                <a:gd name="connsiteY318" fmla="*/ 275880 h 502214"/>
                <a:gd name="connsiteX319" fmla="*/ 12691 w 711807"/>
                <a:gd name="connsiteY319" fmla="*/ 275880 h 502214"/>
                <a:gd name="connsiteX320" fmla="*/ 12691 w 711807"/>
                <a:gd name="connsiteY320" fmla="*/ 272501 h 502214"/>
                <a:gd name="connsiteX321" fmla="*/ 0 w 711807"/>
                <a:gd name="connsiteY321" fmla="*/ 269123 h 502214"/>
                <a:gd name="connsiteX322" fmla="*/ 1154 w 711807"/>
                <a:gd name="connsiteY322" fmla="*/ 266871 h 502214"/>
                <a:gd name="connsiteX323" fmla="*/ 0 w 711807"/>
                <a:gd name="connsiteY323" fmla="*/ 265745 h 502214"/>
                <a:gd name="connsiteX324" fmla="*/ 3461 w 711807"/>
                <a:gd name="connsiteY324" fmla="*/ 262367 h 502214"/>
                <a:gd name="connsiteX325" fmla="*/ 2307 w 711807"/>
                <a:gd name="connsiteY325" fmla="*/ 260115 h 502214"/>
                <a:gd name="connsiteX326" fmla="*/ 2307 w 711807"/>
                <a:gd name="connsiteY326" fmla="*/ 256737 h 502214"/>
                <a:gd name="connsiteX327" fmla="*/ 5768 w 711807"/>
                <a:gd name="connsiteY327" fmla="*/ 254484 h 502214"/>
                <a:gd name="connsiteX328" fmla="*/ 19612 w 711807"/>
                <a:gd name="connsiteY328" fmla="*/ 254484 h 502214"/>
                <a:gd name="connsiteX329" fmla="*/ 27688 w 711807"/>
                <a:gd name="connsiteY329" fmla="*/ 264619 h 502214"/>
                <a:gd name="connsiteX330" fmla="*/ 32302 w 711807"/>
                <a:gd name="connsiteY330" fmla="*/ 266871 h 502214"/>
                <a:gd name="connsiteX331" fmla="*/ 38070 w 711807"/>
                <a:gd name="connsiteY331" fmla="*/ 275880 h 502214"/>
                <a:gd name="connsiteX332" fmla="*/ 42686 w 711807"/>
                <a:gd name="connsiteY332" fmla="*/ 278132 h 502214"/>
                <a:gd name="connsiteX333" fmla="*/ 43238 w 711807"/>
                <a:gd name="connsiteY333" fmla="*/ 279209 h 502214"/>
                <a:gd name="connsiteX334" fmla="*/ 42686 w 711807"/>
                <a:gd name="connsiteY334" fmla="*/ 279258 h 502214"/>
                <a:gd name="connsiteX335" fmla="*/ 44993 w 711807"/>
                <a:gd name="connsiteY335" fmla="*/ 282636 h 502214"/>
                <a:gd name="connsiteX336" fmla="*/ 43238 w 711807"/>
                <a:gd name="connsiteY336" fmla="*/ 279209 h 502214"/>
                <a:gd name="connsiteX337" fmla="*/ 55376 w 711807"/>
                <a:gd name="connsiteY337" fmla="*/ 278132 h 502214"/>
                <a:gd name="connsiteX338" fmla="*/ 58836 w 711807"/>
                <a:gd name="connsiteY338" fmla="*/ 273627 h 502214"/>
                <a:gd name="connsiteX339" fmla="*/ 56529 w 711807"/>
                <a:gd name="connsiteY339" fmla="*/ 270250 h 502214"/>
                <a:gd name="connsiteX340" fmla="*/ 54222 w 711807"/>
                <a:gd name="connsiteY340" fmla="*/ 266871 h 502214"/>
                <a:gd name="connsiteX341" fmla="*/ 43839 w 711807"/>
                <a:gd name="connsiteY341" fmla="*/ 263493 h 502214"/>
                <a:gd name="connsiteX342" fmla="*/ 42686 w 711807"/>
                <a:gd name="connsiteY342" fmla="*/ 265745 h 502214"/>
                <a:gd name="connsiteX343" fmla="*/ 39225 w 711807"/>
                <a:gd name="connsiteY343" fmla="*/ 262367 h 502214"/>
                <a:gd name="connsiteX344" fmla="*/ 41532 w 711807"/>
                <a:gd name="connsiteY344" fmla="*/ 260115 h 502214"/>
                <a:gd name="connsiteX345" fmla="*/ 40378 w 711807"/>
                <a:gd name="connsiteY345" fmla="*/ 261241 h 502214"/>
                <a:gd name="connsiteX346" fmla="*/ 40378 w 711807"/>
                <a:gd name="connsiteY346" fmla="*/ 258989 h 502214"/>
                <a:gd name="connsiteX347" fmla="*/ 39225 w 711807"/>
                <a:gd name="connsiteY347" fmla="*/ 262367 h 502214"/>
                <a:gd name="connsiteX348" fmla="*/ 35763 w 711807"/>
                <a:gd name="connsiteY348" fmla="*/ 260115 h 502214"/>
                <a:gd name="connsiteX349" fmla="*/ 32302 w 711807"/>
                <a:gd name="connsiteY349" fmla="*/ 256737 h 502214"/>
                <a:gd name="connsiteX350" fmla="*/ 29995 w 711807"/>
                <a:gd name="connsiteY350" fmla="*/ 256737 h 502214"/>
                <a:gd name="connsiteX351" fmla="*/ 31149 w 711807"/>
                <a:gd name="connsiteY351" fmla="*/ 251107 h 502214"/>
                <a:gd name="connsiteX352" fmla="*/ 23074 w 711807"/>
                <a:gd name="connsiteY352" fmla="*/ 252233 h 502214"/>
                <a:gd name="connsiteX353" fmla="*/ 27688 w 711807"/>
                <a:gd name="connsiteY353" fmla="*/ 251107 h 502214"/>
                <a:gd name="connsiteX354" fmla="*/ 27688 w 711807"/>
                <a:gd name="connsiteY354" fmla="*/ 248854 h 502214"/>
                <a:gd name="connsiteX355" fmla="*/ 23074 w 711807"/>
                <a:gd name="connsiteY355" fmla="*/ 248854 h 502214"/>
                <a:gd name="connsiteX356" fmla="*/ 21919 w 711807"/>
                <a:gd name="connsiteY356" fmla="*/ 251107 h 502214"/>
                <a:gd name="connsiteX357" fmla="*/ 17305 w 711807"/>
                <a:gd name="connsiteY357" fmla="*/ 247728 h 502214"/>
                <a:gd name="connsiteX358" fmla="*/ 17305 w 711807"/>
                <a:gd name="connsiteY358" fmla="*/ 245477 h 502214"/>
                <a:gd name="connsiteX359" fmla="*/ 24227 w 711807"/>
                <a:gd name="connsiteY359" fmla="*/ 246602 h 502214"/>
                <a:gd name="connsiteX360" fmla="*/ 33456 w 711807"/>
                <a:gd name="connsiteY360" fmla="*/ 243224 h 502214"/>
                <a:gd name="connsiteX361" fmla="*/ 32302 w 711807"/>
                <a:gd name="connsiteY361" fmla="*/ 240972 h 502214"/>
                <a:gd name="connsiteX362" fmla="*/ 20766 w 711807"/>
                <a:gd name="connsiteY362" fmla="*/ 244351 h 502214"/>
                <a:gd name="connsiteX363" fmla="*/ 23074 w 711807"/>
                <a:gd name="connsiteY363" fmla="*/ 243224 h 502214"/>
                <a:gd name="connsiteX364" fmla="*/ 33456 w 711807"/>
                <a:gd name="connsiteY364" fmla="*/ 239846 h 502214"/>
                <a:gd name="connsiteX365" fmla="*/ 35763 w 711807"/>
                <a:gd name="connsiteY365" fmla="*/ 244351 h 502214"/>
                <a:gd name="connsiteX366" fmla="*/ 65759 w 711807"/>
                <a:gd name="connsiteY366" fmla="*/ 234216 h 502214"/>
                <a:gd name="connsiteX367" fmla="*/ 77295 w 711807"/>
                <a:gd name="connsiteY367" fmla="*/ 234216 h 502214"/>
                <a:gd name="connsiteX368" fmla="*/ 105848 w 711807"/>
                <a:gd name="connsiteY368" fmla="*/ 249417 h 502214"/>
                <a:gd name="connsiteX369" fmla="*/ 109833 w 711807"/>
                <a:gd name="connsiteY369" fmla="*/ 247471 h 502214"/>
                <a:gd name="connsiteX370" fmla="*/ 109034 w 711807"/>
                <a:gd name="connsiteY370" fmla="*/ 248251 h 502214"/>
                <a:gd name="connsiteX371" fmla="*/ 105932 w 711807"/>
                <a:gd name="connsiteY371" fmla="*/ 249462 h 502214"/>
                <a:gd name="connsiteX372" fmla="*/ 109505 w 711807"/>
                <a:gd name="connsiteY372" fmla="*/ 251364 h 502214"/>
                <a:gd name="connsiteX373" fmla="*/ 114617 w 711807"/>
                <a:gd name="connsiteY373" fmla="*/ 251364 h 502214"/>
                <a:gd name="connsiteX374" fmla="*/ 120201 w 711807"/>
                <a:gd name="connsiteY374" fmla="*/ 258370 h 502214"/>
                <a:gd name="connsiteX375" fmla="*/ 123390 w 711807"/>
                <a:gd name="connsiteY375" fmla="*/ 259927 h 502214"/>
                <a:gd name="connsiteX376" fmla="*/ 125350 w 711807"/>
                <a:gd name="connsiteY376" fmla="*/ 262988 h 502214"/>
                <a:gd name="connsiteX377" fmla="*/ 126903 w 711807"/>
                <a:gd name="connsiteY377" fmla="*/ 263493 h 502214"/>
                <a:gd name="connsiteX378" fmla="*/ 129036 w 711807"/>
                <a:gd name="connsiteY378" fmla="*/ 266965 h 502214"/>
                <a:gd name="connsiteX379" fmla="*/ 129331 w 711807"/>
                <a:gd name="connsiteY379" fmla="*/ 267108 h 502214"/>
                <a:gd name="connsiteX380" fmla="*/ 128056 w 711807"/>
                <a:gd name="connsiteY380" fmla="*/ 264619 h 502214"/>
                <a:gd name="connsiteX381" fmla="*/ 129750 w 711807"/>
                <a:gd name="connsiteY381" fmla="*/ 264619 h 502214"/>
                <a:gd name="connsiteX382" fmla="*/ 131366 w 711807"/>
                <a:gd name="connsiteY382" fmla="*/ 263041 h 502214"/>
                <a:gd name="connsiteX383" fmla="*/ 135355 w 711807"/>
                <a:gd name="connsiteY383" fmla="*/ 262263 h 502214"/>
                <a:gd name="connsiteX384" fmla="*/ 136132 w 711807"/>
                <a:gd name="connsiteY384" fmla="*/ 263022 h 502214"/>
                <a:gd name="connsiteX385" fmla="*/ 136132 w 711807"/>
                <a:gd name="connsiteY385" fmla="*/ 261241 h 502214"/>
                <a:gd name="connsiteX386" fmla="*/ 138614 w 711807"/>
                <a:gd name="connsiteY386" fmla="*/ 260030 h 502214"/>
                <a:gd name="connsiteX387" fmla="*/ 138544 w 711807"/>
                <a:gd name="connsiteY387" fmla="*/ 259927 h 502214"/>
                <a:gd name="connsiteX388" fmla="*/ 131366 w 711807"/>
                <a:gd name="connsiteY388" fmla="*/ 257592 h 502214"/>
                <a:gd name="connsiteX389" fmla="*/ 130569 w 711807"/>
                <a:gd name="connsiteY389" fmla="*/ 259149 h 502214"/>
                <a:gd name="connsiteX390" fmla="*/ 128176 w 711807"/>
                <a:gd name="connsiteY390" fmla="*/ 256813 h 502214"/>
                <a:gd name="connsiteX391" fmla="*/ 128974 w 711807"/>
                <a:gd name="connsiteY391" fmla="*/ 256035 h 502214"/>
                <a:gd name="connsiteX392" fmla="*/ 128974 w 711807"/>
                <a:gd name="connsiteY392" fmla="*/ 254478 h 502214"/>
                <a:gd name="connsiteX393" fmla="*/ 128176 w 711807"/>
                <a:gd name="connsiteY393" fmla="*/ 256813 h 502214"/>
                <a:gd name="connsiteX394" fmla="*/ 125783 w 711807"/>
                <a:gd name="connsiteY394" fmla="*/ 255257 h 502214"/>
                <a:gd name="connsiteX395" fmla="*/ 123390 w 711807"/>
                <a:gd name="connsiteY395" fmla="*/ 252921 h 502214"/>
                <a:gd name="connsiteX396" fmla="*/ 121795 w 711807"/>
                <a:gd name="connsiteY396" fmla="*/ 252921 h 502214"/>
                <a:gd name="connsiteX397" fmla="*/ 122593 w 711807"/>
                <a:gd name="connsiteY397" fmla="*/ 249029 h 502214"/>
                <a:gd name="connsiteX398" fmla="*/ 117011 w 711807"/>
                <a:gd name="connsiteY398" fmla="*/ 249807 h 502214"/>
                <a:gd name="connsiteX399" fmla="*/ 120201 w 711807"/>
                <a:gd name="connsiteY399" fmla="*/ 249029 h 502214"/>
                <a:gd name="connsiteX400" fmla="*/ 120201 w 711807"/>
                <a:gd name="connsiteY400" fmla="*/ 247471 h 502214"/>
                <a:gd name="connsiteX401" fmla="*/ 117011 w 711807"/>
                <a:gd name="connsiteY401" fmla="*/ 247471 h 502214"/>
                <a:gd name="connsiteX402" fmla="*/ 116212 w 711807"/>
                <a:gd name="connsiteY402" fmla="*/ 249029 h 502214"/>
                <a:gd name="connsiteX403" fmla="*/ 113022 w 711807"/>
                <a:gd name="connsiteY403" fmla="*/ 246693 h 502214"/>
                <a:gd name="connsiteX404" fmla="*/ 113022 w 711807"/>
                <a:gd name="connsiteY404" fmla="*/ 245137 h 502214"/>
                <a:gd name="connsiteX405" fmla="*/ 117808 w 711807"/>
                <a:gd name="connsiteY405" fmla="*/ 245915 h 502214"/>
                <a:gd name="connsiteX406" fmla="*/ 124188 w 711807"/>
                <a:gd name="connsiteY406" fmla="*/ 243579 h 502214"/>
                <a:gd name="connsiteX407" fmla="*/ 123390 w 711807"/>
                <a:gd name="connsiteY407" fmla="*/ 242022 h 502214"/>
                <a:gd name="connsiteX408" fmla="*/ 115415 w 711807"/>
                <a:gd name="connsiteY408" fmla="*/ 244358 h 502214"/>
                <a:gd name="connsiteX409" fmla="*/ 117011 w 711807"/>
                <a:gd name="connsiteY409" fmla="*/ 243579 h 502214"/>
                <a:gd name="connsiteX410" fmla="*/ 124188 w 711807"/>
                <a:gd name="connsiteY410" fmla="*/ 241244 h 502214"/>
                <a:gd name="connsiteX411" fmla="*/ 125783 w 711807"/>
                <a:gd name="connsiteY411" fmla="*/ 244358 h 502214"/>
                <a:gd name="connsiteX412" fmla="*/ 146520 w 711807"/>
                <a:gd name="connsiteY412" fmla="*/ 237352 h 502214"/>
                <a:gd name="connsiteX413" fmla="*/ 154495 w 711807"/>
                <a:gd name="connsiteY413" fmla="*/ 237352 h 502214"/>
                <a:gd name="connsiteX414" fmla="*/ 160502 w 711807"/>
                <a:gd name="connsiteY414" fmla="*/ 240550 h 502214"/>
                <a:gd name="connsiteX415" fmla="*/ 160358 w 711807"/>
                <a:gd name="connsiteY415" fmla="*/ 239846 h 502214"/>
                <a:gd name="connsiteX416" fmla="*/ 163499 w 711807"/>
                <a:gd name="connsiteY416" fmla="*/ 242145 h 502214"/>
                <a:gd name="connsiteX417" fmla="*/ 165316 w 711807"/>
                <a:gd name="connsiteY417" fmla="*/ 243113 h 502214"/>
                <a:gd name="connsiteX418" fmla="*/ 168434 w 711807"/>
                <a:gd name="connsiteY418" fmla="*/ 242098 h 502214"/>
                <a:gd name="connsiteX419" fmla="*/ 170741 w 711807"/>
                <a:gd name="connsiteY419" fmla="*/ 240972 h 502214"/>
                <a:gd name="connsiteX420" fmla="*/ 173049 w 711807"/>
                <a:gd name="connsiteY420" fmla="*/ 237594 h 502214"/>
                <a:gd name="connsiteX421" fmla="*/ 176510 w 711807"/>
                <a:gd name="connsiteY421" fmla="*/ 244351 h 502214"/>
                <a:gd name="connsiteX422" fmla="*/ 174202 w 711807"/>
                <a:gd name="connsiteY422" fmla="*/ 237594 h 502214"/>
                <a:gd name="connsiteX423" fmla="*/ 176510 w 711807"/>
                <a:gd name="connsiteY423" fmla="*/ 237594 h 502214"/>
                <a:gd name="connsiteX424" fmla="*/ 179971 w 711807"/>
                <a:gd name="connsiteY424" fmla="*/ 244351 h 502214"/>
                <a:gd name="connsiteX425" fmla="*/ 177664 w 711807"/>
                <a:gd name="connsiteY425" fmla="*/ 237594 h 502214"/>
                <a:gd name="connsiteX426" fmla="*/ 179971 w 711807"/>
                <a:gd name="connsiteY426" fmla="*/ 237594 h 502214"/>
                <a:gd name="connsiteX427" fmla="*/ 183432 w 711807"/>
                <a:gd name="connsiteY427" fmla="*/ 235342 h 502214"/>
                <a:gd name="connsiteX428" fmla="*/ 185739 w 711807"/>
                <a:gd name="connsiteY428" fmla="*/ 233090 h 502214"/>
                <a:gd name="connsiteX429" fmla="*/ 190354 w 711807"/>
                <a:gd name="connsiteY429" fmla="*/ 230838 h 502214"/>
                <a:gd name="connsiteX430" fmla="*/ 199583 w 711807"/>
                <a:gd name="connsiteY430" fmla="*/ 228586 h 502214"/>
                <a:gd name="connsiteX431" fmla="*/ 203043 w 711807"/>
                <a:gd name="connsiteY431" fmla="*/ 227460 h 502214"/>
                <a:gd name="connsiteX432" fmla="*/ 203043 w 711807"/>
                <a:gd name="connsiteY432" fmla="*/ 226334 h 502214"/>
                <a:gd name="connsiteX433" fmla="*/ 205351 w 711807"/>
                <a:gd name="connsiteY433" fmla="*/ 226334 h 502214"/>
                <a:gd name="connsiteX434" fmla="*/ 222656 w 711807"/>
                <a:gd name="connsiteY434" fmla="*/ 222955 h 502214"/>
                <a:gd name="connsiteX435" fmla="*/ 235346 w 711807"/>
                <a:gd name="connsiteY435" fmla="*/ 222955 h 502214"/>
                <a:gd name="connsiteX436" fmla="*/ 237653 w 711807"/>
                <a:gd name="connsiteY436" fmla="*/ 219578 h 502214"/>
                <a:gd name="connsiteX437" fmla="*/ 242268 w 711807"/>
                <a:gd name="connsiteY437" fmla="*/ 222955 h 502214"/>
                <a:gd name="connsiteX438" fmla="*/ 243422 w 711807"/>
                <a:gd name="connsiteY438" fmla="*/ 219578 h 502214"/>
                <a:gd name="connsiteX439" fmla="*/ 244576 w 711807"/>
                <a:gd name="connsiteY439" fmla="*/ 220704 h 502214"/>
                <a:gd name="connsiteX440" fmla="*/ 256112 w 711807"/>
                <a:gd name="connsiteY440" fmla="*/ 218452 h 502214"/>
                <a:gd name="connsiteX441" fmla="*/ 259573 w 711807"/>
                <a:gd name="connsiteY441" fmla="*/ 219578 h 502214"/>
                <a:gd name="connsiteX442" fmla="*/ 260727 w 711807"/>
                <a:gd name="connsiteY442" fmla="*/ 218452 h 502214"/>
                <a:gd name="connsiteX443" fmla="*/ 269956 w 711807"/>
                <a:gd name="connsiteY443" fmla="*/ 217325 h 502214"/>
                <a:gd name="connsiteX444" fmla="*/ 271110 w 711807"/>
                <a:gd name="connsiteY444" fmla="*/ 219578 h 502214"/>
                <a:gd name="connsiteX445" fmla="*/ 272263 w 711807"/>
                <a:gd name="connsiteY445" fmla="*/ 217325 h 502214"/>
                <a:gd name="connsiteX446" fmla="*/ 293029 w 711807"/>
                <a:gd name="connsiteY446" fmla="*/ 213947 h 502214"/>
                <a:gd name="connsiteX447" fmla="*/ 295336 w 711807"/>
                <a:gd name="connsiteY447" fmla="*/ 211695 h 502214"/>
                <a:gd name="connsiteX448" fmla="*/ 316103 w 711807"/>
                <a:gd name="connsiteY448" fmla="*/ 210569 h 502214"/>
                <a:gd name="connsiteX449" fmla="*/ 317256 w 711807"/>
                <a:gd name="connsiteY449" fmla="*/ 206065 h 502214"/>
                <a:gd name="connsiteX450" fmla="*/ 320717 w 711807"/>
                <a:gd name="connsiteY450" fmla="*/ 207191 h 502214"/>
                <a:gd name="connsiteX451" fmla="*/ 323024 w 711807"/>
                <a:gd name="connsiteY451" fmla="*/ 206065 h 502214"/>
                <a:gd name="connsiteX452" fmla="*/ 332254 w 711807"/>
                <a:gd name="connsiteY452" fmla="*/ 206065 h 502214"/>
                <a:gd name="connsiteX453" fmla="*/ 332254 w 711807"/>
                <a:gd name="connsiteY453" fmla="*/ 203813 h 502214"/>
                <a:gd name="connsiteX454" fmla="*/ 343790 w 711807"/>
                <a:gd name="connsiteY454" fmla="*/ 206065 h 502214"/>
                <a:gd name="connsiteX455" fmla="*/ 346097 w 711807"/>
                <a:gd name="connsiteY455" fmla="*/ 203813 h 502214"/>
                <a:gd name="connsiteX456" fmla="*/ 347251 w 711807"/>
                <a:gd name="connsiteY456" fmla="*/ 206065 h 502214"/>
                <a:gd name="connsiteX457" fmla="*/ 356481 w 711807"/>
                <a:gd name="connsiteY457" fmla="*/ 202687 h 502214"/>
                <a:gd name="connsiteX458" fmla="*/ 359941 w 711807"/>
                <a:gd name="connsiteY458" fmla="*/ 204938 h 502214"/>
                <a:gd name="connsiteX459" fmla="*/ 362249 w 711807"/>
                <a:gd name="connsiteY459" fmla="*/ 202687 h 502214"/>
                <a:gd name="connsiteX460" fmla="*/ 366863 w 711807"/>
                <a:gd name="connsiteY460" fmla="*/ 201561 h 502214"/>
                <a:gd name="connsiteX461" fmla="*/ 369171 w 711807"/>
                <a:gd name="connsiteY461" fmla="*/ 200435 h 502214"/>
                <a:gd name="connsiteX462" fmla="*/ 368017 w 711807"/>
                <a:gd name="connsiteY462" fmla="*/ 202687 h 502214"/>
                <a:gd name="connsiteX463" fmla="*/ 370324 w 711807"/>
                <a:gd name="connsiteY463" fmla="*/ 201561 h 502214"/>
                <a:gd name="connsiteX464" fmla="*/ 378399 w 711807"/>
                <a:gd name="connsiteY464" fmla="*/ 199309 h 502214"/>
                <a:gd name="connsiteX465" fmla="*/ 381860 w 711807"/>
                <a:gd name="connsiteY465" fmla="*/ 198183 h 502214"/>
                <a:gd name="connsiteX466" fmla="*/ 385322 w 711807"/>
                <a:gd name="connsiteY466" fmla="*/ 197057 h 502214"/>
                <a:gd name="connsiteX467" fmla="*/ 387629 w 711807"/>
                <a:gd name="connsiteY467" fmla="*/ 197057 h 502214"/>
                <a:gd name="connsiteX468" fmla="*/ 395705 w 711807"/>
                <a:gd name="connsiteY468" fmla="*/ 194804 h 502214"/>
                <a:gd name="connsiteX469" fmla="*/ 395705 w 711807"/>
                <a:gd name="connsiteY469" fmla="*/ 193678 h 502214"/>
                <a:gd name="connsiteX470" fmla="*/ 399165 w 711807"/>
                <a:gd name="connsiteY470" fmla="*/ 198183 h 502214"/>
                <a:gd name="connsiteX471" fmla="*/ 398012 w 711807"/>
                <a:gd name="connsiteY471" fmla="*/ 193678 h 502214"/>
                <a:gd name="connsiteX472" fmla="*/ 403780 w 711807"/>
                <a:gd name="connsiteY472" fmla="*/ 192553 h 502214"/>
                <a:gd name="connsiteX473" fmla="*/ 405671 w 711807"/>
                <a:gd name="connsiteY473" fmla="*/ 198091 h 502214"/>
                <a:gd name="connsiteX474" fmla="*/ 405892 w 711807"/>
                <a:gd name="connsiteY474" fmla="*/ 197977 h 502214"/>
                <a:gd name="connsiteX475" fmla="*/ 404934 w 711807"/>
                <a:gd name="connsiteY475" fmla="*/ 191427 h 502214"/>
                <a:gd name="connsiteX476" fmla="*/ 409549 w 711807"/>
                <a:gd name="connsiteY476" fmla="*/ 190301 h 502214"/>
                <a:gd name="connsiteX477" fmla="*/ 416470 w 711807"/>
                <a:gd name="connsiteY477" fmla="*/ 189174 h 502214"/>
                <a:gd name="connsiteX478" fmla="*/ 417624 w 711807"/>
                <a:gd name="connsiteY478" fmla="*/ 186922 h 502214"/>
                <a:gd name="connsiteX479" fmla="*/ 419932 w 711807"/>
                <a:gd name="connsiteY479" fmla="*/ 186922 h 502214"/>
                <a:gd name="connsiteX480" fmla="*/ 419932 w 711807"/>
                <a:gd name="connsiteY480" fmla="*/ 185796 h 502214"/>
                <a:gd name="connsiteX481" fmla="*/ 421085 w 711807"/>
                <a:gd name="connsiteY481" fmla="*/ 186922 h 502214"/>
                <a:gd name="connsiteX482" fmla="*/ 419932 w 711807"/>
                <a:gd name="connsiteY482" fmla="*/ 184671 h 502214"/>
                <a:gd name="connsiteX483" fmla="*/ 422239 w 711807"/>
                <a:gd name="connsiteY483" fmla="*/ 186922 h 502214"/>
                <a:gd name="connsiteX484" fmla="*/ 441851 w 711807"/>
                <a:gd name="connsiteY484" fmla="*/ 176788 h 502214"/>
                <a:gd name="connsiteX485" fmla="*/ 448773 w 711807"/>
                <a:gd name="connsiteY485" fmla="*/ 176788 h 502214"/>
                <a:gd name="connsiteX486" fmla="*/ 453387 w 711807"/>
                <a:gd name="connsiteY486" fmla="*/ 171158 h 502214"/>
                <a:gd name="connsiteX487" fmla="*/ 456849 w 711807"/>
                <a:gd name="connsiteY487" fmla="*/ 170032 h 502214"/>
                <a:gd name="connsiteX488" fmla="*/ 456849 w 711807"/>
                <a:gd name="connsiteY488" fmla="*/ 171158 h 502214"/>
                <a:gd name="connsiteX489" fmla="*/ 474153 w 711807"/>
                <a:gd name="connsiteY489" fmla="*/ 162149 h 502214"/>
                <a:gd name="connsiteX490" fmla="*/ 485690 w 711807"/>
                <a:gd name="connsiteY490" fmla="*/ 158772 h 502214"/>
                <a:gd name="connsiteX491" fmla="*/ 487997 w 711807"/>
                <a:gd name="connsiteY491" fmla="*/ 157645 h 502214"/>
                <a:gd name="connsiteX492" fmla="*/ 490304 w 711807"/>
                <a:gd name="connsiteY492" fmla="*/ 158772 h 502214"/>
                <a:gd name="connsiteX493" fmla="*/ 491458 w 711807"/>
                <a:gd name="connsiteY493" fmla="*/ 155393 h 502214"/>
                <a:gd name="connsiteX494" fmla="*/ 501841 w 711807"/>
                <a:gd name="connsiteY494" fmla="*/ 153141 h 502214"/>
                <a:gd name="connsiteX495" fmla="*/ 250203 w 711807"/>
                <a:gd name="connsiteY495" fmla="*/ 120582 h 502214"/>
                <a:gd name="connsiteX496" fmla="*/ 250203 w 711807"/>
                <a:gd name="connsiteY496" fmla="*/ 122139 h 502214"/>
                <a:gd name="connsiteX497" fmla="*/ 247810 w 711807"/>
                <a:gd name="connsiteY497" fmla="*/ 122917 h 502214"/>
                <a:gd name="connsiteX498" fmla="*/ 247012 w 711807"/>
                <a:gd name="connsiteY498" fmla="*/ 121360 h 502214"/>
                <a:gd name="connsiteX499" fmla="*/ 261893 w 711807"/>
                <a:gd name="connsiteY499" fmla="*/ 111026 h 502214"/>
                <a:gd name="connsiteX500" fmla="*/ 261893 w 711807"/>
                <a:gd name="connsiteY500" fmla="*/ 114031 h 502214"/>
                <a:gd name="connsiteX501" fmla="*/ 260570 w 711807"/>
                <a:gd name="connsiteY501" fmla="*/ 114354 h 502214"/>
                <a:gd name="connsiteX502" fmla="*/ 260570 w 711807"/>
                <a:gd name="connsiteY502" fmla="*/ 115911 h 502214"/>
                <a:gd name="connsiteX503" fmla="*/ 258178 w 711807"/>
                <a:gd name="connsiteY503" fmla="*/ 116690 h 502214"/>
                <a:gd name="connsiteX504" fmla="*/ 258178 w 711807"/>
                <a:gd name="connsiteY504" fmla="*/ 121360 h 502214"/>
                <a:gd name="connsiteX505" fmla="*/ 257381 w 711807"/>
                <a:gd name="connsiteY505" fmla="*/ 120582 h 502214"/>
                <a:gd name="connsiteX506" fmla="*/ 258178 w 711807"/>
                <a:gd name="connsiteY506" fmla="*/ 114354 h 502214"/>
                <a:gd name="connsiteX507" fmla="*/ 260570 w 711807"/>
                <a:gd name="connsiteY507" fmla="*/ 111241 h 502214"/>
                <a:gd name="connsiteX508" fmla="*/ 383394 w 711807"/>
                <a:gd name="connsiteY508" fmla="*/ 107348 h 502214"/>
                <a:gd name="connsiteX509" fmla="*/ 385788 w 711807"/>
                <a:gd name="connsiteY509" fmla="*/ 107348 h 502214"/>
                <a:gd name="connsiteX510" fmla="*/ 390572 w 711807"/>
                <a:gd name="connsiteY510" fmla="*/ 108905 h 502214"/>
                <a:gd name="connsiteX511" fmla="*/ 389775 w 711807"/>
                <a:gd name="connsiteY511" fmla="*/ 111241 h 502214"/>
                <a:gd name="connsiteX512" fmla="*/ 388180 w 711807"/>
                <a:gd name="connsiteY512" fmla="*/ 110462 h 502214"/>
                <a:gd name="connsiteX513" fmla="*/ 389775 w 711807"/>
                <a:gd name="connsiteY513" fmla="*/ 112019 h 502214"/>
                <a:gd name="connsiteX514" fmla="*/ 390572 w 711807"/>
                <a:gd name="connsiteY514" fmla="*/ 114354 h 502214"/>
                <a:gd name="connsiteX515" fmla="*/ 387383 w 711807"/>
                <a:gd name="connsiteY515" fmla="*/ 114354 h 502214"/>
                <a:gd name="connsiteX516" fmla="*/ 381799 w 711807"/>
                <a:gd name="connsiteY516" fmla="*/ 109683 h 502214"/>
                <a:gd name="connsiteX517" fmla="*/ 387383 w 711807"/>
                <a:gd name="connsiteY517" fmla="*/ 94114 h 502214"/>
                <a:gd name="connsiteX518" fmla="*/ 392168 w 711807"/>
                <a:gd name="connsiteY518" fmla="*/ 94114 h 502214"/>
                <a:gd name="connsiteX519" fmla="*/ 391371 w 711807"/>
                <a:gd name="connsiteY519" fmla="*/ 94893 h 502214"/>
                <a:gd name="connsiteX520" fmla="*/ 392966 w 711807"/>
                <a:gd name="connsiteY520" fmla="*/ 94893 h 502214"/>
                <a:gd name="connsiteX521" fmla="*/ 392168 w 711807"/>
                <a:gd name="connsiteY521" fmla="*/ 95670 h 502214"/>
                <a:gd name="connsiteX522" fmla="*/ 239961 w 711807"/>
                <a:gd name="connsiteY522" fmla="*/ 90083 h 502214"/>
                <a:gd name="connsiteX523" fmla="*/ 237653 w 711807"/>
                <a:gd name="connsiteY523" fmla="*/ 100217 h 502214"/>
                <a:gd name="connsiteX524" fmla="*/ 238807 w 711807"/>
                <a:gd name="connsiteY524" fmla="*/ 94587 h 502214"/>
                <a:gd name="connsiteX525" fmla="*/ 380479 w 711807"/>
                <a:gd name="connsiteY525" fmla="*/ 87108 h 502214"/>
                <a:gd name="connsiteX526" fmla="*/ 388180 w 711807"/>
                <a:gd name="connsiteY526" fmla="*/ 87108 h 502214"/>
                <a:gd name="connsiteX527" fmla="*/ 393763 w 711807"/>
                <a:gd name="connsiteY527" fmla="*/ 88665 h 502214"/>
                <a:gd name="connsiteX528" fmla="*/ 404131 w 711807"/>
                <a:gd name="connsiteY528" fmla="*/ 96449 h 502214"/>
                <a:gd name="connsiteX529" fmla="*/ 389775 w 711807"/>
                <a:gd name="connsiteY529" fmla="*/ 92557 h 502214"/>
                <a:gd name="connsiteX530" fmla="*/ 388977 w 711807"/>
                <a:gd name="connsiteY530" fmla="*/ 91778 h 502214"/>
                <a:gd name="connsiteX531" fmla="*/ 384193 w 711807"/>
                <a:gd name="connsiteY531" fmla="*/ 95670 h 502214"/>
                <a:gd name="connsiteX532" fmla="*/ 381002 w 711807"/>
                <a:gd name="connsiteY532" fmla="*/ 96449 h 502214"/>
                <a:gd name="connsiteX533" fmla="*/ 380479 w 711807"/>
                <a:gd name="connsiteY533" fmla="*/ 97385 h 502214"/>
                <a:gd name="connsiteX534" fmla="*/ 239961 w 711807"/>
                <a:gd name="connsiteY534" fmla="*/ 82201 h 502214"/>
                <a:gd name="connsiteX535" fmla="*/ 241114 w 711807"/>
                <a:gd name="connsiteY535" fmla="*/ 87831 h 502214"/>
                <a:gd name="connsiteX536" fmla="*/ 239961 w 711807"/>
                <a:gd name="connsiteY536" fmla="*/ 90083 h 502214"/>
                <a:gd name="connsiteX537" fmla="*/ 310817 w 711807"/>
                <a:gd name="connsiteY537" fmla="*/ 75431 h 502214"/>
                <a:gd name="connsiteX538" fmla="*/ 315602 w 711807"/>
                <a:gd name="connsiteY538" fmla="*/ 76988 h 502214"/>
                <a:gd name="connsiteX539" fmla="*/ 319597 w 711807"/>
                <a:gd name="connsiteY539" fmla="*/ 80107 h 502214"/>
                <a:gd name="connsiteX540" fmla="*/ 317603 w 711807"/>
                <a:gd name="connsiteY540" fmla="*/ 80107 h 502214"/>
                <a:gd name="connsiteX541" fmla="*/ 314805 w 711807"/>
                <a:gd name="connsiteY541" fmla="*/ 77766 h 502214"/>
                <a:gd name="connsiteX542" fmla="*/ 312412 w 711807"/>
                <a:gd name="connsiteY542" fmla="*/ 77766 h 502214"/>
                <a:gd name="connsiteX543" fmla="*/ 316009 w 711807"/>
                <a:gd name="connsiteY543" fmla="*/ 80107 h 502214"/>
                <a:gd name="connsiteX544" fmla="*/ 301458 w 711807"/>
                <a:gd name="connsiteY544" fmla="*/ 80107 h 502214"/>
                <a:gd name="connsiteX545" fmla="*/ 303639 w 711807"/>
                <a:gd name="connsiteY545" fmla="*/ 77766 h 502214"/>
                <a:gd name="connsiteX546" fmla="*/ 215734 w 711807"/>
                <a:gd name="connsiteY546" fmla="*/ 65310 h 502214"/>
                <a:gd name="connsiteX547" fmla="*/ 215734 w 711807"/>
                <a:gd name="connsiteY547" fmla="*/ 67562 h 502214"/>
                <a:gd name="connsiteX548" fmla="*/ 212273 w 711807"/>
                <a:gd name="connsiteY548" fmla="*/ 68688 h 502214"/>
                <a:gd name="connsiteX549" fmla="*/ 211119 w 711807"/>
                <a:gd name="connsiteY549" fmla="*/ 66436 h 502214"/>
                <a:gd name="connsiteX550" fmla="*/ 241114 w 711807"/>
                <a:gd name="connsiteY550" fmla="*/ 58554 h 502214"/>
                <a:gd name="connsiteX551" fmla="*/ 242268 w 711807"/>
                <a:gd name="connsiteY551" fmla="*/ 73192 h 502214"/>
                <a:gd name="connsiteX552" fmla="*/ 241114 w 711807"/>
                <a:gd name="connsiteY552" fmla="*/ 77697 h 502214"/>
                <a:gd name="connsiteX553" fmla="*/ 237653 w 711807"/>
                <a:gd name="connsiteY553" fmla="*/ 50672 h 502214"/>
                <a:gd name="connsiteX554" fmla="*/ 242268 w 711807"/>
                <a:gd name="connsiteY554" fmla="*/ 52924 h 502214"/>
                <a:gd name="connsiteX555" fmla="*/ 244576 w 711807"/>
                <a:gd name="connsiteY555" fmla="*/ 57428 h 502214"/>
                <a:gd name="connsiteX556" fmla="*/ 239961 w 711807"/>
                <a:gd name="connsiteY556" fmla="*/ 54049 h 502214"/>
                <a:gd name="connsiteX557" fmla="*/ 230731 w 711807"/>
                <a:gd name="connsiteY557" fmla="*/ 56302 h 502214"/>
                <a:gd name="connsiteX558" fmla="*/ 230731 w 711807"/>
                <a:gd name="connsiteY558" fmla="*/ 58554 h 502214"/>
                <a:gd name="connsiteX559" fmla="*/ 227270 w 711807"/>
                <a:gd name="connsiteY559" fmla="*/ 59680 h 502214"/>
                <a:gd name="connsiteX560" fmla="*/ 227270 w 711807"/>
                <a:gd name="connsiteY560" fmla="*/ 66436 h 502214"/>
                <a:gd name="connsiteX561" fmla="*/ 226117 w 711807"/>
                <a:gd name="connsiteY561" fmla="*/ 65310 h 502214"/>
                <a:gd name="connsiteX562" fmla="*/ 227270 w 711807"/>
                <a:gd name="connsiteY562" fmla="*/ 56302 h 502214"/>
                <a:gd name="connsiteX563" fmla="*/ 230731 w 711807"/>
                <a:gd name="connsiteY563" fmla="*/ 51798 h 502214"/>
                <a:gd name="connsiteX564" fmla="*/ 408394 w 711807"/>
                <a:gd name="connsiteY564" fmla="*/ 46167 h 502214"/>
                <a:gd name="connsiteX565" fmla="*/ 411856 w 711807"/>
                <a:gd name="connsiteY565" fmla="*/ 46167 h 502214"/>
                <a:gd name="connsiteX566" fmla="*/ 418777 w 711807"/>
                <a:gd name="connsiteY566" fmla="*/ 48419 h 502214"/>
                <a:gd name="connsiteX567" fmla="*/ 417624 w 711807"/>
                <a:gd name="connsiteY567" fmla="*/ 51798 h 502214"/>
                <a:gd name="connsiteX568" fmla="*/ 415317 w 711807"/>
                <a:gd name="connsiteY568" fmla="*/ 50672 h 502214"/>
                <a:gd name="connsiteX569" fmla="*/ 417624 w 711807"/>
                <a:gd name="connsiteY569" fmla="*/ 52924 h 502214"/>
                <a:gd name="connsiteX570" fmla="*/ 418777 w 711807"/>
                <a:gd name="connsiteY570" fmla="*/ 56302 h 502214"/>
                <a:gd name="connsiteX571" fmla="*/ 414163 w 711807"/>
                <a:gd name="connsiteY571" fmla="*/ 56302 h 502214"/>
                <a:gd name="connsiteX572" fmla="*/ 406087 w 711807"/>
                <a:gd name="connsiteY572" fmla="*/ 49545 h 502214"/>
                <a:gd name="connsiteX573" fmla="*/ 317256 w 711807"/>
                <a:gd name="connsiteY573" fmla="*/ 29276 h 502214"/>
                <a:gd name="connsiteX574" fmla="*/ 320716 w 711807"/>
                <a:gd name="connsiteY574" fmla="*/ 31529 h 502214"/>
                <a:gd name="connsiteX575" fmla="*/ 321871 w 711807"/>
                <a:gd name="connsiteY575" fmla="*/ 33781 h 502214"/>
                <a:gd name="connsiteX576" fmla="*/ 316102 w 711807"/>
                <a:gd name="connsiteY576" fmla="*/ 36033 h 502214"/>
                <a:gd name="connsiteX577" fmla="*/ 309180 w 711807"/>
                <a:gd name="connsiteY577" fmla="*/ 36033 h 502214"/>
                <a:gd name="connsiteX578" fmla="*/ 302258 w 711807"/>
                <a:gd name="connsiteY578" fmla="*/ 32655 h 502214"/>
                <a:gd name="connsiteX579" fmla="*/ 302794 w 711807"/>
                <a:gd name="connsiteY579" fmla="*/ 32534 h 502214"/>
                <a:gd name="connsiteX580" fmla="*/ 303412 w 711807"/>
                <a:gd name="connsiteY580" fmla="*/ 32655 h 502214"/>
                <a:gd name="connsiteX581" fmla="*/ 306876 w 711807"/>
                <a:gd name="connsiteY581" fmla="*/ 31615 h 502214"/>
                <a:gd name="connsiteX582" fmla="*/ 414163 w 711807"/>
                <a:gd name="connsiteY582" fmla="*/ 27025 h 502214"/>
                <a:gd name="connsiteX583" fmla="*/ 421085 w 711807"/>
                <a:gd name="connsiteY583" fmla="*/ 27025 h 502214"/>
                <a:gd name="connsiteX584" fmla="*/ 419932 w 711807"/>
                <a:gd name="connsiteY584" fmla="*/ 28151 h 502214"/>
                <a:gd name="connsiteX585" fmla="*/ 422239 w 711807"/>
                <a:gd name="connsiteY585" fmla="*/ 28151 h 502214"/>
                <a:gd name="connsiteX586" fmla="*/ 421085 w 711807"/>
                <a:gd name="connsiteY586" fmla="*/ 29276 h 502214"/>
                <a:gd name="connsiteX587" fmla="*/ 393398 w 711807"/>
                <a:gd name="connsiteY587" fmla="*/ 15764 h 502214"/>
                <a:gd name="connsiteX588" fmla="*/ 396858 w 711807"/>
                <a:gd name="connsiteY588" fmla="*/ 15764 h 502214"/>
                <a:gd name="connsiteX589" fmla="*/ 394551 w 711807"/>
                <a:gd name="connsiteY589" fmla="*/ 16890 h 502214"/>
                <a:gd name="connsiteX590" fmla="*/ 415317 w 711807"/>
                <a:gd name="connsiteY590" fmla="*/ 16890 h 502214"/>
                <a:gd name="connsiteX591" fmla="*/ 423392 w 711807"/>
                <a:gd name="connsiteY591" fmla="*/ 19143 h 502214"/>
                <a:gd name="connsiteX592" fmla="*/ 438390 w 711807"/>
                <a:gd name="connsiteY592" fmla="*/ 30402 h 502214"/>
                <a:gd name="connsiteX593" fmla="*/ 417624 w 711807"/>
                <a:gd name="connsiteY593" fmla="*/ 24773 h 502214"/>
                <a:gd name="connsiteX594" fmla="*/ 416470 w 711807"/>
                <a:gd name="connsiteY594" fmla="*/ 23646 h 502214"/>
                <a:gd name="connsiteX595" fmla="*/ 409549 w 711807"/>
                <a:gd name="connsiteY595" fmla="*/ 29276 h 502214"/>
                <a:gd name="connsiteX596" fmla="*/ 404934 w 711807"/>
                <a:gd name="connsiteY596" fmla="*/ 30402 h 502214"/>
                <a:gd name="connsiteX597" fmla="*/ 398012 w 711807"/>
                <a:gd name="connsiteY597" fmla="*/ 42789 h 502214"/>
                <a:gd name="connsiteX598" fmla="*/ 396858 w 711807"/>
                <a:gd name="connsiteY598" fmla="*/ 40537 h 502214"/>
                <a:gd name="connsiteX599" fmla="*/ 389936 w 711807"/>
                <a:gd name="connsiteY599" fmla="*/ 39411 h 502214"/>
                <a:gd name="connsiteX600" fmla="*/ 388783 w 711807"/>
                <a:gd name="connsiteY600" fmla="*/ 31529 h 502214"/>
                <a:gd name="connsiteX601" fmla="*/ 389936 w 711807"/>
                <a:gd name="connsiteY601" fmla="*/ 19143 h 502214"/>
                <a:gd name="connsiteX602" fmla="*/ 303412 w 711807"/>
                <a:gd name="connsiteY602" fmla="*/ 0 h 502214"/>
                <a:gd name="connsiteX603" fmla="*/ 310334 w 711807"/>
                <a:gd name="connsiteY603" fmla="*/ 2252 h 502214"/>
                <a:gd name="connsiteX604" fmla="*/ 321871 w 711807"/>
                <a:gd name="connsiteY604" fmla="*/ 11260 h 502214"/>
                <a:gd name="connsiteX605" fmla="*/ 329946 w 711807"/>
                <a:gd name="connsiteY605" fmla="*/ 22520 h 502214"/>
                <a:gd name="connsiteX606" fmla="*/ 317256 w 711807"/>
                <a:gd name="connsiteY606" fmla="*/ 10134 h 502214"/>
                <a:gd name="connsiteX607" fmla="*/ 309180 w 711807"/>
                <a:gd name="connsiteY607" fmla="*/ 3378 h 502214"/>
                <a:gd name="connsiteX608" fmla="*/ 305719 w 711807"/>
                <a:gd name="connsiteY608" fmla="*/ 3378 h 502214"/>
                <a:gd name="connsiteX609" fmla="*/ 312641 w 711807"/>
                <a:gd name="connsiteY609" fmla="*/ 7882 h 502214"/>
                <a:gd name="connsiteX610" fmla="*/ 333407 w 711807"/>
                <a:gd name="connsiteY610" fmla="*/ 28151 h 502214"/>
                <a:gd name="connsiteX611" fmla="*/ 334561 w 711807"/>
                <a:gd name="connsiteY611" fmla="*/ 31529 h 502214"/>
                <a:gd name="connsiteX612" fmla="*/ 309180 w 711807"/>
                <a:gd name="connsiteY612" fmla="*/ 12386 h 502214"/>
                <a:gd name="connsiteX613" fmla="*/ 308027 w 711807"/>
                <a:gd name="connsiteY613" fmla="*/ 10134 h 502214"/>
                <a:gd name="connsiteX614" fmla="*/ 303412 w 711807"/>
                <a:gd name="connsiteY614" fmla="*/ 11260 h 502214"/>
                <a:gd name="connsiteX615" fmla="*/ 297644 w 711807"/>
                <a:gd name="connsiteY615" fmla="*/ 9008 h 502214"/>
                <a:gd name="connsiteX616" fmla="*/ 297644 w 711807"/>
                <a:gd name="connsiteY616" fmla="*/ 12386 h 502214"/>
                <a:gd name="connsiteX617" fmla="*/ 304565 w 711807"/>
                <a:gd name="connsiteY617" fmla="*/ 15764 h 502214"/>
                <a:gd name="connsiteX618" fmla="*/ 310334 w 711807"/>
                <a:gd name="connsiteY618" fmla="*/ 19143 h 502214"/>
                <a:gd name="connsiteX619" fmla="*/ 310334 w 711807"/>
                <a:gd name="connsiteY619" fmla="*/ 15764 h 502214"/>
                <a:gd name="connsiteX620" fmla="*/ 332253 w 711807"/>
                <a:gd name="connsiteY620" fmla="*/ 34907 h 502214"/>
                <a:gd name="connsiteX621" fmla="*/ 328792 w 711807"/>
                <a:gd name="connsiteY621" fmla="*/ 36033 h 502214"/>
                <a:gd name="connsiteX622" fmla="*/ 326485 w 711807"/>
                <a:gd name="connsiteY622" fmla="*/ 36033 h 502214"/>
                <a:gd name="connsiteX623" fmla="*/ 324178 w 711807"/>
                <a:gd name="connsiteY623" fmla="*/ 31529 h 502214"/>
                <a:gd name="connsiteX624" fmla="*/ 318409 w 711807"/>
                <a:gd name="connsiteY624" fmla="*/ 28151 h 502214"/>
                <a:gd name="connsiteX625" fmla="*/ 306876 w 711807"/>
                <a:gd name="connsiteY625" fmla="*/ 31615 h 502214"/>
                <a:gd name="connsiteX626" fmla="*/ 302794 w 711807"/>
                <a:gd name="connsiteY626" fmla="*/ 32534 h 502214"/>
                <a:gd name="connsiteX627" fmla="*/ 297644 w 711807"/>
                <a:gd name="connsiteY627" fmla="*/ 31529 h 502214"/>
                <a:gd name="connsiteX628" fmla="*/ 308027 w 711807"/>
                <a:gd name="connsiteY628" fmla="*/ 39411 h 502214"/>
                <a:gd name="connsiteX629" fmla="*/ 310334 w 711807"/>
                <a:gd name="connsiteY629" fmla="*/ 48419 h 502214"/>
                <a:gd name="connsiteX630" fmla="*/ 304565 w 711807"/>
                <a:gd name="connsiteY630" fmla="*/ 63058 h 502214"/>
                <a:gd name="connsiteX631" fmla="*/ 295336 w 711807"/>
                <a:gd name="connsiteY631" fmla="*/ 61932 h 502214"/>
                <a:gd name="connsiteX632" fmla="*/ 293029 w 711807"/>
                <a:gd name="connsiteY632" fmla="*/ 66436 h 502214"/>
                <a:gd name="connsiteX633" fmla="*/ 294182 w 711807"/>
                <a:gd name="connsiteY633" fmla="*/ 75444 h 502214"/>
                <a:gd name="connsiteX634" fmla="*/ 293029 w 711807"/>
                <a:gd name="connsiteY634" fmla="*/ 77697 h 502214"/>
                <a:gd name="connsiteX635" fmla="*/ 288414 w 711807"/>
                <a:gd name="connsiteY635" fmla="*/ 47293 h 502214"/>
                <a:gd name="connsiteX636" fmla="*/ 286107 w 711807"/>
                <a:gd name="connsiteY636" fmla="*/ 37159 h 502214"/>
                <a:gd name="connsiteX637" fmla="*/ 278031 w 711807"/>
                <a:gd name="connsiteY637" fmla="*/ 23646 h 502214"/>
                <a:gd name="connsiteX638" fmla="*/ 279185 w 711807"/>
                <a:gd name="connsiteY638" fmla="*/ 21394 h 502214"/>
                <a:gd name="connsiteX639" fmla="*/ 281492 w 711807"/>
                <a:gd name="connsiteY639" fmla="*/ 15764 h 502214"/>
                <a:gd name="connsiteX640" fmla="*/ 293029 w 711807"/>
                <a:gd name="connsiteY640" fmla="*/ 3378 h 50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Lst>
              <a:rect l="l" t="t" r="r" b="b"/>
              <a:pathLst>
                <a:path w="711807" h="502214">
                  <a:moveTo>
                    <a:pt x="273413" y="376108"/>
                  </a:moveTo>
                  <a:lnTo>
                    <a:pt x="272263" y="379475"/>
                  </a:lnTo>
                  <a:lnTo>
                    <a:pt x="272479" y="379757"/>
                  </a:lnTo>
                  <a:close/>
                  <a:moveTo>
                    <a:pt x="28897" y="319688"/>
                  </a:moveTo>
                  <a:lnTo>
                    <a:pt x="29995" y="319795"/>
                  </a:lnTo>
                  <a:lnTo>
                    <a:pt x="28842" y="319795"/>
                  </a:lnTo>
                  <a:close/>
                  <a:moveTo>
                    <a:pt x="32302" y="317543"/>
                  </a:moveTo>
                  <a:lnTo>
                    <a:pt x="34610" y="318669"/>
                  </a:lnTo>
                  <a:lnTo>
                    <a:pt x="34610" y="320921"/>
                  </a:lnTo>
                  <a:lnTo>
                    <a:pt x="31149" y="319795"/>
                  </a:lnTo>
                  <a:close/>
                  <a:moveTo>
                    <a:pt x="61252" y="309133"/>
                  </a:moveTo>
                  <a:lnTo>
                    <a:pt x="62874" y="311350"/>
                  </a:lnTo>
                  <a:lnTo>
                    <a:pt x="61144" y="309661"/>
                  </a:lnTo>
                  <a:close/>
                  <a:moveTo>
                    <a:pt x="28842" y="305156"/>
                  </a:moveTo>
                  <a:lnTo>
                    <a:pt x="31149" y="305156"/>
                  </a:lnTo>
                  <a:lnTo>
                    <a:pt x="31149" y="308535"/>
                  </a:lnTo>
                  <a:close/>
                  <a:moveTo>
                    <a:pt x="13844" y="300653"/>
                  </a:moveTo>
                  <a:lnTo>
                    <a:pt x="19612" y="304031"/>
                  </a:lnTo>
                  <a:lnTo>
                    <a:pt x="26534" y="305156"/>
                  </a:lnTo>
                  <a:lnTo>
                    <a:pt x="28842" y="307409"/>
                  </a:lnTo>
                  <a:lnTo>
                    <a:pt x="27688" y="315291"/>
                  </a:lnTo>
                  <a:lnTo>
                    <a:pt x="29995" y="317543"/>
                  </a:lnTo>
                  <a:lnTo>
                    <a:pt x="28897" y="319688"/>
                  </a:lnTo>
                  <a:lnTo>
                    <a:pt x="18459" y="318669"/>
                  </a:lnTo>
                  <a:lnTo>
                    <a:pt x="5768" y="309661"/>
                  </a:lnTo>
                  <a:lnTo>
                    <a:pt x="14998" y="317543"/>
                  </a:lnTo>
                  <a:lnTo>
                    <a:pt x="3461" y="308535"/>
                  </a:lnTo>
                  <a:lnTo>
                    <a:pt x="4615" y="302905"/>
                  </a:lnTo>
                  <a:lnTo>
                    <a:pt x="9229" y="305156"/>
                  </a:lnTo>
                  <a:lnTo>
                    <a:pt x="11536" y="310787"/>
                  </a:lnTo>
                  <a:lnTo>
                    <a:pt x="11536" y="302905"/>
                  </a:lnTo>
                  <a:close/>
                  <a:moveTo>
                    <a:pt x="14998" y="282636"/>
                  </a:moveTo>
                  <a:lnTo>
                    <a:pt x="16151" y="283762"/>
                  </a:lnTo>
                  <a:lnTo>
                    <a:pt x="14998" y="283762"/>
                  </a:lnTo>
                  <a:close/>
                  <a:moveTo>
                    <a:pt x="16151" y="280383"/>
                  </a:moveTo>
                  <a:lnTo>
                    <a:pt x="17305" y="281510"/>
                  </a:lnTo>
                  <a:lnTo>
                    <a:pt x="17305" y="282636"/>
                  </a:lnTo>
                  <a:close/>
                  <a:moveTo>
                    <a:pt x="8076" y="280383"/>
                  </a:moveTo>
                  <a:lnTo>
                    <a:pt x="10383" y="282636"/>
                  </a:lnTo>
                  <a:lnTo>
                    <a:pt x="5768" y="287140"/>
                  </a:lnTo>
                  <a:lnTo>
                    <a:pt x="4615" y="281510"/>
                  </a:lnTo>
                  <a:close/>
                  <a:moveTo>
                    <a:pt x="1154" y="274753"/>
                  </a:moveTo>
                  <a:lnTo>
                    <a:pt x="3461" y="275880"/>
                  </a:lnTo>
                  <a:lnTo>
                    <a:pt x="1154" y="278132"/>
                  </a:lnTo>
                  <a:close/>
                  <a:moveTo>
                    <a:pt x="49608" y="270250"/>
                  </a:moveTo>
                  <a:lnTo>
                    <a:pt x="53068" y="273627"/>
                  </a:lnTo>
                  <a:lnTo>
                    <a:pt x="44993" y="275880"/>
                  </a:lnTo>
                  <a:lnTo>
                    <a:pt x="40378" y="274753"/>
                  </a:lnTo>
                  <a:lnTo>
                    <a:pt x="43839" y="271375"/>
                  </a:lnTo>
                  <a:close/>
                  <a:moveTo>
                    <a:pt x="12691" y="248854"/>
                  </a:moveTo>
                  <a:lnTo>
                    <a:pt x="11536" y="249981"/>
                  </a:lnTo>
                  <a:lnTo>
                    <a:pt x="5768" y="252233"/>
                  </a:lnTo>
                  <a:close/>
                  <a:moveTo>
                    <a:pt x="113751" y="242293"/>
                  </a:moveTo>
                  <a:lnTo>
                    <a:pt x="113022" y="245137"/>
                  </a:lnTo>
                  <a:lnTo>
                    <a:pt x="111428" y="246693"/>
                  </a:lnTo>
                  <a:lnTo>
                    <a:pt x="109833" y="245137"/>
                  </a:lnTo>
                  <a:lnTo>
                    <a:pt x="110630" y="242801"/>
                  </a:lnTo>
                  <a:close/>
                  <a:moveTo>
                    <a:pt x="113820" y="242022"/>
                  </a:moveTo>
                  <a:lnTo>
                    <a:pt x="115415" y="242022"/>
                  </a:lnTo>
                  <a:lnTo>
                    <a:pt x="113751" y="242293"/>
                  </a:lnTo>
                  <a:close/>
                  <a:moveTo>
                    <a:pt x="18359" y="241364"/>
                  </a:moveTo>
                  <a:lnTo>
                    <a:pt x="17305" y="245477"/>
                  </a:lnTo>
                  <a:lnTo>
                    <a:pt x="14998" y="247728"/>
                  </a:lnTo>
                  <a:lnTo>
                    <a:pt x="12691" y="245477"/>
                  </a:lnTo>
                  <a:lnTo>
                    <a:pt x="13844" y="242098"/>
                  </a:lnTo>
                  <a:close/>
                  <a:moveTo>
                    <a:pt x="18459" y="240972"/>
                  </a:moveTo>
                  <a:lnTo>
                    <a:pt x="20766" y="240972"/>
                  </a:lnTo>
                  <a:lnTo>
                    <a:pt x="18359" y="241364"/>
                  </a:lnTo>
                  <a:close/>
                  <a:moveTo>
                    <a:pt x="357235" y="215452"/>
                  </a:moveTo>
                  <a:lnTo>
                    <a:pt x="357230" y="215453"/>
                  </a:lnTo>
                  <a:lnTo>
                    <a:pt x="357230" y="215454"/>
                  </a:lnTo>
                  <a:lnTo>
                    <a:pt x="357235" y="215453"/>
                  </a:lnTo>
                  <a:close/>
                  <a:moveTo>
                    <a:pt x="346097" y="211695"/>
                  </a:moveTo>
                  <a:lnTo>
                    <a:pt x="339175" y="212822"/>
                  </a:lnTo>
                  <a:lnTo>
                    <a:pt x="346097" y="211696"/>
                  </a:lnTo>
                  <a:lnTo>
                    <a:pt x="352552" y="215296"/>
                  </a:lnTo>
                  <a:lnTo>
                    <a:pt x="352554" y="215296"/>
                  </a:lnTo>
                  <a:close/>
                  <a:moveTo>
                    <a:pt x="370328" y="201578"/>
                  </a:moveTo>
                  <a:lnTo>
                    <a:pt x="372410" y="210722"/>
                  </a:lnTo>
                  <a:lnTo>
                    <a:pt x="372485" y="210701"/>
                  </a:lnTo>
                  <a:close/>
                  <a:moveTo>
                    <a:pt x="667968" y="149763"/>
                  </a:moveTo>
                  <a:lnTo>
                    <a:pt x="669122" y="155393"/>
                  </a:lnTo>
                  <a:lnTo>
                    <a:pt x="669017" y="155905"/>
                  </a:lnTo>
                  <a:close/>
                  <a:moveTo>
                    <a:pt x="571061" y="143007"/>
                  </a:moveTo>
                  <a:lnTo>
                    <a:pt x="583751" y="144133"/>
                  </a:lnTo>
                  <a:lnTo>
                    <a:pt x="609132" y="153141"/>
                  </a:lnTo>
                  <a:lnTo>
                    <a:pt x="624129" y="159898"/>
                  </a:lnTo>
                  <a:lnTo>
                    <a:pt x="639126" y="146385"/>
                  </a:lnTo>
                  <a:lnTo>
                    <a:pt x="655277" y="150889"/>
                  </a:lnTo>
                  <a:lnTo>
                    <a:pt x="661046" y="146385"/>
                  </a:lnTo>
                  <a:lnTo>
                    <a:pt x="657585" y="152015"/>
                  </a:lnTo>
                  <a:lnTo>
                    <a:pt x="661046" y="156519"/>
                  </a:lnTo>
                  <a:lnTo>
                    <a:pt x="655277" y="156519"/>
                  </a:lnTo>
                  <a:lnTo>
                    <a:pt x="661046" y="159898"/>
                  </a:lnTo>
                  <a:lnTo>
                    <a:pt x="658739" y="165528"/>
                  </a:lnTo>
                  <a:lnTo>
                    <a:pt x="640280" y="162149"/>
                  </a:lnTo>
                  <a:lnTo>
                    <a:pt x="639126" y="166654"/>
                  </a:lnTo>
                  <a:lnTo>
                    <a:pt x="656432" y="170032"/>
                  </a:lnTo>
                  <a:lnTo>
                    <a:pt x="655277" y="174536"/>
                  </a:lnTo>
                  <a:lnTo>
                    <a:pt x="646049" y="172284"/>
                  </a:lnTo>
                  <a:lnTo>
                    <a:pt x="646049" y="175662"/>
                  </a:lnTo>
                  <a:lnTo>
                    <a:pt x="674890" y="179040"/>
                  </a:lnTo>
                  <a:lnTo>
                    <a:pt x="674890" y="175662"/>
                  </a:lnTo>
                  <a:lnTo>
                    <a:pt x="665661" y="172284"/>
                  </a:lnTo>
                  <a:lnTo>
                    <a:pt x="669017" y="155905"/>
                  </a:lnTo>
                  <a:lnTo>
                    <a:pt x="669122" y="156519"/>
                  </a:lnTo>
                  <a:lnTo>
                    <a:pt x="689887" y="165528"/>
                  </a:lnTo>
                  <a:lnTo>
                    <a:pt x="709500" y="182418"/>
                  </a:lnTo>
                  <a:lnTo>
                    <a:pt x="711807" y="190301"/>
                  </a:lnTo>
                  <a:lnTo>
                    <a:pt x="709500" y="192553"/>
                  </a:lnTo>
                  <a:lnTo>
                    <a:pt x="711807" y="192553"/>
                  </a:lnTo>
                  <a:lnTo>
                    <a:pt x="709500" y="193678"/>
                  </a:lnTo>
                  <a:lnTo>
                    <a:pt x="703731" y="212821"/>
                  </a:lnTo>
                  <a:lnTo>
                    <a:pt x="702577" y="235342"/>
                  </a:lnTo>
                  <a:lnTo>
                    <a:pt x="689887" y="228586"/>
                  </a:lnTo>
                  <a:lnTo>
                    <a:pt x="671429" y="212821"/>
                  </a:lnTo>
                  <a:lnTo>
                    <a:pt x="620668" y="244350"/>
                  </a:lnTo>
                  <a:lnTo>
                    <a:pt x="616053" y="237594"/>
                  </a:lnTo>
                  <a:lnTo>
                    <a:pt x="611439" y="238720"/>
                  </a:lnTo>
                  <a:lnTo>
                    <a:pt x="610285" y="233090"/>
                  </a:lnTo>
                  <a:lnTo>
                    <a:pt x="605671" y="233090"/>
                  </a:lnTo>
                  <a:lnTo>
                    <a:pt x="597595" y="245477"/>
                  </a:lnTo>
                  <a:lnTo>
                    <a:pt x="576829" y="258990"/>
                  </a:lnTo>
                  <a:lnTo>
                    <a:pt x="557216" y="282636"/>
                  </a:lnTo>
                  <a:lnTo>
                    <a:pt x="536451" y="302905"/>
                  </a:lnTo>
                  <a:lnTo>
                    <a:pt x="529529" y="307409"/>
                  </a:lnTo>
                  <a:lnTo>
                    <a:pt x="524914" y="314165"/>
                  </a:lnTo>
                  <a:lnTo>
                    <a:pt x="519146" y="309661"/>
                  </a:lnTo>
                  <a:lnTo>
                    <a:pt x="512224" y="307409"/>
                  </a:lnTo>
                  <a:lnTo>
                    <a:pt x="508763" y="309661"/>
                  </a:lnTo>
                  <a:lnTo>
                    <a:pt x="504148" y="307409"/>
                  </a:lnTo>
                  <a:lnTo>
                    <a:pt x="501841" y="309661"/>
                  </a:lnTo>
                  <a:lnTo>
                    <a:pt x="498380" y="310787"/>
                  </a:lnTo>
                  <a:lnTo>
                    <a:pt x="491458" y="307409"/>
                  </a:lnTo>
                  <a:lnTo>
                    <a:pt x="486844" y="309661"/>
                  </a:lnTo>
                  <a:lnTo>
                    <a:pt x="484536" y="308535"/>
                  </a:lnTo>
                  <a:lnTo>
                    <a:pt x="484536" y="309661"/>
                  </a:lnTo>
                  <a:lnTo>
                    <a:pt x="482229" y="309661"/>
                  </a:lnTo>
                  <a:lnTo>
                    <a:pt x="478768" y="311913"/>
                  </a:lnTo>
                  <a:lnTo>
                    <a:pt x="474153" y="311913"/>
                  </a:lnTo>
                  <a:lnTo>
                    <a:pt x="471846" y="308535"/>
                  </a:lnTo>
                  <a:lnTo>
                    <a:pt x="470692" y="309661"/>
                  </a:lnTo>
                  <a:lnTo>
                    <a:pt x="469538" y="314165"/>
                  </a:lnTo>
                  <a:lnTo>
                    <a:pt x="462617" y="315291"/>
                  </a:lnTo>
                  <a:lnTo>
                    <a:pt x="463770" y="318669"/>
                  </a:lnTo>
                  <a:lnTo>
                    <a:pt x="461463" y="315291"/>
                  </a:lnTo>
                  <a:lnTo>
                    <a:pt x="453387" y="318669"/>
                  </a:lnTo>
                  <a:lnTo>
                    <a:pt x="455694" y="331056"/>
                  </a:lnTo>
                  <a:lnTo>
                    <a:pt x="453387" y="335560"/>
                  </a:lnTo>
                  <a:lnTo>
                    <a:pt x="446466" y="336686"/>
                  </a:lnTo>
                  <a:lnTo>
                    <a:pt x="445312" y="338938"/>
                  </a:lnTo>
                  <a:lnTo>
                    <a:pt x="429161" y="336686"/>
                  </a:lnTo>
                  <a:lnTo>
                    <a:pt x="419932" y="343442"/>
                  </a:lnTo>
                  <a:lnTo>
                    <a:pt x="423392" y="341191"/>
                  </a:lnTo>
                  <a:lnTo>
                    <a:pt x="429160" y="352451"/>
                  </a:lnTo>
                  <a:lnTo>
                    <a:pt x="432621" y="351325"/>
                  </a:lnTo>
                  <a:lnTo>
                    <a:pt x="432621" y="356955"/>
                  </a:lnTo>
                  <a:lnTo>
                    <a:pt x="419931" y="360334"/>
                  </a:lnTo>
                  <a:lnTo>
                    <a:pt x="425699" y="360334"/>
                  </a:lnTo>
                  <a:lnTo>
                    <a:pt x="429160" y="370467"/>
                  </a:lnTo>
                  <a:lnTo>
                    <a:pt x="438389" y="369342"/>
                  </a:lnTo>
                  <a:lnTo>
                    <a:pt x="441851" y="377224"/>
                  </a:lnTo>
                  <a:lnTo>
                    <a:pt x="440696" y="380602"/>
                  </a:lnTo>
                  <a:lnTo>
                    <a:pt x="448772" y="395240"/>
                  </a:lnTo>
                  <a:lnTo>
                    <a:pt x="466077" y="394115"/>
                  </a:lnTo>
                  <a:lnTo>
                    <a:pt x="471845" y="405375"/>
                  </a:lnTo>
                  <a:lnTo>
                    <a:pt x="478767" y="403123"/>
                  </a:lnTo>
                  <a:lnTo>
                    <a:pt x="483382" y="404249"/>
                  </a:lnTo>
                  <a:lnTo>
                    <a:pt x="455694" y="475190"/>
                  </a:lnTo>
                  <a:lnTo>
                    <a:pt x="463770" y="485324"/>
                  </a:lnTo>
                  <a:lnTo>
                    <a:pt x="466077" y="498837"/>
                  </a:lnTo>
                  <a:lnTo>
                    <a:pt x="449926" y="502214"/>
                  </a:lnTo>
                  <a:lnTo>
                    <a:pt x="448772" y="498837"/>
                  </a:lnTo>
                  <a:lnTo>
                    <a:pt x="436082" y="499963"/>
                  </a:lnTo>
                  <a:lnTo>
                    <a:pt x="436082" y="495458"/>
                  </a:lnTo>
                  <a:lnTo>
                    <a:pt x="416469" y="492081"/>
                  </a:lnTo>
                  <a:lnTo>
                    <a:pt x="417624" y="481946"/>
                  </a:lnTo>
                  <a:lnTo>
                    <a:pt x="415316" y="481946"/>
                  </a:lnTo>
                  <a:lnTo>
                    <a:pt x="415316" y="483072"/>
                  </a:lnTo>
                  <a:lnTo>
                    <a:pt x="396858" y="483072"/>
                  </a:lnTo>
                  <a:lnTo>
                    <a:pt x="395704" y="479694"/>
                  </a:lnTo>
                  <a:lnTo>
                    <a:pt x="381860" y="483072"/>
                  </a:lnTo>
                  <a:lnTo>
                    <a:pt x="378399" y="478568"/>
                  </a:lnTo>
                  <a:lnTo>
                    <a:pt x="378687" y="477723"/>
                  </a:lnTo>
                  <a:lnTo>
                    <a:pt x="369170" y="480819"/>
                  </a:lnTo>
                  <a:lnTo>
                    <a:pt x="366863" y="479694"/>
                  </a:lnTo>
                  <a:lnTo>
                    <a:pt x="368016" y="485324"/>
                  </a:lnTo>
                  <a:lnTo>
                    <a:pt x="355326" y="489828"/>
                  </a:lnTo>
                  <a:lnTo>
                    <a:pt x="353019" y="492080"/>
                  </a:lnTo>
                  <a:lnTo>
                    <a:pt x="347250" y="488702"/>
                  </a:lnTo>
                  <a:lnTo>
                    <a:pt x="339174" y="492080"/>
                  </a:lnTo>
                  <a:lnTo>
                    <a:pt x="336867" y="490954"/>
                  </a:lnTo>
                  <a:lnTo>
                    <a:pt x="334560" y="471812"/>
                  </a:lnTo>
                  <a:lnTo>
                    <a:pt x="331099" y="469559"/>
                  </a:lnTo>
                  <a:lnTo>
                    <a:pt x="320716" y="472937"/>
                  </a:lnTo>
                  <a:lnTo>
                    <a:pt x="311487" y="472937"/>
                  </a:lnTo>
                  <a:lnTo>
                    <a:pt x="311487" y="467307"/>
                  </a:lnTo>
                  <a:lnTo>
                    <a:pt x="303411" y="469559"/>
                  </a:lnTo>
                  <a:lnTo>
                    <a:pt x="298796" y="456046"/>
                  </a:lnTo>
                  <a:lnTo>
                    <a:pt x="289568" y="456046"/>
                  </a:lnTo>
                  <a:lnTo>
                    <a:pt x="287260" y="449290"/>
                  </a:lnTo>
                  <a:lnTo>
                    <a:pt x="283799" y="449290"/>
                  </a:lnTo>
                  <a:lnTo>
                    <a:pt x="275724" y="454921"/>
                  </a:lnTo>
                  <a:lnTo>
                    <a:pt x="273416" y="453795"/>
                  </a:lnTo>
                  <a:lnTo>
                    <a:pt x="274570" y="451543"/>
                  </a:lnTo>
                  <a:lnTo>
                    <a:pt x="271109" y="453795"/>
                  </a:lnTo>
                  <a:lnTo>
                    <a:pt x="268802" y="449290"/>
                  </a:lnTo>
                  <a:lnTo>
                    <a:pt x="257265" y="458299"/>
                  </a:lnTo>
                  <a:lnTo>
                    <a:pt x="256111" y="453795"/>
                  </a:lnTo>
                  <a:lnTo>
                    <a:pt x="249190" y="451543"/>
                  </a:lnTo>
                  <a:lnTo>
                    <a:pt x="253804" y="444787"/>
                  </a:lnTo>
                  <a:lnTo>
                    <a:pt x="257265" y="444787"/>
                  </a:lnTo>
                  <a:lnTo>
                    <a:pt x="259573" y="443660"/>
                  </a:lnTo>
                  <a:lnTo>
                    <a:pt x="261880" y="436904"/>
                  </a:lnTo>
                  <a:lnTo>
                    <a:pt x="258418" y="431274"/>
                  </a:lnTo>
                  <a:lnTo>
                    <a:pt x="254958" y="432400"/>
                  </a:lnTo>
                  <a:lnTo>
                    <a:pt x="250343" y="430148"/>
                  </a:lnTo>
                  <a:lnTo>
                    <a:pt x="249190" y="425644"/>
                  </a:lnTo>
                  <a:lnTo>
                    <a:pt x="246882" y="425644"/>
                  </a:lnTo>
                  <a:lnTo>
                    <a:pt x="246882" y="420014"/>
                  </a:lnTo>
                  <a:lnTo>
                    <a:pt x="249190" y="420014"/>
                  </a:lnTo>
                  <a:lnTo>
                    <a:pt x="248036" y="417761"/>
                  </a:lnTo>
                  <a:lnTo>
                    <a:pt x="253804" y="408753"/>
                  </a:lnTo>
                  <a:lnTo>
                    <a:pt x="253804" y="394114"/>
                  </a:lnTo>
                  <a:lnTo>
                    <a:pt x="257265" y="392988"/>
                  </a:lnTo>
                  <a:lnTo>
                    <a:pt x="264023" y="392988"/>
                  </a:lnTo>
                  <a:lnTo>
                    <a:pt x="263034" y="386231"/>
                  </a:lnTo>
                  <a:lnTo>
                    <a:pt x="256112" y="374971"/>
                  </a:lnTo>
                  <a:lnTo>
                    <a:pt x="249190" y="377224"/>
                  </a:lnTo>
                  <a:lnTo>
                    <a:pt x="241115" y="374971"/>
                  </a:lnTo>
                  <a:lnTo>
                    <a:pt x="234193" y="387357"/>
                  </a:lnTo>
                  <a:lnTo>
                    <a:pt x="228425" y="390736"/>
                  </a:lnTo>
                  <a:lnTo>
                    <a:pt x="203043" y="389610"/>
                  </a:lnTo>
                  <a:lnTo>
                    <a:pt x="191507" y="387357"/>
                  </a:lnTo>
                  <a:lnTo>
                    <a:pt x="185739" y="397492"/>
                  </a:lnTo>
                  <a:lnTo>
                    <a:pt x="179971" y="399744"/>
                  </a:lnTo>
                  <a:lnTo>
                    <a:pt x="174202" y="394114"/>
                  </a:lnTo>
                  <a:lnTo>
                    <a:pt x="169588" y="391862"/>
                  </a:lnTo>
                  <a:lnTo>
                    <a:pt x="154590" y="398618"/>
                  </a:lnTo>
                  <a:lnTo>
                    <a:pt x="143054" y="395240"/>
                  </a:lnTo>
                  <a:lnTo>
                    <a:pt x="140747" y="390736"/>
                  </a:lnTo>
                  <a:lnTo>
                    <a:pt x="139593" y="381727"/>
                  </a:lnTo>
                  <a:lnTo>
                    <a:pt x="137286" y="376097"/>
                  </a:lnTo>
                  <a:lnTo>
                    <a:pt x="115366" y="360333"/>
                  </a:lnTo>
                  <a:lnTo>
                    <a:pt x="119981" y="362584"/>
                  </a:lnTo>
                  <a:lnTo>
                    <a:pt x="119981" y="359207"/>
                  </a:lnTo>
                  <a:lnTo>
                    <a:pt x="123441" y="358081"/>
                  </a:lnTo>
                  <a:lnTo>
                    <a:pt x="116520" y="358081"/>
                  </a:lnTo>
                  <a:lnTo>
                    <a:pt x="121134" y="356954"/>
                  </a:lnTo>
                  <a:lnTo>
                    <a:pt x="119981" y="355828"/>
                  </a:lnTo>
                  <a:lnTo>
                    <a:pt x="115366" y="358081"/>
                  </a:lnTo>
                  <a:lnTo>
                    <a:pt x="94600" y="347946"/>
                  </a:lnTo>
                  <a:lnTo>
                    <a:pt x="76142" y="342316"/>
                  </a:lnTo>
                  <a:lnTo>
                    <a:pt x="71527" y="343442"/>
                  </a:lnTo>
                  <a:lnTo>
                    <a:pt x="62298" y="351324"/>
                  </a:lnTo>
                  <a:lnTo>
                    <a:pt x="55376" y="351324"/>
                  </a:lnTo>
                  <a:lnTo>
                    <a:pt x="55376" y="337812"/>
                  </a:lnTo>
                  <a:lnTo>
                    <a:pt x="56529" y="338938"/>
                  </a:lnTo>
                  <a:lnTo>
                    <a:pt x="69220" y="335560"/>
                  </a:lnTo>
                  <a:lnTo>
                    <a:pt x="73834" y="328804"/>
                  </a:lnTo>
                  <a:lnTo>
                    <a:pt x="74988" y="327678"/>
                  </a:lnTo>
                  <a:lnTo>
                    <a:pt x="79603" y="329929"/>
                  </a:lnTo>
                  <a:lnTo>
                    <a:pt x="79603" y="327678"/>
                  </a:lnTo>
                  <a:lnTo>
                    <a:pt x="77295" y="325425"/>
                  </a:lnTo>
                  <a:lnTo>
                    <a:pt x="78449" y="323173"/>
                  </a:lnTo>
                  <a:lnTo>
                    <a:pt x="76142" y="324299"/>
                  </a:lnTo>
                  <a:lnTo>
                    <a:pt x="70373" y="322047"/>
                  </a:lnTo>
                  <a:lnTo>
                    <a:pt x="63452" y="327678"/>
                  </a:lnTo>
                  <a:lnTo>
                    <a:pt x="55376" y="324299"/>
                  </a:lnTo>
                  <a:lnTo>
                    <a:pt x="63452" y="317543"/>
                  </a:lnTo>
                  <a:lnTo>
                    <a:pt x="68066" y="319795"/>
                  </a:lnTo>
                  <a:lnTo>
                    <a:pt x="70373" y="318669"/>
                  </a:lnTo>
                  <a:lnTo>
                    <a:pt x="66912" y="318669"/>
                  </a:lnTo>
                  <a:lnTo>
                    <a:pt x="61144" y="315291"/>
                  </a:lnTo>
                  <a:lnTo>
                    <a:pt x="61144" y="309661"/>
                  </a:lnTo>
                  <a:lnTo>
                    <a:pt x="62298" y="314165"/>
                  </a:lnTo>
                  <a:lnTo>
                    <a:pt x="65759" y="315291"/>
                  </a:lnTo>
                  <a:lnTo>
                    <a:pt x="62874" y="311350"/>
                  </a:lnTo>
                  <a:lnTo>
                    <a:pt x="65759" y="314165"/>
                  </a:lnTo>
                  <a:lnTo>
                    <a:pt x="66912" y="311912"/>
                  </a:lnTo>
                  <a:lnTo>
                    <a:pt x="76142" y="311912"/>
                  </a:lnTo>
                  <a:lnTo>
                    <a:pt x="68066" y="309661"/>
                  </a:lnTo>
                  <a:lnTo>
                    <a:pt x="64605" y="310787"/>
                  </a:lnTo>
                  <a:lnTo>
                    <a:pt x="62298" y="304031"/>
                  </a:lnTo>
                  <a:lnTo>
                    <a:pt x="61252" y="309133"/>
                  </a:lnTo>
                  <a:lnTo>
                    <a:pt x="59990" y="307409"/>
                  </a:lnTo>
                  <a:lnTo>
                    <a:pt x="59990" y="309661"/>
                  </a:lnTo>
                  <a:lnTo>
                    <a:pt x="55376" y="314165"/>
                  </a:lnTo>
                  <a:lnTo>
                    <a:pt x="42686" y="316417"/>
                  </a:lnTo>
                  <a:lnTo>
                    <a:pt x="39225" y="319795"/>
                  </a:lnTo>
                  <a:lnTo>
                    <a:pt x="36917" y="315291"/>
                  </a:lnTo>
                  <a:lnTo>
                    <a:pt x="31149" y="314165"/>
                  </a:lnTo>
                  <a:lnTo>
                    <a:pt x="31149" y="310787"/>
                  </a:lnTo>
                  <a:lnTo>
                    <a:pt x="34610" y="309661"/>
                  </a:lnTo>
                  <a:lnTo>
                    <a:pt x="34610" y="306282"/>
                  </a:lnTo>
                  <a:lnTo>
                    <a:pt x="42686" y="306282"/>
                  </a:lnTo>
                  <a:lnTo>
                    <a:pt x="55376" y="304031"/>
                  </a:lnTo>
                  <a:lnTo>
                    <a:pt x="53068" y="304031"/>
                  </a:lnTo>
                  <a:lnTo>
                    <a:pt x="47300" y="301779"/>
                  </a:lnTo>
                  <a:lnTo>
                    <a:pt x="41532" y="302905"/>
                  </a:lnTo>
                  <a:lnTo>
                    <a:pt x="40378" y="301779"/>
                  </a:lnTo>
                  <a:lnTo>
                    <a:pt x="29995" y="299526"/>
                  </a:lnTo>
                  <a:lnTo>
                    <a:pt x="27688" y="296148"/>
                  </a:lnTo>
                  <a:lnTo>
                    <a:pt x="28842" y="299526"/>
                  </a:lnTo>
                  <a:lnTo>
                    <a:pt x="23074" y="299526"/>
                  </a:lnTo>
                  <a:lnTo>
                    <a:pt x="13844" y="296148"/>
                  </a:lnTo>
                  <a:lnTo>
                    <a:pt x="5768" y="295023"/>
                  </a:lnTo>
                  <a:lnTo>
                    <a:pt x="4615" y="290518"/>
                  </a:lnTo>
                  <a:lnTo>
                    <a:pt x="5768" y="288266"/>
                  </a:lnTo>
                  <a:lnTo>
                    <a:pt x="11536" y="288266"/>
                  </a:lnTo>
                  <a:lnTo>
                    <a:pt x="12691" y="289392"/>
                  </a:lnTo>
                  <a:lnTo>
                    <a:pt x="17305" y="288266"/>
                  </a:lnTo>
                  <a:lnTo>
                    <a:pt x="19612" y="288266"/>
                  </a:lnTo>
                  <a:lnTo>
                    <a:pt x="21919" y="288266"/>
                  </a:lnTo>
                  <a:lnTo>
                    <a:pt x="20766" y="287140"/>
                  </a:lnTo>
                  <a:lnTo>
                    <a:pt x="23074" y="283762"/>
                  </a:lnTo>
                  <a:lnTo>
                    <a:pt x="20766" y="283762"/>
                  </a:lnTo>
                  <a:lnTo>
                    <a:pt x="18459" y="281510"/>
                  </a:lnTo>
                  <a:lnTo>
                    <a:pt x="17305" y="275880"/>
                  </a:lnTo>
                  <a:lnTo>
                    <a:pt x="12691" y="275880"/>
                  </a:lnTo>
                  <a:lnTo>
                    <a:pt x="12691" y="272501"/>
                  </a:lnTo>
                  <a:lnTo>
                    <a:pt x="0" y="269123"/>
                  </a:lnTo>
                  <a:lnTo>
                    <a:pt x="1154" y="266871"/>
                  </a:lnTo>
                  <a:lnTo>
                    <a:pt x="0" y="265745"/>
                  </a:lnTo>
                  <a:lnTo>
                    <a:pt x="3461" y="262367"/>
                  </a:lnTo>
                  <a:lnTo>
                    <a:pt x="2307" y="260115"/>
                  </a:lnTo>
                  <a:lnTo>
                    <a:pt x="2307" y="256737"/>
                  </a:lnTo>
                  <a:lnTo>
                    <a:pt x="5768" y="254484"/>
                  </a:lnTo>
                  <a:lnTo>
                    <a:pt x="19612" y="254484"/>
                  </a:lnTo>
                  <a:lnTo>
                    <a:pt x="27688" y="264619"/>
                  </a:lnTo>
                  <a:lnTo>
                    <a:pt x="32302" y="266871"/>
                  </a:lnTo>
                  <a:lnTo>
                    <a:pt x="38070" y="275880"/>
                  </a:lnTo>
                  <a:lnTo>
                    <a:pt x="42686" y="278132"/>
                  </a:lnTo>
                  <a:lnTo>
                    <a:pt x="43238" y="279209"/>
                  </a:lnTo>
                  <a:lnTo>
                    <a:pt x="42686" y="279258"/>
                  </a:lnTo>
                  <a:lnTo>
                    <a:pt x="44993" y="282636"/>
                  </a:lnTo>
                  <a:lnTo>
                    <a:pt x="43238" y="279209"/>
                  </a:lnTo>
                  <a:lnTo>
                    <a:pt x="55376" y="278132"/>
                  </a:lnTo>
                  <a:lnTo>
                    <a:pt x="58836" y="273627"/>
                  </a:lnTo>
                  <a:lnTo>
                    <a:pt x="56529" y="270250"/>
                  </a:lnTo>
                  <a:lnTo>
                    <a:pt x="54222" y="266871"/>
                  </a:lnTo>
                  <a:lnTo>
                    <a:pt x="43839" y="263493"/>
                  </a:lnTo>
                  <a:lnTo>
                    <a:pt x="42686" y="265745"/>
                  </a:lnTo>
                  <a:lnTo>
                    <a:pt x="39225" y="262367"/>
                  </a:lnTo>
                  <a:lnTo>
                    <a:pt x="41532" y="260115"/>
                  </a:lnTo>
                  <a:lnTo>
                    <a:pt x="40378" y="261241"/>
                  </a:lnTo>
                  <a:lnTo>
                    <a:pt x="40378" y="258989"/>
                  </a:lnTo>
                  <a:lnTo>
                    <a:pt x="39225" y="262367"/>
                  </a:lnTo>
                  <a:lnTo>
                    <a:pt x="35763" y="260115"/>
                  </a:lnTo>
                  <a:lnTo>
                    <a:pt x="32302" y="256737"/>
                  </a:lnTo>
                  <a:lnTo>
                    <a:pt x="29995" y="256737"/>
                  </a:lnTo>
                  <a:lnTo>
                    <a:pt x="31149" y="251107"/>
                  </a:lnTo>
                  <a:lnTo>
                    <a:pt x="23074" y="252233"/>
                  </a:lnTo>
                  <a:lnTo>
                    <a:pt x="27688" y="251107"/>
                  </a:lnTo>
                  <a:lnTo>
                    <a:pt x="27688" y="248854"/>
                  </a:lnTo>
                  <a:lnTo>
                    <a:pt x="23074" y="248854"/>
                  </a:lnTo>
                  <a:lnTo>
                    <a:pt x="21919" y="251107"/>
                  </a:lnTo>
                  <a:lnTo>
                    <a:pt x="17305" y="247728"/>
                  </a:lnTo>
                  <a:lnTo>
                    <a:pt x="17305" y="245477"/>
                  </a:lnTo>
                  <a:lnTo>
                    <a:pt x="24227" y="246602"/>
                  </a:lnTo>
                  <a:lnTo>
                    <a:pt x="33456" y="243224"/>
                  </a:lnTo>
                  <a:lnTo>
                    <a:pt x="32302" y="240972"/>
                  </a:lnTo>
                  <a:lnTo>
                    <a:pt x="20766" y="244351"/>
                  </a:lnTo>
                  <a:lnTo>
                    <a:pt x="23074" y="243224"/>
                  </a:lnTo>
                  <a:lnTo>
                    <a:pt x="33456" y="239846"/>
                  </a:lnTo>
                  <a:lnTo>
                    <a:pt x="35763" y="244351"/>
                  </a:lnTo>
                  <a:lnTo>
                    <a:pt x="65759" y="234216"/>
                  </a:lnTo>
                  <a:lnTo>
                    <a:pt x="77295" y="234216"/>
                  </a:lnTo>
                  <a:lnTo>
                    <a:pt x="105848" y="249417"/>
                  </a:lnTo>
                  <a:lnTo>
                    <a:pt x="109833" y="247471"/>
                  </a:lnTo>
                  <a:lnTo>
                    <a:pt x="109034" y="248251"/>
                  </a:lnTo>
                  <a:lnTo>
                    <a:pt x="105932" y="249462"/>
                  </a:lnTo>
                  <a:lnTo>
                    <a:pt x="109505" y="251364"/>
                  </a:lnTo>
                  <a:lnTo>
                    <a:pt x="114617" y="251364"/>
                  </a:lnTo>
                  <a:lnTo>
                    <a:pt x="120201" y="258370"/>
                  </a:lnTo>
                  <a:lnTo>
                    <a:pt x="123390" y="259927"/>
                  </a:lnTo>
                  <a:lnTo>
                    <a:pt x="125350" y="262988"/>
                  </a:lnTo>
                  <a:lnTo>
                    <a:pt x="126903" y="263493"/>
                  </a:lnTo>
                  <a:lnTo>
                    <a:pt x="129036" y="266965"/>
                  </a:lnTo>
                  <a:lnTo>
                    <a:pt x="129331" y="267108"/>
                  </a:lnTo>
                  <a:lnTo>
                    <a:pt x="128056" y="264619"/>
                  </a:lnTo>
                  <a:lnTo>
                    <a:pt x="129750" y="264619"/>
                  </a:lnTo>
                  <a:lnTo>
                    <a:pt x="131366" y="263041"/>
                  </a:lnTo>
                  <a:lnTo>
                    <a:pt x="135355" y="262263"/>
                  </a:lnTo>
                  <a:lnTo>
                    <a:pt x="136132" y="263022"/>
                  </a:lnTo>
                  <a:lnTo>
                    <a:pt x="136132" y="261241"/>
                  </a:lnTo>
                  <a:lnTo>
                    <a:pt x="138614" y="260030"/>
                  </a:lnTo>
                  <a:lnTo>
                    <a:pt x="138544" y="259927"/>
                  </a:lnTo>
                  <a:lnTo>
                    <a:pt x="131366" y="257592"/>
                  </a:lnTo>
                  <a:lnTo>
                    <a:pt x="130569" y="259149"/>
                  </a:lnTo>
                  <a:lnTo>
                    <a:pt x="128176" y="256813"/>
                  </a:lnTo>
                  <a:lnTo>
                    <a:pt x="128974" y="256035"/>
                  </a:lnTo>
                  <a:lnTo>
                    <a:pt x="128974" y="254478"/>
                  </a:lnTo>
                  <a:lnTo>
                    <a:pt x="128176" y="256813"/>
                  </a:lnTo>
                  <a:lnTo>
                    <a:pt x="125783" y="255257"/>
                  </a:lnTo>
                  <a:lnTo>
                    <a:pt x="123390" y="252921"/>
                  </a:lnTo>
                  <a:lnTo>
                    <a:pt x="121795" y="252921"/>
                  </a:lnTo>
                  <a:lnTo>
                    <a:pt x="122593" y="249029"/>
                  </a:lnTo>
                  <a:lnTo>
                    <a:pt x="117011" y="249807"/>
                  </a:lnTo>
                  <a:lnTo>
                    <a:pt x="120201" y="249029"/>
                  </a:lnTo>
                  <a:lnTo>
                    <a:pt x="120201" y="247471"/>
                  </a:lnTo>
                  <a:lnTo>
                    <a:pt x="117011" y="247471"/>
                  </a:lnTo>
                  <a:lnTo>
                    <a:pt x="116212" y="249029"/>
                  </a:lnTo>
                  <a:lnTo>
                    <a:pt x="113022" y="246693"/>
                  </a:lnTo>
                  <a:lnTo>
                    <a:pt x="113022" y="245137"/>
                  </a:lnTo>
                  <a:lnTo>
                    <a:pt x="117808" y="245915"/>
                  </a:lnTo>
                  <a:lnTo>
                    <a:pt x="124188" y="243579"/>
                  </a:lnTo>
                  <a:lnTo>
                    <a:pt x="123390" y="242022"/>
                  </a:lnTo>
                  <a:lnTo>
                    <a:pt x="115415" y="244358"/>
                  </a:lnTo>
                  <a:lnTo>
                    <a:pt x="117011" y="243579"/>
                  </a:lnTo>
                  <a:lnTo>
                    <a:pt x="124188" y="241244"/>
                  </a:lnTo>
                  <a:lnTo>
                    <a:pt x="125783" y="244358"/>
                  </a:lnTo>
                  <a:lnTo>
                    <a:pt x="146520" y="237352"/>
                  </a:lnTo>
                  <a:lnTo>
                    <a:pt x="154495" y="237352"/>
                  </a:lnTo>
                  <a:lnTo>
                    <a:pt x="160502" y="240550"/>
                  </a:lnTo>
                  <a:lnTo>
                    <a:pt x="160358" y="239846"/>
                  </a:lnTo>
                  <a:lnTo>
                    <a:pt x="163499" y="242145"/>
                  </a:lnTo>
                  <a:lnTo>
                    <a:pt x="165316" y="243113"/>
                  </a:lnTo>
                  <a:lnTo>
                    <a:pt x="168434" y="242098"/>
                  </a:lnTo>
                  <a:lnTo>
                    <a:pt x="170741" y="240972"/>
                  </a:lnTo>
                  <a:lnTo>
                    <a:pt x="173049" y="237594"/>
                  </a:lnTo>
                  <a:lnTo>
                    <a:pt x="176510" y="244351"/>
                  </a:lnTo>
                  <a:lnTo>
                    <a:pt x="174202" y="237594"/>
                  </a:lnTo>
                  <a:lnTo>
                    <a:pt x="176510" y="237594"/>
                  </a:lnTo>
                  <a:lnTo>
                    <a:pt x="179971" y="244351"/>
                  </a:lnTo>
                  <a:lnTo>
                    <a:pt x="177664" y="237594"/>
                  </a:lnTo>
                  <a:lnTo>
                    <a:pt x="179971" y="237594"/>
                  </a:lnTo>
                  <a:lnTo>
                    <a:pt x="183432" y="235342"/>
                  </a:lnTo>
                  <a:lnTo>
                    <a:pt x="185739" y="233090"/>
                  </a:lnTo>
                  <a:lnTo>
                    <a:pt x="190354" y="230838"/>
                  </a:lnTo>
                  <a:lnTo>
                    <a:pt x="199583" y="228586"/>
                  </a:lnTo>
                  <a:lnTo>
                    <a:pt x="203043" y="227460"/>
                  </a:lnTo>
                  <a:lnTo>
                    <a:pt x="203043" y="226334"/>
                  </a:lnTo>
                  <a:lnTo>
                    <a:pt x="205351" y="226334"/>
                  </a:lnTo>
                  <a:lnTo>
                    <a:pt x="222656" y="222955"/>
                  </a:lnTo>
                  <a:lnTo>
                    <a:pt x="235346" y="222955"/>
                  </a:lnTo>
                  <a:lnTo>
                    <a:pt x="237653" y="219578"/>
                  </a:lnTo>
                  <a:lnTo>
                    <a:pt x="242268" y="222955"/>
                  </a:lnTo>
                  <a:lnTo>
                    <a:pt x="243422" y="219578"/>
                  </a:lnTo>
                  <a:lnTo>
                    <a:pt x="244576" y="220704"/>
                  </a:lnTo>
                  <a:lnTo>
                    <a:pt x="256112" y="218452"/>
                  </a:lnTo>
                  <a:lnTo>
                    <a:pt x="259573" y="219578"/>
                  </a:lnTo>
                  <a:lnTo>
                    <a:pt x="260727" y="218452"/>
                  </a:lnTo>
                  <a:lnTo>
                    <a:pt x="269956" y="217325"/>
                  </a:lnTo>
                  <a:lnTo>
                    <a:pt x="271110" y="219578"/>
                  </a:lnTo>
                  <a:lnTo>
                    <a:pt x="272263" y="217325"/>
                  </a:lnTo>
                  <a:lnTo>
                    <a:pt x="293029" y="213947"/>
                  </a:lnTo>
                  <a:lnTo>
                    <a:pt x="295336" y="211695"/>
                  </a:lnTo>
                  <a:lnTo>
                    <a:pt x="316103" y="210569"/>
                  </a:lnTo>
                  <a:lnTo>
                    <a:pt x="317256" y="206065"/>
                  </a:lnTo>
                  <a:lnTo>
                    <a:pt x="320717" y="207191"/>
                  </a:lnTo>
                  <a:lnTo>
                    <a:pt x="323024" y="206065"/>
                  </a:lnTo>
                  <a:lnTo>
                    <a:pt x="332254" y="206065"/>
                  </a:lnTo>
                  <a:lnTo>
                    <a:pt x="332254" y="203813"/>
                  </a:lnTo>
                  <a:lnTo>
                    <a:pt x="343790" y="206065"/>
                  </a:lnTo>
                  <a:lnTo>
                    <a:pt x="346097" y="203813"/>
                  </a:lnTo>
                  <a:lnTo>
                    <a:pt x="347251" y="206065"/>
                  </a:lnTo>
                  <a:lnTo>
                    <a:pt x="356481" y="202687"/>
                  </a:lnTo>
                  <a:lnTo>
                    <a:pt x="359941" y="204938"/>
                  </a:lnTo>
                  <a:lnTo>
                    <a:pt x="362249" y="202687"/>
                  </a:lnTo>
                  <a:lnTo>
                    <a:pt x="366863" y="201561"/>
                  </a:lnTo>
                  <a:lnTo>
                    <a:pt x="369171" y="200435"/>
                  </a:lnTo>
                  <a:lnTo>
                    <a:pt x="368017" y="202687"/>
                  </a:lnTo>
                  <a:lnTo>
                    <a:pt x="370324" y="201561"/>
                  </a:lnTo>
                  <a:lnTo>
                    <a:pt x="378399" y="199309"/>
                  </a:lnTo>
                  <a:lnTo>
                    <a:pt x="381860" y="198183"/>
                  </a:lnTo>
                  <a:lnTo>
                    <a:pt x="385322" y="197057"/>
                  </a:lnTo>
                  <a:lnTo>
                    <a:pt x="387629" y="197057"/>
                  </a:lnTo>
                  <a:lnTo>
                    <a:pt x="395705" y="194804"/>
                  </a:lnTo>
                  <a:lnTo>
                    <a:pt x="395705" y="193678"/>
                  </a:lnTo>
                  <a:lnTo>
                    <a:pt x="399165" y="198183"/>
                  </a:lnTo>
                  <a:lnTo>
                    <a:pt x="398012" y="193678"/>
                  </a:lnTo>
                  <a:lnTo>
                    <a:pt x="403780" y="192553"/>
                  </a:lnTo>
                  <a:lnTo>
                    <a:pt x="405671" y="198091"/>
                  </a:lnTo>
                  <a:lnTo>
                    <a:pt x="405892" y="197977"/>
                  </a:lnTo>
                  <a:lnTo>
                    <a:pt x="404934" y="191427"/>
                  </a:lnTo>
                  <a:lnTo>
                    <a:pt x="409549" y="190301"/>
                  </a:lnTo>
                  <a:lnTo>
                    <a:pt x="416470" y="189174"/>
                  </a:lnTo>
                  <a:lnTo>
                    <a:pt x="417624" y="186922"/>
                  </a:lnTo>
                  <a:lnTo>
                    <a:pt x="419932" y="186922"/>
                  </a:lnTo>
                  <a:lnTo>
                    <a:pt x="419932" y="185796"/>
                  </a:lnTo>
                  <a:lnTo>
                    <a:pt x="421085" y="186922"/>
                  </a:lnTo>
                  <a:lnTo>
                    <a:pt x="419932" y="184671"/>
                  </a:lnTo>
                  <a:lnTo>
                    <a:pt x="422239" y="186922"/>
                  </a:lnTo>
                  <a:lnTo>
                    <a:pt x="441851" y="176788"/>
                  </a:lnTo>
                  <a:lnTo>
                    <a:pt x="448773" y="176788"/>
                  </a:lnTo>
                  <a:lnTo>
                    <a:pt x="453387" y="171158"/>
                  </a:lnTo>
                  <a:lnTo>
                    <a:pt x="456849" y="170032"/>
                  </a:lnTo>
                  <a:lnTo>
                    <a:pt x="456849" y="171158"/>
                  </a:lnTo>
                  <a:lnTo>
                    <a:pt x="474153" y="162149"/>
                  </a:lnTo>
                  <a:lnTo>
                    <a:pt x="485690" y="158772"/>
                  </a:lnTo>
                  <a:lnTo>
                    <a:pt x="487997" y="157645"/>
                  </a:lnTo>
                  <a:lnTo>
                    <a:pt x="490304" y="158772"/>
                  </a:lnTo>
                  <a:lnTo>
                    <a:pt x="491458" y="155393"/>
                  </a:lnTo>
                  <a:lnTo>
                    <a:pt x="501841" y="153141"/>
                  </a:lnTo>
                  <a:close/>
                  <a:moveTo>
                    <a:pt x="250203" y="120582"/>
                  </a:moveTo>
                  <a:lnTo>
                    <a:pt x="250203" y="122139"/>
                  </a:lnTo>
                  <a:lnTo>
                    <a:pt x="247810" y="122917"/>
                  </a:lnTo>
                  <a:lnTo>
                    <a:pt x="247012" y="121360"/>
                  </a:lnTo>
                  <a:close/>
                  <a:moveTo>
                    <a:pt x="261893" y="111026"/>
                  </a:moveTo>
                  <a:lnTo>
                    <a:pt x="261893" y="114031"/>
                  </a:lnTo>
                  <a:lnTo>
                    <a:pt x="260570" y="114354"/>
                  </a:lnTo>
                  <a:lnTo>
                    <a:pt x="260570" y="115911"/>
                  </a:lnTo>
                  <a:lnTo>
                    <a:pt x="258178" y="116690"/>
                  </a:lnTo>
                  <a:lnTo>
                    <a:pt x="258178" y="121360"/>
                  </a:lnTo>
                  <a:lnTo>
                    <a:pt x="257381" y="120582"/>
                  </a:lnTo>
                  <a:lnTo>
                    <a:pt x="258178" y="114354"/>
                  </a:lnTo>
                  <a:lnTo>
                    <a:pt x="260570" y="111241"/>
                  </a:lnTo>
                  <a:close/>
                  <a:moveTo>
                    <a:pt x="383394" y="107348"/>
                  </a:moveTo>
                  <a:lnTo>
                    <a:pt x="385788" y="107348"/>
                  </a:lnTo>
                  <a:lnTo>
                    <a:pt x="390572" y="108905"/>
                  </a:lnTo>
                  <a:lnTo>
                    <a:pt x="389775" y="111241"/>
                  </a:lnTo>
                  <a:lnTo>
                    <a:pt x="388180" y="110462"/>
                  </a:lnTo>
                  <a:lnTo>
                    <a:pt x="389775" y="112019"/>
                  </a:lnTo>
                  <a:lnTo>
                    <a:pt x="390572" y="114354"/>
                  </a:lnTo>
                  <a:lnTo>
                    <a:pt x="387383" y="114354"/>
                  </a:lnTo>
                  <a:lnTo>
                    <a:pt x="381799" y="109683"/>
                  </a:lnTo>
                  <a:close/>
                  <a:moveTo>
                    <a:pt x="387383" y="94114"/>
                  </a:moveTo>
                  <a:lnTo>
                    <a:pt x="392168" y="94114"/>
                  </a:lnTo>
                  <a:lnTo>
                    <a:pt x="391371" y="94893"/>
                  </a:lnTo>
                  <a:lnTo>
                    <a:pt x="392966" y="94893"/>
                  </a:lnTo>
                  <a:lnTo>
                    <a:pt x="392168" y="95670"/>
                  </a:lnTo>
                  <a:close/>
                  <a:moveTo>
                    <a:pt x="239961" y="90083"/>
                  </a:moveTo>
                  <a:lnTo>
                    <a:pt x="237653" y="100217"/>
                  </a:lnTo>
                  <a:lnTo>
                    <a:pt x="238807" y="94587"/>
                  </a:lnTo>
                  <a:close/>
                  <a:moveTo>
                    <a:pt x="380479" y="87108"/>
                  </a:moveTo>
                  <a:lnTo>
                    <a:pt x="388180" y="87108"/>
                  </a:lnTo>
                  <a:lnTo>
                    <a:pt x="393763" y="88665"/>
                  </a:lnTo>
                  <a:lnTo>
                    <a:pt x="404131" y="96449"/>
                  </a:lnTo>
                  <a:lnTo>
                    <a:pt x="389775" y="92557"/>
                  </a:lnTo>
                  <a:lnTo>
                    <a:pt x="388977" y="91778"/>
                  </a:lnTo>
                  <a:lnTo>
                    <a:pt x="384193" y="95670"/>
                  </a:lnTo>
                  <a:lnTo>
                    <a:pt x="381002" y="96449"/>
                  </a:lnTo>
                  <a:lnTo>
                    <a:pt x="380479" y="97385"/>
                  </a:lnTo>
                  <a:close/>
                  <a:moveTo>
                    <a:pt x="239961" y="82201"/>
                  </a:moveTo>
                  <a:lnTo>
                    <a:pt x="241114" y="87831"/>
                  </a:lnTo>
                  <a:lnTo>
                    <a:pt x="239961" y="90083"/>
                  </a:lnTo>
                  <a:close/>
                  <a:moveTo>
                    <a:pt x="310817" y="75431"/>
                  </a:moveTo>
                  <a:lnTo>
                    <a:pt x="315602" y="76988"/>
                  </a:lnTo>
                  <a:lnTo>
                    <a:pt x="319597" y="80107"/>
                  </a:lnTo>
                  <a:lnTo>
                    <a:pt x="317603" y="80107"/>
                  </a:lnTo>
                  <a:lnTo>
                    <a:pt x="314805" y="77766"/>
                  </a:lnTo>
                  <a:lnTo>
                    <a:pt x="312412" y="77766"/>
                  </a:lnTo>
                  <a:lnTo>
                    <a:pt x="316009" y="80107"/>
                  </a:lnTo>
                  <a:lnTo>
                    <a:pt x="301458" y="80107"/>
                  </a:lnTo>
                  <a:lnTo>
                    <a:pt x="303639" y="77766"/>
                  </a:lnTo>
                  <a:close/>
                  <a:moveTo>
                    <a:pt x="215734" y="65310"/>
                  </a:moveTo>
                  <a:lnTo>
                    <a:pt x="215734" y="67562"/>
                  </a:lnTo>
                  <a:lnTo>
                    <a:pt x="212273" y="68688"/>
                  </a:lnTo>
                  <a:lnTo>
                    <a:pt x="211119" y="66436"/>
                  </a:lnTo>
                  <a:close/>
                  <a:moveTo>
                    <a:pt x="241114" y="58554"/>
                  </a:moveTo>
                  <a:lnTo>
                    <a:pt x="242268" y="73192"/>
                  </a:lnTo>
                  <a:lnTo>
                    <a:pt x="241114" y="77697"/>
                  </a:lnTo>
                  <a:close/>
                  <a:moveTo>
                    <a:pt x="237653" y="50672"/>
                  </a:moveTo>
                  <a:lnTo>
                    <a:pt x="242268" y="52924"/>
                  </a:lnTo>
                  <a:lnTo>
                    <a:pt x="244576" y="57428"/>
                  </a:lnTo>
                  <a:lnTo>
                    <a:pt x="239961" y="54049"/>
                  </a:lnTo>
                  <a:lnTo>
                    <a:pt x="230731" y="56302"/>
                  </a:lnTo>
                  <a:lnTo>
                    <a:pt x="230731" y="58554"/>
                  </a:lnTo>
                  <a:lnTo>
                    <a:pt x="227270" y="59680"/>
                  </a:lnTo>
                  <a:lnTo>
                    <a:pt x="227270" y="66436"/>
                  </a:lnTo>
                  <a:lnTo>
                    <a:pt x="226117" y="65310"/>
                  </a:lnTo>
                  <a:lnTo>
                    <a:pt x="227270" y="56302"/>
                  </a:lnTo>
                  <a:lnTo>
                    <a:pt x="230731" y="51798"/>
                  </a:lnTo>
                  <a:close/>
                  <a:moveTo>
                    <a:pt x="408394" y="46167"/>
                  </a:moveTo>
                  <a:lnTo>
                    <a:pt x="411856" y="46167"/>
                  </a:lnTo>
                  <a:lnTo>
                    <a:pt x="418777" y="48419"/>
                  </a:lnTo>
                  <a:lnTo>
                    <a:pt x="417624" y="51798"/>
                  </a:lnTo>
                  <a:lnTo>
                    <a:pt x="415317" y="50672"/>
                  </a:lnTo>
                  <a:lnTo>
                    <a:pt x="417624" y="52924"/>
                  </a:lnTo>
                  <a:lnTo>
                    <a:pt x="418777" y="56302"/>
                  </a:lnTo>
                  <a:lnTo>
                    <a:pt x="414163" y="56302"/>
                  </a:lnTo>
                  <a:lnTo>
                    <a:pt x="406087" y="49545"/>
                  </a:lnTo>
                  <a:close/>
                  <a:moveTo>
                    <a:pt x="317256" y="29276"/>
                  </a:moveTo>
                  <a:lnTo>
                    <a:pt x="320716" y="31529"/>
                  </a:lnTo>
                  <a:lnTo>
                    <a:pt x="321871" y="33781"/>
                  </a:lnTo>
                  <a:lnTo>
                    <a:pt x="316102" y="36033"/>
                  </a:lnTo>
                  <a:lnTo>
                    <a:pt x="309180" y="36033"/>
                  </a:lnTo>
                  <a:lnTo>
                    <a:pt x="302258" y="32655"/>
                  </a:lnTo>
                  <a:lnTo>
                    <a:pt x="302794" y="32534"/>
                  </a:lnTo>
                  <a:lnTo>
                    <a:pt x="303412" y="32655"/>
                  </a:lnTo>
                  <a:lnTo>
                    <a:pt x="306876" y="31615"/>
                  </a:lnTo>
                  <a:close/>
                  <a:moveTo>
                    <a:pt x="414163" y="27025"/>
                  </a:moveTo>
                  <a:lnTo>
                    <a:pt x="421085" y="27025"/>
                  </a:lnTo>
                  <a:lnTo>
                    <a:pt x="419932" y="28151"/>
                  </a:lnTo>
                  <a:lnTo>
                    <a:pt x="422239" y="28151"/>
                  </a:lnTo>
                  <a:lnTo>
                    <a:pt x="421085" y="29276"/>
                  </a:lnTo>
                  <a:close/>
                  <a:moveTo>
                    <a:pt x="393398" y="15764"/>
                  </a:moveTo>
                  <a:lnTo>
                    <a:pt x="396858" y="15764"/>
                  </a:lnTo>
                  <a:lnTo>
                    <a:pt x="394551" y="16890"/>
                  </a:lnTo>
                  <a:lnTo>
                    <a:pt x="415317" y="16890"/>
                  </a:lnTo>
                  <a:lnTo>
                    <a:pt x="423392" y="19143"/>
                  </a:lnTo>
                  <a:lnTo>
                    <a:pt x="438390" y="30402"/>
                  </a:lnTo>
                  <a:lnTo>
                    <a:pt x="417624" y="24773"/>
                  </a:lnTo>
                  <a:lnTo>
                    <a:pt x="416470" y="23646"/>
                  </a:lnTo>
                  <a:lnTo>
                    <a:pt x="409549" y="29276"/>
                  </a:lnTo>
                  <a:lnTo>
                    <a:pt x="404934" y="30402"/>
                  </a:lnTo>
                  <a:lnTo>
                    <a:pt x="398012" y="42789"/>
                  </a:lnTo>
                  <a:lnTo>
                    <a:pt x="396858" y="40537"/>
                  </a:lnTo>
                  <a:lnTo>
                    <a:pt x="389936" y="39411"/>
                  </a:lnTo>
                  <a:lnTo>
                    <a:pt x="388783" y="31529"/>
                  </a:lnTo>
                  <a:lnTo>
                    <a:pt x="389936" y="19143"/>
                  </a:lnTo>
                  <a:close/>
                  <a:moveTo>
                    <a:pt x="303412" y="0"/>
                  </a:moveTo>
                  <a:lnTo>
                    <a:pt x="310334" y="2252"/>
                  </a:lnTo>
                  <a:lnTo>
                    <a:pt x="321871" y="11260"/>
                  </a:lnTo>
                  <a:lnTo>
                    <a:pt x="329946" y="22520"/>
                  </a:lnTo>
                  <a:lnTo>
                    <a:pt x="317256" y="10134"/>
                  </a:lnTo>
                  <a:lnTo>
                    <a:pt x="309180" y="3378"/>
                  </a:lnTo>
                  <a:lnTo>
                    <a:pt x="305719" y="3378"/>
                  </a:lnTo>
                  <a:lnTo>
                    <a:pt x="312641" y="7882"/>
                  </a:lnTo>
                  <a:lnTo>
                    <a:pt x="333407" y="28151"/>
                  </a:lnTo>
                  <a:lnTo>
                    <a:pt x="334561" y="31529"/>
                  </a:lnTo>
                  <a:lnTo>
                    <a:pt x="309180" y="12386"/>
                  </a:lnTo>
                  <a:lnTo>
                    <a:pt x="308027" y="10134"/>
                  </a:lnTo>
                  <a:lnTo>
                    <a:pt x="303412" y="11260"/>
                  </a:lnTo>
                  <a:lnTo>
                    <a:pt x="297644" y="9008"/>
                  </a:lnTo>
                  <a:lnTo>
                    <a:pt x="297644" y="12386"/>
                  </a:lnTo>
                  <a:lnTo>
                    <a:pt x="304565" y="15764"/>
                  </a:lnTo>
                  <a:lnTo>
                    <a:pt x="310334" y="19143"/>
                  </a:lnTo>
                  <a:lnTo>
                    <a:pt x="310334" y="15764"/>
                  </a:lnTo>
                  <a:lnTo>
                    <a:pt x="332253" y="34907"/>
                  </a:lnTo>
                  <a:lnTo>
                    <a:pt x="328792" y="36033"/>
                  </a:lnTo>
                  <a:lnTo>
                    <a:pt x="326485" y="36033"/>
                  </a:lnTo>
                  <a:lnTo>
                    <a:pt x="324178" y="31529"/>
                  </a:lnTo>
                  <a:lnTo>
                    <a:pt x="318409" y="28151"/>
                  </a:lnTo>
                  <a:lnTo>
                    <a:pt x="306876" y="31615"/>
                  </a:lnTo>
                  <a:lnTo>
                    <a:pt x="302794" y="32534"/>
                  </a:lnTo>
                  <a:lnTo>
                    <a:pt x="297644" y="31529"/>
                  </a:lnTo>
                  <a:lnTo>
                    <a:pt x="308027" y="39411"/>
                  </a:lnTo>
                  <a:lnTo>
                    <a:pt x="310334" y="48419"/>
                  </a:lnTo>
                  <a:lnTo>
                    <a:pt x="304565" y="63058"/>
                  </a:lnTo>
                  <a:lnTo>
                    <a:pt x="295336" y="61932"/>
                  </a:lnTo>
                  <a:lnTo>
                    <a:pt x="293029" y="66436"/>
                  </a:lnTo>
                  <a:lnTo>
                    <a:pt x="294182" y="75444"/>
                  </a:lnTo>
                  <a:lnTo>
                    <a:pt x="293029" y="77697"/>
                  </a:lnTo>
                  <a:lnTo>
                    <a:pt x="288414" y="47293"/>
                  </a:lnTo>
                  <a:lnTo>
                    <a:pt x="286107" y="37159"/>
                  </a:lnTo>
                  <a:lnTo>
                    <a:pt x="278031" y="23646"/>
                  </a:lnTo>
                  <a:lnTo>
                    <a:pt x="279185" y="21394"/>
                  </a:lnTo>
                  <a:lnTo>
                    <a:pt x="281492" y="15764"/>
                  </a:lnTo>
                  <a:lnTo>
                    <a:pt x="293029" y="3378"/>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5" name="Westerkwartier">
              <a:extLst>
                <a:ext uri="{FF2B5EF4-FFF2-40B4-BE49-F238E27FC236}">
                  <a16:creationId xmlns:a16="http://schemas.microsoft.com/office/drawing/2014/main" id="{9D2C3654-E912-4CB6-98E9-2661B1A7281D}"/>
                </a:ext>
              </a:extLst>
            </p:cNvPr>
            <p:cNvSpPr/>
            <p:nvPr/>
          </p:nvSpPr>
          <p:spPr>
            <a:xfrm rot="1727819">
              <a:off x="7058333" y="1515056"/>
              <a:ext cx="272313" cy="406193"/>
            </a:xfrm>
            <a:custGeom>
              <a:avLst/>
              <a:gdLst>
                <a:gd name="connsiteX0" fmla="*/ 0 w 270933"/>
                <a:gd name="connsiteY0" fmla="*/ 52815 h 418772"/>
                <a:gd name="connsiteX1" fmla="*/ 5202 w 270933"/>
                <a:gd name="connsiteY1" fmla="*/ 55094 h 418772"/>
                <a:gd name="connsiteX2" fmla="*/ 9937 w 270933"/>
                <a:gd name="connsiteY2" fmla="*/ 58918 h 418772"/>
                <a:gd name="connsiteX3" fmla="*/ 6213 w 270933"/>
                <a:gd name="connsiteY3" fmla="*/ 54539 h 418772"/>
                <a:gd name="connsiteX4" fmla="*/ 31464 w 270933"/>
                <a:gd name="connsiteY4" fmla="*/ 57365 h 418772"/>
                <a:gd name="connsiteX5" fmla="*/ 36665 w 270933"/>
                <a:gd name="connsiteY5" fmla="*/ 59644 h 418772"/>
                <a:gd name="connsiteX6" fmla="*/ 45197 w 270933"/>
                <a:gd name="connsiteY6" fmla="*/ 70374 h 418772"/>
                <a:gd name="connsiteX7" fmla="*/ 55996 w 270933"/>
                <a:gd name="connsiteY7" fmla="*/ 70863 h 418772"/>
                <a:gd name="connsiteX8" fmla="*/ 60509 w 270933"/>
                <a:gd name="connsiteY8" fmla="*/ 67097 h 418772"/>
                <a:gd name="connsiteX9" fmla="*/ 68917 w 270933"/>
                <a:gd name="connsiteY9" fmla="*/ 56051 h 418772"/>
                <a:gd name="connsiteX10" fmla="*/ 83836 w 270933"/>
                <a:gd name="connsiteY10" fmla="*/ 56845 h 418772"/>
                <a:gd name="connsiteX11" fmla="*/ 85783 w 270933"/>
                <a:gd name="connsiteY11" fmla="*/ 53204 h 418772"/>
                <a:gd name="connsiteX12" fmla="*/ 85956 w 270933"/>
                <a:gd name="connsiteY12" fmla="*/ 41545 h 418772"/>
                <a:gd name="connsiteX13" fmla="*/ 97151 w 270933"/>
                <a:gd name="connsiteY13" fmla="*/ 37961 h 418772"/>
                <a:gd name="connsiteX14" fmla="*/ 117913 w 270933"/>
                <a:gd name="connsiteY14" fmla="*/ 27833 h 418772"/>
                <a:gd name="connsiteX15" fmla="*/ 123363 w 270933"/>
                <a:gd name="connsiteY15" fmla="*/ 20983 h 418772"/>
                <a:gd name="connsiteX16" fmla="*/ 122993 w 270933"/>
                <a:gd name="connsiteY16" fmla="*/ 8336 h 418772"/>
                <a:gd name="connsiteX17" fmla="*/ 131624 w 270933"/>
                <a:gd name="connsiteY17" fmla="*/ 4877 h 418772"/>
                <a:gd name="connsiteX18" fmla="*/ 135595 w 270933"/>
                <a:gd name="connsiteY18" fmla="*/ 125 h 418772"/>
                <a:gd name="connsiteX19" fmla="*/ 138158 w 270933"/>
                <a:gd name="connsiteY19" fmla="*/ 0 h 418772"/>
                <a:gd name="connsiteX20" fmla="*/ 148095 w 270933"/>
                <a:gd name="connsiteY20" fmla="*/ 6103 h 418772"/>
                <a:gd name="connsiteX21" fmla="*/ 152361 w 270933"/>
                <a:gd name="connsiteY21" fmla="*/ 11468 h 418772"/>
                <a:gd name="connsiteX22" fmla="*/ 143804 w 270933"/>
                <a:gd name="connsiteY22" fmla="*/ 17456 h 418772"/>
                <a:gd name="connsiteX23" fmla="*/ 150856 w 270933"/>
                <a:gd name="connsiteY23" fmla="*/ 30284 h 418772"/>
                <a:gd name="connsiteX24" fmla="*/ 150140 w 270933"/>
                <a:gd name="connsiteY24" fmla="*/ 40958 h 418772"/>
                <a:gd name="connsiteX25" fmla="*/ 152237 w 270933"/>
                <a:gd name="connsiteY25" fmla="*/ 42375 h 418772"/>
                <a:gd name="connsiteX26" fmla="*/ 150214 w 270933"/>
                <a:gd name="connsiteY26" fmla="*/ 43487 h 418772"/>
                <a:gd name="connsiteX27" fmla="*/ 151299 w 270933"/>
                <a:gd name="connsiteY27" fmla="*/ 45460 h 418772"/>
                <a:gd name="connsiteX28" fmla="*/ 152927 w 270933"/>
                <a:gd name="connsiteY28" fmla="*/ 48421 h 418772"/>
                <a:gd name="connsiteX29" fmla="*/ 154949 w 270933"/>
                <a:gd name="connsiteY29" fmla="*/ 47309 h 418772"/>
                <a:gd name="connsiteX30" fmla="*/ 157044 w 270933"/>
                <a:gd name="connsiteY30" fmla="*/ 48727 h 418772"/>
                <a:gd name="connsiteX31" fmla="*/ 156576 w 270933"/>
                <a:gd name="connsiteY31" fmla="*/ 50270 h 418772"/>
                <a:gd name="connsiteX32" fmla="*/ 158129 w 270933"/>
                <a:gd name="connsiteY32" fmla="*/ 50701 h 418772"/>
                <a:gd name="connsiteX33" fmla="*/ 167302 w 270933"/>
                <a:gd name="connsiteY33" fmla="*/ 48229 h 418772"/>
                <a:gd name="connsiteX34" fmla="*/ 172579 w 270933"/>
                <a:gd name="connsiteY34" fmla="*/ 53038 h 418772"/>
                <a:gd name="connsiteX35" fmla="*/ 172257 w 270933"/>
                <a:gd name="connsiteY35" fmla="*/ 59639 h 418772"/>
                <a:gd name="connsiteX36" fmla="*/ 167745 w 270933"/>
                <a:gd name="connsiteY36" fmla="*/ 63404 h 418772"/>
                <a:gd name="connsiteX37" fmla="*/ 167424 w 270933"/>
                <a:gd name="connsiteY37" fmla="*/ 70005 h 418772"/>
                <a:gd name="connsiteX38" fmla="*/ 174574 w 270933"/>
                <a:gd name="connsiteY38" fmla="*/ 68644 h 418772"/>
                <a:gd name="connsiteX39" fmla="*/ 177756 w 270933"/>
                <a:gd name="connsiteY39" fmla="*/ 72036 h 418772"/>
                <a:gd name="connsiteX40" fmla="*/ 183527 w 270933"/>
                <a:gd name="connsiteY40" fmla="*/ 58585 h 418772"/>
                <a:gd name="connsiteX41" fmla="*/ 187718 w 270933"/>
                <a:gd name="connsiteY41" fmla="*/ 61420 h 418772"/>
                <a:gd name="connsiteX42" fmla="*/ 189666 w 270933"/>
                <a:gd name="connsiteY42" fmla="*/ 57779 h 418772"/>
                <a:gd name="connsiteX43" fmla="*/ 189739 w 270933"/>
                <a:gd name="connsiteY43" fmla="*/ 60308 h 418772"/>
                <a:gd name="connsiteX44" fmla="*/ 192305 w 270933"/>
                <a:gd name="connsiteY44" fmla="*/ 60184 h 418772"/>
                <a:gd name="connsiteX45" fmla="*/ 197680 w 270933"/>
                <a:gd name="connsiteY45" fmla="*/ 50805 h 418772"/>
                <a:gd name="connsiteX46" fmla="*/ 199702 w 270933"/>
                <a:gd name="connsiteY46" fmla="*/ 49693 h 418772"/>
                <a:gd name="connsiteX47" fmla="*/ 204979 w 270933"/>
                <a:gd name="connsiteY47" fmla="*/ 54502 h 418772"/>
                <a:gd name="connsiteX48" fmla="*/ 213066 w 270933"/>
                <a:gd name="connsiteY48" fmla="*/ 50057 h 418772"/>
                <a:gd name="connsiteX49" fmla="*/ 223619 w 270933"/>
                <a:gd name="connsiteY49" fmla="*/ 59675 h 418772"/>
                <a:gd name="connsiteX50" fmla="*/ 229611 w 270933"/>
                <a:gd name="connsiteY50" fmla="*/ 53811 h 418772"/>
                <a:gd name="connsiteX51" fmla="*/ 232324 w 270933"/>
                <a:gd name="connsiteY51" fmla="*/ 58746 h 418772"/>
                <a:gd name="connsiteX52" fmla="*/ 240412 w 270933"/>
                <a:gd name="connsiteY52" fmla="*/ 54300 h 418772"/>
                <a:gd name="connsiteX53" fmla="*/ 247882 w 270933"/>
                <a:gd name="connsiteY53" fmla="*/ 46338 h 418772"/>
                <a:gd name="connsiteX54" fmla="*/ 252001 w 270933"/>
                <a:gd name="connsiteY54" fmla="*/ 46644 h 418772"/>
                <a:gd name="connsiteX55" fmla="*/ 264328 w 270933"/>
                <a:gd name="connsiteY55" fmla="*/ 64281 h 418772"/>
                <a:gd name="connsiteX56" fmla="*/ 268989 w 270933"/>
                <a:gd name="connsiteY56" fmla="*/ 65575 h 418772"/>
                <a:gd name="connsiteX57" fmla="*/ 266325 w 270933"/>
                <a:gd name="connsiteY57" fmla="*/ 79889 h 418772"/>
                <a:gd name="connsiteX58" fmla="*/ 262750 w 270933"/>
                <a:gd name="connsiteY58" fmla="*/ 80569 h 418772"/>
                <a:gd name="connsiteX59" fmla="*/ 261887 w 270933"/>
                <a:gd name="connsiteY59" fmla="*/ 86183 h 418772"/>
                <a:gd name="connsiteX60" fmla="*/ 258854 w 270933"/>
                <a:gd name="connsiteY60" fmla="*/ 87850 h 418772"/>
                <a:gd name="connsiteX61" fmla="*/ 257769 w 270933"/>
                <a:gd name="connsiteY61" fmla="*/ 85877 h 418772"/>
                <a:gd name="connsiteX62" fmla="*/ 254194 w 270933"/>
                <a:gd name="connsiteY62" fmla="*/ 86557 h 418772"/>
                <a:gd name="connsiteX63" fmla="*/ 253109 w 270933"/>
                <a:gd name="connsiteY63" fmla="*/ 84584 h 418772"/>
                <a:gd name="connsiteX64" fmla="*/ 244947 w 270933"/>
                <a:gd name="connsiteY64" fmla="*/ 86501 h 418772"/>
                <a:gd name="connsiteX65" fmla="*/ 248818 w 270933"/>
                <a:gd name="connsiteY65" fmla="*/ 95937 h 418772"/>
                <a:gd name="connsiteX66" fmla="*/ 251135 w 270933"/>
                <a:gd name="connsiteY66" fmla="*/ 104619 h 418772"/>
                <a:gd name="connsiteX67" fmla="*/ 254869 w 270933"/>
                <a:gd name="connsiteY67" fmla="*/ 105656 h 418772"/>
                <a:gd name="connsiteX68" fmla="*/ 253448 w 270933"/>
                <a:gd name="connsiteY68" fmla="*/ 113289 h 418772"/>
                <a:gd name="connsiteX69" fmla="*/ 264965 w 270933"/>
                <a:gd name="connsiteY69" fmla="*/ 156448 h 418772"/>
                <a:gd name="connsiteX70" fmla="*/ 264966 w 270933"/>
                <a:gd name="connsiteY70" fmla="*/ 156447 h 418772"/>
                <a:gd name="connsiteX71" fmla="*/ 269084 w 270933"/>
                <a:gd name="connsiteY71" fmla="*/ 156753 h 418772"/>
                <a:gd name="connsiteX72" fmla="*/ 270711 w 270933"/>
                <a:gd name="connsiteY72" fmla="*/ 159714 h 418772"/>
                <a:gd name="connsiteX73" fmla="*/ 268295 w 270933"/>
                <a:gd name="connsiteY73" fmla="*/ 164898 h 418772"/>
                <a:gd name="connsiteX74" fmla="*/ 270933 w 270933"/>
                <a:gd name="connsiteY74" fmla="*/ 167301 h 418772"/>
                <a:gd name="connsiteX75" fmla="*/ 259491 w 270933"/>
                <a:gd name="connsiteY75" fmla="*/ 180017 h 418772"/>
                <a:gd name="connsiteX76" fmla="*/ 262425 w 270933"/>
                <a:gd name="connsiteY76" fmla="*/ 192538 h 418772"/>
                <a:gd name="connsiteX77" fmla="*/ 260082 w 270933"/>
                <a:gd name="connsiteY77" fmla="*/ 200250 h 418772"/>
                <a:gd name="connsiteX78" fmla="*/ 256038 w 270933"/>
                <a:gd name="connsiteY78" fmla="*/ 202473 h 418772"/>
                <a:gd name="connsiteX79" fmla="*/ 254164 w 270933"/>
                <a:gd name="connsiteY79" fmla="*/ 208644 h 418772"/>
                <a:gd name="connsiteX80" fmla="*/ 242852 w 270933"/>
                <a:gd name="connsiteY80" fmla="*/ 222682 h 418772"/>
                <a:gd name="connsiteX81" fmla="*/ 242686 w 270933"/>
                <a:gd name="connsiteY81" fmla="*/ 223227 h 418772"/>
                <a:gd name="connsiteX82" fmla="*/ 239129 w 270933"/>
                <a:gd name="connsiteY82" fmla="*/ 227642 h 418772"/>
                <a:gd name="connsiteX83" fmla="*/ 238357 w 270933"/>
                <a:gd name="connsiteY83" fmla="*/ 230182 h 418772"/>
                <a:gd name="connsiteX84" fmla="*/ 243929 w 270933"/>
                <a:gd name="connsiteY84" fmla="*/ 245108 h 418772"/>
                <a:gd name="connsiteX85" fmla="*/ 239564 w 270933"/>
                <a:gd name="connsiteY85" fmla="*/ 253932 h 418772"/>
                <a:gd name="connsiteX86" fmla="*/ 240328 w 270933"/>
                <a:gd name="connsiteY86" fmla="*/ 262507 h 418772"/>
                <a:gd name="connsiteX87" fmla="*/ 235569 w 270933"/>
                <a:gd name="connsiteY87" fmla="*/ 275403 h 418772"/>
                <a:gd name="connsiteX88" fmla="*/ 239834 w 270933"/>
                <a:gd name="connsiteY88" fmla="*/ 280768 h 418772"/>
                <a:gd name="connsiteX89" fmla="*/ 247378 w 270933"/>
                <a:gd name="connsiteY89" fmla="*/ 328020 h 418772"/>
                <a:gd name="connsiteX90" fmla="*/ 257290 w 270933"/>
                <a:gd name="connsiteY90" fmla="*/ 350840 h 418772"/>
                <a:gd name="connsiteX91" fmla="*/ 251766 w 270933"/>
                <a:gd name="connsiteY91" fmla="*/ 355161 h 418772"/>
                <a:gd name="connsiteX92" fmla="*/ 257386 w 270933"/>
                <a:gd name="connsiteY92" fmla="*/ 389336 h 418772"/>
                <a:gd name="connsiteX93" fmla="*/ 205235 w 270933"/>
                <a:gd name="connsiteY93" fmla="*/ 397444 h 418772"/>
                <a:gd name="connsiteX94" fmla="*/ 205233 w 270933"/>
                <a:gd name="connsiteY94" fmla="*/ 397441 h 418772"/>
                <a:gd name="connsiteX95" fmla="*/ 199093 w 270933"/>
                <a:gd name="connsiteY95" fmla="*/ 398246 h 418772"/>
                <a:gd name="connsiteX96" fmla="*/ 186592 w 270933"/>
                <a:gd name="connsiteY96" fmla="*/ 392268 h 418772"/>
                <a:gd name="connsiteX97" fmla="*/ 175250 w 270933"/>
                <a:gd name="connsiteY97" fmla="*/ 390793 h 418772"/>
                <a:gd name="connsiteX98" fmla="*/ 162428 w 270933"/>
                <a:gd name="connsiteY98" fmla="*/ 391417 h 418772"/>
                <a:gd name="connsiteX99" fmla="*/ 140261 w 270933"/>
                <a:gd name="connsiteY99" fmla="*/ 406173 h 418772"/>
                <a:gd name="connsiteX100" fmla="*/ 110325 w 270933"/>
                <a:gd name="connsiteY100" fmla="*/ 418772 h 418772"/>
                <a:gd name="connsiteX101" fmla="*/ 89046 w 270933"/>
                <a:gd name="connsiteY101" fmla="*/ 411194 h 418772"/>
                <a:gd name="connsiteX102" fmla="*/ 79183 w 270933"/>
                <a:gd name="connsiteY102" fmla="*/ 407621 h 418772"/>
                <a:gd name="connsiteX103" fmla="*/ 68853 w 270933"/>
                <a:gd name="connsiteY103" fmla="*/ 405592 h 418772"/>
                <a:gd name="connsiteX104" fmla="*/ 68852 w 270933"/>
                <a:gd name="connsiteY104" fmla="*/ 405592 h 418772"/>
                <a:gd name="connsiteX105" fmla="*/ 68852 w 270933"/>
                <a:gd name="connsiteY105" fmla="*/ 405591 h 418772"/>
                <a:gd name="connsiteX106" fmla="*/ 43285 w 270933"/>
                <a:gd name="connsiteY106" fmla="*/ 356684 h 418772"/>
                <a:gd name="connsiteX107" fmla="*/ 45159 w 270933"/>
                <a:gd name="connsiteY107" fmla="*/ 350514 h 418772"/>
                <a:gd name="connsiteX108" fmla="*/ 39612 w 270933"/>
                <a:gd name="connsiteY108" fmla="*/ 318869 h 418772"/>
                <a:gd name="connsiteX109" fmla="*/ 42424 w 270933"/>
                <a:gd name="connsiteY109" fmla="*/ 309613 h 418772"/>
                <a:gd name="connsiteX110" fmla="*/ 38085 w 270933"/>
                <a:gd name="connsiteY110" fmla="*/ 301719 h 418772"/>
                <a:gd name="connsiteX111" fmla="*/ 46098 w 270933"/>
                <a:gd name="connsiteY111" fmla="*/ 294745 h 418772"/>
                <a:gd name="connsiteX112" fmla="*/ 46887 w 270933"/>
                <a:gd name="connsiteY112" fmla="*/ 286601 h 418772"/>
                <a:gd name="connsiteX113" fmla="*/ 49305 w 270933"/>
                <a:gd name="connsiteY113" fmla="*/ 281418 h 418772"/>
                <a:gd name="connsiteX114" fmla="*/ 49478 w 270933"/>
                <a:gd name="connsiteY114" fmla="*/ 269758 h 418772"/>
                <a:gd name="connsiteX115" fmla="*/ 47308 w 270933"/>
                <a:gd name="connsiteY115" fmla="*/ 265811 h 418772"/>
                <a:gd name="connsiteX116" fmla="*/ 50193 w 270933"/>
                <a:gd name="connsiteY116" fmla="*/ 259085 h 418772"/>
                <a:gd name="connsiteX117" fmla="*/ 46396 w 270933"/>
                <a:gd name="connsiteY117" fmla="*/ 252177 h 418772"/>
                <a:gd name="connsiteX118" fmla="*/ 38629 w 270933"/>
                <a:gd name="connsiteY118" fmla="*/ 250022 h 418772"/>
                <a:gd name="connsiteX119" fmla="*/ 35375 w 270933"/>
                <a:gd name="connsiteY119" fmla="*/ 244101 h 418772"/>
                <a:gd name="connsiteX120" fmla="*/ 29703 w 270933"/>
                <a:gd name="connsiteY120" fmla="*/ 243364 h 418772"/>
                <a:gd name="connsiteX121" fmla="*/ 27682 w 270933"/>
                <a:gd name="connsiteY121" fmla="*/ 244475 h 418772"/>
                <a:gd name="connsiteX122" fmla="*/ 25585 w 270933"/>
                <a:gd name="connsiteY122" fmla="*/ 243058 h 418772"/>
                <a:gd name="connsiteX123" fmla="*/ 23020 w 270933"/>
                <a:gd name="connsiteY123" fmla="*/ 243183 h 418772"/>
                <a:gd name="connsiteX124" fmla="*/ 25043 w 270933"/>
                <a:gd name="connsiteY124" fmla="*/ 242071 h 418772"/>
                <a:gd name="connsiteX125" fmla="*/ 21936 w 270933"/>
                <a:gd name="connsiteY125" fmla="*/ 241209 h 418772"/>
                <a:gd name="connsiteX126" fmla="*/ 21863 w 270933"/>
                <a:gd name="connsiteY126" fmla="*/ 238679 h 418772"/>
                <a:gd name="connsiteX127" fmla="*/ 28323 w 270933"/>
                <a:gd name="connsiteY127" fmla="*/ 231273 h 418772"/>
                <a:gd name="connsiteX128" fmla="*/ 27781 w 270933"/>
                <a:gd name="connsiteY128" fmla="*/ 230287 h 418772"/>
                <a:gd name="connsiteX129" fmla="*/ 25758 w 270933"/>
                <a:gd name="connsiteY129" fmla="*/ 231398 h 418772"/>
                <a:gd name="connsiteX130" fmla="*/ 19545 w 270933"/>
                <a:gd name="connsiteY130" fmla="*/ 229673 h 418772"/>
                <a:gd name="connsiteX131" fmla="*/ 24921 w 270933"/>
                <a:gd name="connsiteY131" fmla="*/ 220294 h 418772"/>
                <a:gd name="connsiteX132" fmla="*/ 28496 w 270933"/>
                <a:gd name="connsiteY132" fmla="*/ 219613 h 418772"/>
                <a:gd name="connsiteX133" fmla="*/ 27880 w 270933"/>
                <a:gd name="connsiteY133" fmla="*/ 216097 h 418772"/>
                <a:gd name="connsiteX134" fmla="*/ 23688 w 270933"/>
                <a:gd name="connsiteY134" fmla="*/ 213262 h 418772"/>
                <a:gd name="connsiteX135" fmla="*/ 25636 w 270933"/>
                <a:gd name="connsiteY135" fmla="*/ 209621 h 418772"/>
                <a:gd name="connsiteX136" fmla="*/ 25489 w 270933"/>
                <a:gd name="connsiteY136" fmla="*/ 204562 h 418772"/>
                <a:gd name="connsiteX137" fmla="*/ 20830 w 270933"/>
                <a:gd name="connsiteY137" fmla="*/ 203270 h 418772"/>
                <a:gd name="connsiteX138" fmla="*/ 20829 w 270933"/>
                <a:gd name="connsiteY138" fmla="*/ 203270 h 418772"/>
                <a:gd name="connsiteX139" fmla="*/ 20830 w 270933"/>
                <a:gd name="connsiteY139" fmla="*/ 203269 h 418772"/>
                <a:gd name="connsiteX140" fmla="*/ 20831 w 270933"/>
                <a:gd name="connsiteY140" fmla="*/ 203268 h 418772"/>
                <a:gd name="connsiteX141" fmla="*/ 24256 w 270933"/>
                <a:gd name="connsiteY141" fmla="*/ 197531 h 418772"/>
                <a:gd name="connsiteX142" fmla="*/ 21471 w 270933"/>
                <a:gd name="connsiteY142" fmla="*/ 190068 h 418772"/>
                <a:gd name="connsiteX143" fmla="*/ 22730 w 270933"/>
                <a:gd name="connsiteY143" fmla="*/ 180381 h 418772"/>
                <a:gd name="connsiteX144" fmla="*/ 23666 w 270933"/>
                <a:gd name="connsiteY144" fmla="*/ 177296 h 418772"/>
                <a:gd name="connsiteX145" fmla="*/ 28795 w 270933"/>
                <a:gd name="connsiteY145" fmla="*/ 177047 h 418772"/>
                <a:gd name="connsiteX146" fmla="*/ 30200 w 270933"/>
                <a:gd name="connsiteY146" fmla="*/ 172419 h 418772"/>
                <a:gd name="connsiteX147" fmla="*/ 19648 w 270933"/>
                <a:gd name="connsiteY147" fmla="*/ 162801 h 418772"/>
                <a:gd name="connsiteX148" fmla="*/ 13533 w 270933"/>
                <a:gd name="connsiteY148" fmla="*/ 146887 h 418772"/>
                <a:gd name="connsiteX149" fmla="*/ 16887 w 270933"/>
                <a:gd name="connsiteY149" fmla="*/ 138619 h 418772"/>
                <a:gd name="connsiteX150" fmla="*/ 21942 w 270933"/>
                <a:gd name="connsiteY150" fmla="*/ 135841 h 418772"/>
                <a:gd name="connsiteX151" fmla="*/ 25048 w 270933"/>
                <a:gd name="connsiteY151" fmla="*/ 136703 h 418772"/>
                <a:gd name="connsiteX152" fmla="*/ 23298 w 270933"/>
                <a:gd name="connsiteY152" fmla="*/ 111965 h 418772"/>
                <a:gd name="connsiteX153" fmla="*/ 31782 w 270933"/>
                <a:gd name="connsiteY153" fmla="*/ 103448 h 418772"/>
                <a:gd name="connsiteX154" fmla="*/ 33113 w 270933"/>
                <a:gd name="connsiteY154" fmla="*/ 96291 h 418772"/>
                <a:gd name="connsiteX155" fmla="*/ 26900 w 270933"/>
                <a:gd name="connsiteY155" fmla="*/ 94567 h 418772"/>
                <a:gd name="connsiteX156" fmla="*/ 16716 w 270933"/>
                <a:gd name="connsiteY156" fmla="*/ 97594 h 41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270933" h="418772">
                  <a:moveTo>
                    <a:pt x="0" y="52815"/>
                  </a:moveTo>
                  <a:lnTo>
                    <a:pt x="5202" y="55094"/>
                  </a:lnTo>
                  <a:lnTo>
                    <a:pt x="9937" y="58918"/>
                  </a:lnTo>
                  <a:lnTo>
                    <a:pt x="6213" y="54539"/>
                  </a:lnTo>
                  <a:lnTo>
                    <a:pt x="31464" y="57365"/>
                  </a:lnTo>
                  <a:lnTo>
                    <a:pt x="36665" y="59644"/>
                  </a:lnTo>
                  <a:lnTo>
                    <a:pt x="45197" y="70374"/>
                  </a:lnTo>
                  <a:lnTo>
                    <a:pt x="55996" y="70863"/>
                  </a:lnTo>
                  <a:lnTo>
                    <a:pt x="60509" y="67097"/>
                  </a:lnTo>
                  <a:lnTo>
                    <a:pt x="68917" y="56051"/>
                  </a:lnTo>
                  <a:lnTo>
                    <a:pt x="83836" y="56845"/>
                  </a:lnTo>
                  <a:lnTo>
                    <a:pt x="85783" y="53204"/>
                  </a:lnTo>
                  <a:lnTo>
                    <a:pt x="85956" y="41545"/>
                  </a:lnTo>
                  <a:lnTo>
                    <a:pt x="97151" y="37961"/>
                  </a:lnTo>
                  <a:lnTo>
                    <a:pt x="117913" y="27833"/>
                  </a:lnTo>
                  <a:lnTo>
                    <a:pt x="123363" y="20983"/>
                  </a:lnTo>
                  <a:lnTo>
                    <a:pt x="122993" y="8336"/>
                  </a:lnTo>
                  <a:lnTo>
                    <a:pt x="131624" y="4877"/>
                  </a:lnTo>
                  <a:lnTo>
                    <a:pt x="135595" y="125"/>
                  </a:lnTo>
                  <a:lnTo>
                    <a:pt x="138158" y="0"/>
                  </a:lnTo>
                  <a:lnTo>
                    <a:pt x="148095" y="6103"/>
                  </a:lnTo>
                  <a:lnTo>
                    <a:pt x="152361" y="11468"/>
                  </a:lnTo>
                  <a:lnTo>
                    <a:pt x="143804" y="17456"/>
                  </a:lnTo>
                  <a:lnTo>
                    <a:pt x="150856" y="30284"/>
                  </a:lnTo>
                  <a:lnTo>
                    <a:pt x="150140" y="40958"/>
                  </a:lnTo>
                  <a:lnTo>
                    <a:pt x="152237" y="42375"/>
                  </a:lnTo>
                  <a:lnTo>
                    <a:pt x="150214" y="43487"/>
                  </a:lnTo>
                  <a:lnTo>
                    <a:pt x="151299" y="45460"/>
                  </a:lnTo>
                  <a:lnTo>
                    <a:pt x="152927" y="48421"/>
                  </a:lnTo>
                  <a:lnTo>
                    <a:pt x="154949" y="47309"/>
                  </a:lnTo>
                  <a:lnTo>
                    <a:pt x="157044" y="48727"/>
                  </a:lnTo>
                  <a:lnTo>
                    <a:pt x="156576" y="50270"/>
                  </a:lnTo>
                  <a:lnTo>
                    <a:pt x="158129" y="50701"/>
                  </a:lnTo>
                  <a:lnTo>
                    <a:pt x="167302" y="48229"/>
                  </a:lnTo>
                  <a:lnTo>
                    <a:pt x="172579" y="53038"/>
                  </a:lnTo>
                  <a:lnTo>
                    <a:pt x="172257" y="59639"/>
                  </a:lnTo>
                  <a:lnTo>
                    <a:pt x="167745" y="63404"/>
                  </a:lnTo>
                  <a:lnTo>
                    <a:pt x="167424" y="70005"/>
                  </a:lnTo>
                  <a:lnTo>
                    <a:pt x="174574" y="68644"/>
                  </a:lnTo>
                  <a:lnTo>
                    <a:pt x="177756" y="72036"/>
                  </a:lnTo>
                  <a:lnTo>
                    <a:pt x="183527" y="58585"/>
                  </a:lnTo>
                  <a:lnTo>
                    <a:pt x="187718" y="61420"/>
                  </a:lnTo>
                  <a:lnTo>
                    <a:pt x="189666" y="57779"/>
                  </a:lnTo>
                  <a:lnTo>
                    <a:pt x="189739" y="60308"/>
                  </a:lnTo>
                  <a:lnTo>
                    <a:pt x="192305" y="60184"/>
                  </a:lnTo>
                  <a:lnTo>
                    <a:pt x="197680" y="50805"/>
                  </a:lnTo>
                  <a:lnTo>
                    <a:pt x="199702" y="49693"/>
                  </a:lnTo>
                  <a:lnTo>
                    <a:pt x="204979" y="54502"/>
                  </a:lnTo>
                  <a:lnTo>
                    <a:pt x="213066" y="50057"/>
                  </a:lnTo>
                  <a:lnTo>
                    <a:pt x="223619" y="59675"/>
                  </a:lnTo>
                  <a:lnTo>
                    <a:pt x="229611" y="53811"/>
                  </a:lnTo>
                  <a:lnTo>
                    <a:pt x="232324" y="58746"/>
                  </a:lnTo>
                  <a:lnTo>
                    <a:pt x="240412" y="54300"/>
                  </a:lnTo>
                  <a:lnTo>
                    <a:pt x="247882" y="46338"/>
                  </a:lnTo>
                  <a:lnTo>
                    <a:pt x="252001" y="46644"/>
                  </a:lnTo>
                  <a:lnTo>
                    <a:pt x="264328" y="64281"/>
                  </a:lnTo>
                  <a:lnTo>
                    <a:pt x="268989" y="65575"/>
                  </a:lnTo>
                  <a:lnTo>
                    <a:pt x="266325" y="79889"/>
                  </a:lnTo>
                  <a:lnTo>
                    <a:pt x="262750" y="80569"/>
                  </a:lnTo>
                  <a:lnTo>
                    <a:pt x="261887" y="86183"/>
                  </a:lnTo>
                  <a:lnTo>
                    <a:pt x="258854" y="87850"/>
                  </a:lnTo>
                  <a:lnTo>
                    <a:pt x="257769" y="85877"/>
                  </a:lnTo>
                  <a:lnTo>
                    <a:pt x="254194" y="86557"/>
                  </a:lnTo>
                  <a:lnTo>
                    <a:pt x="253109" y="84584"/>
                  </a:lnTo>
                  <a:lnTo>
                    <a:pt x="244947" y="86501"/>
                  </a:lnTo>
                  <a:lnTo>
                    <a:pt x="248818" y="95937"/>
                  </a:lnTo>
                  <a:lnTo>
                    <a:pt x="251135" y="104619"/>
                  </a:lnTo>
                  <a:lnTo>
                    <a:pt x="254869" y="105656"/>
                  </a:lnTo>
                  <a:lnTo>
                    <a:pt x="253448" y="113289"/>
                  </a:lnTo>
                  <a:lnTo>
                    <a:pt x="264965" y="156448"/>
                  </a:lnTo>
                  <a:lnTo>
                    <a:pt x="264966" y="156447"/>
                  </a:lnTo>
                  <a:lnTo>
                    <a:pt x="269084" y="156753"/>
                  </a:lnTo>
                  <a:lnTo>
                    <a:pt x="270711" y="159714"/>
                  </a:lnTo>
                  <a:lnTo>
                    <a:pt x="268295" y="164898"/>
                  </a:lnTo>
                  <a:lnTo>
                    <a:pt x="270933" y="167301"/>
                  </a:lnTo>
                  <a:lnTo>
                    <a:pt x="259491" y="180017"/>
                  </a:lnTo>
                  <a:lnTo>
                    <a:pt x="262425" y="192538"/>
                  </a:lnTo>
                  <a:lnTo>
                    <a:pt x="260082" y="200250"/>
                  </a:lnTo>
                  <a:lnTo>
                    <a:pt x="256038" y="202473"/>
                  </a:lnTo>
                  <a:lnTo>
                    <a:pt x="254164" y="208644"/>
                  </a:lnTo>
                  <a:lnTo>
                    <a:pt x="242852" y="222682"/>
                  </a:lnTo>
                  <a:lnTo>
                    <a:pt x="242686" y="223227"/>
                  </a:lnTo>
                  <a:lnTo>
                    <a:pt x="239129" y="227642"/>
                  </a:lnTo>
                  <a:lnTo>
                    <a:pt x="238357" y="230182"/>
                  </a:lnTo>
                  <a:lnTo>
                    <a:pt x="243929" y="245108"/>
                  </a:lnTo>
                  <a:lnTo>
                    <a:pt x="239564" y="253932"/>
                  </a:lnTo>
                  <a:lnTo>
                    <a:pt x="240328" y="262507"/>
                  </a:lnTo>
                  <a:lnTo>
                    <a:pt x="235569" y="275403"/>
                  </a:lnTo>
                  <a:lnTo>
                    <a:pt x="239834" y="280768"/>
                  </a:lnTo>
                  <a:lnTo>
                    <a:pt x="247378" y="328020"/>
                  </a:lnTo>
                  <a:lnTo>
                    <a:pt x="257290" y="350840"/>
                  </a:lnTo>
                  <a:lnTo>
                    <a:pt x="251766" y="355161"/>
                  </a:lnTo>
                  <a:lnTo>
                    <a:pt x="257386" y="389336"/>
                  </a:lnTo>
                  <a:lnTo>
                    <a:pt x="205235" y="397444"/>
                  </a:lnTo>
                  <a:lnTo>
                    <a:pt x="205233" y="397441"/>
                  </a:lnTo>
                  <a:lnTo>
                    <a:pt x="199093" y="398246"/>
                  </a:lnTo>
                  <a:lnTo>
                    <a:pt x="186592" y="392268"/>
                  </a:lnTo>
                  <a:lnTo>
                    <a:pt x="175250" y="390793"/>
                  </a:lnTo>
                  <a:lnTo>
                    <a:pt x="162428" y="391417"/>
                  </a:lnTo>
                  <a:lnTo>
                    <a:pt x="140261" y="406173"/>
                  </a:lnTo>
                  <a:lnTo>
                    <a:pt x="110325" y="418772"/>
                  </a:lnTo>
                  <a:lnTo>
                    <a:pt x="89046" y="411194"/>
                  </a:lnTo>
                  <a:lnTo>
                    <a:pt x="79183" y="407621"/>
                  </a:lnTo>
                  <a:lnTo>
                    <a:pt x="68853" y="405592"/>
                  </a:lnTo>
                  <a:lnTo>
                    <a:pt x="68852" y="405592"/>
                  </a:lnTo>
                  <a:lnTo>
                    <a:pt x="68852" y="405591"/>
                  </a:lnTo>
                  <a:lnTo>
                    <a:pt x="43285" y="356684"/>
                  </a:lnTo>
                  <a:lnTo>
                    <a:pt x="45159" y="350514"/>
                  </a:lnTo>
                  <a:lnTo>
                    <a:pt x="39612" y="318869"/>
                  </a:lnTo>
                  <a:lnTo>
                    <a:pt x="42424" y="309613"/>
                  </a:lnTo>
                  <a:lnTo>
                    <a:pt x="38085" y="301719"/>
                  </a:lnTo>
                  <a:lnTo>
                    <a:pt x="46098" y="294745"/>
                  </a:lnTo>
                  <a:lnTo>
                    <a:pt x="46887" y="286601"/>
                  </a:lnTo>
                  <a:lnTo>
                    <a:pt x="49305" y="281418"/>
                  </a:lnTo>
                  <a:lnTo>
                    <a:pt x="49478" y="269758"/>
                  </a:lnTo>
                  <a:lnTo>
                    <a:pt x="47308" y="265811"/>
                  </a:lnTo>
                  <a:lnTo>
                    <a:pt x="50193" y="259085"/>
                  </a:lnTo>
                  <a:lnTo>
                    <a:pt x="46396" y="252177"/>
                  </a:lnTo>
                  <a:lnTo>
                    <a:pt x="38629" y="250022"/>
                  </a:lnTo>
                  <a:lnTo>
                    <a:pt x="35375" y="244101"/>
                  </a:lnTo>
                  <a:lnTo>
                    <a:pt x="29703" y="243364"/>
                  </a:lnTo>
                  <a:lnTo>
                    <a:pt x="27682" y="244475"/>
                  </a:lnTo>
                  <a:lnTo>
                    <a:pt x="25585" y="243058"/>
                  </a:lnTo>
                  <a:lnTo>
                    <a:pt x="23020" y="243183"/>
                  </a:lnTo>
                  <a:lnTo>
                    <a:pt x="25043" y="242071"/>
                  </a:lnTo>
                  <a:lnTo>
                    <a:pt x="21936" y="241209"/>
                  </a:lnTo>
                  <a:lnTo>
                    <a:pt x="21863" y="238679"/>
                  </a:lnTo>
                  <a:lnTo>
                    <a:pt x="28323" y="231273"/>
                  </a:lnTo>
                  <a:lnTo>
                    <a:pt x="27781" y="230287"/>
                  </a:lnTo>
                  <a:lnTo>
                    <a:pt x="25758" y="231398"/>
                  </a:lnTo>
                  <a:lnTo>
                    <a:pt x="19545" y="229673"/>
                  </a:lnTo>
                  <a:lnTo>
                    <a:pt x="24921" y="220294"/>
                  </a:lnTo>
                  <a:lnTo>
                    <a:pt x="28496" y="219613"/>
                  </a:lnTo>
                  <a:lnTo>
                    <a:pt x="27880" y="216097"/>
                  </a:lnTo>
                  <a:lnTo>
                    <a:pt x="23688" y="213262"/>
                  </a:lnTo>
                  <a:lnTo>
                    <a:pt x="25636" y="209621"/>
                  </a:lnTo>
                  <a:lnTo>
                    <a:pt x="25489" y="204562"/>
                  </a:lnTo>
                  <a:lnTo>
                    <a:pt x="20830" y="203270"/>
                  </a:lnTo>
                  <a:lnTo>
                    <a:pt x="20829" y="203270"/>
                  </a:lnTo>
                  <a:lnTo>
                    <a:pt x="20830" y="203269"/>
                  </a:lnTo>
                  <a:lnTo>
                    <a:pt x="20831" y="203268"/>
                  </a:lnTo>
                  <a:lnTo>
                    <a:pt x="24256" y="197531"/>
                  </a:lnTo>
                  <a:lnTo>
                    <a:pt x="21471" y="190068"/>
                  </a:lnTo>
                  <a:lnTo>
                    <a:pt x="22730" y="180381"/>
                  </a:lnTo>
                  <a:lnTo>
                    <a:pt x="23666" y="177296"/>
                  </a:lnTo>
                  <a:lnTo>
                    <a:pt x="28795" y="177047"/>
                  </a:lnTo>
                  <a:lnTo>
                    <a:pt x="30200" y="172419"/>
                  </a:lnTo>
                  <a:lnTo>
                    <a:pt x="19648" y="162801"/>
                  </a:lnTo>
                  <a:lnTo>
                    <a:pt x="13533" y="146887"/>
                  </a:lnTo>
                  <a:lnTo>
                    <a:pt x="16887" y="138619"/>
                  </a:lnTo>
                  <a:lnTo>
                    <a:pt x="21942" y="135841"/>
                  </a:lnTo>
                  <a:lnTo>
                    <a:pt x="25048" y="136703"/>
                  </a:lnTo>
                  <a:lnTo>
                    <a:pt x="23298" y="111965"/>
                  </a:lnTo>
                  <a:lnTo>
                    <a:pt x="31782" y="103448"/>
                  </a:lnTo>
                  <a:lnTo>
                    <a:pt x="33113" y="96291"/>
                  </a:lnTo>
                  <a:lnTo>
                    <a:pt x="26900" y="94567"/>
                  </a:lnTo>
                  <a:lnTo>
                    <a:pt x="16716" y="97594"/>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6" name="Leeuwarden">
              <a:extLst>
                <a:ext uri="{FF2B5EF4-FFF2-40B4-BE49-F238E27FC236}">
                  <a16:creationId xmlns:a16="http://schemas.microsoft.com/office/drawing/2014/main" id="{C25699C4-D4F2-4AD6-8FC4-2C05AD8E8B5D}"/>
                </a:ext>
              </a:extLst>
            </p:cNvPr>
            <p:cNvSpPr/>
            <p:nvPr/>
          </p:nvSpPr>
          <p:spPr>
            <a:xfrm rot="447135">
              <a:off x="6430799" y="1603333"/>
              <a:ext cx="393237" cy="393927"/>
            </a:xfrm>
            <a:custGeom>
              <a:avLst/>
              <a:gdLst>
                <a:gd name="connsiteX0" fmla="*/ 185067 w 387350"/>
                <a:gd name="connsiteY0" fmla="*/ 205417 h 405221"/>
                <a:gd name="connsiteX1" fmla="*/ 185066 w 387350"/>
                <a:gd name="connsiteY1" fmla="*/ 205417 h 405221"/>
                <a:gd name="connsiteX2" fmla="*/ 185066 w 387350"/>
                <a:gd name="connsiteY2" fmla="*/ 205417 h 405221"/>
                <a:gd name="connsiteX3" fmla="*/ 185067 w 387350"/>
                <a:gd name="connsiteY3" fmla="*/ 205417 h 405221"/>
                <a:gd name="connsiteX4" fmla="*/ 168832 w 387350"/>
                <a:gd name="connsiteY4" fmla="*/ 201252 h 405221"/>
                <a:gd name="connsiteX5" fmla="*/ 165989 w 387350"/>
                <a:gd name="connsiteY5" fmla="*/ 202104 h 405221"/>
                <a:gd name="connsiteX6" fmla="*/ 162556 w 387350"/>
                <a:gd name="connsiteY6" fmla="*/ 202553 h 405221"/>
                <a:gd name="connsiteX7" fmla="*/ 162557 w 387350"/>
                <a:gd name="connsiteY7" fmla="*/ 202554 h 405221"/>
                <a:gd name="connsiteX8" fmla="*/ 165987 w 387350"/>
                <a:gd name="connsiteY8" fmla="*/ 202105 h 405221"/>
                <a:gd name="connsiteX9" fmla="*/ 168831 w 387350"/>
                <a:gd name="connsiteY9" fmla="*/ 201252 h 405221"/>
                <a:gd name="connsiteX10" fmla="*/ 128260 w 387350"/>
                <a:gd name="connsiteY10" fmla="*/ 2625 h 405221"/>
                <a:gd name="connsiteX11" fmla="*/ 157005 w 387350"/>
                <a:gd name="connsiteY11" fmla="*/ 0 h 405221"/>
                <a:gd name="connsiteX12" fmla="*/ 197383 w 387350"/>
                <a:gd name="connsiteY12" fmla="*/ 15159 h 405221"/>
                <a:gd name="connsiteX13" fmla="*/ 207824 w 387350"/>
                <a:gd name="connsiteY13" fmla="*/ 14929 h 405221"/>
                <a:gd name="connsiteX14" fmla="*/ 208116 w 387350"/>
                <a:gd name="connsiteY14" fmla="*/ 17162 h 405221"/>
                <a:gd name="connsiteX15" fmla="*/ 210551 w 387350"/>
                <a:gd name="connsiteY15" fmla="*/ 17980 h 405221"/>
                <a:gd name="connsiteX16" fmla="*/ 208555 w 387350"/>
                <a:gd name="connsiteY16" fmla="*/ 20513 h 405221"/>
                <a:gd name="connsiteX17" fmla="*/ 208700 w 387350"/>
                <a:gd name="connsiteY17" fmla="*/ 21628 h 405221"/>
                <a:gd name="connsiteX18" fmla="*/ 211986 w 387350"/>
                <a:gd name="connsiteY18" fmla="*/ 20064 h 405221"/>
                <a:gd name="connsiteX19" fmla="*/ 215710 w 387350"/>
                <a:gd name="connsiteY19" fmla="*/ 21847 h 405221"/>
                <a:gd name="connsiteX20" fmla="*/ 236593 w 387350"/>
                <a:gd name="connsiteY20" fmla="*/ 21387 h 405221"/>
                <a:gd name="connsiteX21" fmla="*/ 232188 w 387350"/>
                <a:gd name="connsiteY21" fmla="*/ 32184 h 405221"/>
                <a:gd name="connsiteX22" fmla="*/ 233940 w 387350"/>
                <a:gd name="connsiteY22" fmla="*/ 45582 h 405221"/>
                <a:gd name="connsiteX23" fmla="*/ 232236 w 387350"/>
                <a:gd name="connsiteY23" fmla="*/ 50348 h 405221"/>
                <a:gd name="connsiteX24" fmla="*/ 233570 w 387350"/>
                <a:gd name="connsiteY24" fmla="*/ 54214 h 405221"/>
                <a:gd name="connsiteX25" fmla="*/ 234557 w 387350"/>
                <a:gd name="connsiteY25" fmla="*/ 54192 h 405221"/>
                <a:gd name="connsiteX26" fmla="*/ 234018 w 387350"/>
                <a:gd name="connsiteY26" fmla="*/ 55513 h 405221"/>
                <a:gd name="connsiteX27" fmla="*/ 237860 w 387350"/>
                <a:gd name="connsiteY27" fmla="*/ 66647 h 405221"/>
                <a:gd name="connsiteX28" fmla="*/ 236155 w 387350"/>
                <a:gd name="connsiteY28" fmla="*/ 71413 h 405221"/>
                <a:gd name="connsiteX29" fmla="*/ 237738 w 387350"/>
                <a:gd name="connsiteY29" fmla="*/ 74612 h 405221"/>
                <a:gd name="connsiteX30" fmla="*/ 265045 w 387350"/>
                <a:gd name="connsiteY30" fmla="*/ 69905 h 405221"/>
                <a:gd name="connsiteX31" fmla="*/ 261809 w 387350"/>
                <a:gd name="connsiteY31" fmla="*/ 89634 h 405221"/>
                <a:gd name="connsiteX32" fmla="*/ 260956 w 387350"/>
                <a:gd name="connsiteY32" fmla="*/ 92016 h 405221"/>
                <a:gd name="connsiteX33" fmla="*/ 268964 w 387350"/>
                <a:gd name="connsiteY33" fmla="*/ 90969 h 405221"/>
                <a:gd name="connsiteX34" fmla="*/ 287826 w 387350"/>
                <a:gd name="connsiteY34" fmla="*/ 83959 h 405221"/>
                <a:gd name="connsiteX35" fmla="*/ 290723 w 387350"/>
                <a:gd name="connsiteY35" fmla="*/ 97208 h 405221"/>
                <a:gd name="connsiteX36" fmla="*/ 299874 w 387350"/>
                <a:gd name="connsiteY36" fmla="*/ 96011 h 405221"/>
                <a:gd name="connsiteX37" fmla="*/ 299169 w 387350"/>
                <a:gd name="connsiteY37" fmla="*/ 99510 h 405221"/>
                <a:gd name="connsiteX38" fmla="*/ 307176 w 387350"/>
                <a:gd name="connsiteY38" fmla="*/ 98463 h 405221"/>
                <a:gd name="connsiteX39" fmla="*/ 307614 w 387350"/>
                <a:gd name="connsiteY39" fmla="*/ 101812 h 405221"/>
                <a:gd name="connsiteX40" fmla="*/ 299607 w 387350"/>
                <a:gd name="connsiteY40" fmla="*/ 102860 h 405221"/>
                <a:gd name="connsiteX41" fmla="*/ 300337 w 387350"/>
                <a:gd name="connsiteY41" fmla="*/ 108443 h 405221"/>
                <a:gd name="connsiteX42" fmla="*/ 305911 w 387350"/>
                <a:gd name="connsiteY42" fmla="*/ 106577 h 405221"/>
                <a:gd name="connsiteX43" fmla="*/ 306495 w 387350"/>
                <a:gd name="connsiteY43" fmla="*/ 111043 h 405221"/>
                <a:gd name="connsiteX44" fmla="*/ 309925 w 387350"/>
                <a:gd name="connsiteY44" fmla="*/ 110595 h 405221"/>
                <a:gd name="connsiteX45" fmla="*/ 310071 w 387350"/>
                <a:gd name="connsiteY45" fmla="*/ 111711 h 405221"/>
                <a:gd name="connsiteX46" fmla="*/ 317933 w 387350"/>
                <a:gd name="connsiteY46" fmla="*/ 109547 h 405221"/>
                <a:gd name="connsiteX47" fmla="*/ 317374 w 387350"/>
                <a:gd name="connsiteY47" fmla="*/ 114164 h 405221"/>
                <a:gd name="connsiteX48" fmla="*/ 319954 w 387350"/>
                <a:gd name="connsiteY48" fmla="*/ 116097 h 405221"/>
                <a:gd name="connsiteX49" fmla="*/ 313528 w 387350"/>
                <a:gd name="connsiteY49" fmla="*/ 120345 h 405221"/>
                <a:gd name="connsiteX50" fmla="*/ 293845 w 387350"/>
                <a:gd name="connsiteY50" fmla="*/ 127265 h 405221"/>
                <a:gd name="connsiteX51" fmla="*/ 294311 w 387350"/>
                <a:gd name="connsiteY51" fmla="*/ 130833 h 405221"/>
                <a:gd name="connsiteX52" fmla="*/ 297244 w 387350"/>
                <a:gd name="connsiteY52" fmla="*/ 130450 h 405221"/>
                <a:gd name="connsiteX53" fmla="*/ 297369 w 387350"/>
                <a:gd name="connsiteY53" fmla="*/ 131404 h 405221"/>
                <a:gd name="connsiteX54" fmla="*/ 304089 w 387350"/>
                <a:gd name="connsiteY54" fmla="*/ 129554 h 405221"/>
                <a:gd name="connsiteX55" fmla="*/ 303611 w 387350"/>
                <a:gd name="connsiteY55" fmla="*/ 133501 h 405221"/>
                <a:gd name="connsiteX56" fmla="*/ 305817 w 387350"/>
                <a:gd name="connsiteY56" fmla="*/ 135154 h 405221"/>
                <a:gd name="connsiteX57" fmla="*/ 300325 w 387350"/>
                <a:gd name="connsiteY57" fmla="*/ 138785 h 405221"/>
                <a:gd name="connsiteX58" fmla="*/ 277145 w 387350"/>
                <a:gd name="connsiteY58" fmla="*/ 146933 h 405221"/>
                <a:gd name="connsiteX59" fmla="*/ 279138 w 387350"/>
                <a:gd name="connsiteY59" fmla="*/ 150963 h 405221"/>
                <a:gd name="connsiteX60" fmla="*/ 268138 w 387350"/>
                <a:gd name="connsiteY60" fmla="*/ 155808 h 405221"/>
                <a:gd name="connsiteX61" fmla="*/ 271009 w 387350"/>
                <a:gd name="connsiteY61" fmla="*/ 159975 h 405221"/>
                <a:gd name="connsiteX62" fmla="*/ 283958 w 387350"/>
                <a:gd name="connsiteY62" fmla="*/ 187809 h 405221"/>
                <a:gd name="connsiteX63" fmla="*/ 345170 w 387350"/>
                <a:gd name="connsiteY63" fmla="*/ 184344 h 405221"/>
                <a:gd name="connsiteX64" fmla="*/ 350743 w 387350"/>
                <a:gd name="connsiteY64" fmla="*/ 182480 h 405221"/>
                <a:gd name="connsiteX65" fmla="*/ 355026 w 387350"/>
                <a:gd name="connsiteY65" fmla="*/ 179647 h 405221"/>
                <a:gd name="connsiteX66" fmla="*/ 356463 w 387350"/>
                <a:gd name="connsiteY66" fmla="*/ 181732 h 405221"/>
                <a:gd name="connsiteX67" fmla="*/ 356219 w 387350"/>
                <a:gd name="connsiteY67" fmla="*/ 197662 h 405221"/>
                <a:gd name="connsiteX68" fmla="*/ 345827 w 387350"/>
                <a:gd name="connsiteY68" fmla="*/ 216056 h 405221"/>
                <a:gd name="connsiteX69" fmla="*/ 336408 w 387350"/>
                <a:gd name="connsiteY69" fmla="*/ 224102 h 405221"/>
                <a:gd name="connsiteX70" fmla="*/ 355490 w 387350"/>
                <a:gd name="connsiteY70" fmla="*/ 245454 h 405221"/>
                <a:gd name="connsiteX71" fmla="*/ 370240 w 387350"/>
                <a:gd name="connsiteY71" fmla="*/ 251474 h 405221"/>
                <a:gd name="connsiteX72" fmla="*/ 376836 w 387350"/>
                <a:gd name="connsiteY72" fmla="*/ 257426 h 405221"/>
                <a:gd name="connsiteX73" fmla="*/ 387350 w 387350"/>
                <a:gd name="connsiteY73" fmla="*/ 284441 h 405221"/>
                <a:gd name="connsiteX74" fmla="*/ 384210 w 387350"/>
                <a:gd name="connsiteY74" fmla="*/ 287123 h 405221"/>
                <a:gd name="connsiteX75" fmla="*/ 367733 w 387350"/>
                <a:gd name="connsiteY75" fmla="*/ 276786 h 405221"/>
                <a:gd name="connsiteX76" fmla="*/ 364739 w 387350"/>
                <a:gd name="connsiteY76" fmla="*/ 280585 h 405221"/>
                <a:gd name="connsiteX77" fmla="*/ 361083 w 387350"/>
                <a:gd name="connsiteY77" fmla="*/ 281063 h 405221"/>
                <a:gd name="connsiteX78" fmla="*/ 360745 w 387350"/>
                <a:gd name="connsiteY78" fmla="*/ 281352 h 405221"/>
                <a:gd name="connsiteX79" fmla="*/ 360423 w 387350"/>
                <a:gd name="connsiteY79" fmla="*/ 281150 h 405221"/>
                <a:gd name="connsiteX80" fmla="*/ 347580 w 387350"/>
                <a:gd name="connsiteY80" fmla="*/ 282830 h 405221"/>
                <a:gd name="connsiteX81" fmla="*/ 318277 w 387350"/>
                <a:gd name="connsiteY81" fmla="*/ 290069 h 405221"/>
                <a:gd name="connsiteX82" fmla="*/ 325627 w 387350"/>
                <a:gd name="connsiteY82" fmla="*/ 310685 h 405221"/>
                <a:gd name="connsiteX83" fmla="*/ 318350 w 387350"/>
                <a:gd name="connsiteY83" fmla="*/ 317315 h 405221"/>
                <a:gd name="connsiteX84" fmla="*/ 324069 w 387350"/>
                <a:gd name="connsiteY84" fmla="*/ 316567 h 405221"/>
                <a:gd name="connsiteX85" fmla="*/ 323364 w 387350"/>
                <a:gd name="connsiteY85" fmla="*/ 320066 h 405221"/>
                <a:gd name="connsiteX86" fmla="*/ 318374 w 387350"/>
                <a:gd name="connsiteY86" fmla="*/ 326397 h 405221"/>
                <a:gd name="connsiteX87" fmla="*/ 309515 w 387350"/>
                <a:gd name="connsiteY87" fmla="*/ 329827 h 405221"/>
                <a:gd name="connsiteX88" fmla="*/ 301946 w 387350"/>
                <a:gd name="connsiteY88" fmla="*/ 334225 h 405221"/>
                <a:gd name="connsiteX89" fmla="*/ 296080 w 387350"/>
                <a:gd name="connsiteY89" fmla="*/ 333856 h 405221"/>
                <a:gd name="connsiteX90" fmla="*/ 287660 w 387350"/>
                <a:gd name="connsiteY90" fmla="*/ 340636 h 405221"/>
                <a:gd name="connsiteX91" fmla="*/ 285080 w 387350"/>
                <a:gd name="connsiteY91" fmla="*/ 338701 h 405221"/>
                <a:gd name="connsiteX92" fmla="*/ 274225 w 387350"/>
                <a:gd name="connsiteY92" fmla="*/ 344664 h 405221"/>
                <a:gd name="connsiteX93" fmla="*/ 272788 w 387350"/>
                <a:gd name="connsiteY93" fmla="*/ 342581 h 405221"/>
                <a:gd name="connsiteX94" fmla="*/ 263077 w 387350"/>
                <a:gd name="connsiteY94" fmla="*/ 348393 h 405221"/>
                <a:gd name="connsiteX95" fmla="*/ 242999 w 387350"/>
                <a:gd name="connsiteY95" fmla="*/ 381682 h 405221"/>
                <a:gd name="connsiteX96" fmla="*/ 222749 w 387350"/>
                <a:gd name="connsiteY96" fmla="*/ 404772 h 405221"/>
                <a:gd name="connsiteX97" fmla="*/ 219318 w 387350"/>
                <a:gd name="connsiteY97" fmla="*/ 405221 h 405221"/>
                <a:gd name="connsiteX98" fmla="*/ 220169 w 387350"/>
                <a:gd name="connsiteY98" fmla="*/ 402838 h 405221"/>
                <a:gd name="connsiteX99" fmla="*/ 215010 w 387350"/>
                <a:gd name="connsiteY99" fmla="*/ 398970 h 405221"/>
                <a:gd name="connsiteX100" fmla="*/ 208243 w 387350"/>
                <a:gd name="connsiteY100" fmla="*/ 382821 h 405221"/>
                <a:gd name="connsiteX101" fmla="*/ 211529 w 387350"/>
                <a:gd name="connsiteY101" fmla="*/ 381256 h 405221"/>
                <a:gd name="connsiteX102" fmla="*/ 215862 w 387350"/>
                <a:gd name="connsiteY102" fmla="*/ 376376 h 405221"/>
                <a:gd name="connsiteX103" fmla="*/ 210322 w 387350"/>
                <a:gd name="connsiteY103" fmla="*/ 363158 h 405221"/>
                <a:gd name="connsiteX104" fmla="*/ 213132 w 387350"/>
                <a:gd name="connsiteY104" fmla="*/ 361820 h 405221"/>
                <a:gd name="connsiteX105" fmla="*/ 216121 w 387350"/>
                <a:gd name="connsiteY105" fmla="*/ 358453 h 405221"/>
                <a:gd name="connsiteX106" fmla="*/ 206295 w 387350"/>
                <a:gd name="connsiteY106" fmla="*/ 350142 h 405221"/>
                <a:gd name="connsiteX107" fmla="*/ 214011 w 387350"/>
                <a:gd name="connsiteY107" fmla="*/ 346862 h 405221"/>
                <a:gd name="connsiteX108" fmla="*/ 214990 w 387350"/>
                <a:gd name="connsiteY108" fmla="*/ 340579 h 405221"/>
                <a:gd name="connsiteX109" fmla="*/ 208657 w 387350"/>
                <a:gd name="connsiteY109" fmla="*/ 335223 h 405221"/>
                <a:gd name="connsiteX110" fmla="*/ 212094 w 387350"/>
                <a:gd name="connsiteY110" fmla="*/ 333762 h 405221"/>
                <a:gd name="connsiteX111" fmla="*/ 215696 w 387350"/>
                <a:gd name="connsiteY111" fmla="*/ 329578 h 405221"/>
                <a:gd name="connsiteX112" fmla="*/ 216335 w 387350"/>
                <a:gd name="connsiteY112" fmla="*/ 325482 h 405221"/>
                <a:gd name="connsiteX113" fmla="*/ 213152 w 387350"/>
                <a:gd name="connsiteY113" fmla="*/ 323957 h 405221"/>
                <a:gd name="connsiteX114" fmla="*/ 212901 w 387350"/>
                <a:gd name="connsiteY114" fmla="*/ 322048 h 405221"/>
                <a:gd name="connsiteX115" fmla="*/ 219879 w 387350"/>
                <a:gd name="connsiteY115" fmla="*/ 313944 h 405221"/>
                <a:gd name="connsiteX116" fmla="*/ 213913 w 387350"/>
                <a:gd name="connsiteY116" fmla="*/ 310534 h 405221"/>
                <a:gd name="connsiteX117" fmla="*/ 210335 w 387350"/>
                <a:gd name="connsiteY117" fmla="*/ 309867 h 405221"/>
                <a:gd name="connsiteX118" fmla="*/ 207196 w 387350"/>
                <a:gd name="connsiteY118" fmla="*/ 312548 h 405221"/>
                <a:gd name="connsiteX119" fmla="*/ 203326 w 387350"/>
                <a:gd name="connsiteY119" fmla="*/ 309648 h 405221"/>
                <a:gd name="connsiteX120" fmla="*/ 206466 w 387350"/>
                <a:gd name="connsiteY120" fmla="*/ 306966 h 405221"/>
                <a:gd name="connsiteX121" fmla="*/ 198872 w 387350"/>
                <a:gd name="connsiteY121" fmla="*/ 302281 h 405221"/>
                <a:gd name="connsiteX122" fmla="*/ 197874 w 387350"/>
                <a:gd name="connsiteY122" fmla="*/ 303548 h 405221"/>
                <a:gd name="connsiteX123" fmla="*/ 195147 w 387350"/>
                <a:gd name="connsiteY123" fmla="*/ 300496 h 405221"/>
                <a:gd name="connsiteX124" fmla="*/ 197290 w 387350"/>
                <a:gd name="connsiteY124" fmla="*/ 299081 h 405221"/>
                <a:gd name="connsiteX125" fmla="*/ 195708 w 387350"/>
                <a:gd name="connsiteY125" fmla="*/ 295881 h 405221"/>
                <a:gd name="connsiteX126" fmla="*/ 191279 w 387350"/>
                <a:gd name="connsiteY126" fmla="*/ 297597 h 405221"/>
                <a:gd name="connsiteX127" fmla="*/ 190255 w 387350"/>
                <a:gd name="connsiteY127" fmla="*/ 293592 h 405221"/>
                <a:gd name="connsiteX128" fmla="*/ 188108 w 387350"/>
                <a:gd name="connsiteY128" fmla="*/ 295860 h 405221"/>
                <a:gd name="connsiteX129" fmla="*/ 188110 w 387350"/>
                <a:gd name="connsiteY129" fmla="*/ 289911 h 405221"/>
                <a:gd name="connsiteX130" fmla="*/ 185938 w 387350"/>
                <a:gd name="connsiteY130" fmla="*/ 289911 h 405221"/>
                <a:gd name="connsiteX131" fmla="*/ 182571 w 387350"/>
                <a:gd name="connsiteY131" fmla="*/ 293471 h 405221"/>
                <a:gd name="connsiteX132" fmla="*/ 7163 w 387350"/>
                <a:gd name="connsiteY132" fmla="*/ 293471 h 405221"/>
                <a:gd name="connsiteX133" fmla="*/ 7163 w 387350"/>
                <a:gd name="connsiteY133" fmla="*/ 282670 h 405221"/>
                <a:gd name="connsiteX134" fmla="*/ 11056 w 387350"/>
                <a:gd name="connsiteY134" fmla="*/ 282670 h 405221"/>
                <a:gd name="connsiteX135" fmla="*/ 15093 w 387350"/>
                <a:gd name="connsiteY135" fmla="*/ 284886 h 405221"/>
                <a:gd name="connsiteX136" fmla="*/ 16600 w 387350"/>
                <a:gd name="connsiteY136" fmla="*/ 283448 h 405221"/>
                <a:gd name="connsiteX137" fmla="*/ 13144 w 387350"/>
                <a:gd name="connsiteY137" fmla="*/ 278879 h 405221"/>
                <a:gd name="connsiteX138" fmla="*/ 23001 w 387350"/>
                <a:gd name="connsiteY138" fmla="*/ 274181 h 405221"/>
                <a:gd name="connsiteX139" fmla="*/ 23560 w 387350"/>
                <a:gd name="connsiteY139" fmla="*/ 269567 h 405221"/>
                <a:gd name="connsiteX140" fmla="*/ 29425 w 387350"/>
                <a:gd name="connsiteY140" fmla="*/ 269935 h 405221"/>
                <a:gd name="connsiteX141" fmla="*/ 29692 w 387350"/>
                <a:gd name="connsiteY141" fmla="*/ 263086 h 405221"/>
                <a:gd name="connsiteX142" fmla="*/ 27260 w 387350"/>
                <a:gd name="connsiteY142" fmla="*/ 262268 h 405221"/>
                <a:gd name="connsiteX143" fmla="*/ 25678 w 387350"/>
                <a:gd name="connsiteY143" fmla="*/ 259069 h 405221"/>
                <a:gd name="connsiteX144" fmla="*/ 23390 w 387350"/>
                <a:gd name="connsiteY144" fmla="*/ 259369 h 405221"/>
                <a:gd name="connsiteX145" fmla="*/ 22952 w 387350"/>
                <a:gd name="connsiteY145" fmla="*/ 256019 h 405221"/>
                <a:gd name="connsiteX146" fmla="*/ 16233 w 387350"/>
                <a:gd name="connsiteY146" fmla="*/ 258032 h 405221"/>
                <a:gd name="connsiteX147" fmla="*/ 13338 w 387350"/>
                <a:gd name="connsiteY147" fmla="*/ 244784 h 405221"/>
                <a:gd name="connsiteX148" fmla="*/ 9906 w 387350"/>
                <a:gd name="connsiteY148" fmla="*/ 245233 h 405221"/>
                <a:gd name="connsiteX149" fmla="*/ 9468 w 387350"/>
                <a:gd name="connsiteY149" fmla="*/ 241884 h 405221"/>
                <a:gd name="connsiteX150" fmla="*/ 25 w 387350"/>
                <a:gd name="connsiteY150" fmla="*/ 240848 h 405221"/>
                <a:gd name="connsiteX151" fmla="*/ 585 w 387350"/>
                <a:gd name="connsiteY151" fmla="*/ 236232 h 405221"/>
                <a:gd name="connsiteX152" fmla="*/ 1583 w 387350"/>
                <a:gd name="connsiteY152" fmla="*/ 234966 h 405221"/>
                <a:gd name="connsiteX153" fmla="*/ 0 w 387350"/>
                <a:gd name="connsiteY153" fmla="*/ 231765 h 405221"/>
                <a:gd name="connsiteX154" fmla="*/ 1291 w 387350"/>
                <a:gd name="connsiteY154" fmla="*/ 232733 h 405221"/>
                <a:gd name="connsiteX155" fmla="*/ 2142 w 387350"/>
                <a:gd name="connsiteY155" fmla="*/ 230350 h 405221"/>
                <a:gd name="connsiteX156" fmla="*/ 3431 w 387350"/>
                <a:gd name="connsiteY156" fmla="*/ 231317 h 405221"/>
                <a:gd name="connsiteX157" fmla="*/ 4137 w 387350"/>
                <a:gd name="connsiteY157" fmla="*/ 227817 h 405221"/>
                <a:gd name="connsiteX158" fmla="*/ 8274 w 387350"/>
                <a:gd name="connsiteY158" fmla="*/ 223870 h 405221"/>
                <a:gd name="connsiteX159" fmla="*/ 6839 w 387350"/>
                <a:gd name="connsiteY159" fmla="*/ 221786 h 405221"/>
                <a:gd name="connsiteX160" fmla="*/ 7837 w 387350"/>
                <a:gd name="connsiteY160" fmla="*/ 220519 h 405221"/>
                <a:gd name="connsiteX161" fmla="*/ 6401 w 387350"/>
                <a:gd name="connsiteY161" fmla="*/ 218436 h 405221"/>
                <a:gd name="connsiteX162" fmla="*/ 8397 w 387350"/>
                <a:gd name="connsiteY162" fmla="*/ 215904 h 405221"/>
                <a:gd name="connsiteX163" fmla="*/ 7107 w 387350"/>
                <a:gd name="connsiteY163" fmla="*/ 214937 h 405221"/>
                <a:gd name="connsiteX164" fmla="*/ 21807 w 387350"/>
                <a:gd name="connsiteY164" fmla="*/ 202794 h 405221"/>
                <a:gd name="connsiteX165" fmla="*/ 26820 w 387350"/>
                <a:gd name="connsiteY165" fmla="*/ 205545 h 405221"/>
                <a:gd name="connsiteX166" fmla="*/ 24971 w 387350"/>
                <a:gd name="connsiteY166" fmla="*/ 209194 h 405221"/>
                <a:gd name="connsiteX167" fmla="*/ 39719 w 387350"/>
                <a:gd name="connsiteY167" fmla="*/ 215214 h 405221"/>
                <a:gd name="connsiteX168" fmla="*/ 37871 w 387350"/>
                <a:gd name="connsiteY168" fmla="*/ 218863 h 405221"/>
                <a:gd name="connsiteX169" fmla="*/ 38569 w 387350"/>
                <a:gd name="connsiteY169" fmla="*/ 219493 h 405221"/>
                <a:gd name="connsiteX170" fmla="*/ 50951 w 387350"/>
                <a:gd name="connsiteY170" fmla="*/ 209265 h 405221"/>
                <a:gd name="connsiteX171" fmla="*/ 55237 w 387350"/>
                <a:gd name="connsiteY171" fmla="*/ 211616 h 405221"/>
                <a:gd name="connsiteX172" fmla="*/ 53656 w 387350"/>
                <a:gd name="connsiteY172" fmla="*/ 214736 h 405221"/>
                <a:gd name="connsiteX173" fmla="*/ 66263 w 387350"/>
                <a:gd name="connsiteY173" fmla="*/ 219882 h 405221"/>
                <a:gd name="connsiteX174" fmla="*/ 65856 w 387350"/>
                <a:gd name="connsiteY174" fmla="*/ 220685 h 405221"/>
                <a:gd name="connsiteX175" fmla="*/ 74647 w 387350"/>
                <a:gd name="connsiteY175" fmla="*/ 224272 h 405221"/>
                <a:gd name="connsiteX176" fmla="*/ 81924 w 387350"/>
                <a:gd name="connsiteY176" fmla="*/ 217642 h 405221"/>
                <a:gd name="connsiteX177" fmla="*/ 85330 w 387350"/>
                <a:gd name="connsiteY177" fmla="*/ 208112 h 405221"/>
                <a:gd name="connsiteX178" fmla="*/ 87619 w 387350"/>
                <a:gd name="connsiteY178" fmla="*/ 207812 h 405221"/>
                <a:gd name="connsiteX179" fmla="*/ 89201 w 387350"/>
                <a:gd name="connsiteY179" fmla="*/ 211011 h 405221"/>
                <a:gd name="connsiteX180" fmla="*/ 93897 w 387350"/>
                <a:gd name="connsiteY180" fmla="*/ 202449 h 405221"/>
                <a:gd name="connsiteX181" fmla="*/ 96478 w 387350"/>
                <a:gd name="connsiteY181" fmla="*/ 204382 h 405221"/>
                <a:gd name="connsiteX182" fmla="*/ 98182 w 387350"/>
                <a:gd name="connsiteY182" fmla="*/ 199616 h 405221"/>
                <a:gd name="connsiteX183" fmla="*/ 103316 w 387350"/>
                <a:gd name="connsiteY183" fmla="*/ 194403 h 405221"/>
                <a:gd name="connsiteX184" fmla="*/ 106043 w 387350"/>
                <a:gd name="connsiteY184" fmla="*/ 197454 h 405221"/>
                <a:gd name="connsiteX185" fmla="*/ 111762 w 387350"/>
                <a:gd name="connsiteY185" fmla="*/ 196704 h 405221"/>
                <a:gd name="connsiteX186" fmla="*/ 116775 w 387350"/>
                <a:gd name="connsiteY186" fmla="*/ 199456 h 405221"/>
                <a:gd name="connsiteX187" fmla="*/ 118931 w 387350"/>
                <a:gd name="connsiteY187" fmla="*/ 203815 h 405221"/>
                <a:gd name="connsiteX188" fmla="*/ 120628 w 387350"/>
                <a:gd name="connsiteY188" fmla="*/ 202092 h 405221"/>
                <a:gd name="connsiteX189" fmla="*/ 122959 w 387350"/>
                <a:gd name="connsiteY189" fmla="*/ 204700 h 405221"/>
                <a:gd name="connsiteX190" fmla="*/ 127848 w 387350"/>
                <a:gd name="connsiteY190" fmla="*/ 204059 h 405221"/>
                <a:gd name="connsiteX191" fmla="*/ 129023 w 387350"/>
                <a:gd name="connsiteY191" fmla="*/ 204704 h 405221"/>
                <a:gd name="connsiteX192" fmla="*/ 133375 w 387350"/>
                <a:gd name="connsiteY192" fmla="*/ 201828 h 405221"/>
                <a:gd name="connsiteX193" fmla="*/ 139263 w 387350"/>
                <a:gd name="connsiteY193" fmla="*/ 211278 h 405221"/>
                <a:gd name="connsiteX194" fmla="*/ 141261 w 387350"/>
                <a:gd name="connsiteY194" fmla="*/ 208744 h 405221"/>
                <a:gd name="connsiteX195" fmla="*/ 144693 w 387350"/>
                <a:gd name="connsiteY195" fmla="*/ 208296 h 405221"/>
                <a:gd name="connsiteX196" fmla="*/ 145005 w 387350"/>
                <a:gd name="connsiteY196" fmla="*/ 209310 h 405221"/>
                <a:gd name="connsiteX197" fmla="*/ 146323 w 387350"/>
                <a:gd name="connsiteY197" fmla="*/ 208439 h 405221"/>
                <a:gd name="connsiteX198" fmla="*/ 148725 w 387350"/>
                <a:gd name="connsiteY198" fmla="*/ 212293 h 405221"/>
                <a:gd name="connsiteX199" fmla="*/ 149706 w 387350"/>
                <a:gd name="connsiteY199" fmla="*/ 211048 h 405221"/>
                <a:gd name="connsiteX200" fmla="*/ 149414 w 387350"/>
                <a:gd name="connsiteY200" fmla="*/ 208814 h 405221"/>
                <a:gd name="connsiteX201" fmla="*/ 152552 w 387350"/>
                <a:gd name="connsiteY201" fmla="*/ 206133 h 405221"/>
                <a:gd name="connsiteX202" fmla="*/ 155133 w 387350"/>
                <a:gd name="connsiteY202" fmla="*/ 208066 h 405221"/>
                <a:gd name="connsiteX203" fmla="*/ 157982 w 387350"/>
                <a:gd name="connsiteY203" fmla="*/ 203152 h 405221"/>
                <a:gd name="connsiteX204" fmla="*/ 160659 w 387350"/>
                <a:gd name="connsiteY204" fmla="*/ 188038 h 405221"/>
                <a:gd name="connsiteX205" fmla="*/ 163213 w 387350"/>
                <a:gd name="connsiteY205" fmla="*/ 180889 h 405221"/>
                <a:gd name="connsiteX206" fmla="*/ 158637 w 387350"/>
                <a:gd name="connsiteY206" fmla="*/ 181487 h 405221"/>
                <a:gd name="connsiteX207" fmla="*/ 158468 w 387350"/>
                <a:gd name="connsiteY207" fmla="*/ 171290 h 405221"/>
                <a:gd name="connsiteX208" fmla="*/ 156180 w 387350"/>
                <a:gd name="connsiteY208" fmla="*/ 171590 h 405221"/>
                <a:gd name="connsiteX209" fmla="*/ 159441 w 387350"/>
                <a:gd name="connsiteY209" fmla="*/ 160942 h 405221"/>
                <a:gd name="connsiteX210" fmla="*/ 150679 w 387350"/>
                <a:gd name="connsiteY210" fmla="*/ 147324 h 405221"/>
                <a:gd name="connsiteX211" fmla="*/ 149535 w 387350"/>
                <a:gd name="connsiteY211" fmla="*/ 147474 h 405221"/>
                <a:gd name="connsiteX212" fmla="*/ 146225 w 387350"/>
                <a:gd name="connsiteY212" fmla="*/ 139958 h 405221"/>
                <a:gd name="connsiteX213" fmla="*/ 154133 w 387350"/>
                <a:gd name="connsiteY213" fmla="*/ 138923 h 405221"/>
                <a:gd name="connsiteX214" fmla="*/ 152494 w 387350"/>
                <a:gd name="connsiteY214" fmla="*/ 131838 h 405221"/>
                <a:gd name="connsiteX215" fmla="*/ 145203 w 387350"/>
                <a:gd name="connsiteY215" fmla="*/ 132141 h 405221"/>
                <a:gd name="connsiteX216" fmla="*/ 139847 w 387350"/>
                <a:gd name="connsiteY216" fmla="*/ 108993 h 405221"/>
                <a:gd name="connsiteX217" fmla="*/ 145275 w 387350"/>
                <a:gd name="connsiteY217" fmla="*/ 106013 h 405221"/>
                <a:gd name="connsiteX218" fmla="*/ 136537 w 387350"/>
                <a:gd name="connsiteY218" fmla="*/ 101477 h 405221"/>
                <a:gd name="connsiteX219" fmla="*/ 147071 w 387350"/>
                <a:gd name="connsiteY219" fmla="*/ 91427 h 405221"/>
                <a:gd name="connsiteX220" fmla="*/ 144281 w 387350"/>
                <a:gd name="connsiteY220" fmla="*/ 86387 h 405221"/>
                <a:gd name="connsiteX221" fmla="*/ 144840 w 387350"/>
                <a:gd name="connsiteY221" fmla="*/ 85529 h 405221"/>
                <a:gd name="connsiteX222" fmla="*/ 139627 w 387350"/>
                <a:gd name="connsiteY222" fmla="*/ 80631 h 405221"/>
                <a:gd name="connsiteX223" fmla="*/ 137047 w 387350"/>
                <a:gd name="connsiteY223" fmla="*/ 78698 h 405221"/>
                <a:gd name="connsiteX224" fmla="*/ 139335 w 387350"/>
                <a:gd name="connsiteY224" fmla="*/ 78399 h 405221"/>
                <a:gd name="connsiteX225" fmla="*/ 138886 w 387350"/>
                <a:gd name="connsiteY225" fmla="*/ 74969 h 405221"/>
                <a:gd name="connsiteX226" fmla="*/ 136666 w 387350"/>
                <a:gd name="connsiteY226" fmla="*/ 73793 h 405221"/>
                <a:gd name="connsiteX227" fmla="*/ 132859 w 387350"/>
                <a:gd name="connsiteY227" fmla="*/ 67495 h 405221"/>
                <a:gd name="connsiteX228" fmla="*/ 133587 w 387350"/>
                <a:gd name="connsiteY228" fmla="*/ 65457 h 405221"/>
                <a:gd name="connsiteX229" fmla="*/ 133295 w 387350"/>
                <a:gd name="connsiteY229" fmla="*/ 63220 h 405221"/>
                <a:gd name="connsiteX230" fmla="*/ 130986 w 387350"/>
                <a:gd name="connsiteY230" fmla="*/ 59049 h 405221"/>
                <a:gd name="connsiteX231" fmla="*/ 135829 w 387350"/>
                <a:gd name="connsiteY231" fmla="*/ 51602 h 405221"/>
                <a:gd name="connsiteX232" fmla="*/ 122078 w 387350"/>
                <a:gd name="connsiteY232" fmla="*/ 44316 h 405221"/>
                <a:gd name="connsiteX233" fmla="*/ 117624 w 387350"/>
                <a:gd name="connsiteY233" fmla="*/ 36949 h 405221"/>
                <a:gd name="connsiteX234" fmla="*/ 118476 w 387350"/>
                <a:gd name="connsiteY234" fmla="*/ 34565 h 405221"/>
                <a:gd name="connsiteX235" fmla="*/ 117892 w 387350"/>
                <a:gd name="connsiteY235" fmla="*/ 30100 h 405221"/>
                <a:gd name="connsiteX236" fmla="*/ 121860 w 387350"/>
                <a:gd name="connsiteY236" fmla="*/ 15953 h 405221"/>
                <a:gd name="connsiteX237" fmla="*/ 119571 w 387350"/>
                <a:gd name="connsiteY237" fmla="*/ 16253 h 405221"/>
                <a:gd name="connsiteX238" fmla="*/ 120423 w 387350"/>
                <a:gd name="connsiteY238" fmla="*/ 13870 h 405221"/>
                <a:gd name="connsiteX239" fmla="*/ 121568 w 387350"/>
                <a:gd name="connsiteY239" fmla="*/ 13720 h 405221"/>
                <a:gd name="connsiteX240" fmla="*/ 123830 w 387350"/>
                <a:gd name="connsiteY240" fmla="*/ 4340 h 40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387350" h="405221">
                  <a:moveTo>
                    <a:pt x="185067" y="205417"/>
                  </a:moveTo>
                  <a:lnTo>
                    <a:pt x="185066" y="205417"/>
                  </a:lnTo>
                  <a:lnTo>
                    <a:pt x="185066" y="205417"/>
                  </a:lnTo>
                  <a:lnTo>
                    <a:pt x="185067" y="205417"/>
                  </a:lnTo>
                  <a:close/>
                  <a:moveTo>
                    <a:pt x="168832" y="201252"/>
                  </a:moveTo>
                  <a:lnTo>
                    <a:pt x="165989" y="202104"/>
                  </a:lnTo>
                  <a:lnTo>
                    <a:pt x="162556" y="202553"/>
                  </a:lnTo>
                  <a:lnTo>
                    <a:pt x="162557" y="202554"/>
                  </a:lnTo>
                  <a:lnTo>
                    <a:pt x="165987" y="202105"/>
                  </a:lnTo>
                  <a:lnTo>
                    <a:pt x="168831" y="201252"/>
                  </a:lnTo>
                  <a:close/>
                  <a:moveTo>
                    <a:pt x="128260" y="2625"/>
                  </a:moveTo>
                  <a:lnTo>
                    <a:pt x="157005" y="0"/>
                  </a:lnTo>
                  <a:lnTo>
                    <a:pt x="197383" y="15159"/>
                  </a:lnTo>
                  <a:lnTo>
                    <a:pt x="207824" y="14929"/>
                  </a:lnTo>
                  <a:lnTo>
                    <a:pt x="208116" y="17162"/>
                  </a:lnTo>
                  <a:lnTo>
                    <a:pt x="210551" y="17980"/>
                  </a:lnTo>
                  <a:lnTo>
                    <a:pt x="208555" y="20513"/>
                  </a:lnTo>
                  <a:lnTo>
                    <a:pt x="208700" y="21628"/>
                  </a:lnTo>
                  <a:lnTo>
                    <a:pt x="211986" y="20064"/>
                  </a:lnTo>
                  <a:lnTo>
                    <a:pt x="215710" y="21847"/>
                  </a:lnTo>
                  <a:lnTo>
                    <a:pt x="236593" y="21387"/>
                  </a:lnTo>
                  <a:lnTo>
                    <a:pt x="232188" y="32184"/>
                  </a:lnTo>
                  <a:lnTo>
                    <a:pt x="233940" y="45582"/>
                  </a:lnTo>
                  <a:lnTo>
                    <a:pt x="232236" y="50348"/>
                  </a:lnTo>
                  <a:lnTo>
                    <a:pt x="233570" y="54214"/>
                  </a:lnTo>
                  <a:lnTo>
                    <a:pt x="234557" y="54192"/>
                  </a:lnTo>
                  <a:lnTo>
                    <a:pt x="234018" y="55513"/>
                  </a:lnTo>
                  <a:lnTo>
                    <a:pt x="237860" y="66647"/>
                  </a:lnTo>
                  <a:lnTo>
                    <a:pt x="236155" y="71413"/>
                  </a:lnTo>
                  <a:lnTo>
                    <a:pt x="237738" y="74612"/>
                  </a:lnTo>
                  <a:lnTo>
                    <a:pt x="265045" y="69905"/>
                  </a:lnTo>
                  <a:lnTo>
                    <a:pt x="261809" y="89634"/>
                  </a:lnTo>
                  <a:lnTo>
                    <a:pt x="260956" y="92016"/>
                  </a:lnTo>
                  <a:lnTo>
                    <a:pt x="268964" y="90969"/>
                  </a:lnTo>
                  <a:lnTo>
                    <a:pt x="287826" y="83959"/>
                  </a:lnTo>
                  <a:lnTo>
                    <a:pt x="290723" y="97208"/>
                  </a:lnTo>
                  <a:lnTo>
                    <a:pt x="299874" y="96011"/>
                  </a:lnTo>
                  <a:lnTo>
                    <a:pt x="299169" y="99510"/>
                  </a:lnTo>
                  <a:lnTo>
                    <a:pt x="307176" y="98463"/>
                  </a:lnTo>
                  <a:lnTo>
                    <a:pt x="307614" y="101812"/>
                  </a:lnTo>
                  <a:lnTo>
                    <a:pt x="299607" y="102860"/>
                  </a:lnTo>
                  <a:lnTo>
                    <a:pt x="300337" y="108443"/>
                  </a:lnTo>
                  <a:lnTo>
                    <a:pt x="305911" y="106577"/>
                  </a:lnTo>
                  <a:lnTo>
                    <a:pt x="306495" y="111043"/>
                  </a:lnTo>
                  <a:lnTo>
                    <a:pt x="309925" y="110595"/>
                  </a:lnTo>
                  <a:lnTo>
                    <a:pt x="310071" y="111711"/>
                  </a:lnTo>
                  <a:lnTo>
                    <a:pt x="317933" y="109547"/>
                  </a:lnTo>
                  <a:lnTo>
                    <a:pt x="317374" y="114164"/>
                  </a:lnTo>
                  <a:lnTo>
                    <a:pt x="319954" y="116097"/>
                  </a:lnTo>
                  <a:lnTo>
                    <a:pt x="313528" y="120345"/>
                  </a:lnTo>
                  <a:lnTo>
                    <a:pt x="293845" y="127265"/>
                  </a:lnTo>
                  <a:lnTo>
                    <a:pt x="294311" y="130833"/>
                  </a:lnTo>
                  <a:lnTo>
                    <a:pt x="297244" y="130450"/>
                  </a:lnTo>
                  <a:lnTo>
                    <a:pt x="297369" y="131404"/>
                  </a:lnTo>
                  <a:lnTo>
                    <a:pt x="304089" y="129554"/>
                  </a:lnTo>
                  <a:lnTo>
                    <a:pt x="303611" y="133501"/>
                  </a:lnTo>
                  <a:lnTo>
                    <a:pt x="305817" y="135154"/>
                  </a:lnTo>
                  <a:lnTo>
                    <a:pt x="300325" y="138785"/>
                  </a:lnTo>
                  <a:lnTo>
                    <a:pt x="277145" y="146933"/>
                  </a:lnTo>
                  <a:lnTo>
                    <a:pt x="279138" y="150963"/>
                  </a:lnTo>
                  <a:lnTo>
                    <a:pt x="268138" y="155808"/>
                  </a:lnTo>
                  <a:lnTo>
                    <a:pt x="271009" y="159975"/>
                  </a:lnTo>
                  <a:lnTo>
                    <a:pt x="283958" y="187809"/>
                  </a:lnTo>
                  <a:lnTo>
                    <a:pt x="345170" y="184344"/>
                  </a:lnTo>
                  <a:lnTo>
                    <a:pt x="350743" y="182480"/>
                  </a:lnTo>
                  <a:lnTo>
                    <a:pt x="355026" y="179647"/>
                  </a:lnTo>
                  <a:lnTo>
                    <a:pt x="356463" y="181732"/>
                  </a:lnTo>
                  <a:lnTo>
                    <a:pt x="356219" y="197662"/>
                  </a:lnTo>
                  <a:lnTo>
                    <a:pt x="345827" y="216056"/>
                  </a:lnTo>
                  <a:lnTo>
                    <a:pt x="336408" y="224102"/>
                  </a:lnTo>
                  <a:lnTo>
                    <a:pt x="355490" y="245454"/>
                  </a:lnTo>
                  <a:lnTo>
                    <a:pt x="370240" y="251474"/>
                  </a:lnTo>
                  <a:lnTo>
                    <a:pt x="376836" y="257426"/>
                  </a:lnTo>
                  <a:lnTo>
                    <a:pt x="387350" y="284441"/>
                  </a:lnTo>
                  <a:lnTo>
                    <a:pt x="384210" y="287123"/>
                  </a:lnTo>
                  <a:lnTo>
                    <a:pt x="367733" y="276786"/>
                  </a:lnTo>
                  <a:lnTo>
                    <a:pt x="364739" y="280585"/>
                  </a:lnTo>
                  <a:lnTo>
                    <a:pt x="361083" y="281063"/>
                  </a:lnTo>
                  <a:lnTo>
                    <a:pt x="360745" y="281352"/>
                  </a:lnTo>
                  <a:lnTo>
                    <a:pt x="360423" y="281150"/>
                  </a:lnTo>
                  <a:lnTo>
                    <a:pt x="347580" y="282830"/>
                  </a:lnTo>
                  <a:lnTo>
                    <a:pt x="318277" y="290069"/>
                  </a:lnTo>
                  <a:lnTo>
                    <a:pt x="325627" y="310685"/>
                  </a:lnTo>
                  <a:lnTo>
                    <a:pt x="318350" y="317315"/>
                  </a:lnTo>
                  <a:lnTo>
                    <a:pt x="324069" y="316567"/>
                  </a:lnTo>
                  <a:lnTo>
                    <a:pt x="323364" y="320066"/>
                  </a:lnTo>
                  <a:lnTo>
                    <a:pt x="318374" y="326397"/>
                  </a:lnTo>
                  <a:lnTo>
                    <a:pt x="309515" y="329827"/>
                  </a:lnTo>
                  <a:lnTo>
                    <a:pt x="301946" y="334225"/>
                  </a:lnTo>
                  <a:lnTo>
                    <a:pt x="296080" y="333856"/>
                  </a:lnTo>
                  <a:lnTo>
                    <a:pt x="287660" y="340636"/>
                  </a:lnTo>
                  <a:lnTo>
                    <a:pt x="285080" y="338701"/>
                  </a:lnTo>
                  <a:lnTo>
                    <a:pt x="274225" y="344664"/>
                  </a:lnTo>
                  <a:lnTo>
                    <a:pt x="272788" y="342581"/>
                  </a:lnTo>
                  <a:lnTo>
                    <a:pt x="263077" y="348393"/>
                  </a:lnTo>
                  <a:lnTo>
                    <a:pt x="242999" y="381682"/>
                  </a:lnTo>
                  <a:lnTo>
                    <a:pt x="222749" y="404772"/>
                  </a:lnTo>
                  <a:lnTo>
                    <a:pt x="219318" y="405221"/>
                  </a:lnTo>
                  <a:lnTo>
                    <a:pt x="220169" y="402838"/>
                  </a:lnTo>
                  <a:lnTo>
                    <a:pt x="215010" y="398970"/>
                  </a:lnTo>
                  <a:lnTo>
                    <a:pt x="208243" y="382821"/>
                  </a:lnTo>
                  <a:lnTo>
                    <a:pt x="211529" y="381256"/>
                  </a:lnTo>
                  <a:lnTo>
                    <a:pt x="215862" y="376376"/>
                  </a:lnTo>
                  <a:lnTo>
                    <a:pt x="210322" y="363158"/>
                  </a:lnTo>
                  <a:lnTo>
                    <a:pt x="213132" y="361820"/>
                  </a:lnTo>
                  <a:lnTo>
                    <a:pt x="216121" y="358453"/>
                  </a:lnTo>
                  <a:lnTo>
                    <a:pt x="206295" y="350142"/>
                  </a:lnTo>
                  <a:lnTo>
                    <a:pt x="214011" y="346862"/>
                  </a:lnTo>
                  <a:lnTo>
                    <a:pt x="214990" y="340579"/>
                  </a:lnTo>
                  <a:lnTo>
                    <a:pt x="208657" y="335223"/>
                  </a:lnTo>
                  <a:lnTo>
                    <a:pt x="212094" y="333762"/>
                  </a:lnTo>
                  <a:lnTo>
                    <a:pt x="215696" y="329578"/>
                  </a:lnTo>
                  <a:lnTo>
                    <a:pt x="216335" y="325482"/>
                  </a:lnTo>
                  <a:lnTo>
                    <a:pt x="213152" y="323957"/>
                  </a:lnTo>
                  <a:lnTo>
                    <a:pt x="212901" y="322048"/>
                  </a:lnTo>
                  <a:lnTo>
                    <a:pt x="219879" y="313944"/>
                  </a:lnTo>
                  <a:lnTo>
                    <a:pt x="213913" y="310534"/>
                  </a:lnTo>
                  <a:lnTo>
                    <a:pt x="210335" y="309867"/>
                  </a:lnTo>
                  <a:lnTo>
                    <a:pt x="207196" y="312548"/>
                  </a:lnTo>
                  <a:lnTo>
                    <a:pt x="203326" y="309648"/>
                  </a:lnTo>
                  <a:lnTo>
                    <a:pt x="206466" y="306966"/>
                  </a:lnTo>
                  <a:lnTo>
                    <a:pt x="198872" y="302281"/>
                  </a:lnTo>
                  <a:lnTo>
                    <a:pt x="197874" y="303548"/>
                  </a:lnTo>
                  <a:lnTo>
                    <a:pt x="195147" y="300496"/>
                  </a:lnTo>
                  <a:lnTo>
                    <a:pt x="197290" y="299081"/>
                  </a:lnTo>
                  <a:lnTo>
                    <a:pt x="195708" y="295881"/>
                  </a:lnTo>
                  <a:lnTo>
                    <a:pt x="191279" y="297597"/>
                  </a:lnTo>
                  <a:lnTo>
                    <a:pt x="190255" y="293592"/>
                  </a:lnTo>
                  <a:lnTo>
                    <a:pt x="188108" y="295860"/>
                  </a:lnTo>
                  <a:lnTo>
                    <a:pt x="188110" y="289911"/>
                  </a:lnTo>
                  <a:lnTo>
                    <a:pt x="185938" y="289911"/>
                  </a:lnTo>
                  <a:lnTo>
                    <a:pt x="182571" y="293471"/>
                  </a:lnTo>
                  <a:lnTo>
                    <a:pt x="7163" y="293471"/>
                  </a:lnTo>
                  <a:lnTo>
                    <a:pt x="7163" y="282670"/>
                  </a:lnTo>
                  <a:lnTo>
                    <a:pt x="11056" y="282670"/>
                  </a:lnTo>
                  <a:lnTo>
                    <a:pt x="15093" y="284886"/>
                  </a:lnTo>
                  <a:lnTo>
                    <a:pt x="16600" y="283448"/>
                  </a:lnTo>
                  <a:lnTo>
                    <a:pt x="13144" y="278879"/>
                  </a:lnTo>
                  <a:lnTo>
                    <a:pt x="23001" y="274181"/>
                  </a:lnTo>
                  <a:lnTo>
                    <a:pt x="23560" y="269567"/>
                  </a:lnTo>
                  <a:lnTo>
                    <a:pt x="29425" y="269935"/>
                  </a:lnTo>
                  <a:lnTo>
                    <a:pt x="29692" y="263086"/>
                  </a:lnTo>
                  <a:lnTo>
                    <a:pt x="27260" y="262268"/>
                  </a:lnTo>
                  <a:lnTo>
                    <a:pt x="25678" y="259069"/>
                  </a:lnTo>
                  <a:lnTo>
                    <a:pt x="23390" y="259369"/>
                  </a:lnTo>
                  <a:lnTo>
                    <a:pt x="22952" y="256019"/>
                  </a:lnTo>
                  <a:lnTo>
                    <a:pt x="16233" y="258032"/>
                  </a:lnTo>
                  <a:lnTo>
                    <a:pt x="13338" y="244784"/>
                  </a:lnTo>
                  <a:lnTo>
                    <a:pt x="9906" y="245233"/>
                  </a:lnTo>
                  <a:lnTo>
                    <a:pt x="9468" y="241884"/>
                  </a:lnTo>
                  <a:lnTo>
                    <a:pt x="25" y="240848"/>
                  </a:lnTo>
                  <a:lnTo>
                    <a:pt x="585" y="236232"/>
                  </a:lnTo>
                  <a:lnTo>
                    <a:pt x="1583" y="234966"/>
                  </a:lnTo>
                  <a:lnTo>
                    <a:pt x="0" y="231765"/>
                  </a:lnTo>
                  <a:lnTo>
                    <a:pt x="1291" y="232733"/>
                  </a:lnTo>
                  <a:lnTo>
                    <a:pt x="2142" y="230350"/>
                  </a:lnTo>
                  <a:lnTo>
                    <a:pt x="3431" y="231317"/>
                  </a:lnTo>
                  <a:lnTo>
                    <a:pt x="4137" y="227817"/>
                  </a:lnTo>
                  <a:lnTo>
                    <a:pt x="8274" y="223870"/>
                  </a:lnTo>
                  <a:lnTo>
                    <a:pt x="6839" y="221786"/>
                  </a:lnTo>
                  <a:lnTo>
                    <a:pt x="7837" y="220519"/>
                  </a:lnTo>
                  <a:lnTo>
                    <a:pt x="6401" y="218436"/>
                  </a:lnTo>
                  <a:lnTo>
                    <a:pt x="8397" y="215904"/>
                  </a:lnTo>
                  <a:lnTo>
                    <a:pt x="7107" y="214937"/>
                  </a:lnTo>
                  <a:lnTo>
                    <a:pt x="21807" y="202794"/>
                  </a:lnTo>
                  <a:lnTo>
                    <a:pt x="26820" y="205545"/>
                  </a:lnTo>
                  <a:lnTo>
                    <a:pt x="24971" y="209194"/>
                  </a:lnTo>
                  <a:lnTo>
                    <a:pt x="39719" y="215214"/>
                  </a:lnTo>
                  <a:lnTo>
                    <a:pt x="37871" y="218863"/>
                  </a:lnTo>
                  <a:lnTo>
                    <a:pt x="38569" y="219493"/>
                  </a:lnTo>
                  <a:lnTo>
                    <a:pt x="50951" y="209265"/>
                  </a:lnTo>
                  <a:lnTo>
                    <a:pt x="55237" y="211616"/>
                  </a:lnTo>
                  <a:lnTo>
                    <a:pt x="53656" y="214736"/>
                  </a:lnTo>
                  <a:lnTo>
                    <a:pt x="66263" y="219882"/>
                  </a:lnTo>
                  <a:lnTo>
                    <a:pt x="65856" y="220685"/>
                  </a:lnTo>
                  <a:lnTo>
                    <a:pt x="74647" y="224272"/>
                  </a:lnTo>
                  <a:lnTo>
                    <a:pt x="81924" y="217642"/>
                  </a:lnTo>
                  <a:lnTo>
                    <a:pt x="85330" y="208112"/>
                  </a:lnTo>
                  <a:lnTo>
                    <a:pt x="87619" y="207812"/>
                  </a:lnTo>
                  <a:lnTo>
                    <a:pt x="89201" y="211011"/>
                  </a:lnTo>
                  <a:lnTo>
                    <a:pt x="93897" y="202449"/>
                  </a:lnTo>
                  <a:lnTo>
                    <a:pt x="96478" y="204382"/>
                  </a:lnTo>
                  <a:lnTo>
                    <a:pt x="98182" y="199616"/>
                  </a:lnTo>
                  <a:lnTo>
                    <a:pt x="103316" y="194403"/>
                  </a:lnTo>
                  <a:lnTo>
                    <a:pt x="106043" y="197454"/>
                  </a:lnTo>
                  <a:lnTo>
                    <a:pt x="111762" y="196704"/>
                  </a:lnTo>
                  <a:lnTo>
                    <a:pt x="116775" y="199456"/>
                  </a:lnTo>
                  <a:lnTo>
                    <a:pt x="118931" y="203815"/>
                  </a:lnTo>
                  <a:lnTo>
                    <a:pt x="120628" y="202092"/>
                  </a:lnTo>
                  <a:lnTo>
                    <a:pt x="122959" y="204700"/>
                  </a:lnTo>
                  <a:lnTo>
                    <a:pt x="127848" y="204059"/>
                  </a:lnTo>
                  <a:lnTo>
                    <a:pt x="129023" y="204704"/>
                  </a:lnTo>
                  <a:lnTo>
                    <a:pt x="133375" y="201828"/>
                  </a:lnTo>
                  <a:lnTo>
                    <a:pt x="139263" y="211278"/>
                  </a:lnTo>
                  <a:lnTo>
                    <a:pt x="141261" y="208744"/>
                  </a:lnTo>
                  <a:lnTo>
                    <a:pt x="144693" y="208296"/>
                  </a:lnTo>
                  <a:lnTo>
                    <a:pt x="145005" y="209310"/>
                  </a:lnTo>
                  <a:lnTo>
                    <a:pt x="146323" y="208439"/>
                  </a:lnTo>
                  <a:lnTo>
                    <a:pt x="148725" y="212293"/>
                  </a:lnTo>
                  <a:lnTo>
                    <a:pt x="149706" y="211048"/>
                  </a:lnTo>
                  <a:lnTo>
                    <a:pt x="149414" y="208814"/>
                  </a:lnTo>
                  <a:lnTo>
                    <a:pt x="152552" y="206133"/>
                  </a:lnTo>
                  <a:lnTo>
                    <a:pt x="155133" y="208066"/>
                  </a:lnTo>
                  <a:lnTo>
                    <a:pt x="157982" y="203152"/>
                  </a:lnTo>
                  <a:lnTo>
                    <a:pt x="160659" y="188038"/>
                  </a:lnTo>
                  <a:lnTo>
                    <a:pt x="163213" y="180889"/>
                  </a:lnTo>
                  <a:lnTo>
                    <a:pt x="158637" y="181487"/>
                  </a:lnTo>
                  <a:lnTo>
                    <a:pt x="158468" y="171290"/>
                  </a:lnTo>
                  <a:lnTo>
                    <a:pt x="156180" y="171590"/>
                  </a:lnTo>
                  <a:lnTo>
                    <a:pt x="159441" y="160942"/>
                  </a:lnTo>
                  <a:lnTo>
                    <a:pt x="150679" y="147324"/>
                  </a:lnTo>
                  <a:lnTo>
                    <a:pt x="149535" y="147474"/>
                  </a:lnTo>
                  <a:lnTo>
                    <a:pt x="146225" y="139958"/>
                  </a:lnTo>
                  <a:lnTo>
                    <a:pt x="154133" y="138923"/>
                  </a:lnTo>
                  <a:lnTo>
                    <a:pt x="152494" y="131838"/>
                  </a:lnTo>
                  <a:lnTo>
                    <a:pt x="145203" y="132141"/>
                  </a:lnTo>
                  <a:lnTo>
                    <a:pt x="139847" y="108993"/>
                  </a:lnTo>
                  <a:lnTo>
                    <a:pt x="145275" y="106013"/>
                  </a:lnTo>
                  <a:lnTo>
                    <a:pt x="136537" y="101477"/>
                  </a:lnTo>
                  <a:lnTo>
                    <a:pt x="147071" y="91427"/>
                  </a:lnTo>
                  <a:lnTo>
                    <a:pt x="144281" y="86387"/>
                  </a:lnTo>
                  <a:lnTo>
                    <a:pt x="144840" y="85529"/>
                  </a:lnTo>
                  <a:lnTo>
                    <a:pt x="139627" y="80631"/>
                  </a:lnTo>
                  <a:lnTo>
                    <a:pt x="137047" y="78698"/>
                  </a:lnTo>
                  <a:lnTo>
                    <a:pt x="139335" y="78399"/>
                  </a:lnTo>
                  <a:lnTo>
                    <a:pt x="138886" y="74969"/>
                  </a:lnTo>
                  <a:lnTo>
                    <a:pt x="136666" y="73793"/>
                  </a:lnTo>
                  <a:lnTo>
                    <a:pt x="132859" y="67495"/>
                  </a:lnTo>
                  <a:lnTo>
                    <a:pt x="133587" y="65457"/>
                  </a:lnTo>
                  <a:lnTo>
                    <a:pt x="133295" y="63220"/>
                  </a:lnTo>
                  <a:lnTo>
                    <a:pt x="130986" y="59049"/>
                  </a:lnTo>
                  <a:lnTo>
                    <a:pt x="135829" y="51602"/>
                  </a:lnTo>
                  <a:lnTo>
                    <a:pt x="122078" y="44316"/>
                  </a:lnTo>
                  <a:lnTo>
                    <a:pt x="117624" y="36949"/>
                  </a:lnTo>
                  <a:lnTo>
                    <a:pt x="118476" y="34565"/>
                  </a:lnTo>
                  <a:lnTo>
                    <a:pt x="117892" y="30100"/>
                  </a:lnTo>
                  <a:lnTo>
                    <a:pt x="121860" y="15953"/>
                  </a:lnTo>
                  <a:lnTo>
                    <a:pt x="119571" y="16253"/>
                  </a:lnTo>
                  <a:lnTo>
                    <a:pt x="120423" y="13870"/>
                  </a:lnTo>
                  <a:lnTo>
                    <a:pt x="121568" y="13720"/>
                  </a:lnTo>
                  <a:lnTo>
                    <a:pt x="123830" y="4340"/>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7" name="Sudwest-Fryslan">
              <a:extLst>
                <a:ext uri="{FF2B5EF4-FFF2-40B4-BE49-F238E27FC236}">
                  <a16:creationId xmlns:a16="http://schemas.microsoft.com/office/drawing/2014/main" id="{1A3E2224-8261-462E-BE8D-5ECF4F5BB0C7}"/>
                </a:ext>
              </a:extLst>
            </p:cNvPr>
            <p:cNvSpPr/>
            <p:nvPr/>
          </p:nvSpPr>
          <p:spPr>
            <a:xfrm>
              <a:off x="6000598" y="1828727"/>
              <a:ext cx="635358" cy="489047"/>
            </a:xfrm>
            <a:custGeom>
              <a:avLst/>
              <a:gdLst>
                <a:gd name="connsiteX0" fmla="*/ 199583 w 635665"/>
                <a:gd name="connsiteY0" fmla="*/ 459426 h 504468"/>
                <a:gd name="connsiteX1" fmla="*/ 201891 w 635665"/>
                <a:gd name="connsiteY1" fmla="*/ 462804 h 504468"/>
                <a:gd name="connsiteX2" fmla="*/ 202955 w 635665"/>
                <a:gd name="connsiteY2" fmla="*/ 463584 h 504468"/>
                <a:gd name="connsiteX3" fmla="*/ 201890 w 635665"/>
                <a:gd name="connsiteY3" fmla="*/ 463930 h 504468"/>
                <a:gd name="connsiteX4" fmla="*/ 242268 w 635665"/>
                <a:gd name="connsiteY4" fmla="*/ 396368 h 504468"/>
                <a:gd name="connsiteX5" fmla="*/ 243423 w 635665"/>
                <a:gd name="connsiteY5" fmla="*/ 397494 h 504468"/>
                <a:gd name="connsiteX6" fmla="*/ 241115 w 635665"/>
                <a:gd name="connsiteY6" fmla="*/ 399746 h 504468"/>
                <a:gd name="connsiteX7" fmla="*/ 244576 w 635665"/>
                <a:gd name="connsiteY7" fmla="*/ 387359 h 504468"/>
                <a:gd name="connsiteX8" fmla="*/ 242269 w 635665"/>
                <a:gd name="connsiteY8" fmla="*/ 391863 h 504468"/>
                <a:gd name="connsiteX9" fmla="*/ 242269 w 635665"/>
                <a:gd name="connsiteY9" fmla="*/ 389612 h 504468"/>
                <a:gd name="connsiteX10" fmla="*/ 245730 w 635665"/>
                <a:gd name="connsiteY10" fmla="*/ 341192 h 504468"/>
                <a:gd name="connsiteX11" fmla="*/ 245619 w 635665"/>
                <a:gd name="connsiteY11" fmla="*/ 341728 h 504468"/>
                <a:gd name="connsiteX12" fmla="*/ 244741 w 635665"/>
                <a:gd name="connsiteY12" fmla="*/ 341513 h 504468"/>
                <a:gd name="connsiteX13" fmla="*/ 243422 w 635665"/>
                <a:gd name="connsiteY13" fmla="*/ 341191 h 504468"/>
                <a:gd name="connsiteX14" fmla="*/ 244741 w 635665"/>
                <a:gd name="connsiteY14" fmla="*/ 341513 h 504468"/>
                <a:gd name="connsiteX15" fmla="*/ 242269 w 635665"/>
                <a:gd name="connsiteY15" fmla="*/ 342318 h 504468"/>
                <a:gd name="connsiteX16" fmla="*/ 248037 w 635665"/>
                <a:gd name="connsiteY16" fmla="*/ 325427 h 504468"/>
                <a:gd name="connsiteX17" fmla="*/ 249191 w 635665"/>
                <a:gd name="connsiteY17" fmla="*/ 326553 h 504468"/>
                <a:gd name="connsiteX18" fmla="*/ 248038 w 635665"/>
                <a:gd name="connsiteY18" fmla="*/ 328804 h 504468"/>
                <a:gd name="connsiteX19" fmla="*/ 248038 w 635665"/>
                <a:gd name="connsiteY19" fmla="*/ 331057 h 504468"/>
                <a:gd name="connsiteX20" fmla="*/ 246883 w 635665"/>
                <a:gd name="connsiteY20" fmla="*/ 328805 h 504468"/>
                <a:gd name="connsiteX21" fmla="*/ 239961 w 635665"/>
                <a:gd name="connsiteY21" fmla="*/ 246603 h 504468"/>
                <a:gd name="connsiteX22" fmla="*/ 239577 w 635665"/>
                <a:gd name="connsiteY22" fmla="*/ 247729 h 504468"/>
                <a:gd name="connsiteX23" fmla="*/ 238807 w 635665"/>
                <a:gd name="connsiteY23" fmla="*/ 248856 h 504468"/>
                <a:gd name="connsiteX24" fmla="*/ 238719 w 635665"/>
                <a:gd name="connsiteY24" fmla="*/ 250241 h 504468"/>
                <a:gd name="connsiteX25" fmla="*/ 237653 w 635665"/>
                <a:gd name="connsiteY25" fmla="*/ 253360 h 504468"/>
                <a:gd name="connsiteX26" fmla="*/ 236501 w 635665"/>
                <a:gd name="connsiteY26" fmla="*/ 248856 h 504468"/>
                <a:gd name="connsiteX27" fmla="*/ 221502 w 635665"/>
                <a:gd name="connsiteY27" fmla="*/ 176790 h 504468"/>
                <a:gd name="connsiteX28" fmla="*/ 222561 w 635665"/>
                <a:gd name="connsiteY28" fmla="*/ 179885 h 504468"/>
                <a:gd name="connsiteX29" fmla="*/ 221887 w 635665"/>
                <a:gd name="connsiteY29" fmla="*/ 180167 h 504468"/>
                <a:gd name="connsiteX30" fmla="*/ 220349 w 635665"/>
                <a:gd name="connsiteY30" fmla="*/ 180167 h 504468"/>
                <a:gd name="connsiteX31" fmla="*/ 220349 w 635665"/>
                <a:gd name="connsiteY31" fmla="*/ 179604 h 504468"/>
                <a:gd name="connsiteX32" fmla="*/ 221502 w 635665"/>
                <a:gd name="connsiteY32" fmla="*/ 179041 h 504468"/>
                <a:gd name="connsiteX33" fmla="*/ 220733 w 635665"/>
                <a:gd name="connsiteY33" fmla="*/ 177539 h 504468"/>
                <a:gd name="connsiteX34" fmla="*/ 223810 w 635665"/>
                <a:gd name="connsiteY34" fmla="*/ 175663 h 504468"/>
                <a:gd name="connsiteX35" fmla="*/ 224964 w 635665"/>
                <a:gd name="connsiteY35" fmla="*/ 175663 h 504468"/>
                <a:gd name="connsiteX36" fmla="*/ 226117 w 635665"/>
                <a:gd name="connsiteY36" fmla="*/ 177915 h 504468"/>
                <a:gd name="connsiteX37" fmla="*/ 223810 w 635665"/>
                <a:gd name="connsiteY37" fmla="*/ 179041 h 504468"/>
                <a:gd name="connsiteX38" fmla="*/ 224963 w 635665"/>
                <a:gd name="connsiteY38" fmla="*/ 176790 h 504468"/>
                <a:gd name="connsiteX39" fmla="*/ 222657 w 635665"/>
                <a:gd name="connsiteY39" fmla="*/ 179041 h 504468"/>
                <a:gd name="connsiteX40" fmla="*/ 222657 w 635665"/>
                <a:gd name="connsiteY40" fmla="*/ 176789 h 504468"/>
                <a:gd name="connsiteX41" fmla="*/ 230732 w 635665"/>
                <a:gd name="connsiteY41" fmla="*/ 174537 h 504468"/>
                <a:gd name="connsiteX42" fmla="*/ 229579 w 635665"/>
                <a:gd name="connsiteY42" fmla="*/ 177915 h 504468"/>
                <a:gd name="connsiteX43" fmla="*/ 229578 w 635665"/>
                <a:gd name="connsiteY43" fmla="*/ 175664 h 504468"/>
                <a:gd name="connsiteX44" fmla="*/ 227270 w 635665"/>
                <a:gd name="connsiteY44" fmla="*/ 174537 h 504468"/>
                <a:gd name="connsiteX45" fmla="*/ 227271 w 635665"/>
                <a:gd name="connsiteY45" fmla="*/ 177914 h 504468"/>
                <a:gd name="connsiteX46" fmla="*/ 226117 w 635665"/>
                <a:gd name="connsiteY46" fmla="*/ 175664 h 504468"/>
                <a:gd name="connsiteX47" fmla="*/ 224964 w 635665"/>
                <a:gd name="connsiteY47" fmla="*/ 173411 h 504468"/>
                <a:gd name="connsiteX48" fmla="*/ 220350 w 635665"/>
                <a:gd name="connsiteY48" fmla="*/ 176789 h 504468"/>
                <a:gd name="connsiteX49" fmla="*/ 220733 w 635665"/>
                <a:gd name="connsiteY49" fmla="*/ 177539 h 504468"/>
                <a:gd name="connsiteX50" fmla="*/ 220350 w 635665"/>
                <a:gd name="connsiteY50" fmla="*/ 177915 h 504468"/>
                <a:gd name="connsiteX51" fmla="*/ 220349 w 635665"/>
                <a:gd name="connsiteY51" fmla="*/ 179604 h 504468"/>
                <a:gd name="connsiteX52" fmla="*/ 216888 w 635665"/>
                <a:gd name="connsiteY52" fmla="*/ 181293 h 504468"/>
                <a:gd name="connsiteX53" fmla="*/ 219196 w 635665"/>
                <a:gd name="connsiteY53" fmla="*/ 181293 h 504468"/>
                <a:gd name="connsiteX54" fmla="*/ 221887 w 635665"/>
                <a:gd name="connsiteY54" fmla="*/ 180167 h 504468"/>
                <a:gd name="connsiteX55" fmla="*/ 222657 w 635665"/>
                <a:gd name="connsiteY55" fmla="*/ 180167 h 504468"/>
                <a:gd name="connsiteX56" fmla="*/ 222561 w 635665"/>
                <a:gd name="connsiteY56" fmla="*/ 179885 h 504468"/>
                <a:gd name="connsiteX57" fmla="*/ 227271 w 635665"/>
                <a:gd name="connsiteY57" fmla="*/ 177914 h 504468"/>
                <a:gd name="connsiteX58" fmla="*/ 230732 w 635665"/>
                <a:gd name="connsiteY58" fmla="*/ 179041 h 504468"/>
                <a:gd name="connsiteX59" fmla="*/ 230732 w 635665"/>
                <a:gd name="connsiteY59" fmla="*/ 174537 h 504468"/>
                <a:gd name="connsiteX60" fmla="*/ 228426 w 635665"/>
                <a:gd name="connsiteY60" fmla="*/ 174537 h 504468"/>
                <a:gd name="connsiteX61" fmla="*/ 228426 w 635665"/>
                <a:gd name="connsiteY61" fmla="*/ 177915 h 504468"/>
                <a:gd name="connsiteX62" fmla="*/ 227270 w 635665"/>
                <a:gd name="connsiteY62" fmla="*/ 174537 h 504468"/>
                <a:gd name="connsiteX63" fmla="*/ 166126 w 635665"/>
                <a:gd name="connsiteY63" fmla="*/ 132873 h 504468"/>
                <a:gd name="connsiteX64" fmla="*/ 167280 w 635665"/>
                <a:gd name="connsiteY64" fmla="*/ 132873 h 504468"/>
                <a:gd name="connsiteX65" fmla="*/ 168435 w 635665"/>
                <a:gd name="connsiteY65" fmla="*/ 133999 h 504468"/>
                <a:gd name="connsiteX66" fmla="*/ 203044 w 635665"/>
                <a:gd name="connsiteY66" fmla="*/ 128369 h 504468"/>
                <a:gd name="connsiteX67" fmla="*/ 207658 w 635665"/>
                <a:gd name="connsiteY67" fmla="*/ 128369 h 504468"/>
                <a:gd name="connsiteX68" fmla="*/ 212274 w 635665"/>
                <a:gd name="connsiteY68" fmla="*/ 135126 h 504468"/>
                <a:gd name="connsiteX69" fmla="*/ 216889 w 635665"/>
                <a:gd name="connsiteY69" fmla="*/ 136252 h 504468"/>
                <a:gd name="connsiteX70" fmla="*/ 220349 w 635665"/>
                <a:gd name="connsiteY70" fmla="*/ 134000 h 504468"/>
                <a:gd name="connsiteX71" fmla="*/ 220349 w 635665"/>
                <a:gd name="connsiteY71" fmla="*/ 136252 h 504468"/>
                <a:gd name="connsiteX72" fmla="*/ 226118 w 635665"/>
                <a:gd name="connsiteY72" fmla="*/ 140756 h 504468"/>
                <a:gd name="connsiteX73" fmla="*/ 224964 w 635665"/>
                <a:gd name="connsiteY73" fmla="*/ 141882 h 504468"/>
                <a:gd name="connsiteX74" fmla="*/ 229578 w 635665"/>
                <a:gd name="connsiteY74" fmla="*/ 154268 h 504468"/>
                <a:gd name="connsiteX75" fmla="*/ 234193 w 635665"/>
                <a:gd name="connsiteY75" fmla="*/ 158772 h 504468"/>
                <a:gd name="connsiteX76" fmla="*/ 235347 w 635665"/>
                <a:gd name="connsiteY76" fmla="*/ 162151 h 504468"/>
                <a:gd name="connsiteX77" fmla="*/ 220349 w 635665"/>
                <a:gd name="connsiteY77" fmla="*/ 162150 h 504468"/>
                <a:gd name="connsiteX78" fmla="*/ 218043 w 635665"/>
                <a:gd name="connsiteY78" fmla="*/ 159898 h 504468"/>
                <a:gd name="connsiteX79" fmla="*/ 214580 w 635665"/>
                <a:gd name="connsiteY79" fmla="*/ 161025 h 504468"/>
                <a:gd name="connsiteX80" fmla="*/ 214581 w 635665"/>
                <a:gd name="connsiteY80" fmla="*/ 159898 h 504468"/>
                <a:gd name="connsiteX81" fmla="*/ 208812 w 635665"/>
                <a:gd name="connsiteY81" fmla="*/ 152016 h 504468"/>
                <a:gd name="connsiteX82" fmla="*/ 203043 w 635665"/>
                <a:gd name="connsiteY82" fmla="*/ 131747 h 504468"/>
                <a:gd name="connsiteX83" fmla="*/ 161513 w 635665"/>
                <a:gd name="connsiteY83" fmla="*/ 123865 h 504468"/>
                <a:gd name="connsiteX84" fmla="*/ 164974 w 635665"/>
                <a:gd name="connsiteY84" fmla="*/ 135126 h 504468"/>
                <a:gd name="connsiteX85" fmla="*/ 161512 w 635665"/>
                <a:gd name="connsiteY85" fmla="*/ 135126 h 504468"/>
                <a:gd name="connsiteX86" fmla="*/ 133824 w 635665"/>
                <a:gd name="connsiteY86" fmla="*/ 144133 h 504468"/>
                <a:gd name="connsiteX87" fmla="*/ 56530 w 635665"/>
                <a:gd name="connsiteY87" fmla="*/ 208318 h 504468"/>
                <a:gd name="connsiteX88" fmla="*/ 49609 w 635665"/>
                <a:gd name="connsiteY88" fmla="*/ 215074 h 504468"/>
                <a:gd name="connsiteX89" fmla="*/ 44993 w 635665"/>
                <a:gd name="connsiteY89" fmla="*/ 221831 h 504468"/>
                <a:gd name="connsiteX90" fmla="*/ 40378 w 635665"/>
                <a:gd name="connsiteY90" fmla="*/ 222957 h 504468"/>
                <a:gd name="connsiteX91" fmla="*/ 42686 w 635665"/>
                <a:gd name="connsiteY91" fmla="*/ 225209 h 504468"/>
                <a:gd name="connsiteX92" fmla="*/ 47301 w 635665"/>
                <a:gd name="connsiteY92" fmla="*/ 221831 h 504468"/>
                <a:gd name="connsiteX93" fmla="*/ 43839 w 635665"/>
                <a:gd name="connsiteY93" fmla="*/ 226335 h 504468"/>
                <a:gd name="connsiteX94" fmla="*/ 38071 w 635665"/>
                <a:gd name="connsiteY94" fmla="*/ 225209 h 504468"/>
                <a:gd name="connsiteX95" fmla="*/ 1155 w 635665"/>
                <a:gd name="connsiteY95" fmla="*/ 254486 h 504468"/>
                <a:gd name="connsiteX96" fmla="*/ 0 w 635665"/>
                <a:gd name="connsiteY96" fmla="*/ 253360 h 504468"/>
                <a:gd name="connsiteX97" fmla="*/ 36917 w 635665"/>
                <a:gd name="connsiteY97" fmla="*/ 222957 h 504468"/>
                <a:gd name="connsiteX98" fmla="*/ 38070 w 635665"/>
                <a:gd name="connsiteY98" fmla="*/ 218452 h 504468"/>
                <a:gd name="connsiteX99" fmla="*/ 40379 w 635665"/>
                <a:gd name="connsiteY99" fmla="*/ 217326 h 504468"/>
                <a:gd name="connsiteX100" fmla="*/ 38070 w 635665"/>
                <a:gd name="connsiteY100" fmla="*/ 219578 h 504468"/>
                <a:gd name="connsiteX101" fmla="*/ 39226 w 635665"/>
                <a:gd name="connsiteY101" fmla="*/ 220704 h 504468"/>
                <a:gd name="connsiteX102" fmla="*/ 40379 w 635665"/>
                <a:gd name="connsiteY102" fmla="*/ 218453 h 504468"/>
                <a:gd name="connsiteX103" fmla="*/ 42686 w 635665"/>
                <a:gd name="connsiteY103" fmla="*/ 218453 h 504468"/>
                <a:gd name="connsiteX104" fmla="*/ 130364 w 635665"/>
                <a:gd name="connsiteY104" fmla="*/ 144133 h 504468"/>
                <a:gd name="connsiteX105" fmla="*/ 129210 w 635665"/>
                <a:gd name="connsiteY105" fmla="*/ 141882 h 504468"/>
                <a:gd name="connsiteX106" fmla="*/ 131518 w 635665"/>
                <a:gd name="connsiteY106" fmla="*/ 144134 h 504468"/>
                <a:gd name="connsiteX107" fmla="*/ 138439 w 635665"/>
                <a:gd name="connsiteY107" fmla="*/ 139629 h 504468"/>
                <a:gd name="connsiteX108" fmla="*/ 161512 w 635665"/>
                <a:gd name="connsiteY108" fmla="*/ 134000 h 504468"/>
                <a:gd name="connsiteX109" fmla="*/ 162666 w 635665"/>
                <a:gd name="connsiteY109" fmla="*/ 130621 h 504468"/>
                <a:gd name="connsiteX110" fmla="*/ 170742 w 635665"/>
                <a:gd name="connsiteY110" fmla="*/ 121613 h 504468"/>
                <a:gd name="connsiteX111" fmla="*/ 173049 w 635665"/>
                <a:gd name="connsiteY111" fmla="*/ 122739 h 504468"/>
                <a:gd name="connsiteX112" fmla="*/ 170742 w 635665"/>
                <a:gd name="connsiteY112" fmla="*/ 126117 h 504468"/>
                <a:gd name="connsiteX113" fmla="*/ 174202 w 635665"/>
                <a:gd name="connsiteY113" fmla="*/ 138503 h 504468"/>
                <a:gd name="connsiteX114" fmla="*/ 175357 w 635665"/>
                <a:gd name="connsiteY114" fmla="*/ 140756 h 504468"/>
                <a:gd name="connsiteX115" fmla="*/ 175357 w 635665"/>
                <a:gd name="connsiteY115" fmla="*/ 146386 h 504468"/>
                <a:gd name="connsiteX116" fmla="*/ 178818 w 635665"/>
                <a:gd name="connsiteY116" fmla="*/ 148638 h 504468"/>
                <a:gd name="connsiteX117" fmla="*/ 175357 w 635665"/>
                <a:gd name="connsiteY117" fmla="*/ 147511 h 504468"/>
                <a:gd name="connsiteX118" fmla="*/ 171896 w 635665"/>
                <a:gd name="connsiteY118" fmla="*/ 133999 h 504468"/>
                <a:gd name="connsiteX119" fmla="*/ 169589 w 635665"/>
                <a:gd name="connsiteY119" fmla="*/ 131747 h 504468"/>
                <a:gd name="connsiteX120" fmla="*/ 388745 w 635665"/>
                <a:gd name="connsiteY120" fmla="*/ 32729 h 504468"/>
                <a:gd name="connsiteX121" fmla="*/ 387629 w 635665"/>
                <a:gd name="connsiteY121" fmla="*/ 34908 h 504468"/>
                <a:gd name="connsiteX122" fmla="*/ 389937 w 635665"/>
                <a:gd name="connsiteY122" fmla="*/ 38285 h 504468"/>
                <a:gd name="connsiteX123" fmla="*/ 393398 w 635665"/>
                <a:gd name="connsiteY123" fmla="*/ 37159 h 504468"/>
                <a:gd name="connsiteX124" fmla="*/ 393753 w 635665"/>
                <a:gd name="connsiteY124" fmla="*/ 37506 h 504468"/>
                <a:gd name="connsiteX125" fmla="*/ 395706 w 635665"/>
                <a:gd name="connsiteY125" fmla="*/ 35601 h 504468"/>
                <a:gd name="connsiteX126" fmla="*/ 393398 w 635665"/>
                <a:gd name="connsiteY126" fmla="*/ 33349 h 504468"/>
                <a:gd name="connsiteX127" fmla="*/ 389938 w 635665"/>
                <a:gd name="connsiteY127" fmla="*/ 34474 h 504468"/>
                <a:gd name="connsiteX128" fmla="*/ 261881 w 635665"/>
                <a:gd name="connsiteY128" fmla="*/ 0 h 504468"/>
                <a:gd name="connsiteX129" fmla="*/ 275725 w 635665"/>
                <a:gd name="connsiteY129" fmla="*/ 0 h 504468"/>
                <a:gd name="connsiteX130" fmla="*/ 275725 w 635665"/>
                <a:gd name="connsiteY130" fmla="*/ 1126 h 504468"/>
                <a:gd name="connsiteX131" fmla="*/ 283801 w 635665"/>
                <a:gd name="connsiteY131" fmla="*/ 6756 h 504468"/>
                <a:gd name="connsiteX132" fmla="*/ 284955 w 635665"/>
                <a:gd name="connsiteY132" fmla="*/ 4504 h 504468"/>
                <a:gd name="connsiteX133" fmla="*/ 291877 w 635665"/>
                <a:gd name="connsiteY133" fmla="*/ 6756 h 504468"/>
                <a:gd name="connsiteX134" fmla="*/ 295337 w 635665"/>
                <a:gd name="connsiteY134" fmla="*/ 10134 h 504468"/>
                <a:gd name="connsiteX135" fmla="*/ 303412 w 635665"/>
                <a:gd name="connsiteY135" fmla="*/ 10134 h 504468"/>
                <a:gd name="connsiteX136" fmla="*/ 302258 w 635665"/>
                <a:gd name="connsiteY136" fmla="*/ 14638 h 504468"/>
                <a:gd name="connsiteX137" fmla="*/ 309181 w 635665"/>
                <a:gd name="connsiteY137" fmla="*/ 16891 h 504468"/>
                <a:gd name="connsiteX138" fmla="*/ 312642 w 635665"/>
                <a:gd name="connsiteY138" fmla="*/ 12387 h 504468"/>
                <a:gd name="connsiteX139" fmla="*/ 316102 w 635665"/>
                <a:gd name="connsiteY139" fmla="*/ 12386 h 504468"/>
                <a:gd name="connsiteX140" fmla="*/ 319564 w 635665"/>
                <a:gd name="connsiteY140" fmla="*/ 13512 h 504468"/>
                <a:gd name="connsiteX141" fmla="*/ 318411 w 635665"/>
                <a:gd name="connsiteY141" fmla="*/ 18016 h 504468"/>
                <a:gd name="connsiteX142" fmla="*/ 328792 w 635665"/>
                <a:gd name="connsiteY142" fmla="*/ 21394 h 504468"/>
                <a:gd name="connsiteX143" fmla="*/ 321872 w 635665"/>
                <a:gd name="connsiteY143" fmla="*/ 24772 h 504468"/>
                <a:gd name="connsiteX144" fmla="*/ 325333 w 635665"/>
                <a:gd name="connsiteY144" fmla="*/ 28152 h 504468"/>
                <a:gd name="connsiteX145" fmla="*/ 329947 w 635665"/>
                <a:gd name="connsiteY145" fmla="*/ 25899 h 504468"/>
                <a:gd name="connsiteX146" fmla="*/ 333407 w 635665"/>
                <a:gd name="connsiteY146" fmla="*/ 19143 h 504468"/>
                <a:gd name="connsiteX147" fmla="*/ 342637 w 635665"/>
                <a:gd name="connsiteY147" fmla="*/ 24772 h 504468"/>
                <a:gd name="connsiteX148" fmla="*/ 343791 w 635665"/>
                <a:gd name="connsiteY148" fmla="*/ 25899 h 504468"/>
                <a:gd name="connsiteX149" fmla="*/ 342637 w 635665"/>
                <a:gd name="connsiteY149" fmla="*/ 29278 h 504468"/>
                <a:gd name="connsiteX150" fmla="*/ 346098 w 635665"/>
                <a:gd name="connsiteY150" fmla="*/ 31529 h 504468"/>
                <a:gd name="connsiteX151" fmla="*/ 354173 w 635665"/>
                <a:gd name="connsiteY151" fmla="*/ 24773 h 504468"/>
                <a:gd name="connsiteX152" fmla="*/ 351867 w 635665"/>
                <a:gd name="connsiteY152" fmla="*/ 22521 h 504468"/>
                <a:gd name="connsiteX153" fmla="*/ 354174 w 635665"/>
                <a:gd name="connsiteY153" fmla="*/ 19142 h 504468"/>
                <a:gd name="connsiteX154" fmla="*/ 351866 w 635665"/>
                <a:gd name="connsiteY154" fmla="*/ 14638 h 504468"/>
                <a:gd name="connsiteX155" fmla="*/ 353019 w 635665"/>
                <a:gd name="connsiteY155" fmla="*/ 13512 h 504468"/>
                <a:gd name="connsiteX156" fmla="*/ 362250 w 635665"/>
                <a:gd name="connsiteY156" fmla="*/ 12387 h 504468"/>
                <a:gd name="connsiteX157" fmla="*/ 366864 w 635665"/>
                <a:gd name="connsiteY157" fmla="*/ 13513 h 504468"/>
                <a:gd name="connsiteX158" fmla="*/ 372633 w 635665"/>
                <a:gd name="connsiteY158" fmla="*/ 9008 h 504468"/>
                <a:gd name="connsiteX159" fmla="*/ 374939 w 635665"/>
                <a:gd name="connsiteY159" fmla="*/ 11260 h 504468"/>
                <a:gd name="connsiteX160" fmla="*/ 379553 w 635665"/>
                <a:gd name="connsiteY160" fmla="*/ 15764 h 504468"/>
                <a:gd name="connsiteX161" fmla="*/ 379554 w 635665"/>
                <a:gd name="connsiteY161" fmla="*/ 19143 h 504468"/>
                <a:gd name="connsiteX162" fmla="*/ 389779 w 635665"/>
                <a:gd name="connsiteY162" fmla="*/ 26905 h 504468"/>
                <a:gd name="connsiteX163" fmla="*/ 389938 w 635665"/>
                <a:gd name="connsiteY163" fmla="*/ 26593 h 504468"/>
                <a:gd name="connsiteX164" fmla="*/ 389937 w 635665"/>
                <a:gd name="connsiteY164" fmla="*/ 23215 h 504468"/>
                <a:gd name="connsiteX165" fmla="*/ 393398 w 635665"/>
                <a:gd name="connsiteY165" fmla="*/ 28845 h 504468"/>
                <a:gd name="connsiteX166" fmla="*/ 396860 w 635665"/>
                <a:gd name="connsiteY166" fmla="*/ 29971 h 504468"/>
                <a:gd name="connsiteX167" fmla="*/ 398013 w 635665"/>
                <a:gd name="connsiteY167" fmla="*/ 27719 h 504468"/>
                <a:gd name="connsiteX168" fmla="*/ 402628 w 635665"/>
                <a:gd name="connsiteY168" fmla="*/ 27719 h 504468"/>
                <a:gd name="connsiteX169" fmla="*/ 406089 w 635665"/>
                <a:gd name="connsiteY169" fmla="*/ 33349 h 504468"/>
                <a:gd name="connsiteX170" fmla="*/ 404935 w 635665"/>
                <a:gd name="connsiteY170" fmla="*/ 34474 h 504468"/>
                <a:gd name="connsiteX171" fmla="*/ 408396 w 635665"/>
                <a:gd name="connsiteY171" fmla="*/ 35601 h 504468"/>
                <a:gd name="connsiteX172" fmla="*/ 415317 w 635665"/>
                <a:gd name="connsiteY172" fmla="*/ 34475 h 504468"/>
                <a:gd name="connsiteX173" fmla="*/ 417625 w 635665"/>
                <a:gd name="connsiteY173" fmla="*/ 27719 h 504468"/>
                <a:gd name="connsiteX174" fmla="*/ 425701 w 635665"/>
                <a:gd name="connsiteY174" fmla="*/ 29971 h 504468"/>
                <a:gd name="connsiteX175" fmla="*/ 426855 w 635665"/>
                <a:gd name="connsiteY175" fmla="*/ 28845 h 504468"/>
                <a:gd name="connsiteX176" fmla="*/ 425701 w 635665"/>
                <a:gd name="connsiteY176" fmla="*/ 31097 h 504468"/>
                <a:gd name="connsiteX177" fmla="*/ 426600 w 635665"/>
                <a:gd name="connsiteY177" fmla="*/ 31754 h 504468"/>
                <a:gd name="connsiteX178" fmla="*/ 422740 w 635665"/>
                <a:gd name="connsiteY178" fmla="*/ 31249 h 504468"/>
                <a:gd name="connsiteX179" fmla="*/ 421339 w 635665"/>
                <a:gd name="connsiteY179" fmla="*/ 41959 h 504468"/>
                <a:gd name="connsiteX180" fmla="*/ 587607 w 635665"/>
                <a:gd name="connsiteY180" fmla="*/ 63708 h 504468"/>
                <a:gd name="connsiteX181" fmla="*/ 592712 w 635665"/>
                <a:gd name="connsiteY181" fmla="*/ 63708 h 504468"/>
                <a:gd name="connsiteX182" fmla="*/ 592712 w 635665"/>
                <a:gd name="connsiteY182" fmla="*/ 64376 h 504468"/>
                <a:gd name="connsiteX183" fmla="*/ 595265 w 635665"/>
                <a:gd name="connsiteY183" fmla="*/ 64710 h 504468"/>
                <a:gd name="connsiteX184" fmla="*/ 592712 w 635665"/>
                <a:gd name="connsiteY184" fmla="*/ 66786 h 504468"/>
                <a:gd name="connsiteX185" fmla="*/ 592712 w 635665"/>
                <a:gd name="connsiteY185" fmla="*/ 69547 h 504468"/>
                <a:gd name="connsiteX186" fmla="*/ 602210 w 635665"/>
                <a:gd name="connsiteY186" fmla="*/ 61932 h 504468"/>
                <a:gd name="connsiteX187" fmla="*/ 603363 w 635665"/>
                <a:gd name="connsiteY187" fmla="*/ 66437 h 504468"/>
                <a:gd name="connsiteX188" fmla="*/ 607977 w 635665"/>
                <a:gd name="connsiteY188" fmla="*/ 66436 h 504468"/>
                <a:gd name="connsiteX189" fmla="*/ 609132 w 635665"/>
                <a:gd name="connsiteY189" fmla="*/ 68689 h 504468"/>
                <a:gd name="connsiteX190" fmla="*/ 606824 w 635665"/>
                <a:gd name="connsiteY190" fmla="*/ 69815 h 504468"/>
                <a:gd name="connsiteX191" fmla="*/ 609132 w 635665"/>
                <a:gd name="connsiteY191" fmla="*/ 73193 h 504468"/>
                <a:gd name="connsiteX192" fmla="*/ 610286 w 635665"/>
                <a:gd name="connsiteY192" fmla="*/ 72067 h 504468"/>
                <a:gd name="connsiteX193" fmla="*/ 617208 w 635665"/>
                <a:gd name="connsiteY193" fmla="*/ 77698 h 504468"/>
                <a:gd name="connsiteX194" fmla="*/ 613747 w 635665"/>
                <a:gd name="connsiteY194" fmla="*/ 79949 h 504468"/>
                <a:gd name="connsiteX195" fmla="*/ 616054 w 635665"/>
                <a:gd name="connsiteY195" fmla="*/ 82201 h 504468"/>
                <a:gd name="connsiteX196" fmla="*/ 624129 w 635665"/>
                <a:gd name="connsiteY196" fmla="*/ 82201 h 504468"/>
                <a:gd name="connsiteX197" fmla="*/ 634513 w 635665"/>
                <a:gd name="connsiteY197" fmla="*/ 90084 h 504468"/>
                <a:gd name="connsiteX198" fmla="*/ 635665 w 635665"/>
                <a:gd name="connsiteY198" fmla="*/ 93462 h 504468"/>
                <a:gd name="connsiteX199" fmla="*/ 632205 w 635665"/>
                <a:gd name="connsiteY199" fmla="*/ 93462 h 504468"/>
                <a:gd name="connsiteX200" fmla="*/ 618361 w 635665"/>
                <a:gd name="connsiteY200" fmla="*/ 105848 h 504468"/>
                <a:gd name="connsiteX201" fmla="*/ 618361 w 635665"/>
                <a:gd name="connsiteY201" fmla="*/ 108100 h 504468"/>
                <a:gd name="connsiteX202" fmla="*/ 621821 w 635665"/>
                <a:gd name="connsiteY202" fmla="*/ 110353 h 504468"/>
                <a:gd name="connsiteX203" fmla="*/ 619515 w 635665"/>
                <a:gd name="connsiteY203" fmla="*/ 118235 h 504468"/>
                <a:gd name="connsiteX204" fmla="*/ 611438 w 635665"/>
                <a:gd name="connsiteY204" fmla="*/ 120487 h 504468"/>
                <a:gd name="connsiteX205" fmla="*/ 620669 w 635665"/>
                <a:gd name="connsiteY205" fmla="*/ 130621 h 504468"/>
                <a:gd name="connsiteX206" fmla="*/ 622976 w 635665"/>
                <a:gd name="connsiteY206" fmla="*/ 143008 h 504468"/>
                <a:gd name="connsiteX207" fmla="*/ 612593 w 635665"/>
                <a:gd name="connsiteY207" fmla="*/ 152016 h 504468"/>
                <a:gd name="connsiteX208" fmla="*/ 609132 w 635665"/>
                <a:gd name="connsiteY208" fmla="*/ 153141 h 504468"/>
                <a:gd name="connsiteX209" fmla="*/ 613747 w 635665"/>
                <a:gd name="connsiteY209" fmla="*/ 170033 h 504468"/>
                <a:gd name="connsiteX210" fmla="*/ 618362 w 635665"/>
                <a:gd name="connsiteY210" fmla="*/ 174537 h 504468"/>
                <a:gd name="connsiteX211" fmla="*/ 602210 w 635665"/>
                <a:gd name="connsiteY211" fmla="*/ 175663 h 504468"/>
                <a:gd name="connsiteX212" fmla="*/ 582597 w 635665"/>
                <a:gd name="connsiteY212" fmla="*/ 203814 h 504468"/>
                <a:gd name="connsiteX213" fmla="*/ 580291 w 635665"/>
                <a:gd name="connsiteY213" fmla="*/ 227460 h 504468"/>
                <a:gd name="connsiteX214" fmla="*/ 595288 w 635665"/>
                <a:gd name="connsiteY214" fmla="*/ 240974 h 504468"/>
                <a:gd name="connsiteX215" fmla="*/ 589520 w 635665"/>
                <a:gd name="connsiteY215" fmla="*/ 244351 h 504468"/>
                <a:gd name="connsiteX216" fmla="*/ 589520 w 635665"/>
                <a:gd name="connsiteY216" fmla="*/ 248856 h 504468"/>
                <a:gd name="connsiteX217" fmla="*/ 583752 w 635665"/>
                <a:gd name="connsiteY217" fmla="*/ 251108 h 504468"/>
                <a:gd name="connsiteX218" fmla="*/ 576828 w 635665"/>
                <a:gd name="connsiteY218" fmla="*/ 251108 h 504468"/>
                <a:gd name="connsiteX219" fmla="*/ 562985 w 635665"/>
                <a:gd name="connsiteY219" fmla="*/ 260116 h 504468"/>
                <a:gd name="connsiteX220" fmla="*/ 559525 w 635665"/>
                <a:gd name="connsiteY220" fmla="*/ 270251 h 504468"/>
                <a:gd name="connsiteX221" fmla="*/ 553757 w 635665"/>
                <a:gd name="connsiteY221" fmla="*/ 275881 h 504468"/>
                <a:gd name="connsiteX222" fmla="*/ 552603 w 635665"/>
                <a:gd name="connsiteY222" fmla="*/ 279259 h 504468"/>
                <a:gd name="connsiteX223" fmla="*/ 545680 w 635665"/>
                <a:gd name="connsiteY223" fmla="*/ 277006 h 504468"/>
                <a:gd name="connsiteX224" fmla="*/ 537605 w 635665"/>
                <a:gd name="connsiteY224" fmla="*/ 272503 h 504468"/>
                <a:gd name="connsiteX225" fmla="*/ 534144 w 635665"/>
                <a:gd name="connsiteY225" fmla="*/ 277007 h 504468"/>
                <a:gd name="connsiteX226" fmla="*/ 532991 w 635665"/>
                <a:gd name="connsiteY226" fmla="*/ 284889 h 504468"/>
                <a:gd name="connsiteX227" fmla="*/ 536451 w 635665"/>
                <a:gd name="connsiteY227" fmla="*/ 296150 h 504468"/>
                <a:gd name="connsiteX228" fmla="*/ 536451 w 635665"/>
                <a:gd name="connsiteY228" fmla="*/ 310788 h 504468"/>
                <a:gd name="connsiteX229" fmla="*/ 534143 w 635665"/>
                <a:gd name="connsiteY229" fmla="*/ 356956 h 504468"/>
                <a:gd name="connsiteX230" fmla="*/ 535298 w 635665"/>
                <a:gd name="connsiteY230" fmla="*/ 363712 h 504468"/>
                <a:gd name="connsiteX231" fmla="*/ 529529 w 635665"/>
                <a:gd name="connsiteY231" fmla="*/ 362586 h 504468"/>
                <a:gd name="connsiteX232" fmla="*/ 524914 w 635665"/>
                <a:gd name="connsiteY232" fmla="*/ 363712 h 504468"/>
                <a:gd name="connsiteX233" fmla="*/ 487998 w 635665"/>
                <a:gd name="connsiteY233" fmla="*/ 359208 h 504468"/>
                <a:gd name="connsiteX234" fmla="*/ 485690 w 635665"/>
                <a:gd name="connsiteY234" fmla="*/ 381729 h 504468"/>
                <a:gd name="connsiteX235" fmla="*/ 438390 w 635665"/>
                <a:gd name="connsiteY235" fmla="*/ 392989 h 504468"/>
                <a:gd name="connsiteX236" fmla="*/ 424546 w 635665"/>
                <a:gd name="connsiteY236" fmla="*/ 368216 h 504468"/>
                <a:gd name="connsiteX237" fmla="*/ 424547 w 635665"/>
                <a:gd name="connsiteY237" fmla="*/ 362586 h 504468"/>
                <a:gd name="connsiteX238" fmla="*/ 421085 w 635665"/>
                <a:gd name="connsiteY238" fmla="*/ 360334 h 504468"/>
                <a:gd name="connsiteX239" fmla="*/ 411856 w 635665"/>
                <a:gd name="connsiteY239" fmla="*/ 343443 h 504468"/>
                <a:gd name="connsiteX240" fmla="*/ 408396 w 635665"/>
                <a:gd name="connsiteY240" fmla="*/ 340066 h 504468"/>
                <a:gd name="connsiteX241" fmla="*/ 354174 w 635665"/>
                <a:gd name="connsiteY241" fmla="*/ 373847 h 504468"/>
                <a:gd name="connsiteX242" fmla="*/ 318411 w 635665"/>
                <a:gd name="connsiteY242" fmla="*/ 414385 h 504468"/>
                <a:gd name="connsiteX243" fmla="*/ 335715 w 635665"/>
                <a:gd name="connsiteY243" fmla="*/ 435779 h 504468"/>
                <a:gd name="connsiteX244" fmla="*/ 331100 w 635665"/>
                <a:gd name="connsiteY244" fmla="*/ 442535 h 504468"/>
                <a:gd name="connsiteX245" fmla="*/ 343791 w 635665"/>
                <a:gd name="connsiteY245" fmla="*/ 451543 h 504468"/>
                <a:gd name="connsiteX246" fmla="*/ 338023 w 635665"/>
                <a:gd name="connsiteY246" fmla="*/ 458299 h 504468"/>
                <a:gd name="connsiteX247" fmla="*/ 338022 w 635665"/>
                <a:gd name="connsiteY247" fmla="*/ 462804 h 504468"/>
                <a:gd name="connsiteX248" fmla="*/ 332255 w 635665"/>
                <a:gd name="connsiteY248" fmla="*/ 466182 h 504468"/>
                <a:gd name="connsiteX249" fmla="*/ 328792 w 635665"/>
                <a:gd name="connsiteY249" fmla="*/ 462804 h 504468"/>
                <a:gd name="connsiteX250" fmla="*/ 318410 w 635665"/>
                <a:gd name="connsiteY250" fmla="*/ 470686 h 504468"/>
                <a:gd name="connsiteX251" fmla="*/ 313796 w 635665"/>
                <a:gd name="connsiteY251" fmla="*/ 463930 h 504468"/>
                <a:gd name="connsiteX252" fmla="*/ 305720 w 635665"/>
                <a:gd name="connsiteY252" fmla="*/ 466182 h 504468"/>
                <a:gd name="connsiteX253" fmla="*/ 273418 w 635665"/>
                <a:gd name="connsiteY253" fmla="*/ 460552 h 504468"/>
                <a:gd name="connsiteX254" fmla="*/ 266495 w 635665"/>
                <a:gd name="connsiteY254" fmla="*/ 462804 h 504468"/>
                <a:gd name="connsiteX255" fmla="*/ 273418 w 635665"/>
                <a:gd name="connsiteY255" fmla="*/ 468433 h 504468"/>
                <a:gd name="connsiteX256" fmla="*/ 281493 w 635665"/>
                <a:gd name="connsiteY256" fmla="*/ 499963 h 504468"/>
                <a:gd name="connsiteX257" fmla="*/ 271111 w 635665"/>
                <a:gd name="connsiteY257" fmla="*/ 502216 h 504468"/>
                <a:gd name="connsiteX258" fmla="*/ 266495 w 635665"/>
                <a:gd name="connsiteY258" fmla="*/ 504468 h 504468"/>
                <a:gd name="connsiteX259" fmla="*/ 251498 w 635665"/>
                <a:gd name="connsiteY259" fmla="*/ 499963 h 504468"/>
                <a:gd name="connsiteX260" fmla="*/ 235347 w 635665"/>
                <a:gd name="connsiteY260" fmla="*/ 488703 h 504468"/>
                <a:gd name="connsiteX261" fmla="*/ 223809 w 635665"/>
                <a:gd name="connsiteY261" fmla="*/ 474064 h 504468"/>
                <a:gd name="connsiteX262" fmla="*/ 219195 w 635665"/>
                <a:gd name="connsiteY262" fmla="*/ 471812 h 504468"/>
                <a:gd name="connsiteX263" fmla="*/ 218043 w 635665"/>
                <a:gd name="connsiteY263" fmla="*/ 472938 h 504468"/>
                <a:gd name="connsiteX264" fmla="*/ 214581 w 635665"/>
                <a:gd name="connsiteY264" fmla="*/ 467308 h 504468"/>
                <a:gd name="connsiteX265" fmla="*/ 212274 w 635665"/>
                <a:gd name="connsiteY265" fmla="*/ 467308 h 504468"/>
                <a:gd name="connsiteX266" fmla="*/ 211119 w 635665"/>
                <a:gd name="connsiteY266" fmla="*/ 468434 h 504468"/>
                <a:gd name="connsiteX267" fmla="*/ 208813 w 635665"/>
                <a:gd name="connsiteY267" fmla="*/ 465057 h 504468"/>
                <a:gd name="connsiteX268" fmla="*/ 206505 w 635665"/>
                <a:gd name="connsiteY268" fmla="*/ 466182 h 504468"/>
                <a:gd name="connsiteX269" fmla="*/ 202955 w 635665"/>
                <a:gd name="connsiteY269" fmla="*/ 463584 h 504468"/>
                <a:gd name="connsiteX270" fmla="*/ 205352 w 635665"/>
                <a:gd name="connsiteY270" fmla="*/ 462804 h 504468"/>
                <a:gd name="connsiteX271" fmla="*/ 203044 w 635665"/>
                <a:gd name="connsiteY271" fmla="*/ 458299 h 504468"/>
                <a:gd name="connsiteX272" fmla="*/ 199583 w 635665"/>
                <a:gd name="connsiteY272" fmla="*/ 458300 h 504468"/>
                <a:gd name="connsiteX273" fmla="*/ 203043 w 635665"/>
                <a:gd name="connsiteY273" fmla="*/ 457174 h 504468"/>
                <a:gd name="connsiteX274" fmla="*/ 203043 w 635665"/>
                <a:gd name="connsiteY274" fmla="*/ 456048 h 504468"/>
                <a:gd name="connsiteX275" fmla="*/ 198430 w 635665"/>
                <a:gd name="connsiteY275" fmla="*/ 453796 h 504468"/>
                <a:gd name="connsiteX276" fmla="*/ 197277 w 635665"/>
                <a:gd name="connsiteY276" fmla="*/ 458299 h 504468"/>
                <a:gd name="connsiteX277" fmla="*/ 198430 w 635665"/>
                <a:gd name="connsiteY277" fmla="*/ 452669 h 504468"/>
                <a:gd name="connsiteX278" fmla="*/ 194969 w 635665"/>
                <a:gd name="connsiteY278" fmla="*/ 445913 h 504468"/>
                <a:gd name="connsiteX279" fmla="*/ 192662 w 635665"/>
                <a:gd name="connsiteY279" fmla="*/ 442535 h 504468"/>
                <a:gd name="connsiteX280" fmla="*/ 193815 w 635665"/>
                <a:gd name="connsiteY280" fmla="*/ 441409 h 504468"/>
                <a:gd name="connsiteX281" fmla="*/ 193815 w 635665"/>
                <a:gd name="connsiteY281" fmla="*/ 442535 h 504468"/>
                <a:gd name="connsiteX282" fmla="*/ 197276 w 635665"/>
                <a:gd name="connsiteY282" fmla="*/ 442535 h 504468"/>
                <a:gd name="connsiteX283" fmla="*/ 194969 w 635665"/>
                <a:gd name="connsiteY283" fmla="*/ 441409 h 504468"/>
                <a:gd name="connsiteX284" fmla="*/ 200737 w 635665"/>
                <a:gd name="connsiteY284" fmla="*/ 440283 h 504468"/>
                <a:gd name="connsiteX285" fmla="*/ 193815 w 635665"/>
                <a:gd name="connsiteY285" fmla="*/ 440283 h 504468"/>
                <a:gd name="connsiteX286" fmla="*/ 190354 w 635665"/>
                <a:gd name="connsiteY286" fmla="*/ 441409 h 504468"/>
                <a:gd name="connsiteX287" fmla="*/ 194969 w 635665"/>
                <a:gd name="connsiteY287" fmla="*/ 439157 h 504468"/>
                <a:gd name="connsiteX288" fmla="*/ 199583 w 635665"/>
                <a:gd name="connsiteY288" fmla="*/ 430149 h 504468"/>
                <a:gd name="connsiteX289" fmla="*/ 203044 w 635665"/>
                <a:gd name="connsiteY289" fmla="*/ 429023 h 504468"/>
                <a:gd name="connsiteX290" fmla="*/ 208813 w 635665"/>
                <a:gd name="connsiteY290" fmla="*/ 420014 h 504468"/>
                <a:gd name="connsiteX291" fmla="*/ 222657 w 635665"/>
                <a:gd name="connsiteY291" fmla="*/ 415511 h 504468"/>
                <a:gd name="connsiteX292" fmla="*/ 226117 w 635665"/>
                <a:gd name="connsiteY292" fmla="*/ 411006 h 504468"/>
                <a:gd name="connsiteX293" fmla="*/ 231885 w 635665"/>
                <a:gd name="connsiteY293" fmla="*/ 409880 h 504468"/>
                <a:gd name="connsiteX294" fmla="*/ 233040 w 635665"/>
                <a:gd name="connsiteY294" fmla="*/ 411006 h 504468"/>
                <a:gd name="connsiteX295" fmla="*/ 236500 w 635665"/>
                <a:gd name="connsiteY295" fmla="*/ 409880 h 504468"/>
                <a:gd name="connsiteX296" fmla="*/ 236500 w 635665"/>
                <a:gd name="connsiteY296" fmla="*/ 407628 h 504468"/>
                <a:gd name="connsiteX297" fmla="*/ 237654 w 635665"/>
                <a:gd name="connsiteY297" fmla="*/ 409879 h 504468"/>
                <a:gd name="connsiteX298" fmla="*/ 241114 w 635665"/>
                <a:gd name="connsiteY298" fmla="*/ 408754 h 504468"/>
                <a:gd name="connsiteX299" fmla="*/ 246883 w 635665"/>
                <a:gd name="connsiteY299" fmla="*/ 401998 h 504468"/>
                <a:gd name="connsiteX300" fmla="*/ 246884 w 635665"/>
                <a:gd name="connsiteY300" fmla="*/ 390738 h 504468"/>
                <a:gd name="connsiteX301" fmla="*/ 249190 w 635665"/>
                <a:gd name="connsiteY301" fmla="*/ 382855 h 504468"/>
                <a:gd name="connsiteX302" fmla="*/ 244577 w 635665"/>
                <a:gd name="connsiteY302" fmla="*/ 376099 h 504468"/>
                <a:gd name="connsiteX303" fmla="*/ 245730 w 635665"/>
                <a:gd name="connsiteY303" fmla="*/ 373846 h 504468"/>
                <a:gd name="connsiteX304" fmla="*/ 241114 w 635665"/>
                <a:gd name="connsiteY304" fmla="*/ 354704 h 504468"/>
                <a:gd name="connsiteX305" fmla="*/ 235347 w 635665"/>
                <a:gd name="connsiteY305" fmla="*/ 349075 h 504468"/>
                <a:gd name="connsiteX306" fmla="*/ 242269 w 635665"/>
                <a:gd name="connsiteY306" fmla="*/ 344569 h 504468"/>
                <a:gd name="connsiteX307" fmla="*/ 242269 w 635665"/>
                <a:gd name="connsiteY307" fmla="*/ 345696 h 504468"/>
                <a:gd name="connsiteX308" fmla="*/ 244577 w 635665"/>
                <a:gd name="connsiteY308" fmla="*/ 346822 h 504468"/>
                <a:gd name="connsiteX309" fmla="*/ 245619 w 635665"/>
                <a:gd name="connsiteY309" fmla="*/ 341728 h 504468"/>
                <a:gd name="connsiteX310" fmla="*/ 248037 w 635665"/>
                <a:gd name="connsiteY310" fmla="*/ 342317 h 504468"/>
                <a:gd name="connsiteX311" fmla="*/ 249191 w 635665"/>
                <a:gd name="connsiteY311" fmla="*/ 328805 h 504468"/>
                <a:gd name="connsiteX312" fmla="*/ 250345 w 635665"/>
                <a:gd name="connsiteY312" fmla="*/ 327679 h 504468"/>
                <a:gd name="connsiteX313" fmla="*/ 252652 w 635665"/>
                <a:gd name="connsiteY313" fmla="*/ 331057 h 504468"/>
                <a:gd name="connsiteX314" fmla="*/ 248037 w 635665"/>
                <a:gd name="connsiteY314" fmla="*/ 320923 h 504468"/>
                <a:gd name="connsiteX315" fmla="*/ 242269 w 635665"/>
                <a:gd name="connsiteY315" fmla="*/ 320922 h 504468"/>
                <a:gd name="connsiteX316" fmla="*/ 251498 w 635665"/>
                <a:gd name="connsiteY316" fmla="*/ 318670 h 504468"/>
                <a:gd name="connsiteX317" fmla="*/ 275725 w 635665"/>
                <a:gd name="connsiteY317" fmla="*/ 299528 h 504468"/>
                <a:gd name="connsiteX318" fmla="*/ 265343 w 635665"/>
                <a:gd name="connsiteY318" fmla="*/ 307410 h 504468"/>
                <a:gd name="connsiteX319" fmla="*/ 263035 w 635665"/>
                <a:gd name="connsiteY319" fmla="*/ 305158 h 504468"/>
                <a:gd name="connsiteX320" fmla="*/ 263035 w 635665"/>
                <a:gd name="connsiteY320" fmla="*/ 306284 h 504468"/>
                <a:gd name="connsiteX321" fmla="*/ 260438 w 635665"/>
                <a:gd name="connsiteY321" fmla="*/ 305439 h 504468"/>
                <a:gd name="connsiteX322" fmla="*/ 260727 w 635665"/>
                <a:gd name="connsiteY322" fmla="*/ 305158 h 504468"/>
                <a:gd name="connsiteX323" fmla="*/ 259573 w 635665"/>
                <a:gd name="connsiteY323" fmla="*/ 305158 h 504468"/>
                <a:gd name="connsiteX324" fmla="*/ 260438 w 635665"/>
                <a:gd name="connsiteY324" fmla="*/ 305439 h 504468"/>
                <a:gd name="connsiteX325" fmla="*/ 259573 w 635665"/>
                <a:gd name="connsiteY325" fmla="*/ 306284 h 504468"/>
                <a:gd name="connsiteX326" fmla="*/ 261881 w 635665"/>
                <a:gd name="connsiteY326" fmla="*/ 306284 h 504468"/>
                <a:gd name="connsiteX327" fmla="*/ 261881 w 635665"/>
                <a:gd name="connsiteY327" fmla="*/ 308537 h 504468"/>
                <a:gd name="connsiteX328" fmla="*/ 263035 w 635665"/>
                <a:gd name="connsiteY328" fmla="*/ 306284 h 504468"/>
                <a:gd name="connsiteX329" fmla="*/ 264187 w 635665"/>
                <a:gd name="connsiteY329" fmla="*/ 307410 h 504468"/>
                <a:gd name="connsiteX330" fmla="*/ 261881 w 635665"/>
                <a:gd name="connsiteY330" fmla="*/ 309662 h 504468"/>
                <a:gd name="connsiteX331" fmla="*/ 257267 w 635665"/>
                <a:gd name="connsiteY331" fmla="*/ 305158 h 504468"/>
                <a:gd name="connsiteX332" fmla="*/ 259573 w 635665"/>
                <a:gd name="connsiteY332" fmla="*/ 310788 h 504468"/>
                <a:gd name="connsiteX333" fmla="*/ 254960 w 635665"/>
                <a:gd name="connsiteY333" fmla="*/ 315293 h 504468"/>
                <a:gd name="connsiteX334" fmla="*/ 254960 w 635665"/>
                <a:gd name="connsiteY334" fmla="*/ 314166 h 504468"/>
                <a:gd name="connsiteX335" fmla="*/ 253805 w 635665"/>
                <a:gd name="connsiteY335" fmla="*/ 314167 h 504468"/>
                <a:gd name="connsiteX336" fmla="*/ 251498 w 635665"/>
                <a:gd name="connsiteY336" fmla="*/ 318670 h 504468"/>
                <a:gd name="connsiteX337" fmla="*/ 252652 w 635665"/>
                <a:gd name="connsiteY337" fmla="*/ 314166 h 504468"/>
                <a:gd name="connsiteX338" fmla="*/ 250345 w 635665"/>
                <a:gd name="connsiteY338" fmla="*/ 304031 h 504468"/>
                <a:gd name="connsiteX339" fmla="*/ 251497 w 635665"/>
                <a:gd name="connsiteY339" fmla="*/ 302905 h 504468"/>
                <a:gd name="connsiteX340" fmla="*/ 249191 w 635665"/>
                <a:gd name="connsiteY340" fmla="*/ 301780 h 504468"/>
                <a:gd name="connsiteX341" fmla="*/ 250345 w 635665"/>
                <a:gd name="connsiteY341" fmla="*/ 299528 h 504468"/>
                <a:gd name="connsiteX342" fmla="*/ 249191 w 635665"/>
                <a:gd name="connsiteY342" fmla="*/ 299528 h 504468"/>
                <a:gd name="connsiteX343" fmla="*/ 248037 w 635665"/>
                <a:gd name="connsiteY343" fmla="*/ 295024 h 504468"/>
                <a:gd name="connsiteX344" fmla="*/ 246884 w 635665"/>
                <a:gd name="connsiteY344" fmla="*/ 295023 h 504468"/>
                <a:gd name="connsiteX345" fmla="*/ 248037 w 635665"/>
                <a:gd name="connsiteY345" fmla="*/ 292772 h 504468"/>
                <a:gd name="connsiteX346" fmla="*/ 245730 w 635665"/>
                <a:gd name="connsiteY346" fmla="*/ 292772 h 504468"/>
                <a:gd name="connsiteX347" fmla="*/ 246884 w 635665"/>
                <a:gd name="connsiteY347" fmla="*/ 291646 h 504468"/>
                <a:gd name="connsiteX348" fmla="*/ 244576 w 635665"/>
                <a:gd name="connsiteY348" fmla="*/ 289393 h 504468"/>
                <a:gd name="connsiteX349" fmla="*/ 243423 w 635665"/>
                <a:gd name="connsiteY349" fmla="*/ 281511 h 504468"/>
                <a:gd name="connsiteX350" fmla="*/ 239961 w 635665"/>
                <a:gd name="connsiteY350" fmla="*/ 273629 h 504468"/>
                <a:gd name="connsiteX351" fmla="*/ 241115 w 635665"/>
                <a:gd name="connsiteY351" fmla="*/ 270251 h 504468"/>
                <a:gd name="connsiteX352" fmla="*/ 239961 w 635665"/>
                <a:gd name="connsiteY352" fmla="*/ 270250 h 504468"/>
                <a:gd name="connsiteX353" fmla="*/ 239961 w 635665"/>
                <a:gd name="connsiteY353" fmla="*/ 272502 h 504468"/>
                <a:gd name="connsiteX354" fmla="*/ 237654 w 635665"/>
                <a:gd name="connsiteY354" fmla="*/ 266872 h 504468"/>
                <a:gd name="connsiteX355" fmla="*/ 238719 w 635665"/>
                <a:gd name="connsiteY355" fmla="*/ 250241 h 504468"/>
                <a:gd name="connsiteX356" fmla="*/ 239577 w 635665"/>
                <a:gd name="connsiteY356" fmla="*/ 247729 h 504468"/>
                <a:gd name="connsiteX357" fmla="*/ 241115 w 635665"/>
                <a:gd name="connsiteY357" fmla="*/ 245478 h 504468"/>
                <a:gd name="connsiteX358" fmla="*/ 242269 w 635665"/>
                <a:gd name="connsiteY358" fmla="*/ 246604 h 504468"/>
                <a:gd name="connsiteX359" fmla="*/ 241114 w 635665"/>
                <a:gd name="connsiteY359" fmla="*/ 243225 h 504468"/>
                <a:gd name="connsiteX360" fmla="*/ 244576 w 635665"/>
                <a:gd name="connsiteY360" fmla="*/ 242100 h 504468"/>
                <a:gd name="connsiteX361" fmla="*/ 244577 w 635665"/>
                <a:gd name="connsiteY361" fmla="*/ 234217 h 504468"/>
                <a:gd name="connsiteX362" fmla="*/ 246883 w 635665"/>
                <a:gd name="connsiteY362" fmla="*/ 234218 h 504468"/>
                <a:gd name="connsiteX363" fmla="*/ 248038 w 635665"/>
                <a:gd name="connsiteY363" fmla="*/ 231965 h 504468"/>
                <a:gd name="connsiteX364" fmla="*/ 245730 w 635665"/>
                <a:gd name="connsiteY364" fmla="*/ 233091 h 504468"/>
                <a:gd name="connsiteX365" fmla="*/ 244577 w 635665"/>
                <a:gd name="connsiteY365" fmla="*/ 231965 h 504468"/>
                <a:gd name="connsiteX366" fmla="*/ 245730 w 635665"/>
                <a:gd name="connsiteY366" fmla="*/ 230839 h 504468"/>
                <a:gd name="connsiteX367" fmla="*/ 249190 w 635665"/>
                <a:gd name="connsiteY367" fmla="*/ 216201 h 504468"/>
                <a:gd name="connsiteX368" fmla="*/ 248038 w 635665"/>
                <a:gd name="connsiteY368" fmla="*/ 218453 h 504468"/>
                <a:gd name="connsiteX369" fmla="*/ 244576 w 635665"/>
                <a:gd name="connsiteY369" fmla="*/ 219579 h 504468"/>
                <a:gd name="connsiteX370" fmla="*/ 238808 w 635665"/>
                <a:gd name="connsiteY370" fmla="*/ 216201 h 504468"/>
                <a:gd name="connsiteX371" fmla="*/ 236500 w 635665"/>
                <a:gd name="connsiteY371" fmla="*/ 212822 h 504468"/>
                <a:gd name="connsiteX372" fmla="*/ 238807 w 635665"/>
                <a:gd name="connsiteY372" fmla="*/ 207192 h 504468"/>
                <a:gd name="connsiteX373" fmla="*/ 235347 w 635665"/>
                <a:gd name="connsiteY373" fmla="*/ 207192 h 504468"/>
                <a:gd name="connsiteX374" fmla="*/ 236501 w 635665"/>
                <a:gd name="connsiteY374" fmla="*/ 203814 h 504468"/>
                <a:gd name="connsiteX375" fmla="*/ 241115 w 635665"/>
                <a:gd name="connsiteY375" fmla="*/ 203814 h 504468"/>
                <a:gd name="connsiteX376" fmla="*/ 242269 w 635665"/>
                <a:gd name="connsiteY376" fmla="*/ 202688 h 504468"/>
                <a:gd name="connsiteX377" fmla="*/ 241114 w 635665"/>
                <a:gd name="connsiteY377" fmla="*/ 191428 h 504468"/>
                <a:gd name="connsiteX378" fmla="*/ 243423 w 635665"/>
                <a:gd name="connsiteY378" fmla="*/ 192554 h 504468"/>
                <a:gd name="connsiteX379" fmla="*/ 246884 w 635665"/>
                <a:gd name="connsiteY379" fmla="*/ 199310 h 504468"/>
                <a:gd name="connsiteX380" fmla="*/ 242268 w 635665"/>
                <a:gd name="connsiteY380" fmla="*/ 189176 h 504468"/>
                <a:gd name="connsiteX381" fmla="*/ 244576 w 635665"/>
                <a:gd name="connsiteY381" fmla="*/ 177915 h 504468"/>
                <a:gd name="connsiteX382" fmla="*/ 242269 w 635665"/>
                <a:gd name="connsiteY382" fmla="*/ 174537 h 504468"/>
                <a:gd name="connsiteX383" fmla="*/ 239961 w 635665"/>
                <a:gd name="connsiteY383" fmla="*/ 198183 h 504468"/>
                <a:gd name="connsiteX384" fmla="*/ 235346 w 635665"/>
                <a:gd name="connsiteY384" fmla="*/ 201562 h 504468"/>
                <a:gd name="connsiteX385" fmla="*/ 231885 w 635665"/>
                <a:gd name="connsiteY385" fmla="*/ 198184 h 504468"/>
                <a:gd name="connsiteX386" fmla="*/ 233040 w 635665"/>
                <a:gd name="connsiteY386" fmla="*/ 195932 h 504468"/>
                <a:gd name="connsiteX387" fmla="*/ 229578 w 635665"/>
                <a:gd name="connsiteY387" fmla="*/ 186924 h 504468"/>
                <a:gd name="connsiteX388" fmla="*/ 226118 w 635665"/>
                <a:gd name="connsiteY388" fmla="*/ 184672 h 504468"/>
                <a:gd name="connsiteX389" fmla="*/ 228426 w 635665"/>
                <a:gd name="connsiteY389" fmla="*/ 182419 h 504468"/>
                <a:gd name="connsiteX390" fmla="*/ 224963 w 635665"/>
                <a:gd name="connsiteY390" fmla="*/ 183546 h 504468"/>
                <a:gd name="connsiteX391" fmla="*/ 223810 w 635665"/>
                <a:gd name="connsiteY391" fmla="*/ 180167 h 504468"/>
                <a:gd name="connsiteX392" fmla="*/ 216888 w 635665"/>
                <a:gd name="connsiteY392" fmla="*/ 182419 h 504468"/>
                <a:gd name="connsiteX393" fmla="*/ 213428 w 635665"/>
                <a:gd name="connsiteY393" fmla="*/ 181293 h 504468"/>
                <a:gd name="connsiteX394" fmla="*/ 214581 w 635665"/>
                <a:gd name="connsiteY394" fmla="*/ 180167 h 504468"/>
                <a:gd name="connsiteX395" fmla="*/ 213428 w 635665"/>
                <a:gd name="connsiteY395" fmla="*/ 179041 h 504468"/>
                <a:gd name="connsiteX396" fmla="*/ 213428 w 635665"/>
                <a:gd name="connsiteY396" fmla="*/ 181293 h 504468"/>
                <a:gd name="connsiteX397" fmla="*/ 212273 w 635665"/>
                <a:gd name="connsiteY397" fmla="*/ 179041 h 504468"/>
                <a:gd name="connsiteX398" fmla="*/ 219196 w 635665"/>
                <a:gd name="connsiteY398" fmla="*/ 174537 h 504468"/>
                <a:gd name="connsiteX399" fmla="*/ 216889 w 635665"/>
                <a:gd name="connsiteY399" fmla="*/ 168907 h 504468"/>
                <a:gd name="connsiteX400" fmla="*/ 218042 w 635665"/>
                <a:gd name="connsiteY400" fmla="*/ 168906 h 504468"/>
                <a:gd name="connsiteX401" fmla="*/ 216889 w 635665"/>
                <a:gd name="connsiteY401" fmla="*/ 165528 h 504468"/>
                <a:gd name="connsiteX402" fmla="*/ 215734 w 635665"/>
                <a:gd name="connsiteY402" fmla="*/ 164403 h 504468"/>
                <a:gd name="connsiteX403" fmla="*/ 212274 w 635665"/>
                <a:gd name="connsiteY403" fmla="*/ 165529 h 504468"/>
                <a:gd name="connsiteX404" fmla="*/ 211119 w 635665"/>
                <a:gd name="connsiteY404" fmla="*/ 163276 h 504468"/>
                <a:gd name="connsiteX405" fmla="*/ 224963 w 635665"/>
                <a:gd name="connsiteY405" fmla="*/ 163276 h 504468"/>
                <a:gd name="connsiteX406" fmla="*/ 224964 w 635665"/>
                <a:gd name="connsiteY406" fmla="*/ 165528 h 504468"/>
                <a:gd name="connsiteX407" fmla="*/ 224964 w 635665"/>
                <a:gd name="connsiteY407" fmla="*/ 166655 h 504468"/>
                <a:gd name="connsiteX408" fmla="*/ 228425 w 635665"/>
                <a:gd name="connsiteY408" fmla="*/ 166655 h 504468"/>
                <a:gd name="connsiteX409" fmla="*/ 228425 w 635665"/>
                <a:gd name="connsiteY409" fmla="*/ 163276 h 504468"/>
                <a:gd name="connsiteX410" fmla="*/ 230733 w 635665"/>
                <a:gd name="connsiteY410" fmla="*/ 163277 h 504468"/>
                <a:gd name="connsiteX411" fmla="*/ 230733 w 635665"/>
                <a:gd name="connsiteY411" fmla="*/ 167781 h 504468"/>
                <a:gd name="connsiteX412" fmla="*/ 228425 w 635665"/>
                <a:gd name="connsiteY412" fmla="*/ 168906 h 504468"/>
                <a:gd name="connsiteX413" fmla="*/ 231885 w 635665"/>
                <a:gd name="connsiteY413" fmla="*/ 167781 h 504468"/>
                <a:gd name="connsiteX414" fmla="*/ 231885 w 635665"/>
                <a:gd name="connsiteY414" fmla="*/ 172284 h 504468"/>
                <a:gd name="connsiteX415" fmla="*/ 233039 w 635665"/>
                <a:gd name="connsiteY415" fmla="*/ 168906 h 504468"/>
                <a:gd name="connsiteX416" fmla="*/ 231886 w 635665"/>
                <a:gd name="connsiteY416" fmla="*/ 163276 h 504468"/>
                <a:gd name="connsiteX417" fmla="*/ 235347 w 635665"/>
                <a:gd name="connsiteY417" fmla="*/ 168907 h 504468"/>
                <a:gd name="connsiteX418" fmla="*/ 234194 w 635665"/>
                <a:gd name="connsiteY418" fmla="*/ 171158 h 504468"/>
                <a:gd name="connsiteX419" fmla="*/ 237654 w 635665"/>
                <a:gd name="connsiteY419" fmla="*/ 172284 h 504468"/>
                <a:gd name="connsiteX420" fmla="*/ 239962 w 635665"/>
                <a:gd name="connsiteY420" fmla="*/ 170033 h 504468"/>
                <a:gd name="connsiteX421" fmla="*/ 236500 w 635665"/>
                <a:gd name="connsiteY421" fmla="*/ 170033 h 504468"/>
                <a:gd name="connsiteX422" fmla="*/ 236500 w 635665"/>
                <a:gd name="connsiteY422" fmla="*/ 167781 h 504468"/>
                <a:gd name="connsiteX423" fmla="*/ 234193 w 635665"/>
                <a:gd name="connsiteY423" fmla="*/ 163276 h 504468"/>
                <a:gd name="connsiteX424" fmla="*/ 236501 w 635665"/>
                <a:gd name="connsiteY424" fmla="*/ 163276 h 504468"/>
                <a:gd name="connsiteX425" fmla="*/ 238808 w 635665"/>
                <a:gd name="connsiteY425" fmla="*/ 168907 h 504468"/>
                <a:gd name="connsiteX426" fmla="*/ 237653 w 635665"/>
                <a:gd name="connsiteY426" fmla="*/ 163276 h 504468"/>
                <a:gd name="connsiteX427" fmla="*/ 243423 w 635665"/>
                <a:gd name="connsiteY427" fmla="*/ 168906 h 504468"/>
                <a:gd name="connsiteX428" fmla="*/ 242268 w 635665"/>
                <a:gd name="connsiteY428" fmla="*/ 163276 h 504468"/>
                <a:gd name="connsiteX429" fmla="*/ 233040 w 635665"/>
                <a:gd name="connsiteY429" fmla="*/ 152016 h 504468"/>
                <a:gd name="connsiteX430" fmla="*/ 231886 w 635665"/>
                <a:gd name="connsiteY430" fmla="*/ 152016 h 504468"/>
                <a:gd name="connsiteX431" fmla="*/ 233040 w 635665"/>
                <a:gd name="connsiteY431" fmla="*/ 150890 h 504468"/>
                <a:gd name="connsiteX432" fmla="*/ 229579 w 635665"/>
                <a:gd name="connsiteY432" fmla="*/ 144133 h 504468"/>
                <a:gd name="connsiteX433" fmla="*/ 230733 w 635665"/>
                <a:gd name="connsiteY433" fmla="*/ 133999 h 504468"/>
                <a:gd name="connsiteX434" fmla="*/ 227270 w 635665"/>
                <a:gd name="connsiteY434" fmla="*/ 124991 h 504468"/>
                <a:gd name="connsiteX435" fmla="*/ 223809 w 635665"/>
                <a:gd name="connsiteY435" fmla="*/ 115982 h 504468"/>
                <a:gd name="connsiteX436" fmla="*/ 218042 w 635665"/>
                <a:gd name="connsiteY436" fmla="*/ 102470 h 504468"/>
                <a:gd name="connsiteX437" fmla="*/ 212273 w 635665"/>
                <a:gd name="connsiteY437" fmla="*/ 104722 h 504468"/>
                <a:gd name="connsiteX438" fmla="*/ 189201 w 635665"/>
                <a:gd name="connsiteY438" fmla="*/ 126117 h 504468"/>
                <a:gd name="connsiteX439" fmla="*/ 176511 w 635665"/>
                <a:gd name="connsiteY439" fmla="*/ 134000 h 504468"/>
                <a:gd name="connsiteX440" fmla="*/ 177664 w 635665"/>
                <a:gd name="connsiteY440" fmla="*/ 146386 h 504468"/>
                <a:gd name="connsiteX441" fmla="*/ 173049 w 635665"/>
                <a:gd name="connsiteY441" fmla="*/ 124991 h 504468"/>
                <a:gd name="connsiteX442" fmla="*/ 176510 w 635665"/>
                <a:gd name="connsiteY442" fmla="*/ 129495 h 504468"/>
                <a:gd name="connsiteX443" fmla="*/ 185739 w 635665"/>
                <a:gd name="connsiteY443" fmla="*/ 126117 h 504468"/>
                <a:gd name="connsiteX444" fmla="*/ 216889 w 635665"/>
                <a:gd name="connsiteY444" fmla="*/ 96840 h 504468"/>
                <a:gd name="connsiteX445" fmla="*/ 220349 w 635665"/>
                <a:gd name="connsiteY445" fmla="*/ 91209 h 504468"/>
                <a:gd name="connsiteX446" fmla="*/ 221502 w 635665"/>
                <a:gd name="connsiteY446" fmla="*/ 81075 h 504468"/>
                <a:gd name="connsiteX447" fmla="*/ 218042 w 635665"/>
                <a:gd name="connsiteY447" fmla="*/ 75445 h 504468"/>
                <a:gd name="connsiteX448" fmla="*/ 235347 w 635665"/>
                <a:gd name="connsiteY448" fmla="*/ 65311 h 504468"/>
                <a:gd name="connsiteX449" fmla="*/ 235347 w 635665"/>
                <a:gd name="connsiteY449" fmla="*/ 64184 h 504468"/>
                <a:gd name="connsiteX450" fmla="*/ 241115 w 635665"/>
                <a:gd name="connsiteY450" fmla="*/ 59681 h 504468"/>
                <a:gd name="connsiteX451" fmla="*/ 246883 w 635665"/>
                <a:gd name="connsiteY451" fmla="*/ 40537 h 504468"/>
                <a:gd name="connsiteX452" fmla="*/ 251498 w 635665"/>
                <a:gd name="connsiteY452" fmla="*/ 3378 h 504468"/>
                <a:gd name="connsiteX453" fmla="*/ 252652 w 635665"/>
                <a:gd name="connsiteY453" fmla="*/ 1126 h 504468"/>
                <a:gd name="connsiteX454" fmla="*/ 257267 w 635665"/>
                <a:gd name="connsiteY454" fmla="*/ 4504 h 5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635665" h="504468">
                  <a:moveTo>
                    <a:pt x="199583" y="459426"/>
                  </a:moveTo>
                  <a:lnTo>
                    <a:pt x="201891" y="462804"/>
                  </a:lnTo>
                  <a:lnTo>
                    <a:pt x="202955" y="463584"/>
                  </a:lnTo>
                  <a:lnTo>
                    <a:pt x="201890" y="463930"/>
                  </a:lnTo>
                  <a:close/>
                  <a:moveTo>
                    <a:pt x="242268" y="396368"/>
                  </a:moveTo>
                  <a:lnTo>
                    <a:pt x="243423" y="397494"/>
                  </a:lnTo>
                  <a:lnTo>
                    <a:pt x="241115" y="399746"/>
                  </a:lnTo>
                  <a:close/>
                  <a:moveTo>
                    <a:pt x="244576" y="387359"/>
                  </a:moveTo>
                  <a:lnTo>
                    <a:pt x="242269" y="391863"/>
                  </a:lnTo>
                  <a:lnTo>
                    <a:pt x="242269" y="389612"/>
                  </a:lnTo>
                  <a:close/>
                  <a:moveTo>
                    <a:pt x="245730" y="341192"/>
                  </a:moveTo>
                  <a:lnTo>
                    <a:pt x="245619" y="341728"/>
                  </a:lnTo>
                  <a:lnTo>
                    <a:pt x="244741" y="341513"/>
                  </a:lnTo>
                  <a:close/>
                  <a:moveTo>
                    <a:pt x="243422" y="341191"/>
                  </a:moveTo>
                  <a:lnTo>
                    <a:pt x="244741" y="341513"/>
                  </a:lnTo>
                  <a:lnTo>
                    <a:pt x="242269" y="342318"/>
                  </a:lnTo>
                  <a:close/>
                  <a:moveTo>
                    <a:pt x="248037" y="325427"/>
                  </a:moveTo>
                  <a:lnTo>
                    <a:pt x="249191" y="326553"/>
                  </a:lnTo>
                  <a:lnTo>
                    <a:pt x="248038" y="328804"/>
                  </a:lnTo>
                  <a:lnTo>
                    <a:pt x="248038" y="331057"/>
                  </a:lnTo>
                  <a:lnTo>
                    <a:pt x="246883" y="328805"/>
                  </a:lnTo>
                  <a:close/>
                  <a:moveTo>
                    <a:pt x="239961" y="246603"/>
                  </a:moveTo>
                  <a:lnTo>
                    <a:pt x="239577" y="247729"/>
                  </a:lnTo>
                  <a:lnTo>
                    <a:pt x="238807" y="248856"/>
                  </a:lnTo>
                  <a:lnTo>
                    <a:pt x="238719" y="250241"/>
                  </a:lnTo>
                  <a:lnTo>
                    <a:pt x="237653" y="253360"/>
                  </a:lnTo>
                  <a:lnTo>
                    <a:pt x="236501" y="248856"/>
                  </a:lnTo>
                  <a:close/>
                  <a:moveTo>
                    <a:pt x="221502" y="176790"/>
                  </a:moveTo>
                  <a:lnTo>
                    <a:pt x="222561" y="179885"/>
                  </a:lnTo>
                  <a:lnTo>
                    <a:pt x="221887" y="180167"/>
                  </a:lnTo>
                  <a:lnTo>
                    <a:pt x="220349" y="180167"/>
                  </a:lnTo>
                  <a:lnTo>
                    <a:pt x="220349" y="179604"/>
                  </a:lnTo>
                  <a:lnTo>
                    <a:pt x="221502" y="179041"/>
                  </a:lnTo>
                  <a:lnTo>
                    <a:pt x="220733" y="177539"/>
                  </a:lnTo>
                  <a:close/>
                  <a:moveTo>
                    <a:pt x="223810" y="175663"/>
                  </a:moveTo>
                  <a:lnTo>
                    <a:pt x="224964" y="175663"/>
                  </a:lnTo>
                  <a:lnTo>
                    <a:pt x="226117" y="177915"/>
                  </a:lnTo>
                  <a:lnTo>
                    <a:pt x="223810" y="179041"/>
                  </a:lnTo>
                  <a:lnTo>
                    <a:pt x="224963" y="176790"/>
                  </a:lnTo>
                  <a:lnTo>
                    <a:pt x="222657" y="179041"/>
                  </a:lnTo>
                  <a:lnTo>
                    <a:pt x="222657" y="176789"/>
                  </a:lnTo>
                  <a:close/>
                  <a:moveTo>
                    <a:pt x="230732" y="174537"/>
                  </a:moveTo>
                  <a:lnTo>
                    <a:pt x="229579" y="177915"/>
                  </a:lnTo>
                  <a:lnTo>
                    <a:pt x="229578" y="175664"/>
                  </a:lnTo>
                  <a:close/>
                  <a:moveTo>
                    <a:pt x="227270" y="174537"/>
                  </a:moveTo>
                  <a:lnTo>
                    <a:pt x="227271" y="177914"/>
                  </a:lnTo>
                  <a:lnTo>
                    <a:pt x="226117" y="175664"/>
                  </a:lnTo>
                  <a:close/>
                  <a:moveTo>
                    <a:pt x="224964" y="173411"/>
                  </a:moveTo>
                  <a:lnTo>
                    <a:pt x="220350" y="176789"/>
                  </a:lnTo>
                  <a:lnTo>
                    <a:pt x="220733" y="177539"/>
                  </a:lnTo>
                  <a:lnTo>
                    <a:pt x="220350" y="177915"/>
                  </a:lnTo>
                  <a:lnTo>
                    <a:pt x="220349" y="179604"/>
                  </a:lnTo>
                  <a:lnTo>
                    <a:pt x="216888" y="181293"/>
                  </a:lnTo>
                  <a:lnTo>
                    <a:pt x="219196" y="181293"/>
                  </a:lnTo>
                  <a:lnTo>
                    <a:pt x="221887" y="180167"/>
                  </a:lnTo>
                  <a:lnTo>
                    <a:pt x="222657" y="180167"/>
                  </a:lnTo>
                  <a:lnTo>
                    <a:pt x="222561" y="179885"/>
                  </a:lnTo>
                  <a:lnTo>
                    <a:pt x="227271" y="177914"/>
                  </a:lnTo>
                  <a:lnTo>
                    <a:pt x="230732" y="179041"/>
                  </a:lnTo>
                  <a:lnTo>
                    <a:pt x="230732" y="174537"/>
                  </a:lnTo>
                  <a:lnTo>
                    <a:pt x="228426" y="174537"/>
                  </a:lnTo>
                  <a:lnTo>
                    <a:pt x="228426" y="177915"/>
                  </a:lnTo>
                  <a:lnTo>
                    <a:pt x="227270" y="174537"/>
                  </a:lnTo>
                  <a:close/>
                  <a:moveTo>
                    <a:pt x="166126" y="132873"/>
                  </a:moveTo>
                  <a:lnTo>
                    <a:pt x="167280" y="132873"/>
                  </a:lnTo>
                  <a:lnTo>
                    <a:pt x="168435" y="133999"/>
                  </a:lnTo>
                  <a:close/>
                  <a:moveTo>
                    <a:pt x="203044" y="128369"/>
                  </a:moveTo>
                  <a:lnTo>
                    <a:pt x="207658" y="128369"/>
                  </a:lnTo>
                  <a:lnTo>
                    <a:pt x="212274" y="135126"/>
                  </a:lnTo>
                  <a:lnTo>
                    <a:pt x="216889" y="136252"/>
                  </a:lnTo>
                  <a:lnTo>
                    <a:pt x="220349" y="134000"/>
                  </a:lnTo>
                  <a:lnTo>
                    <a:pt x="220349" y="136252"/>
                  </a:lnTo>
                  <a:lnTo>
                    <a:pt x="226118" y="140756"/>
                  </a:lnTo>
                  <a:lnTo>
                    <a:pt x="224964" y="141882"/>
                  </a:lnTo>
                  <a:lnTo>
                    <a:pt x="229578" y="154268"/>
                  </a:lnTo>
                  <a:lnTo>
                    <a:pt x="234193" y="158772"/>
                  </a:lnTo>
                  <a:lnTo>
                    <a:pt x="235347" y="162151"/>
                  </a:lnTo>
                  <a:lnTo>
                    <a:pt x="220349" y="162150"/>
                  </a:lnTo>
                  <a:lnTo>
                    <a:pt x="218043" y="159898"/>
                  </a:lnTo>
                  <a:lnTo>
                    <a:pt x="214580" y="161025"/>
                  </a:lnTo>
                  <a:lnTo>
                    <a:pt x="214581" y="159898"/>
                  </a:lnTo>
                  <a:lnTo>
                    <a:pt x="208812" y="152016"/>
                  </a:lnTo>
                  <a:lnTo>
                    <a:pt x="203043" y="131747"/>
                  </a:lnTo>
                  <a:close/>
                  <a:moveTo>
                    <a:pt x="161513" y="123865"/>
                  </a:moveTo>
                  <a:lnTo>
                    <a:pt x="164974" y="135126"/>
                  </a:lnTo>
                  <a:lnTo>
                    <a:pt x="161512" y="135126"/>
                  </a:lnTo>
                  <a:lnTo>
                    <a:pt x="133824" y="144133"/>
                  </a:lnTo>
                  <a:lnTo>
                    <a:pt x="56530" y="208318"/>
                  </a:lnTo>
                  <a:lnTo>
                    <a:pt x="49609" y="215074"/>
                  </a:lnTo>
                  <a:lnTo>
                    <a:pt x="44993" y="221831"/>
                  </a:lnTo>
                  <a:lnTo>
                    <a:pt x="40378" y="222957"/>
                  </a:lnTo>
                  <a:lnTo>
                    <a:pt x="42686" y="225209"/>
                  </a:lnTo>
                  <a:lnTo>
                    <a:pt x="47301" y="221831"/>
                  </a:lnTo>
                  <a:lnTo>
                    <a:pt x="43839" y="226335"/>
                  </a:lnTo>
                  <a:lnTo>
                    <a:pt x="38071" y="225209"/>
                  </a:lnTo>
                  <a:lnTo>
                    <a:pt x="1155" y="254486"/>
                  </a:lnTo>
                  <a:lnTo>
                    <a:pt x="0" y="253360"/>
                  </a:lnTo>
                  <a:lnTo>
                    <a:pt x="36917" y="222957"/>
                  </a:lnTo>
                  <a:lnTo>
                    <a:pt x="38070" y="218452"/>
                  </a:lnTo>
                  <a:lnTo>
                    <a:pt x="40379" y="217326"/>
                  </a:lnTo>
                  <a:lnTo>
                    <a:pt x="38070" y="219578"/>
                  </a:lnTo>
                  <a:lnTo>
                    <a:pt x="39226" y="220704"/>
                  </a:lnTo>
                  <a:lnTo>
                    <a:pt x="40379" y="218453"/>
                  </a:lnTo>
                  <a:lnTo>
                    <a:pt x="42686" y="218453"/>
                  </a:lnTo>
                  <a:lnTo>
                    <a:pt x="130364" y="144133"/>
                  </a:lnTo>
                  <a:lnTo>
                    <a:pt x="129210" y="141882"/>
                  </a:lnTo>
                  <a:lnTo>
                    <a:pt x="131518" y="144134"/>
                  </a:lnTo>
                  <a:lnTo>
                    <a:pt x="138439" y="139629"/>
                  </a:lnTo>
                  <a:lnTo>
                    <a:pt x="161512" y="134000"/>
                  </a:lnTo>
                  <a:lnTo>
                    <a:pt x="162666" y="130621"/>
                  </a:lnTo>
                  <a:close/>
                  <a:moveTo>
                    <a:pt x="170742" y="121613"/>
                  </a:moveTo>
                  <a:lnTo>
                    <a:pt x="173049" y="122739"/>
                  </a:lnTo>
                  <a:lnTo>
                    <a:pt x="170742" y="126117"/>
                  </a:lnTo>
                  <a:lnTo>
                    <a:pt x="174202" y="138503"/>
                  </a:lnTo>
                  <a:lnTo>
                    <a:pt x="175357" y="140756"/>
                  </a:lnTo>
                  <a:lnTo>
                    <a:pt x="175357" y="146386"/>
                  </a:lnTo>
                  <a:lnTo>
                    <a:pt x="178818" y="148638"/>
                  </a:lnTo>
                  <a:lnTo>
                    <a:pt x="175357" y="147511"/>
                  </a:lnTo>
                  <a:lnTo>
                    <a:pt x="171896" y="133999"/>
                  </a:lnTo>
                  <a:lnTo>
                    <a:pt x="169589" y="131747"/>
                  </a:lnTo>
                  <a:close/>
                  <a:moveTo>
                    <a:pt x="388745" y="32729"/>
                  </a:moveTo>
                  <a:lnTo>
                    <a:pt x="387629" y="34908"/>
                  </a:lnTo>
                  <a:lnTo>
                    <a:pt x="389937" y="38285"/>
                  </a:lnTo>
                  <a:lnTo>
                    <a:pt x="393398" y="37159"/>
                  </a:lnTo>
                  <a:lnTo>
                    <a:pt x="393753" y="37506"/>
                  </a:lnTo>
                  <a:lnTo>
                    <a:pt x="395706" y="35601"/>
                  </a:lnTo>
                  <a:lnTo>
                    <a:pt x="393398" y="33349"/>
                  </a:lnTo>
                  <a:lnTo>
                    <a:pt x="389938" y="34474"/>
                  </a:lnTo>
                  <a:close/>
                  <a:moveTo>
                    <a:pt x="261881" y="0"/>
                  </a:moveTo>
                  <a:lnTo>
                    <a:pt x="275725" y="0"/>
                  </a:lnTo>
                  <a:lnTo>
                    <a:pt x="275725" y="1126"/>
                  </a:lnTo>
                  <a:lnTo>
                    <a:pt x="283801" y="6756"/>
                  </a:lnTo>
                  <a:lnTo>
                    <a:pt x="284955" y="4504"/>
                  </a:lnTo>
                  <a:lnTo>
                    <a:pt x="291877" y="6756"/>
                  </a:lnTo>
                  <a:lnTo>
                    <a:pt x="295337" y="10134"/>
                  </a:lnTo>
                  <a:lnTo>
                    <a:pt x="303412" y="10134"/>
                  </a:lnTo>
                  <a:lnTo>
                    <a:pt x="302258" y="14638"/>
                  </a:lnTo>
                  <a:lnTo>
                    <a:pt x="309181" y="16891"/>
                  </a:lnTo>
                  <a:lnTo>
                    <a:pt x="312642" y="12387"/>
                  </a:lnTo>
                  <a:lnTo>
                    <a:pt x="316102" y="12386"/>
                  </a:lnTo>
                  <a:lnTo>
                    <a:pt x="319564" y="13512"/>
                  </a:lnTo>
                  <a:lnTo>
                    <a:pt x="318411" y="18016"/>
                  </a:lnTo>
                  <a:lnTo>
                    <a:pt x="328792" y="21394"/>
                  </a:lnTo>
                  <a:lnTo>
                    <a:pt x="321872" y="24772"/>
                  </a:lnTo>
                  <a:lnTo>
                    <a:pt x="325333" y="28152"/>
                  </a:lnTo>
                  <a:lnTo>
                    <a:pt x="329947" y="25899"/>
                  </a:lnTo>
                  <a:lnTo>
                    <a:pt x="333407" y="19143"/>
                  </a:lnTo>
                  <a:lnTo>
                    <a:pt x="342637" y="24772"/>
                  </a:lnTo>
                  <a:lnTo>
                    <a:pt x="343791" y="25899"/>
                  </a:lnTo>
                  <a:lnTo>
                    <a:pt x="342637" y="29278"/>
                  </a:lnTo>
                  <a:lnTo>
                    <a:pt x="346098" y="31529"/>
                  </a:lnTo>
                  <a:lnTo>
                    <a:pt x="354173" y="24773"/>
                  </a:lnTo>
                  <a:lnTo>
                    <a:pt x="351867" y="22521"/>
                  </a:lnTo>
                  <a:lnTo>
                    <a:pt x="354174" y="19142"/>
                  </a:lnTo>
                  <a:lnTo>
                    <a:pt x="351866" y="14638"/>
                  </a:lnTo>
                  <a:lnTo>
                    <a:pt x="353019" y="13512"/>
                  </a:lnTo>
                  <a:lnTo>
                    <a:pt x="362250" y="12387"/>
                  </a:lnTo>
                  <a:lnTo>
                    <a:pt x="366864" y="13513"/>
                  </a:lnTo>
                  <a:lnTo>
                    <a:pt x="372633" y="9008"/>
                  </a:lnTo>
                  <a:lnTo>
                    <a:pt x="374939" y="11260"/>
                  </a:lnTo>
                  <a:lnTo>
                    <a:pt x="379553" y="15764"/>
                  </a:lnTo>
                  <a:lnTo>
                    <a:pt x="379554" y="19143"/>
                  </a:lnTo>
                  <a:lnTo>
                    <a:pt x="389779" y="26905"/>
                  </a:lnTo>
                  <a:lnTo>
                    <a:pt x="389938" y="26593"/>
                  </a:lnTo>
                  <a:lnTo>
                    <a:pt x="389937" y="23215"/>
                  </a:lnTo>
                  <a:lnTo>
                    <a:pt x="393398" y="28845"/>
                  </a:lnTo>
                  <a:lnTo>
                    <a:pt x="396860" y="29971"/>
                  </a:lnTo>
                  <a:lnTo>
                    <a:pt x="398013" y="27719"/>
                  </a:lnTo>
                  <a:lnTo>
                    <a:pt x="402628" y="27719"/>
                  </a:lnTo>
                  <a:lnTo>
                    <a:pt x="406089" y="33349"/>
                  </a:lnTo>
                  <a:lnTo>
                    <a:pt x="404935" y="34474"/>
                  </a:lnTo>
                  <a:lnTo>
                    <a:pt x="408396" y="35601"/>
                  </a:lnTo>
                  <a:lnTo>
                    <a:pt x="415317" y="34475"/>
                  </a:lnTo>
                  <a:lnTo>
                    <a:pt x="417625" y="27719"/>
                  </a:lnTo>
                  <a:lnTo>
                    <a:pt x="425701" y="29971"/>
                  </a:lnTo>
                  <a:lnTo>
                    <a:pt x="426855" y="28845"/>
                  </a:lnTo>
                  <a:lnTo>
                    <a:pt x="425701" y="31097"/>
                  </a:lnTo>
                  <a:lnTo>
                    <a:pt x="426600" y="31754"/>
                  </a:lnTo>
                  <a:lnTo>
                    <a:pt x="422740" y="31249"/>
                  </a:lnTo>
                  <a:lnTo>
                    <a:pt x="421339" y="41959"/>
                  </a:lnTo>
                  <a:lnTo>
                    <a:pt x="587607" y="63708"/>
                  </a:lnTo>
                  <a:lnTo>
                    <a:pt x="592712" y="63708"/>
                  </a:lnTo>
                  <a:lnTo>
                    <a:pt x="592712" y="64376"/>
                  </a:lnTo>
                  <a:lnTo>
                    <a:pt x="595265" y="64710"/>
                  </a:lnTo>
                  <a:lnTo>
                    <a:pt x="592712" y="66786"/>
                  </a:lnTo>
                  <a:lnTo>
                    <a:pt x="592712" y="69547"/>
                  </a:lnTo>
                  <a:lnTo>
                    <a:pt x="602210" y="61932"/>
                  </a:lnTo>
                  <a:lnTo>
                    <a:pt x="603363" y="66437"/>
                  </a:lnTo>
                  <a:lnTo>
                    <a:pt x="607977" y="66436"/>
                  </a:lnTo>
                  <a:lnTo>
                    <a:pt x="609132" y="68689"/>
                  </a:lnTo>
                  <a:lnTo>
                    <a:pt x="606824" y="69815"/>
                  </a:lnTo>
                  <a:lnTo>
                    <a:pt x="609132" y="73193"/>
                  </a:lnTo>
                  <a:lnTo>
                    <a:pt x="610286" y="72067"/>
                  </a:lnTo>
                  <a:lnTo>
                    <a:pt x="617208" y="77698"/>
                  </a:lnTo>
                  <a:lnTo>
                    <a:pt x="613747" y="79949"/>
                  </a:lnTo>
                  <a:lnTo>
                    <a:pt x="616054" y="82201"/>
                  </a:lnTo>
                  <a:lnTo>
                    <a:pt x="624129" y="82201"/>
                  </a:lnTo>
                  <a:lnTo>
                    <a:pt x="634513" y="90084"/>
                  </a:lnTo>
                  <a:lnTo>
                    <a:pt x="635665" y="93462"/>
                  </a:lnTo>
                  <a:lnTo>
                    <a:pt x="632205" y="93462"/>
                  </a:lnTo>
                  <a:lnTo>
                    <a:pt x="618361" y="105848"/>
                  </a:lnTo>
                  <a:lnTo>
                    <a:pt x="618361" y="108100"/>
                  </a:lnTo>
                  <a:lnTo>
                    <a:pt x="621821" y="110353"/>
                  </a:lnTo>
                  <a:lnTo>
                    <a:pt x="619515" y="118235"/>
                  </a:lnTo>
                  <a:lnTo>
                    <a:pt x="611438" y="120487"/>
                  </a:lnTo>
                  <a:lnTo>
                    <a:pt x="620669" y="130621"/>
                  </a:lnTo>
                  <a:lnTo>
                    <a:pt x="622976" y="143008"/>
                  </a:lnTo>
                  <a:lnTo>
                    <a:pt x="612593" y="152016"/>
                  </a:lnTo>
                  <a:lnTo>
                    <a:pt x="609132" y="153141"/>
                  </a:lnTo>
                  <a:lnTo>
                    <a:pt x="613747" y="170033"/>
                  </a:lnTo>
                  <a:lnTo>
                    <a:pt x="618362" y="174537"/>
                  </a:lnTo>
                  <a:lnTo>
                    <a:pt x="602210" y="175663"/>
                  </a:lnTo>
                  <a:lnTo>
                    <a:pt x="582597" y="203814"/>
                  </a:lnTo>
                  <a:lnTo>
                    <a:pt x="580291" y="227460"/>
                  </a:lnTo>
                  <a:lnTo>
                    <a:pt x="595288" y="240974"/>
                  </a:lnTo>
                  <a:lnTo>
                    <a:pt x="589520" y="244351"/>
                  </a:lnTo>
                  <a:lnTo>
                    <a:pt x="589520" y="248856"/>
                  </a:lnTo>
                  <a:lnTo>
                    <a:pt x="583752" y="251108"/>
                  </a:lnTo>
                  <a:lnTo>
                    <a:pt x="576828" y="251108"/>
                  </a:lnTo>
                  <a:lnTo>
                    <a:pt x="562985" y="260116"/>
                  </a:lnTo>
                  <a:lnTo>
                    <a:pt x="559525" y="270251"/>
                  </a:lnTo>
                  <a:lnTo>
                    <a:pt x="553757" y="275881"/>
                  </a:lnTo>
                  <a:lnTo>
                    <a:pt x="552603" y="279259"/>
                  </a:lnTo>
                  <a:lnTo>
                    <a:pt x="545680" y="277006"/>
                  </a:lnTo>
                  <a:lnTo>
                    <a:pt x="537605" y="272503"/>
                  </a:lnTo>
                  <a:lnTo>
                    <a:pt x="534144" y="277007"/>
                  </a:lnTo>
                  <a:lnTo>
                    <a:pt x="532991" y="284889"/>
                  </a:lnTo>
                  <a:lnTo>
                    <a:pt x="536451" y="296150"/>
                  </a:lnTo>
                  <a:lnTo>
                    <a:pt x="536451" y="310788"/>
                  </a:lnTo>
                  <a:lnTo>
                    <a:pt x="534143" y="356956"/>
                  </a:lnTo>
                  <a:lnTo>
                    <a:pt x="535298" y="363712"/>
                  </a:lnTo>
                  <a:lnTo>
                    <a:pt x="529529" y="362586"/>
                  </a:lnTo>
                  <a:lnTo>
                    <a:pt x="524914" y="363712"/>
                  </a:lnTo>
                  <a:lnTo>
                    <a:pt x="487998" y="359208"/>
                  </a:lnTo>
                  <a:lnTo>
                    <a:pt x="485690" y="381729"/>
                  </a:lnTo>
                  <a:lnTo>
                    <a:pt x="438390" y="392989"/>
                  </a:lnTo>
                  <a:lnTo>
                    <a:pt x="424546" y="368216"/>
                  </a:lnTo>
                  <a:lnTo>
                    <a:pt x="424547" y="362586"/>
                  </a:lnTo>
                  <a:lnTo>
                    <a:pt x="421085" y="360334"/>
                  </a:lnTo>
                  <a:lnTo>
                    <a:pt x="411856" y="343443"/>
                  </a:lnTo>
                  <a:lnTo>
                    <a:pt x="408396" y="340066"/>
                  </a:lnTo>
                  <a:lnTo>
                    <a:pt x="354174" y="373847"/>
                  </a:lnTo>
                  <a:lnTo>
                    <a:pt x="318411" y="414385"/>
                  </a:lnTo>
                  <a:lnTo>
                    <a:pt x="335715" y="435779"/>
                  </a:lnTo>
                  <a:lnTo>
                    <a:pt x="331100" y="442535"/>
                  </a:lnTo>
                  <a:lnTo>
                    <a:pt x="343791" y="451543"/>
                  </a:lnTo>
                  <a:lnTo>
                    <a:pt x="338023" y="458299"/>
                  </a:lnTo>
                  <a:lnTo>
                    <a:pt x="338022" y="462804"/>
                  </a:lnTo>
                  <a:lnTo>
                    <a:pt x="332255" y="466182"/>
                  </a:lnTo>
                  <a:lnTo>
                    <a:pt x="328792" y="462804"/>
                  </a:lnTo>
                  <a:lnTo>
                    <a:pt x="318410" y="470686"/>
                  </a:lnTo>
                  <a:lnTo>
                    <a:pt x="313796" y="463930"/>
                  </a:lnTo>
                  <a:lnTo>
                    <a:pt x="305720" y="466182"/>
                  </a:lnTo>
                  <a:lnTo>
                    <a:pt x="273418" y="460552"/>
                  </a:lnTo>
                  <a:lnTo>
                    <a:pt x="266495" y="462804"/>
                  </a:lnTo>
                  <a:lnTo>
                    <a:pt x="273418" y="468433"/>
                  </a:lnTo>
                  <a:lnTo>
                    <a:pt x="281493" y="499963"/>
                  </a:lnTo>
                  <a:lnTo>
                    <a:pt x="271111" y="502216"/>
                  </a:lnTo>
                  <a:lnTo>
                    <a:pt x="266495" y="504468"/>
                  </a:lnTo>
                  <a:lnTo>
                    <a:pt x="251498" y="499963"/>
                  </a:lnTo>
                  <a:lnTo>
                    <a:pt x="235347" y="488703"/>
                  </a:lnTo>
                  <a:lnTo>
                    <a:pt x="223809" y="474064"/>
                  </a:lnTo>
                  <a:lnTo>
                    <a:pt x="219195" y="471812"/>
                  </a:lnTo>
                  <a:lnTo>
                    <a:pt x="218043" y="472938"/>
                  </a:lnTo>
                  <a:lnTo>
                    <a:pt x="214581" y="467308"/>
                  </a:lnTo>
                  <a:lnTo>
                    <a:pt x="212274" y="467308"/>
                  </a:lnTo>
                  <a:lnTo>
                    <a:pt x="211119" y="468434"/>
                  </a:lnTo>
                  <a:lnTo>
                    <a:pt x="208813" y="465057"/>
                  </a:lnTo>
                  <a:lnTo>
                    <a:pt x="206505" y="466182"/>
                  </a:lnTo>
                  <a:lnTo>
                    <a:pt x="202955" y="463584"/>
                  </a:lnTo>
                  <a:lnTo>
                    <a:pt x="205352" y="462804"/>
                  </a:lnTo>
                  <a:lnTo>
                    <a:pt x="203044" y="458299"/>
                  </a:lnTo>
                  <a:lnTo>
                    <a:pt x="199583" y="458300"/>
                  </a:lnTo>
                  <a:lnTo>
                    <a:pt x="203043" y="457174"/>
                  </a:lnTo>
                  <a:lnTo>
                    <a:pt x="203043" y="456048"/>
                  </a:lnTo>
                  <a:lnTo>
                    <a:pt x="198430" y="453796"/>
                  </a:lnTo>
                  <a:lnTo>
                    <a:pt x="197277" y="458299"/>
                  </a:lnTo>
                  <a:lnTo>
                    <a:pt x="198430" y="452669"/>
                  </a:lnTo>
                  <a:lnTo>
                    <a:pt x="194969" y="445913"/>
                  </a:lnTo>
                  <a:lnTo>
                    <a:pt x="192662" y="442535"/>
                  </a:lnTo>
                  <a:lnTo>
                    <a:pt x="193815" y="441409"/>
                  </a:lnTo>
                  <a:lnTo>
                    <a:pt x="193815" y="442535"/>
                  </a:lnTo>
                  <a:lnTo>
                    <a:pt x="197276" y="442535"/>
                  </a:lnTo>
                  <a:lnTo>
                    <a:pt x="194969" y="441409"/>
                  </a:lnTo>
                  <a:lnTo>
                    <a:pt x="200737" y="440283"/>
                  </a:lnTo>
                  <a:lnTo>
                    <a:pt x="193815" y="440283"/>
                  </a:lnTo>
                  <a:lnTo>
                    <a:pt x="190354" y="441409"/>
                  </a:lnTo>
                  <a:lnTo>
                    <a:pt x="194969" y="439157"/>
                  </a:lnTo>
                  <a:lnTo>
                    <a:pt x="199583" y="430149"/>
                  </a:lnTo>
                  <a:lnTo>
                    <a:pt x="203044" y="429023"/>
                  </a:lnTo>
                  <a:lnTo>
                    <a:pt x="208813" y="420014"/>
                  </a:lnTo>
                  <a:lnTo>
                    <a:pt x="222657" y="415511"/>
                  </a:lnTo>
                  <a:lnTo>
                    <a:pt x="226117" y="411006"/>
                  </a:lnTo>
                  <a:lnTo>
                    <a:pt x="231885" y="409880"/>
                  </a:lnTo>
                  <a:lnTo>
                    <a:pt x="233040" y="411006"/>
                  </a:lnTo>
                  <a:lnTo>
                    <a:pt x="236500" y="409880"/>
                  </a:lnTo>
                  <a:lnTo>
                    <a:pt x="236500" y="407628"/>
                  </a:lnTo>
                  <a:lnTo>
                    <a:pt x="237654" y="409879"/>
                  </a:lnTo>
                  <a:lnTo>
                    <a:pt x="241114" y="408754"/>
                  </a:lnTo>
                  <a:lnTo>
                    <a:pt x="246883" y="401998"/>
                  </a:lnTo>
                  <a:lnTo>
                    <a:pt x="246884" y="390738"/>
                  </a:lnTo>
                  <a:lnTo>
                    <a:pt x="249190" y="382855"/>
                  </a:lnTo>
                  <a:lnTo>
                    <a:pt x="244577" y="376099"/>
                  </a:lnTo>
                  <a:lnTo>
                    <a:pt x="245730" y="373846"/>
                  </a:lnTo>
                  <a:lnTo>
                    <a:pt x="241114" y="354704"/>
                  </a:lnTo>
                  <a:lnTo>
                    <a:pt x="235347" y="349075"/>
                  </a:lnTo>
                  <a:lnTo>
                    <a:pt x="242269" y="344569"/>
                  </a:lnTo>
                  <a:lnTo>
                    <a:pt x="242269" y="345696"/>
                  </a:lnTo>
                  <a:lnTo>
                    <a:pt x="244577" y="346822"/>
                  </a:lnTo>
                  <a:lnTo>
                    <a:pt x="245619" y="341728"/>
                  </a:lnTo>
                  <a:lnTo>
                    <a:pt x="248037" y="342317"/>
                  </a:lnTo>
                  <a:lnTo>
                    <a:pt x="249191" y="328805"/>
                  </a:lnTo>
                  <a:lnTo>
                    <a:pt x="250345" y="327679"/>
                  </a:lnTo>
                  <a:lnTo>
                    <a:pt x="252652" y="331057"/>
                  </a:lnTo>
                  <a:lnTo>
                    <a:pt x="248037" y="320923"/>
                  </a:lnTo>
                  <a:lnTo>
                    <a:pt x="242269" y="320922"/>
                  </a:lnTo>
                  <a:lnTo>
                    <a:pt x="251498" y="318670"/>
                  </a:lnTo>
                  <a:lnTo>
                    <a:pt x="275725" y="299528"/>
                  </a:lnTo>
                  <a:lnTo>
                    <a:pt x="265343" y="307410"/>
                  </a:lnTo>
                  <a:lnTo>
                    <a:pt x="263035" y="305158"/>
                  </a:lnTo>
                  <a:lnTo>
                    <a:pt x="263035" y="306284"/>
                  </a:lnTo>
                  <a:lnTo>
                    <a:pt x="260438" y="305439"/>
                  </a:lnTo>
                  <a:lnTo>
                    <a:pt x="260727" y="305158"/>
                  </a:lnTo>
                  <a:lnTo>
                    <a:pt x="259573" y="305158"/>
                  </a:lnTo>
                  <a:lnTo>
                    <a:pt x="260438" y="305439"/>
                  </a:lnTo>
                  <a:lnTo>
                    <a:pt x="259573" y="306284"/>
                  </a:lnTo>
                  <a:lnTo>
                    <a:pt x="261881" y="306284"/>
                  </a:lnTo>
                  <a:lnTo>
                    <a:pt x="261881" y="308537"/>
                  </a:lnTo>
                  <a:lnTo>
                    <a:pt x="263035" y="306284"/>
                  </a:lnTo>
                  <a:lnTo>
                    <a:pt x="264187" y="307410"/>
                  </a:lnTo>
                  <a:lnTo>
                    <a:pt x="261881" y="309662"/>
                  </a:lnTo>
                  <a:lnTo>
                    <a:pt x="257267" y="305158"/>
                  </a:lnTo>
                  <a:lnTo>
                    <a:pt x="259573" y="310788"/>
                  </a:lnTo>
                  <a:lnTo>
                    <a:pt x="254960" y="315293"/>
                  </a:lnTo>
                  <a:lnTo>
                    <a:pt x="254960" y="314166"/>
                  </a:lnTo>
                  <a:lnTo>
                    <a:pt x="253805" y="314167"/>
                  </a:lnTo>
                  <a:lnTo>
                    <a:pt x="251498" y="318670"/>
                  </a:lnTo>
                  <a:lnTo>
                    <a:pt x="252652" y="314166"/>
                  </a:lnTo>
                  <a:lnTo>
                    <a:pt x="250345" y="304031"/>
                  </a:lnTo>
                  <a:lnTo>
                    <a:pt x="251497" y="302905"/>
                  </a:lnTo>
                  <a:lnTo>
                    <a:pt x="249191" y="301780"/>
                  </a:lnTo>
                  <a:lnTo>
                    <a:pt x="250345" y="299528"/>
                  </a:lnTo>
                  <a:lnTo>
                    <a:pt x="249191" y="299528"/>
                  </a:lnTo>
                  <a:lnTo>
                    <a:pt x="248037" y="295024"/>
                  </a:lnTo>
                  <a:lnTo>
                    <a:pt x="246884" y="295023"/>
                  </a:lnTo>
                  <a:lnTo>
                    <a:pt x="248037" y="292772"/>
                  </a:lnTo>
                  <a:lnTo>
                    <a:pt x="245730" y="292772"/>
                  </a:lnTo>
                  <a:lnTo>
                    <a:pt x="246884" y="291646"/>
                  </a:lnTo>
                  <a:lnTo>
                    <a:pt x="244576" y="289393"/>
                  </a:lnTo>
                  <a:lnTo>
                    <a:pt x="243423" y="281511"/>
                  </a:lnTo>
                  <a:lnTo>
                    <a:pt x="239961" y="273629"/>
                  </a:lnTo>
                  <a:lnTo>
                    <a:pt x="241115" y="270251"/>
                  </a:lnTo>
                  <a:lnTo>
                    <a:pt x="239961" y="270250"/>
                  </a:lnTo>
                  <a:lnTo>
                    <a:pt x="239961" y="272502"/>
                  </a:lnTo>
                  <a:lnTo>
                    <a:pt x="237654" y="266872"/>
                  </a:lnTo>
                  <a:lnTo>
                    <a:pt x="238719" y="250241"/>
                  </a:lnTo>
                  <a:lnTo>
                    <a:pt x="239577" y="247729"/>
                  </a:lnTo>
                  <a:lnTo>
                    <a:pt x="241115" y="245478"/>
                  </a:lnTo>
                  <a:lnTo>
                    <a:pt x="242269" y="246604"/>
                  </a:lnTo>
                  <a:lnTo>
                    <a:pt x="241114" y="243225"/>
                  </a:lnTo>
                  <a:lnTo>
                    <a:pt x="244576" y="242100"/>
                  </a:lnTo>
                  <a:lnTo>
                    <a:pt x="244577" y="234217"/>
                  </a:lnTo>
                  <a:lnTo>
                    <a:pt x="246883" y="234218"/>
                  </a:lnTo>
                  <a:lnTo>
                    <a:pt x="248038" y="231965"/>
                  </a:lnTo>
                  <a:lnTo>
                    <a:pt x="245730" y="233091"/>
                  </a:lnTo>
                  <a:lnTo>
                    <a:pt x="244577" y="231965"/>
                  </a:lnTo>
                  <a:lnTo>
                    <a:pt x="245730" y="230839"/>
                  </a:lnTo>
                  <a:lnTo>
                    <a:pt x="249190" y="216201"/>
                  </a:lnTo>
                  <a:lnTo>
                    <a:pt x="248038" y="218453"/>
                  </a:lnTo>
                  <a:lnTo>
                    <a:pt x="244576" y="219579"/>
                  </a:lnTo>
                  <a:lnTo>
                    <a:pt x="238808" y="216201"/>
                  </a:lnTo>
                  <a:lnTo>
                    <a:pt x="236500" y="212822"/>
                  </a:lnTo>
                  <a:lnTo>
                    <a:pt x="238807" y="207192"/>
                  </a:lnTo>
                  <a:lnTo>
                    <a:pt x="235347" y="207192"/>
                  </a:lnTo>
                  <a:lnTo>
                    <a:pt x="236501" y="203814"/>
                  </a:lnTo>
                  <a:lnTo>
                    <a:pt x="241115" y="203814"/>
                  </a:lnTo>
                  <a:lnTo>
                    <a:pt x="242269" y="202688"/>
                  </a:lnTo>
                  <a:lnTo>
                    <a:pt x="241114" y="191428"/>
                  </a:lnTo>
                  <a:lnTo>
                    <a:pt x="243423" y="192554"/>
                  </a:lnTo>
                  <a:lnTo>
                    <a:pt x="246884" y="199310"/>
                  </a:lnTo>
                  <a:lnTo>
                    <a:pt x="242268" y="189176"/>
                  </a:lnTo>
                  <a:lnTo>
                    <a:pt x="244576" y="177915"/>
                  </a:lnTo>
                  <a:lnTo>
                    <a:pt x="242269" y="174537"/>
                  </a:lnTo>
                  <a:lnTo>
                    <a:pt x="239961" y="198183"/>
                  </a:lnTo>
                  <a:lnTo>
                    <a:pt x="235346" y="201562"/>
                  </a:lnTo>
                  <a:lnTo>
                    <a:pt x="231885" y="198184"/>
                  </a:lnTo>
                  <a:lnTo>
                    <a:pt x="233040" y="195932"/>
                  </a:lnTo>
                  <a:lnTo>
                    <a:pt x="229578" y="186924"/>
                  </a:lnTo>
                  <a:lnTo>
                    <a:pt x="226118" y="184672"/>
                  </a:lnTo>
                  <a:lnTo>
                    <a:pt x="228426" y="182419"/>
                  </a:lnTo>
                  <a:lnTo>
                    <a:pt x="224963" y="183546"/>
                  </a:lnTo>
                  <a:lnTo>
                    <a:pt x="223810" y="180167"/>
                  </a:lnTo>
                  <a:lnTo>
                    <a:pt x="216888" y="182419"/>
                  </a:lnTo>
                  <a:lnTo>
                    <a:pt x="213428" y="181293"/>
                  </a:lnTo>
                  <a:lnTo>
                    <a:pt x="214581" y="180167"/>
                  </a:lnTo>
                  <a:lnTo>
                    <a:pt x="213428" y="179041"/>
                  </a:lnTo>
                  <a:lnTo>
                    <a:pt x="213428" y="181293"/>
                  </a:lnTo>
                  <a:lnTo>
                    <a:pt x="212273" y="179041"/>
                  </a:lnTo>
                  <a:lnTo>
                    <a:pt x="219196" y="174537"/>
                  </a:lnTo>
                  <a:lnTo>
                    <a:pt x="216889" y="168907"/>
                  </a:lnTo>
                  <a:lnTo>
                    <a:pt x="218042" y="168906"/>
                  </a:lnTo>
                  <a:lnTo>
                    <a:pt x="216889" y="165528"/>
                  </a:lnTo>
                  <a:lnTo>
                    <a:pt x="215734" y="164403"/>
                  </a:lnTo>
                  <a:lnTo>
                    <a:pt x="212274" y="165529"/>
                  </a:lnTo>
                  <a:lnTo>
                    <a:pt x="211119" y="163276"/>
                  </a:lnTo>
                  <a:lnTo>
                    <a:pt x="224963" y="163276"/>
                  </a:lnTo>
                  <a:lnTo>
                    <a:pt x="224964" y="165528"/>
                  </a:lnTo>
                  <a:lnTo>
                    <a:pt x="224964" y="166655"/>
                  </a:lnTo>
                  <a:lnTo>
                    <a:pt x="228425" y="166655"/>
                  </a:lnTo>
                  <a:lnTo>
                    <a:pt x="228425" y="163276"/>
                  </a:lnTo>
                  <a:lnTo>
                    <a:pt x="230733" y="163277"/>
                  </a:lnTo>
                  <a:lnTo>
                    <a:pt x="230733" y="167781"/>
                  </a:lnTo>
                  <a:lnTo>
                    <a:pt x="228425" y="168906"/>
                  </a:lnTo>
                  <a:lnTo>
                    <a:pt x="231885" y="167781"/>
                  </a:lnTo>
                  <a:lnTo>
                    <a:pt x="231885" y="172284"/>
                  </a:lnTo>
                  <a:lnTo>
                    <a:pt x="233039" y="168906"/>
                  </a:lnTo>
                  <a:lnTo>
                    <a:pt x="231886" y="163276"/>
                  </a:lnTo>
                  <a:lnTo>
                    <a:pt x="235347" y="168907"/>
                  </a:lnTo>
                  <a:lnTo>
                    <a:pt x="234194" y="171158"/>
                  </a:lnTo>
                  <a:lnTo>
                    <a:pt x="237654" y="172284"/>
                  </a:lnTo>
                  <a:lnTo>
                    <a:pt x="239962" y="170033"/>
                  </a:lnTo>
                  <a:lnTo>
                    <a:pt x="236500" y="170033"/>
                  </a:lnTo>
                  <a:lnTo>
                    <a:pt x="236500" y="167781"/>
                  </a:lnTo>
                  <a:lnTo>
                    <a:pt x="234193" y="163276"/>
                  </a:lnTo>
                  <a:lnTo>
                    <a:pt x="236501" y="163276"/>
                  </a:lnTo>
                  <a:lnTo>
                    <a:pt x="238808" y="168907"/>
                  </a:lnTo>
                  <a:lnTo>
                    <a:pt x="237653" y="163276"/>
                  </a:lnTo>
                  <a:lnTo>
                    <a:pt x="243423" y="168906"/>
                  </a:lnTo>
                  <a:lnTo>
                    <a:pt x="242268" y="163276"/>
                  </a:lnTo>
                  <a:lnTo>
                    <a:pt x="233040" y="152016"/>
                  </a:lnTo>
                  <a:lnTo>
                    <a:pt x="231886" y="152016"/>
                  </a:lnTo>
                  <a:lnTo>
                    <a:pt x="233040" y="150890"/>
                  </a:lnTo>
                  <a:lnTo>
                    <a:pt x="229579" y="144133"/>
                  </a:lnTo>
                  <a:lnTo>
                    <a:pt x="230733" y="133999"/>
                  </a:lnTo>
                  <a:lnTo>
                    <a:pt x="227270" y="124991"/>
                  </a:lnTo>
                  <a:lnTo>
                    <a:pt x="223809" y="115982"/>
                  </a:lnTo>
                  <a:lnTo>
                    <a:pt x="218042" y="102470"/>
                  </a:lnTo>
                  <a:lnTo>
                    <a:pt x="212273" y="104722"/>
                  </a:lnTo>
                  <a:lnTo>
                    <a:pt x="189201" y="126117"/>
                  </a:lnTo>
                  <a:lnTo>
                    <a:pt x="176511" y="134000"/>
                  </a:lnTo>
                  <a:lnTo>
                    <a:pt x="177664" y="146386"/>
                  </a:lnTo>
                  <a:lnTo>
                    <a:pt x="173049" y="124991"/>
                  </a:lnTo>
                  <a:lnTo>
                    <a:pt x="176510" y="129495"/>
                  </a:lnTo>
                  <a:lnTo>
                    <a:pt x="185739" y="126117"/>
                  </a:lnTo>
                  <a:lnTo>
                    <a:pt x="216889" y="96840"/>
                  </a:lnTo>
                  <a:lnTo>
                    <a:pt x="220349" y="91209"/>
                  </a:lnTo>
                  <a:lnTo>
                    <a:pt x="221502" y="81075"/>
                  </a:lnTo>
                  <a:lnTo>
                    <a:pt x="218042" y="75445"/>
                  </a:lnTo>
                  <a:lnTo>
                    <a:pt x="235347" y="65311"/>
                  </a:lnTo>
                  <a:lnTo>
                    <a:pt x="235347" y="64184"/>
                  </a:lnTo>
                  <a:lnTo>
                    <a:pt x="241115" y="59681"/>
                  </a:lnTo>
                  <a:lnTo>
                    <a:pt x="246883" y="40537"/>
                  </a:lnTo>
                  <a:lnTo>
                    <a:pt x="251498" y="3378"/>
                  </a:lnTo>
                  <a:lnTo>
                    <a:pt x="252652" y="1126"/>
                  </a:lnTo>
                  <a:lnTo>
                    <a:pt x="257267" y="4504"/>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8" name="Waadhoeke">
              <a:extLst>
                <a:ext uri="{FF2B5EF4-FFF2-40B4-BE49-F238E27FC236}">
                  <a16:creationId xmlns:a16="http://schemas.microsoft.com/office/drawing/2014/main" id="{FF23B31E-1515-4A72-A995-6E3521193236}"/>
                </a:ext>
              </a:extLst>
            </p:cNvPr>
            <p:cNvSpPr/>
            <p:nvPr/>
          </p:nvSpPr>
          <p:spPr>
            <a:xfrm rot="1117178">
              <a:off x="6301085" y="1511667"/>
              <a:ext cx="311976" cy="374900"/>
            </a:xfrm>
            <a:custGeom>
              <a:avLst/>
              <a:gdLst>
                <a:gd name="connsiteX0" fmla="*/ 0 w 310672"/>
                <a:gd name="connsiteY0" fmla="*/ 285562 h 386406"/>
                <a:gd name="connsiteX1" fmla="*/ 1813 w 310672"/>
                <a:gd name="connsiteY1" fmla="*/ 287328 h 386406"/>
                <a:gd name="connsiteX2" fmla="*/ 360 w 310672"/>
                <a:gd name="connsiteY2" fmla="*/ 286629 h 386406"/>
                <a:gd name="connsiteX3" fmla="*/ 83456 w 310672"/>
                <a:gd name="connsiteY3" fmla="*/ 168326 h 386406"/>
                <a:gd name="connsiteX4" fmla="*/ 79046 w 310672"/>
                <a:gd name="connsiteY4" fmla="*/ 170837 h 386406"/>
                <a:gd name="connsiteX5" fmla="*/ 79443 w 310672"/>
                <a:gd name="connsiteY5" fmla="*/ 170866 h 386406"/>
                <a:gd name="connsiteX6" fmla="*/ 68187 w 310672"/>
                <a:gd name="connsiteY6" fmla="*/ 166353 h 386406"/>
                <a:gd name="connsiteX7" fmla="*/ 70711 w 310672"/>
                <a:gd name="connsiteY7" fmla="*/ 170243 h 386406"/>
                <a:gd name="connsiteX8" fmla="*/ 75948 w 310672"/>
                <a:gd name="connsiteY8" fmla="*/ 170617 h 386406"/>
                <a:gd name="connsiteX9" fmla="*/ 70351 w 310672"/>
                <a:gd name="connsiteY9" fmla="*/ 169176 h 386406"/>
                <a:gd name="connsiteX10" fmla="*/ 205698 w 310672"/>
                <a:gd name="connsiteY10" fmla="*/ 0 h 386406"/>
                <a:gd name="connsiteX11" fmla="*/ 215449 w 310672"/>
                <a:gd name="connsiteY11" fmla="*/ 18102 h 386406"/>
                <a:gd name="connsiteX12" fmla="*/ 217591 w 310672"/>
                <a:gd name="connsiteY12" fmla="*/ 28074 h 386406"/>
                <a:gd name="connsiteX13" fmla="*/ 224526 w 310672"/>
                <a:gd name="connsiteY13" fmla="*/ 23362 h 386406"/>
                <a:gd name="connsiteX14" fmla="*/ 246362 w 310672"/>
                <a:gd name="connsiteY14" fmla="*/ 23134 h 386406"/>
                <a:gd name="connsiteX15" fmla="*/ 245973 w 310672"/>
                <a:gd name="connsiteY15" fmla="*/ 29206 h 386406"/>
                <a:gd name="connsiteX16" fmla="*/ 241556 w 310672"/>
                <a:gd name="connsiteY16" fmla="*/ 41389 h 386406"/>
                <a:gd name="connsiteX17" fmla="*/ 242216 w 310672"/>
                <a:gd name="connsiteY17" fmla="*/ 57801 h 386406"/>
                <a:gd name="connsiteX18" fmla="*/ 237843 w 310672"/>
                <a:gd name="connsiteY18" fmla="*/ 59275 h 386406"/>
                <a:gd name="connsiteX19" fmla="*/ 237440 w 310672"/>
                <a:gd name="connsiteY19" fmla="*/ 68916 h 386406"/>
                <a:gd name="connsiteX20" fmla="*/ 236346 w 310672"/>
                <a:gd name="connsiteY20" fmla="*/ 69285 h 386406"/>
                <a:gd name="connsiteX21" fmla="*/ 235972 w 310672"/>
                <a:gd name="connsiteY21" fmla="*/ 71788 h 386406"/>
                <a:gd name="connsiteX22" fmla="*/ 238159 w 310672"/>
                <a:gd name="connsiteY22" fmla="*/ 71051 h 386406"/>
                <a:gd name="connsiteX23" fmla="*/ 237006 w 310672"/>
                <a:gd name="connsiteY23" fmla="*/ 85698 h 386406"/>
                <a:gd name="connsiteX24" fmla="*/ 238444 w 310672"/>
                <a:gd name="connsiteY24" fmla="*/ 89966 h 386406"/>
                <a:gd name="connsiteX25" fmla="*/ 238070 w 310672"/>
                <a:gd name="connsiteY25" fmla="*/ 92468 h 386406"/>
                <a:gd name="connsiteX26" fmla="*/ 242414 w 310672"/>
                <a:gd name="connsiteY26" fmla="*/ 98134 h 386406"/>
                <a:gd name="connsiteX27" fmla="*/ 258769 w 310672"/>
                <a:gd name="connsiteY27" fmla="*/ 103319 h 386406"/>
                <a:gd name="connsiteX28" fmla="*/ 255460 w 310672"/>
                <a:gd name="connsiteY28" fmla="*/ 111563 h 386406"/>
                <a:gd name="connsiteX29" fmla="*/ 265600 w 310672"/>
                <a:gd name="connsiteY29" fmla="*/ 123593 h 386406"/>
                <a:gd name="connsiteX30" fmla="*/ 267398 w 310672"/>
                <a:gd name="connsiteY30" fmla="*/ 128929 h 386406"/>
                <a:gd name="connsiteX31" fmla="*/ 265553 w 310672"/>
                <a:gd name="connsiteY31" fmla="*/ 129876 h 386406"/>
                <a:gd name="connsiteX32" fmla="*/ 279005 w 310672"/>
                <a:gd name="connsiteY32" fmla="*/ 138090 h 386406"/>
                <a:gd name="connsiteX33" fmla="*/ 269121 w 310672"/>
                <a:gd name="connsiteY33" fmla="*/ 152113 h 386406"/>
                <a:gd name="connsiteX34" fmla="*/ 278571 w 310672"/>
                <a:gd name="connsiteY34" fmla="*/ 154870 h 386406"/>
                <a:gd name="connsiteX35" fmla="*/ 273824 w 310672"/>
                <a:gd name="connsiteY35" fmla="*/ 158846 h 386406"/>
                <a:gd name="connsiteX36" fmla="*/ 283561 w 310672"/>
                <a:gd name="connsiteY36" fmla="*/ 180519 h 386406"/>
                <a:gd name="connsiteX37" fmla="*/ 295947 w 310672"/>
                <a:gd name="connsiteY37" fmla="*/ 177534 h 386406"/>
                <a:gd name="connsiteX38" fmla="*/ 295918 w 310672"/>
                <a:gd name="connsiteY38" fmla="*/ 184673 h 386406"/>
                <a:gd name="connsiteX39" fmla="*/ 286078 w 310672"/>
                <a:gd name="connsiteY39" fmla="*/ 187988 h 386406"/>
                <a:gd name="connsiteX40" fmla="*/ 290781 w 310672"/>
                <a:gd name="connsiteY40" fmla="*/ 194722 h 386406"/>
                <a:gd name="connsiteX41" fmla="*/ 291874 w 310672"/>
                <a:gd name="connsiteY41" fmla="*/ 194354 h 386406"/>
                <a:gd name="connsiteX42" fmla="*/ 303108 w 310672"/>
                <a:gd name="connsiteY42" fmla="*/ 206015 h 386406"/>
                <a:gd name="connsiteX43" fmla="*/ 301971 w 310672"/>
                <a:gd name="connsiteY43" fmla="*/ 217093 h 386406"/>
                <a:gd name="connsiteX44" fmla="*/ 304157 w 310672"/>
                <a:gd name="connsiteY44" fmla="*/ 216357 h 386406"/>
                <a:gd name="connsiteX45" fmla="*/ 306300 w 310672"/>
                <a:gd name="connsiteY45" fmla="*/ 226328 h 386406"/>
                <a:gd name="connsiteX46" fmla="*/ 310672 w 310672"/>
                <a:gd name="connsiteY46" fmla="*/ 224855 h 386406"/>
                <a:gd name="connsiteX47" fmla="*/ 309550 w 310672"/>
                <a:gd name="connsiteY47" fmla="*/ 232362 h 386406"/>
                <a:gd name="connsiteX48" fmla="*/ 309850 w 310672"/>
                <a:gd name="connsiteY48" fmla="*/ 247709 h 386406"/>
                <a:gd name="connsiteX49" fmla="*/ 308009 w 310672"/>
                <a:gd name="connsiteY49" fmla="*/ 253082 h 386406"/>
                <a:gd name="connsiteX50" fmla="*/ 305103 w 310672"/>
                <a:gd name="connsiteY50" fmla="*/ 251685 h 386406"/>
                <a:gd name="connsiteX51" fmla="*/ 302543 w 310672"/>
                <a:gd name="connsiteY51" fmla="*/ 254923 h 386406"/>
                <a:gd name="connsiteX52" fmla="*/ 303262 w 310672"/>
                <a:gd name="connsiteY52" fmla="*/ 257058 h 386406"/>
                <a:gd name="connsiteX53" fmla="*/ 301060 w 310672"/>
                <a:gd name="connsiteY53" fmla="*/ 261364 h 386406"/>
                <a:gd name="connsiteX54" fmla="*/ 297810 w 310672"/>
                <a:gd name="connsiteY54" fmla="*/ 255330 h 386406"/>
                <a:gd name="connsiteX55" fmla="*/ 294530 w 310672"/>
                <a:gd name="connsiteY55" fmla="*/ 256435 h 386406"/>
                <a:gd name="connsiteX56" fmla="*/ 293063 w 310672"/>
                <a:gd name="connsiteY56" fmla="*/ 259306 h 386406"/>
                <a:gd name="connsiteX57" fmla="*/ 285454 w 310672"/>
                <a:gd name="connsiteY57" fmla="*/ 251175 h 386406"/>
                <a:gd name="connsiteX58" fmla="*/ 279973 w 310672"/>
                <a:gd name="connsiteY58" fmla="*/ 256587 h 386406"/>
                <a:gd name="connsiteX59" fmla="*/ 273054 w 310672"/>
                <a:gd name="connsiteY59" fmla="*/ 257730 h 386406"/>
                <a:gd name="connsiteX60" fmla="*/ 268710 w 310672"/>
                <a:gd name="connsiteY60" fmla="*/ 252064 h 386406"/>
                <a:gd name="connsiteX61" fmla="*/ 263258 w 310672"/>
                <a:gd name="connsiteY61" fmla="*/ 250335 h 386406"/>
                <a:gd name="connsiteX62" fmla="*/ 257791 w 310672"/>
                <a:gd name="connsiteY62" fmla="*/ 252177 h 386406"/>
                <a:gd name="connsiteX63" fmla="*/ 255620 w 310672"/>
                <a:gd name="connsiteY63" fmla="*/ 249344 h 386406"/>
                <a:gd name="connsiteX64" fmla="*/ 250499 w 310672"/>
                <a:gd name="connsiteY64" fmla="*/ 255824 h 386406"/>
                <a:gd name="connsiteX65" fmla="*/ 249750 w 310672"/>
                <a:gd name="connsiteY65" fmla="*/ 260827 h 386406"/>
                <a:gd name="connsiteX66" fmla="*/ 246845 w 310672"/>
                <a:gd name="connsiteY66" fmla="*/ 259431 h 386406"/>
                <a:gd name="connsiteX67" fmla="*/ 243895 w 310672"/>
                <a:gd name="connsiteY67" fmla="*/ 268742 h 386406"/>
                <a:gd name="connsiteX68" fmla="*/ 241723 w 310672"/>
                <a:gd name="connsiteY68" fmla="*/ 265909 h 386406"/>
                <a:gd name="connsiteX69" fmla="*/ 239536 w 310672"/>
                <a:gd name="connsiteY69" fmla="*/ 266646 h 386406"/>
                <a:gd name="connsiteX70" fmla="*/ 238039 w 310672"/>
                <a:gd name="connsiteY70" fmla="*/ 276656 h 386406"/>
                <a:gd name="connsiteX71" fmla="*/ 232184 w 310672"/>
                <a:gd name="connsiteY71" fmla="*/ 284570 h 386406"/>
                <a:gd name="connsiteX72" fmla="*/ 216548 w 310672"/>
                <a:gd name="connsiteY72" fmla="*/ 281520 h 386406"/>
                <a:gd name="connsiteX73" fmla="*/ 214347 w 310672"/>
                <a:gd name="connsiteY73" fmla="*/ 285827 h 386406"/>
                <a:gd name="connsiteX74" fmla="*/ 211442 w 310672"/>
                <a:gd name="connsiteY74" fmla="*/ 284429 h 386406"/>
                <a:gd name="connsiteX75" fmla="*/ 211786 w 310672"/>
                <a:gd name="connsiteY75" fmla="*/ 289066 h 386406"/>
                <a:gd name="connsiteX76" fmla="*/ 206335 w 310672"/>
                <a:gd name="connsiteY76" fmla="*/ 287338 h 386406"/>
                <a:gd name="connsiteX77" fmla="*/ 202681 w 310672"/>
                <a:gd name="connsiteY77" fmla="*/ 290945 h 386406"/>
                <a:gd name="connsiteX78" fmla="*/ 195057 w 310672"/>
                <a:gd name="connsiteY78" fmla="*/ 286385 h 386406"/>
                <a:gd name="connsiteX79" fmla="*/ 196165 w 310672"/>
                <a:gd name="connsiteY79" fmla="*/ 282447 h 386406"/>
                <a:gd name="connsiteX80" fmla="*/ 180529 w 310672"/>
                <a:gd name="connsiteY80" fmla="*/ 279398 h 386406"/>
                <a:gd name="connsiteX81" fmla="*/ 181636 w 310672"/>
                <a:gd name="connsiteY81" fmla="*/ 275459 h 386406"/>
                <a:gd name="connsiteX82" fmla="*/ 176342 w 310672"/>
                <a:gd name="connsiteY82" fmla="*/ 273781 h 386406"/>
                <a:gd name="connsiteX83" fmla="*/ 164116 w 310672"/>
                <a:gd name="connsiteY83" fmla="*/ 288492 h 386406"/>
                <a:gd name="connsiteX84" fmla="*/ 165569 w 310672"/>
                <a:gd name="connsiteY84" fmla="*/ 289191 h 386406"/>
                <a:gd name="connsiteX85" fmla="*/ 164102 w 310672"/>
                <a:gd name="connsiteY85" fmla="*/ 292061 h 386406"/>
                <a:gd name="connsiteX86" fmla="*/ 165913 w 310672"/>
                <a:gd name="connsiteY86" fmla="*/ 293827 h 386406"/>
                <a:gd name="connsiteX87" fmla="*/ 165180 w 310672"/>
                <a:gd name="connsiteY87" fmla="*/ 295263 h 386406"/>
                <a:gd name="connsiteX88" fmla="*/ 166992 w 310672"/>
                <a:gd name="connsiteY88" fmla="*/ 297029 h 386406"/>
                <a:gd name="connsiteX89" fmla="*/ 163698 w 310672"/>
                <a:gd name="connsiteY89" fmla="*/ 301703 h 386406"/>
                <a:gd name="connsiteX90" fmla="*/ 163683 w 310672"/>
                <a:gd name="connsiteY90" fmla="*/ 305273 h 386406"/>
                <a:gd name="connsiteX91" fmla="*/ 162230 w 310672"/>
                <a:gd name="connsiteY91" fmla="*/ 304575 h 386406"/>
                <a:gd name="connsiteX92" fmla="*/ 161856 w 310672"/>
                <a:gd name="connsiteY92" fmla="*/ 307076 h 386406"/>
                <a:gd name="connsiteX93" fmla="*/ 160403 w 310672"/>
                <a:gd name="connsiteY93" fmla="*/ 306378 h 386406"/>
                <a:gd name="connsiteX94" fmla="*/ 162575 w 310672"/>
                <a:gd name="connsiteY94" fmla="*/ 309211 h 386406"/>
                <a:gd name="connsiteX95" fmla="*/ 161841 w 310672"/>
                <a:gd name="connsiteY95" fmla="*/ 310647 h 386406"/>
                <a:gd name="connsiteX96" fmla="*/ 162186 w 310672"/>
                <a:gd name="connsiteY96" fmla="*/ 315284 h 386406"/>
                <a:gd name="connsiteX97" fmla="*/ 171652 w 310672"/>
                <a:gd name="connsiteY97" fmla="*/ 314471 h 386406"/>
                <a:gd name="connsiteX98" fmla="*/ 172730 w 310672"/>
                <a:gd name="connsiteY98" fmla="*/ 317672 h 386406"/>
                <a:gd name="connsiteX99" fmla="*/ 176010 w 310672"/>
                <a:gd name="connsiteY99" fmla="*/ 316567 h 386406"/>
                <a:gd name="connsiteX100" fmla="*/ 181417 w 310672"/>
                <a:gd name="connsiteY100" fmla="*/ 329004 h 386406"/>
                <a:gd name="connsiteX101" fmla="*/ 187617 w 310672"/>
                <a:gd name="connsiteY101" fmla="*/ 325727 h 386406"/>
                <a:gd name="connsiteX102" fmla="*/ 197038 w 310672"/>
                <a:gd name="connsiteY102" fmla="*/ 335623 h 386406"/>
                <a:gd name="connsiteX103" fmla="*/ 195571 w 310672"/>
                <a:gd name="connsiteY103" fmla="*/ 338494 h 386406"/>
                <a:gd name="connsiteX104" fmla="*/ 195211 w 310672"/>
                <a:gd name="connsiteY104" fmla="*/ 337427 h 386406"/>
                <a:gd name="connsiteX105" fmla="*/ 190839 w 310672"/>
                <a:gd name="connsiteY105" fmla="*/ 338900 h 386406"/>
                <a:gd name="connsiteX106" fmla="*/ 191183 w 310672"/>
                <a:gd name="connsiteY106" fmla="*/ 343537 h 386406"/>
                <a:gd name="connsiteX107" fmla="*/ 182422 w 310672"/>
                <a:gd name="connsiteY107" fmla="*/ 350053 h 386406"/>
                <a:gd name="connsiteX108" fmla="*/ 191124 w 310672"/>
                <a:gd name="connsiteY108" fmla="*/ 357816 h 386406"/>
                <a:gd name="connsiteX109" fmla="*/ 187831 w 310672"/>
                <a:gd name="connsiteY109" fmla="*/ 362490 h 386406"/>
                <a:gd name="connsiteX110" fmla="*/ 182379 w 310672"/>
                <a:gd name="connsiteY110" fmla="*/ 360763 h 386406"/>
                <a:gd name="connsiteX111" fmla="*/ 182753 w 310672"/>
                <a:gd name="connsiteY111" fmla="*/ 358259 h 386406"/>
                <a:gd name="connsiteX112" fmla="*/ 182019 w 310672"/>
                <a:gd name="connsiteY112" fmla="*/ 359696 h 386406"/>
                <a:gd name="connsiteX113" fmla="*/ 173648 w 310672"/>
                <a:gd name="connsiteY113" fmla="*/ 360140 h 386406"/>
                <a:gd name="connsiteX114" fmla="*/ 174352 w 310672"/>
                <a:gd name="connsiteY114" fmla="*/ 365844 h 386406"/>
                <a:gd name="connsiteX115" fmla="*/ 172884 w 310672"/>
                <a:gd name="connsiteY115" fmla="*/ 368714 h 386406"/>
                <a:gd name="connsiteX116" fmla="*/ 163778 w 310672"/>
                <a:gd name="connsiteY116" fmla="*/ 370594 h 386406"/>
                <a:gd name="connsiteX117" fmla="*/ 164512 w 310672"/>
                <a:gd name="connsiteY117" fmla="*/ 369159 h 386406"/>
                <a:gd name="connsiteX118" fmla="*/ 159435 w 310672"/>
                <a:gd name="connsiteY118" fmla="*/ 364928 h 386406"/>
                <a:gd name="connsiteX119" fmla="*/ 155061 w 310672"/>
                <a:gd name="connsiteY119" fmla="*/ 366402 h 386406"/>
                <a:gd name="connsiteX120" fmla="*/ 154687 w 310672"/>
                <a:gd name="connsiteY120" fmla="*/ 368905 h 386406"/>
                <a:gd name="connsiteX121" fmla="*/ 151048 w 310672"/>
                <a:gd name="connsiteY121" fmla="*/ 368941 h 386406"/>
                <a:gd name="connsiteX122" fmla="*/ 145970 w 310672"/>
                <a:gd name="connsiteY122" fmla="*/ 364711 h 386406"/>
                <a:gd name="connsiteX123" fmla="*/ 133614 w 310672"/>
                <a:gd name="connsiteY123" fmla="*/ 360557 h 386406"/>
                <a:gd name="connsiteX124" fmla="*/ 132176 w 310672"/>
                <a:gd name="connsiteY124" fmla="*/ 356288 h 386406"/>
                <a:gd name="connsiteX125" fmla="*/ 123819 w 310672"/>
                <a:gd name="connsiteY125" fmla="*/ 353163 h 386406"/>
                <a:gd name="connsiteX126" fmla="*/ 119791 w 310672"/>
                <a:gd name="connsiteY126" fmla="*/ 359273 h 386406"/>
                <a:gd name="connsiteX127" fmla="*/ 115058 w 310672"/>
                <a:gd name="connsiteY127" fmla="*/ 359679 h 386406"/>
                <a:gd name="connsiteX128" fmla="*/ 106672 w 310672"/>
                <a:gd name="connsiteY128" fmla="*/ 363693 h 386406"/>
                <a:gd name="connsiteX129" fmla="*/ 105938 w 310672"/>
                <a:gd name="connsiteY129" fmla="*/ 365129 h 386406"/>
                <a:gd name="connsiteX130" fmla="*/ 109562 w 310672"/>
                <a:gd name="connsiteY130" fmla="*/ 368660 h 386406"/>
                <a:gd name="connsiteX131" fmla="*/ 108454 w 310672"/>
                <a:gd name="connsiteY131" fmla="*/ 372599 h 386406"/>
                <a:gd name="connsiteX132" fmla="*/ 111359 w 310672"/>
                <a:gd name="connsiteY132" fmla="*/ 373996 h 386406"/>
                <a:gd name="connsiteX133" fmla="*/ 105864 w 310672"/>
                <a:gd name="connsiteY133" fmla="*/ 382977 h 386406"/>
                <a:gd name="connsiteX134" fmla="*/ 101866 w 310672"/>
                <a:gd name="connsiteY134" fmla="*/ 381948 h 386406"/>
                <a:gd name="connsiteX135" fmla="*/ 101879 w 310672"/>
                <a:gd name="connsiteY135" fmla="*/ 378378 h 386406"/>
                <a:gd name="connsiteX136" fmla="*/ 100427 w 310672"/>
                <a:gd name="connsiteY136" fmla="*/ 377679 h 386406"/>
                <a:gd name="connsiteX137" fmla="*/ 89883 w 310672"/>
                <a:gd name="connsiteY137" fmla="*/ 375291 h 386406"/>
                <a:gd name="connsiteX138" fmla="*/ 88760 w 310672"/>
                <a:gd name="connsiteY138" fmla="*/ 382798 h 386406"/>
                <a:gd name="connsiteX139" fmla="*/ 85107 w 310672"/>
                <a:gd name="connsiteY139" fmla="*/ 386406 h 386406"/>
                <a:gd name="connsiteX140" fmla="*/ 80748 w 310672"/>
                <a:gd name="connsiteY140" fmla="*/ 384309 h 386406"/>
                <a:gd name="connsiteX141" fmla="*/ 86229 w 310672"/>
                <a:gd name="connsiteY141" fmla="*/ 378898 h 386406"/>
                <a:gd name="connsiteX142" fmla="*/ 75311 w 310672"/>
                <a:gd name="connsiteY142" fmla="*/ 379012 h 386406"/>
                <a:gd name="connsiteX143" fmla="*/ 74966 w 310672"/>
                <a:gd name="connsiteY143" fmla="*/ 374375 h 386406"/>
                <a:gd name="connsiteX144" fmla="*/ 67688 w 310672"/>
                <a:gd name="connsiteY144" fmla="*/ 374451 h 386406"/>
                <a:gd name="connsiteX145" fmla="*/ 67328 w 310672"/>
                <a:gd name="connsiteY145" fmla="*/ 373384 h 386406"/>
                <a:gd name="connsiteX146" fmla="*/ 68811 w 310672"/>
                <a:gd name="connsiteY146" fmla="*/ 366944 h 386406"/>
                <a:gd name="connsiteX147" fmla="*/ 70263 w 310672"/>
                <a:gd name="connsiteY147" fmla="*/ 367643 h 386406"/>
                <a:gd name="connsiteX148" fmla="*/ 69947 w 310672"/>
                <a:gd name="connsiteY148" fmla="*/ 355866 h 386406"/>
                <a:gd name="connsiteX149" fmla="*/ 72193 w 310672"/>
                <a:gd name="connsiteY149" fmla="*/ 340851 h 386406"/>
                <a:gd name="connsiteX150" fmla="*/ 69647 w 310672"/>
                <a:gd name="connsiteY150" fmla="*/ 340521 h 386406"/>
                <a:gd name="connsiteX151" fmla="*/ 68943 w 310672"/>
                <a:gd name="connsiteY151" fmla="*/ 334817 h 386406"/>
                <a:gd name="connsiteX152" fmla="*/ 70770 w 310672"/>
                <a:gd name="connsiteY152" fmla="*/ 333012 h 386406"/>
                <a:gd name="connsiteX153" fmla="*/ 70784 w 310672"/>
                <a:gd name="connsiteY153" fmla="*/ 329443 h 386406"/>
                <a:gd name="connsiteX154" fmla="*/ 74798 w 310672"/>
                <a:gd name="connsiteY154" fmla="*/ 326902 h 386406"/>
                <a:gd name="connsiteX155" fmla="*/ 75561 w 310672"/>
                <a:gd name="connsiteY155" fmla="*/ 318328 h 386406"/>
                <a:gd name="connsiteX156" fmla="*/ 59881 w 310672"/>
                <a:gd name="connsiteY156" fmla="*/ 325987 h 386406"/>
                <a:gd name="connsiteX157" fmla="*/ 59521 w 310672"/>
                <a:gd name="connsiteY157" fmla="*/ 324920 h 386406"/>
                <a:gd name="connsiteX158" fmla="*/ 57438 w 310672"/>
                <a:gd name="connsiteY158" fmla="*/ 300669 h 386406"/>
                <a:gd name="connsiteX159" fmla="*/ 58186 w 310672"/>
                <a:gd name="connsiteY159" fmla="*/ 295664 h 386406"/>
                <a:gd name="connsiteX160" fmla="*/ 60372 w 310672"/>
                <a:gd name="connsiteY160" fmla="*/ 294927 h 386406"/>
                <a:gd name="connsiteX161" fmla="*/ 56777 w 310672"/>
                <a:gd name="connsiteY161" fmla="*/ 284256 h 386406"/>
                <a:gd name="connsiteX162" fmla="*/ 35631 w 310672"/>
                <a:gd name="connsiteY162" fmla="*/ 293758 h 386406"/>
                <a:gd name="connsiteX163" fmla="*/ 30898 w 310672"/>
                <a:gd name="connsiteY163" fmla="*/ 294163 h 386406"/>
                <a:gd name="connsiteX164" fmla="*/ 29086 w 310672"/>
                <a:gd name="connsiteY164" fmla="*/ 292397 h 386406"/>
                <a:gd name="connsiteX165" fmla="*/ 26524 w 310672"/>
                <a:gd name="connsiteY165" fmla="*/ 295637 h 386406"/>
                <a:gd name="connsiteX166" fmla="*/ 22900 w 310672"/>
                <a:gd name="connsiteY166" fmla="*/ 292105 h 386406"/>
                <a:gd name="connsiteX167" fmla="*/ 1453 w 310672"/>
                <a:gd name="connsiteY167" fmla="*/ 286261 h 386406"/>
                <a:gd name="connsiteX168" fmla="*/ 4403 w 310672"/>
                <a:gd name="connsiteY168" fmla="*/ 276949 h 386406"/>
                <a:gd name="connsiteX169" fmla="*/ 3324 w 310672"/>
                <a:gd name="connsiteY169" fmla="*/ 273748 h 386406"/>
                <a:gd name="connsiteX170" fmla="*/ 4777 w 310672"/>
                <a:gd name="connsiteY170" fmla="*/ 274446 h 386406"/>
                <a:gd name="connsiteX171" fmla="*/ 5166 w 310672"/>
                <a:gd name="connsiteY171" fmla="*/ 268374 h 386406"/>
                <a:gd name="connsiteX172" fmla="*/ 7727 w 310672"/>
                <a:gd name="connsiteY172" fmla="*/ 265135 h 386406"/>
                <a:gd name="connsiteX173" fmla="*/ 8834 w 310672"/>
                <a:gd name="connsiteY173" fmla="*/ 261196 h 386406"/>
                <a:gd name="connsiteX174" fmla="*/ 9194 w 310672"/>
                <a:gd name="connsiteY174" fmla="*/ 262264 h 386406"/>
                <a:gd name="connsiteX175" fmla="*/ 12489 w 310672"/>
                <a:gd name="connsiteY175" fmla="*/ 257590 h 386406"/>
                <a:gd name="connsiteX176" fmla="*/ 15050 w 310672"/>
                <a:gd name="connsiteY176" fmla="*/ 254351 h 386406"/>
                <a:gd name="connsiteX177" fmla="*/ 15783 w 310672"/>
                <a:gd name="connsiteY177" fmla="*/ 252914 h 386406"/>
                <a:gd name="connsiteX178" fmla="*/ 15798 w 310672"/>
                <a:gd name="connsiteY178" fmla="*/ 249345 h 386406"/>
                <a:gd name="connsiteX179" fmla="*/ 16517 w 310672"/>
                <a:gd name="connsiteY179" fmla="*/ 251479 h 386406"/>
                <a:gd name="connsiteX180" fmla="*/ 18718 w 310672"/>
                <a:gd name="connsiteY180" fmla="*/ 247174 h 386406"/>
                <a:gd name="connsiteX181" fmla="*/ 19092 w 310672"/>
                <a:gd name="connsiteY181" fmla="*/ 244670 h 386406"/>
                <a:gd name="connsiteX182" fmla="*/ 19466 w 310672"/>
                <a:gd name="connsiteY182" fmla="*/ 242168 h 386406"/>
                <a:gd name="connsiteX183" fmla="*/ 21294 w 310672"/>
                <a:gd name="connsiteY183" fmla="*/ 240364 h 386406"/>
                <a:gd name="connsiteX184" fmla="*/ 21309 w 310672"/>
                <a:gd name="connsiteY184" fmla="*/ 236794 h 386406"/>
                <a:gd name="connsiteX185" fmla="*/ 27163 w 310672"/>
                <a:gd name="connsiteY185" fmla="*/ 228880 h 386406"/>
                <a:gd name="connsiteX186" fmla="*/ 27912 w 310672"/>
                <a:gd name="connsiteY186" fmla="*/ 223876 h 386406"/>
                <a:gd name="connsiteX187" fmla="*/ 34846 w 310672"/>
                <a:gd name="connsiteY187" fmla="*/ 219162 h 386406"/>
                <a:gd name="connsiteX188" fmla="*/ 36313 w 310672"/>
                <a:gd name="connsiteY188" fmla="*/ 216291 h 386406"/>
                <a:gd name="connsiteX189" fmla="*/ 36687 w 310672"/>
                <a:gd name="connsiteY189" fmla="*/ 213789 h 386406"/>
                <a:gd name="connsiteX190" fmla="*/ 39608 w 310672"/>
                <a:gd name="connsiteY190" fmla="*/ 211617 h 386406"/>
                <a:gd name="connsiteX191" fmla="*/ 41435 w 310672"/>
                <a:gd name="connsiteY191" fmla="*/ 209813 h 386406"/>
                <a:gd name="connsiteX192" fmla="*/ 40716 w 310672"/>
                <a:gd name="connsiteY192" fmla="*/ 207679 h 386406"/>
                <a:gd name="connsiteX193" fmla="*/ 42528 w 310672"/>
                <a:gd name="connsiteY193" fmla="*/ 209445 h 386406"/>
                <a:gd name="connsiteX194" fmla="*/ 44355 w 310672"/>
                <a:gd name="connsiteY194" fmla="*/ 207641 h 386406"/>
                <a:gd name="connsiteX195" fmla="*/ 41450 w 310672"/>
                <a:gd name="connsiteY195" fmla="*/ 206243 h 386406"/>
                <a:gd name="connsiteX196" fmla="*/ 43995 w 310672"/>
                <a:gd name="connsiteY196" fmla="*/ 206574 h 386406"/>
                <a:gd name="connsiteX197" fmla="*/ 45823 w 310672"/>
                <a:gd name="connsiteY197" fmla="*/ 204770 h 386406"/>
                <a:gd name="connsiteX198" fmla="*/ 42917 w 310672"/>
                <a:gd name="connsiteY198" fmla="*/ 203373 h 386406"/>
                <a:gd name="connsiteX199" fmla="*/ 45464 w 310672"/>
                <a:gd name="connsiteY199" fmla="*/ 203703 h 386406"/>
                <a:gd name="connsiteX200" fmla="*/ 47290 w 310672"/>
                <a:gd name="connsiteY200" fmla="*/ 201899 h 386406"/>
                <a:gd name="connsiteX201" fmla="*/ 48383 w 310672"/>
                <a:gd name="connsiteY201" fmla="*/ 201531 h 386406"/>
                <a:gd name="connsiteX202" fmla="*/ 50211 w 310672"/>
                <a:gd name="connsiteY202" fmla="*/ 199727 h 386406"/>
                <a:gd name="connsiteX203" fmla="*/ 50945 w 310672"/>
                <a:gd name="connsiteY203" fmla="*/ 198292 h 386406"/>
                <a:gd name="connsiteX204" fmla="*/ 52771 w 310672"/>
                <a:gd name="connsiteY204" fmla="*/ 196488 h 386406"/>
                <a:gd name="connsiteX205" fmla="*/ 53865 w 310672"/>
                <a:gd name="connsiteY205" fmla="*/ 196120 h 386406"/>
                <a:gd name="connsiteX206" fmla="*/ 51693 w 310672"/>
                <a:gd name="connsiteY206" fmla="*/ 193287 h 386406"/>
                <a:gd name="connsiteX207" fmla="*/ 53506 w 310672"/>
                <a:gd name="connsiteY207" fmla="*/ 195052 h 386406"/>
                <a:gd name="connsiteX208" fmla="*/ 56800 w 310672"/>
                <a:gd name="connsiteY208" fmla="*/ 190378 h 386406"/>
                <a:gd name="connsiteX209" fmla="*/ 60454 w 310672"/>
                <a:gd name="connsiteY209" fmla="*/ 186770 h 386406"/>
                <a:gd name="connsiteX210" fmla="*/ 63014 w 310672"/>
                <a:gd name="connsiteY210" fmla="*/ 183530 h 386406"/>
                <a:gd name="connsiteX211" fmla="*/ 65949 w 310672"/>
                <a:gd name="connsiteY211" fmla="*/ 177789 h 386406"/>
                <a:gd name="connsiteX212" fmla="*/ 67057 w 310672"/>
                <a:gd name="connsiteY212" fmla="*/ 173851 h 386406"/>
                <a:gd name="connsiteX213" fmla="*/ 68180 w 310672"/>
                <a:gd name="connsiteY213" fmla="*/ 166345 h 386406"/>
                <a:gd name="connsiteX214" fmla="*/ 68179 w 310672"/>
                <a:gd name="connsiteY214" fmla="*/ 166344 h 386406"/>
                <a:gd name="connsiteX215" fmla="*/ 72597 w 310672"/>
                <a:gd name="connsiteY215" fmla="*/ 154161 h 386406"/>
                <a:gd name="connsiteX216" fmla="*/ 79905 w 310672"/>
                <a:gd name="connsiteY216" fmla="*/ 146946 h 386406"/>
                <a:gd name="connsiteX217" fmla="*/ 80338 w 310672"/>
                <a:gd name="connsiteY217" fmla="*/ 130165 h 386406"/>
                <a:gd name="connsiteX218" fmla="*/ 91359 w 310672"/>
                <a:gd name="connsiteY218" fmla="*/ 105063 h 386406"/>
                <a:gd name="connsiteX219" fmla="*/ 104897 w 310672"/>
                <a:gd name="connsiteY219" fmla="*/ 87432 h 386406"/>
                <a:gd name="connsiteX220" fmla="*/ 120606 w 310672"/>
                <a:gd name="connsiteY220" fmla="*/ 72633 h 386406"/>
                <a:gd name="connsiteX221" fmla="*/ 128633 w 310672"/>
                <a:gd name="connsiteY221" fmla="*/ 67552 h 386406"/>
                <a:gd name="connsiteX222" fmla="*/ 129352 w 310672"/>
                <a:gd name="connsiteY222" fmla="*/ 69686 h 386406"/>
                <a:gd name="connsiteX223" fmla="*/ 131927 w 310672"/>
                <a:gd name="connsiteY223" fmla="*/ 62878 h 386406"/>
                <a:gd name="connsiteX224" fmla="*/ 146184 w 310672"/>
                <a:gd name="connsiteY224" fmla="*/ 47380 h 386406"/>
                <a:gd name="connsiteX225" fmla="*/ 173920 w 310672"/>
                <a:gd name="connsiteY225" fmla="*/ 28529 h 38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310672" h="386406">
                  <a:moveTo>
                    <a:pt x="0" y="285562"/>
                  </a:moveTo>
                  <a:lnTo>
                    <a:pt x="1813" y="287328"/>
                  </a:lnTo>
                  <a:lnTo>
                    <a:pt x="360" y="286629"/>
                  </a:lnTo>
                  <a:close/>
                  <a:moveTo>
                    <a:pt x="83456" y="168326"/>
                  </a:moveTo>
                  <a:lnTo>
                    <a:pt x="79046" y="170837"/>
                  </a:lnTo>
                  <a:lnTo>
                    <a:pt x="79443" y="170866"/>
                  </a:lnTo>
                  <a:close/>
                  <a:moveTo>
                    <a:pt x="68187" y="166353"/>
                  </a:moveTo>
                  <a:lnTo>
                    <a:pt x="70711" y="170243"/>
                  </a:lnTo>
                  <a:lnTo>
                    <a:pt x="75948" y="170617"/>
                  </a:lnTo>
                  <a:lnTo>
                    <a:pt x="70351" y="169176"/>
                  </a:lnTo>
                  <a:close/>
                  <a:moveTo>
                    <a:pt x="205698" y="0"/>
                  </a:moveTo>
                  <a:lnTo>
                    <a:pt x="215449" y="18102"/>
                  </a:lnTo>
                  <a:lnTo>
                    <a:pt x="217591" y="28074"/>
                  </a:lnTo>
                  <a:lnTo>
                    <a:pt x="224526" y="23362"/>
                  </a:lnTo>
                  <a:lnTo>
                    <a:pt x="246362" y="23134"/>
                  </a:lnTo>
                  <a:lnTo>
                    <a:pt x="245973" y="29206"/>
                  </a:lnTo>
                  <a:lnTo>
                    <a:pt x="241556" y="41389"/>
                  </a:lnTo>
                  <a:lnTo>
                    <a:pt x="242216" y="57801"/>
                  </a:lnTo>
                  <a:lnTo>
                    <a:pt x="237843" y="59275"/>
                  </a:lnTo>
                  <a:lnTo>
                    <a:pt x="237440" y="68916"/>
                  </a:lnTo>
                  <a:lnTo>
                    <a:pt x="236346" y="69285"/>
                  </a:lnTo>
                  <a:lnTo>
                    <a:pt x="235972" y="71788"/>
                  </a:lnTo>
                  <a:lnTo>
                    <a:pt x="238159" y="71051"/>
                  </a:lnTo>
                  <a:lnTo>
                    <a:pt x="237006" y="85698"/>
                  </a:lnTo>
                  <a:lnTo>
                    <a:pt x="238444" y="89966"/>
                  </a:lnTo>
                  <a:lnTo>
                    <a:pt x="238070" y="92468"/>
                  </a:lnTo>
                  <a:lnTo>
                    <a:pt x="242414" y="98134"/>
                  </a:lnTo>
                  <a:lnTo>
                    <a:pt x="258769" y="103319"/>
                  </a:lnTo>
                  <a:lnTo>
                    <a:pt x="255460" y="111563"/>
                  </a:lnTo>
                  <a:lnTo>
                    <a:pt x="265600" y="123593"/>
                  </a:lnTo>
                  <a:lnTo>
                    <a:pt x="267398" y="128929"/>
                  </a:lnTo>
                  <a:lnTo>
                    <a:pt x="265553" y="129876"/>
                  </a:lnTo>
                  <a:lnTo>
                    <a:pt x="279005" y="138090"/>
                  </a:lnTo>
                  <a:lnTo>
                    <a:pt x="269121" y="152113"/>
                  </a:lnTo>
                  <a:lnTo>
                    <a:pt x="278571" y="154870"/>
                  </a:lnTo>
                  <a:lnTo>
                    <a:pt x="273824" y="158846"/>
                  </a:lnTo>
                  <a:lnTo>
                    <a:pt x="283561" y="180519"/>
                  </a:lnTo>
                  <a:lnTo>
                    <a:pt x="295947" y="177534"/>
                  </a:lnTo>
                  <a:lnTo>
                    <a:pt x="295918" y="184673"/>
                  </a:lnTo>
                  <a:lnTo>
                    <a:pt x="286078" y="187988"/>
                  </a:lnTo>
                  <a:lnTo>
                    <a:pt x="290781" y="194722"/>
                  </a:lnTo>
                  <a:lnTo>
                    <a:pt x="291874" y="194354"/>
                  </a:lnTo>
                  <a:lnTo>
                    <a:pt x="303108" y="206015"/>
                  </a:lnTo>
                  <a:lnTo>
                    <a:pt x="301971" y="217093"/>
                  </a:lnTo>
                  <a:lnTo>
                    <a:pt x="304157" y="216357"/>
                  </a:lnTo>
                  <a:lnTo>
                    <a:pt x="306300" y="226328"/>
                  </a:lnTo>
                  <a:lnTo>
                    <a:pt x="310672" y="224855"/>
                  </a:lnTo>
                  <a:lnTo>
                    <a:pt x="309550" y="232362"/>
                  </a:lnTo>
                  <a:lnTo>
                    <a:pt x="309850" y="247709"/>
                  </a:lnTo>
                  <a:lnTo>
                    <a:pt x="308009" y="253082"/>
                  </a:lnTo>
                  <a:lnTo>
                    <a:pt x="305103" y="251685"/>
                  </a:lnTo>
                  <a:lnTo>
                    <a:pt x="302543" y="254923"/>
                  </a:lnTo>
                  <a:lnTo>
                    <a:pt x="303262" y="257058"/>
                  </a:lnTo>
                  <a:lnTo>
                    <a:pt x="301060" y="261364"/>
                  </a:lnTo>
                  <a:lnTo>
                    <a:pt x="297810" y="255330"/>
                  </a:lnTo>
                  <a:lnTo>
                    <a:pt x="294530" y="256435"/>
                  </a:lnTo>
                  <a:lnTo>
                    <a:pt x="293063" y="259306"/>
                  </a:lnTo>
                  <a:lnTo>
                    <a:pt x="285454" y="251175"/>
                  </a:lnTo>
                  <a:lnTo>
                    <a:pt x="279973" y="256587"/>
                  </a:lnTo>
                  <a:lnTo>
                    <a:pt x="273054" y="257730"/>
                  </a:lnTo>
                  <a:lnTo>
                    <a:pt x="268710" y="252064"/>
                  </a:lnTo>
                  <a:lnTo>
                    <a:pt x="263258" y="250335"/>
                  </a:lnTo>
                  <a:lnTo>
                    <a:pt x="257791" y="252177"/>
                  </a:lnTo>
                  <a:lnTo>
                    <a:pt x="255620" y="249344"/>
                  </a:lnTo>
                  <a:lnTo>
                    <a:pt x="250499" y="255824"/>
                  </a:lnTo>
                  <a:lnTo>
                    <a:pt x="249750" y="260827"/>
                  </a:lnTo>
                  <a:lnTo>
                    <a:pt x="246845" y="259431"/>
                  </a:lnTo>
                  <a:lnTo>
                    <a:pt x="243895" y="268742"/>
                  </a:lnTo>
                  <a:lnTo>
                    <a:pt x="241723" y="265909"/>
                  </a:lnTo>
                  <a:lnTo>
                    <a:pt x="239536" y="266646"/>
                  </a:lnTo>
                  <a:lnTo>
                    <a:pt x="238039" y="276656"/>
                  </a:lnTo>
                  <a:lnTo>
                    <a:pt x="232184" y="284570"/>
                  </a:lnTo>
                  <a:lnTo>
                    <a:pt x="216548" y="281520"/>
                  </a:lnTo>
                  <a:lnTo>
                    <a:pt x="214347" y="285827"/>
                  </a:lnTo>
                  <a:lnTo>
                    <a:pt x="211442" y="284429"/>
                  </a:lnTo>
                  <a:lnTo>
                    <a:pt x="211786" y="289066"/>
                  </a:lnTo>
                  <a:lnTo>
                    <a:pt x="206335" y="287338"/>
                  </a:lnTo>
                  <a:lnTo>
                    <a:pt x="202681" y="290945"/>
                  </a:lnTo>
                  <a:lnTo>
                    <a:pt x="195057" y="286385"/>
                  </a:lnTo>
                  <a:lnTo>
                    <a:pt x="196165" y="282447"/>
                  </a:lnTo>
                  <a:lnTo>
                    <a:pt x="180529" y="279398"/>
                  </a:lnTo>
                  <a:lnTo>
                    <a:pt x="181636" y="275459"/>
                  </a:lnTo>
                  <a:lnTo>
                    <a:pt x="176342" y="273781"/>
                  </a:lnTo>
                  <a:lnTo>
                    <a:pt x="164116" y="288492"/>
                  </a:lnTo>
                  <a:lnTo>
                    <a:pt x="165569" y="289191"/>
                  </a:lnTo>
                  <a:lnTo>
                    <a:pt x="164102" y="292061"/>
                  </a:lnTo>
                  <a:lnTo>
                    <a:pt x="165913" y="293827"/>
                  </a:lnTo>
                  <a:lnTo>
                    <a:pt x="165180" y="295263"/>
                  </a:lnTo>
                  <a:lnTo>
                    <a:pt x="166992" y="297029"/>
                  </a:lnTo>
                  <a:lnTo>
                    <a:pt x="163698" y="301703"/>
                  </a:lnTo>
                  <a:lnTo>
                    <a:pt x="163683" y="305273"/>
                  </a:lnTo>
                  <a:lnTo>
                    <a:pt x="162230" y="304575"/>
                  </a:lnTo>
                  <a:lnTo>
                    <a:pt x="161856" y="307076"/>
                  </a:lnTo>
                  <a:lnTo>
                    <a:pt x="160403" y="306378"/>
                  </a:lnTo>
                  <a:lnTo>
                    <a:pt x="162575" y="309211"/>
                  </a:lnTo>
                  <a:lnTo>
                    <a:pt x="161841" y="310647"/>
                  </a:lnTo>
                  <a:lnTo>
                    <a:pt x="162186" y="315284"/>
                  </a:lnTo>
                  <a:lnTo>
                    <a:pt x="171652" y="314471"/>
                  </a:lnTo>
                  <a:lnTo>
                    <a:pt x="172730" y="317672"/>
                  </a:lnTo>
                  <a:lnTo>
                    <a:pt x="176010" y="316567"/>
                  </a:lnTo>
                  <a:lnTo>
                    <a:pt x="181417" y="329004"/>
                  </a:lnTo>
                  <a:lnTo>
                    <a:pt x="187617" y="325727"/>
                  </a:lnTo>
                  <a:lnTo>
                    <a:pt x="197038" y="335623"/>
                  </a:lnTo>
                  <a:lnTo>
                    <a:pt x="195571" y="338494"/>
                  </a:lnTo>
                  <a:lnTo>
                    <a:pt x="195211" y="337427"/>
                  </a:lnTo>
                  <a:lnTo>
                    <a:pt x="190839" y="338900"/>
                  </a:lnTo>
                  <a:lnTo>
                    <a:pt x="191183" y="343537"/>
                  </a:lnTo>
                  <a:lnTo>
                    <a:pt x="182422" y="350053"/>
                  </a:lnTo>
                  <a:lnTo>
                    <a:pt x="191124" y="357816"/>
                  </a:lnTo>
                  <a:lnTo>
                    <a:pt x="187831" y="362490"/>
                  </a:lnTo>
                  <a:lnTo>
                    <a:pt x="182379" y="360763"/>
                  </a:lnTo>
                  <a:lnTo>
                    <a:pt x="182753" y="358259"/>
                  </a:lnTo>
                  <a:lnTo>
                    <a:pt x="182019" y="359696"/>
                  </a:lnTo>
                  <a:lnTo>
                    <a:pt x="173648" y="360140"/>
                  </a:lnTo>
                  <a:lnTo>
                    <a:pt x="174352" y="365844"/>
                  </a:lnTo>
                  <a:lnTo>
                    <a:pt x="172884" y="368714"/>
                  </a:lnTo>
                  <a:lnTo>
                    <a:pt x="163778" y="370594"/>
                  </a:lnTo>
                  <a:lnTo>
                    <a:pt x="164512" y="369159"/>
                  </a:lnTo>
                  <a:lnTo>
                    <a:pt x="159435" y="364928"/>
                  </a:lnTo>
                  <a:lnTo>
                    <a:pt x="155061" y="366402"/>
                  </a:lnTo>
                  <a:lnTo>
                    <a:pt x="154687" y="368905"/>
                  </a:lnTo>
                  <a:lnTo>
                    <a:pt x="151048" y="368941"/>
                  </a:lnTo>
                  <a:lnTo>
                    <a:pt x="145970" y="364711"/>
                  </a:lnTo>
                  <a:lnTo>
                    <a:pt x="133614" y="360557"/>
                  </a:lnTo>
                  <a:lnTo>
                    <a:pt x="132176" y="356288"/>
                  </a:lnTo>
                  <a:lnTo>
                    <a:pt x="123819" y="353163"/>
                  </a:lnTo>
                  <a:lnTo>
                    <a:pt x="119791" y="359273"/>
                  </a:lnTo>
                  <a:lnTo>
                    <a:pt x="115058" y="359679"/>
                  </a:lnTo>
                  <a:lnTo>
                    <a:pt x="106672" y="363693"/>
                  </a:lnTo>
                  <a:lnTo>
                    <a:pt x="105938" y="365129"/>
                  </a:lnTo>
                  <a:lnTo>
                    <a:pt x="109562" y="368660"/>
                  </a:lnTo>
                  <a:lnTo>
                    <a:pt x="108454" y="372599"/>
                  </a:lnTo>
                  <a:lnTo>
                    <a:pt x="111359" y="373996"/>
                  </a:lnTo>
                  <a:lnTo>
                    <a:pt x="105864" y="382977"/>
                  </a:lnTo>
                  <a:lnTo>
                    <a:pt x="101866" y="381948"/>
                  </a:lnTo>
                  <a:lnTo>
                    <a:pt x="101879" y="378378"/>
                  </a:lnTo>
                  <a:lnTo>
                    <a:pt x="100427" y="377679"/>
                  </a:lnTo>
                  <a:lnTo>
                    <a:pt x="89883" y="375291"/>
                  </a:lnTo>
                  <a:lnTo>
                    <a:pt x="88760" y="382798"/>
                  </a:lnTo>
                  <a:lnTo>
                    <a:pt x="85107" y="386406"/>
                  </a:lnTo>
                  <a:lnTo>
                    <a:pt x="80748" y="384309"/>
                  </a:lnTo>
                  <a:lnTo>
                    <a:pt x="86229" y="378898"/>
                  </a:lnTo>
                  <a:lnTo>
                    <a:pt x="75311" y="379012"/>
                  </a:lnTo>
                  <a:lnTo>
                    <a:pt x="74966" y="374375"/>
                  </a:lnTo>
                  <a:lnTo>
                    <a:pt x="67688" y="374451"/>
                  </a:lnTo>
                  <a:lnTo>
                    <a:pt x="67328" y="373384"/>
                  </a:lnTo>
                  <a:lnTo>
                    <a:pt x="68811" y="366944"/>
                  </a:lnTo>
                  <a:lnTo>
                    <a:pt x="70263" y="367643"/>
                  </a:lnTo>
                  <a:lnTo>
                    <a:pt x="69947" y="355866"/>
                  </a:lnTo>
                  <a:lnTo>
                    <a:pt x="72193" y="340851"/>
                  </a:lnTo>
                  <a:lnTo>
                    <a:pt x="69647" y="340521"/>
                  </a:lnTo>
                  <a:lnTo>
                    <a:pt x="68943" y="334817"/>
                  </a:lnTo>
                  <a:lnTo>
                    <a:pt x="70770" y="333012"/>
                  </a:lnTo>
                  <a:lnTo>
                    <a:pt x="70784" y="329443"/>
                  </a:lnTo>
                  <a:lnTo>
                    <a:pt x="74798" y="326902"/>
                  </a:lnTo>
                  <a:lnTo>
                    <a:pt x="75561" y="318328"/>
                  </a:lnTo>
                  <a:lnTo>
                    <a:pt x="59881" y="325987"/>
                  </a:lnTo>
                  <a:lnTo>
                    <a:pt x="59521" y="324920"/>
                  </a:lnTo>
                  <a:lnTo>
                    <a:pt x="57438" y="300669"/>
                  </a:lnTo>
                  <a:lnTo>
                    <a:pt x="58186" y="295664"/>
                  </a:lnTo>
                  <a:lnTo>
                    <a:pt x="60372" y="294927"/>
                  </a:lnTo>
                  <a:lnTo>
                    <a:pt x="56777" y="284256"/>
                  </a:lnTo>
                  <a:lnTo>
                    <a:pt x="35631" y="293758"/>
                  </a:lnTo>
                  <a:lnTo>
                    <a:pt x="30898" y="294163"/>
                  </a:lnTo>
                  <a:lnTo>
                    <a:pt x="29086" y="292397"/>
                  </a:lnTo>
                  <a:lnTo>
                    <a:pt x="26524" y="295637"/>
                  </a:lnTo>
                  <a:lnTo>
                    <a:pt x="22900" y="292105"/>
                  </a:lnTo>
                  <a:lnTo>
                    <a:pt x="1453" y="286261"/>
                  </a:lnTo>
                  <a:lnTo>
                    <a:pt x="4403" y="276949"/>
                  </a:lnTo>
                  <a:lnTo>
                    <a:pt x="3324" y="273748"/>
                  </a:lnTo>
                  <a:lnTo>
                    <a:pt x="4777" y="274446"/>
                  </a:lnTo>
                  <a:lnTo>
                    <a:pt x="5166" y="268374"/>
                  </a:lnTo>
                  <a:lnTo>
                    <a:pt x="7727" y="265135"/>
                  </a:lnTo>
                  <a:lnTo>
                    <a:pt x="8834" y="261196"/>
                  </a:lnTo>
                  <a:lnTo>
                    <a:pt x="9194" y="262264"/>
                  </a:lnTo>
                  <a:lnTo>
                    <a:pt x="12489" y="257590"/>
                  </a:lnTo>
                  <a:lnTo>
                    <a:pt x="15050" y="254351"/>
                  </a:lnTo>
                  <a:lnTo>
                    <a:pt x="15783" y="252914"/>
                  </a:lnTo>
                  <a:lnTo>
                    <a:pt x="15798" y="249345"/>
                  </a:lnTo>
                  <a:lnTo>
                    <a:pt x="16517" y="251479"/>
                  </a:lnTo>
                  <a:lnTo>
                    <a:pt x="18718" y="247174"/>
                  </a:lnTo>
                  <a:lnTo>
                    <a:pt x="19092" y="244670"/>
                  </a:lnTo>
                  <a:lnTo>
                    <a:pt x="19466" y="242168"/>
                  </a:lnTo>
                  <a:lnTo>
                    <a:pt x="21294" y="240364"/>
                  </a:lnTo>
                  <a:lnTo>
                    <a:pt x="21309" y="236794"/>
                  </a:lnTo>
                  <a:lnTo>
                    <a:pt x="27163" y="228880"/>
                  </a:lnTo>
                  <a:lnTo>
                    <a:pt x="27912" y="223876"/>
                  </a:lnTo>
                  <a:lnTo>
                    <a:pt x="34846" y="219162"/>
                  </a:lnTo>
                  <a:lnTo>
                    <a:pt x="36313" y="216291"/>
                  </a:lnTo>
                  <a:lnTo>
                    <a:pt x="36687" y="213789"/>
                  </a:lnTo>
                  <a:lnTo>
                    <a:pt x="39608" y="211617"/>
                  </a:lnTo>
                  <a:lnTo>
                    <a:pt x="41435" y="209813"/>
                  </a:lnTo>
                  <a:lnTo>
                    <a:pt x="40716" y="207679"/>
                  </a:lnTo>
                  <a:lnTo>
                    <a:pt x="42528" y="209445"/>
                  </a:lnTo>
                  <a:lnTo>
                    <a:pt x="44355" y="207641"/>
                  </a:lnTo>
                  <a:lnTo>
                    <a:pt x="41450" y="206243"/>
                  </a:lnTo>
                  <a:lnTo>
                    <a:pt x="43995" y="206574"/>
                  </a:lnTo>
                  <a:lnTo>
                    <a:pt x="45823" y="204770"/>
                  </a:lnTo>
                  <a:lnTo>
                    <a:pt x="42917" y="203373"/>
                  </a:lnTo>
                  <a:lnTo>
                    <a:pt x="45464" y="203703"/>
                  </a:lnTo>
                  <a:lnTo>
                    <a:pt x="47290" y="201899"/>
                  </a:lnTo>
                  <a:lnTo>
                    <a:pt x="48383" y="201531"/>
                  </a:lnTo>
                  <a:lnTo>
                    <a:pt x="50211" y="199727"/>
                  </a:lnTo>
                  <a:lnTo>
                    <a:pt x="50945" y="198292"/>
                  </a:lnTo>
                  <a:lnTo>
                    <a:pt x="52771" y="196488"/>
                  </a:lnTo>
                  <a:lnTo>
                    <a:pt x="53865" y="196120"/>
                  </a:lnTo>
                  <a:lnTo>
                    <a:pt x="51693" y="193287"/>
                  </a:lnTo>
                  <a:lnTo>
                    <a:pt x="53506" y="195052"/>
                  </a:lnTo>
                  <a:lnTo>
                    <a:pt x="56800" y="190378"/>
                  </a:lnTo>
                  <a:lnTo>
                    <a:pt x="60454" y="186770"/>
                  </a:lnTo>
                  <a:lnTo>
                    <a:pt x="63014" y="183530"/>
                  </a:lnTo>
                  <a:lnTo>
                    <a:pt x="65949" y="177789"/>
                  </a:lnTo>
                  <a:lnTo>
                    <a:pt x="67057" y="173851"/>
                  </a:lnTo>
                  <a:lnTo>
                    <a:pt x="68180" y="166345"/>
                  </a:lnTo>
                  <a:lnTo>
                    <a:pt x="68179" y="166344"/>
                  </a:lnTo>
                  <a:lnTo>
                    <a:pt x="72597" y="154161"/>
                  </a:lnTo>
                  <a:lnTo>
                    <a:pt x="79905" y="146946"/>
                  </a:lnTo>
                  <a:lnTo>
                    <a:pt x="80338" y="130165"/>
                  </a:lnTo>
                  <a:lnTo>
                    <a:pt x="91359" y="105063"/>
                  </a:lnTo>
                  <a:lnTo>
                    <a:pt x="104897" y="87432"/>
                  </a:lnTo>
                  <a:lnTo>
                    <a:pt x="120606" y="72633"/>
                  </a:lnTo>
                  <a:lnTo>
                    <a:pt x="128633" y="67552"/>
                  </a:lnTo>
                  <a:lnTo>
                    <a:pt x="129352" y="69686"/>
                  </a:lnTo>
                  <a:lnTo>
                    <a:pt x="131927" y="62878"/>
                  </a:lnTo>
                  <a:lnTo>
                    <a:pt x="146184" y="47380"/>
                  </a:lnTo>
                  <a:lnTo>
                    <a:pt x="173920" y="28529"/>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sp>
          <p:nvSpPr>
            <p:cNvPr id="399" name="Noardeast-FryslÔn">
              <a:extLst>
                <a:ext uri="{FF2B5EF4-FFF2-40B4-BE49-F238E27FC236}">
                  <a16:creationId xmlns:a16="http://schemas.microsoft.com/office/drawing/2014/main" id="{15C6775A-D64D-4834-B345-9D3763433D88}"/>
                </a:ext>
              </a:extLst>
            </p:cNvPr>
            <p:cNvSpPr/>
            <p:nvPr/>
          </p:nvSpPr>
          <p:spPr>
            <a:xfrm rot="19755705">
              <a:off x="6596450" y="1359303"/>
              <a:ext cx="533694" cy="400093"/>
            </a:xfrm>
            <a:custGeom>
              <a:avLst/>
              <a:gdLst>
                <a:gd name="connsiteX0" fmla="*/ 192263 w 522354"/>
                <a:gd name="connsiteY0" fmla="*/ 168022 h 411599"/>
                <a:gd name="connsiteX1" fmla="*/ 192263 w 522354"/>
                <a:gd name="connsiteY1" fmla="*/ 168027 h 411599"/>
                <a:gd name="connsiteX2" fmla="*/ 192264 w 522354"/>
                <a:gd name="connsiteY2" fmla="*/ 168024 h 411599"/>
                <a:gd name="connsiteX3" fmla="*/ 209127 w 522354"/>
                <a:gd name="connsiteY3" fmla="*/ 31322 h 411599"/>
                <a:gd name="connsiteX4" fmla="*/ 212102 w 522354"/>
                <a:gd name="connsiteY4" fmla="*/ 33091 h 411599"/>
                <a:gd name="connsiteX5" fmla="*/ 209738 w 522354"/>
                <a:gd name="connsiteY5" fmla="*/ 46094 h 411599"/>
                <a:gd name="connsiteX6" fmla="*/ 410030 w 522354"/>
                <a:gd name="connsiteY6" fmla="*/ 124588 h 411599"/>
                <a:gd name="connsiteX7" fmla="*/ 413421 w 522354"/>
                <a:gd name="connsiteY7" fmla="*/ 127913 h 411599"/>
                <a:gd name="connsiteX8" fmla="*/ 409700 w 522354"/>
                <a:gd name="connsiteY8" fmla="*/ 124795 h 411599"/>
                <a:gd name="connsiteX9" fmla="*/ 488011 w 522354"/>
                <a:gd name="connsiteY9" fmla="*/ 160478 h 411599"/>
                <a:gd name="connsiteX10" fmla="*/ 488458 w 522354"/>
                <a:gd name="connsiteY10" fmla="*/ 161531 h 411599"/>
                <a:gd name="connsiteX11" fmla="*/ 488426 w 522354"/>
                <a:gd name="connsiteY11" fmla="*/ 162036 h 411599"/>
                <a:gd name="connsiteX12" fmla="*/ 488533 w 522354"/>
                <a:gd name="connsiteY12" fmla="*/ 160353 h 411599"/>
                <a:gd name="connsiteX13" fmla="*/ 490870 w 522354"/>
                <a:gd name="connsiteY13" fmla="*/ 162798 h 411599"/>
                <a:gd name="connsiteX14" fmla="*/ 490251 w 522354"/>
                <a:gd name="connsiteY14" fmla="*/ 165740 h 411599"/>
                <a:gd name="connsiteX15" fmla="*/ 488458 w 522354"/>
                <a:gd name="connsiteY15" fmla="*/ 161531 h 411599"/>
                <a:gd name="connsiteX16" fmla="*/ 418760 w 522354"/>
                <a:gd name="connsiteY16" fmla="*/ 116677 h 411599"/>
                <a:gd name="connsiteX17" fmla="*/ 405071 w 522354"/>
                <a:gd name="connsiteY17" fmla="*/ 121638 h 411599"/>
                <a:gd name="connsiteX18" fmla="*/ 406063 w 522354"/>
                <a:gd name="connsiteY18" fmla="*/ 122227 h 411599"/>
                <a:gd name="connsiteX19" fmla="*/ 401778 w 522354"/>
                <a:gd name="connsiteY19" fmla="*/ 124920 h 411599"/>
                <a:gd name="connsiteX20" fmla="*/ 408046 w 522354"/>
                <a:gd name="connsiteY20" fmla="*/ 123407 h 411599"/>
                <a:gd name="connsiteX21" fmla="*/ 409700 w 522354"/>
                <a:gd name="connsiteY21" fmla="*/ 124795 h 411599"/>
                <a:gd name="connsiteX22" fmla="*/ 407886 w 522354"/>
                <a:gd name="connsiteY22" fmla="*/ 125933 h 411599"/>
                <a:gd name="connsiteX23" fmla="*/ 409454 w 522354"/>
                <a:gd name="connsiteY23" fmla="*/ 125554 h 411599"/>
                <a:gd name="connsiteX24" fmla="*/ 419785 w 522354"/>
                <a:gd name="connsiteY24" fmla="*/ 133010 h 411599"/>
                <a:gd name="connsiteX25" fmla="*/ 426568 w 522354"/>
                <a:gd name="connsiteY25" fmla="*/ 139662 h 411599"/>
                <a:gd name="connsiteX26" fmla="*/ 433092 w 522354"/>
                <a:gd name="connsiteY26" fmla="*/ 142232 h 411599"/>
                <a:gd name="connsiteX27" fmla="*/ 443264 w 522354"/>
                <a:gd name="connsiteY27" fmla="*/ 152211 h 411599"/>
                <a:gd name="connsiteX28" fmla="*/ 485195 w 522354"/>
                <a:gd name="connsiteY28" fmla="*/ 156185 h 411599"/>
                <a:gd name="connsiteX29" fmla="*/ 492137 w 522354"/>
                <a:gd name="connsiteY29" fmla="*/ 160313 h 411599"/>
                <a:gd name="connsiteX30" fmla="*/ 495785 w 522354"/>
                <a:gd name="connsiteY30" fmla="*/ 167721 h 411599"/>
                <a:gd name="connsiteX31" fmla="*/ 489676 w 522354"/>
                <a:gd name="connsiteY31" fmla="*/ 166708 h 411599"/>
                <a:gd name="connsiteX32" fmla="*/ 492235 w 522354"/>
                <a:gd name="connsiteY32" fmla="*/ 166921 h 411599"/>
                <a:gd name="connsiteX33" fmla="*/ 492393 w 522354"/>
                <a:gd name="connsiteY33" fmla="*/ 164395 h 411599"/>
                <a:gd name="connsiteX34" fmla="*/ 490870 w 522354"/>
                <a:gd name="connsiteY34" fmla="*/ 162798 h 411599"/>
                <a:gd name="connsiteX35" fmla="*/ 490986 w 522354"/>
                <a:gd name="connsiteY35" fmla="*/ 162247 h 411599"/>
                <a:gd name="connsiteX36" fmla="*/ 488585 w 522354"/>
                <a:gd name="connsiteY36" fmla="*/ 159511 h 411599"/>
                <a:gd name="connsiteX37" fmla="*/ 488533 w 522354"/>
                <a:gd name="connsiteY37" fmla="*/ 160353 h 411599"/>
                <a:gd name="connsiteX38" fmla="*/ 486603 w 522354"/>
                <a:gd name="connsiteY38" fmla="*/ 158332 h 411599"/>
                <a:gd name="connsiteX39" fmla="*/ 463575 w 522354"/>
                <a:gd name="connsiteY39" fmla="*/ 156427 h 411599"/>
                <a:gd name="connsiteX40" fmla="*/ 469685 w 522354"/>
                <a:gd name="connsiteY40" fmla="*/ 157442 h 411599"/>
                <a:gd name="connsiteX41" fmla="*/ 463992 w 522354"/>
                <a:gd name="connsiteY41" fmla="*/ 157985 h 411599"/>
                <a:gd name="connsiteX42" fmla="*/ 466550 w 522354"/>
                <a:gd name="connsiteY42" fmla="*/ 158196 h 411599"/>
                <a:gd name="connsiteX43" fmla="*/ 465398 w 522354"/>
                <a:gd name="connsiteY43" fmla="*/ 160133 h 411599"/>
                <a:gd name="connsiteX44" fmla="*/ 456829 w 522354"/>
                <a:gd name="connsiteY44" fmla="*/ 165517 h 411599"/>
                <a:gd name="connsiteX45" fmla="*/ 453701 w 522354"/>
                <a:gd name="connsiteY45" fmla="*/ 169813 h 411599"/>
                <a:gd name="connsiteX46" fmla="*/ 502248 w 522354"/>
                <a:gd name="connsiteY46" fmla="*/ 295170 h 411599"/>
                <a:gd name="connsiteX47" fmla="*/ 504985 w 522354"/>
                <a:gd name="connsiteY47" fmla="*/ 298963 h 411599"/>
                <a:gd name="connsiteX48" fmla="*/ 512343 w 522354"/>
                <a:gd name="connsiteY48" fmla="*/ 304647 h 411599"/>
                <a:gd name="connsiteX49" fmla="*/ 515573 w 522354"/>
                <a:gd name="connsiteY49" fmla="*/ 310499 h 411599"/>
                <a:gd name="connsiteX50" fmla="*/ 522354 w 522354"/>
                <a:gd name="connsiteY50" fmla="*/ 317153 h 411599"/>
                <a:gd name="connsiteX51" fmla="*/ 492233 w 522354"/>
                <a:gd name="connsiteY51" fmla="*/ 354263 h 411599"/>
                <a:gd name="connsiteX52" fmla="*/ 500005 w 522354"/>
                <a:gd name="connsiteY52" fmla="*/ 361507 h 411599"/>
                <a:gd name="connsiteX53" fmla="*/ 501672 w 522354"/>
                <a:gd name="connsiteY53" fmla="*/ 367736 h 411599"/>
                <a:gd name="connsiteX54" fmla="*/ 494827 w 522354"/>
                <a:gd name="connsiteY54" fmla="*/ 370217 h 411599"/>
                <a:gd name="connsiteX55" fmla="*/ 483184 w 522354"/>
                <a:gd name="connsiteY55" fmla="*/ 367224 h 411599"/>
                <a:gd name="connsiteX56" fmla="*/ 462750 w 522354"/>
                <a:gd name="connsiteY56" fmla="*/ 381274 h 411599"/>
                <a:gd name="connsiteX57" fmla="*/ 461917 w 522354"/>
                <a:gd name="connsiteY57" fmla="*/ 378160 h 411599"/>
                <a:gd name="connsiteX58" fmla="*/ 456958 w 522354"/>
                <a:gd name="connsiteY58" fmla="*/ 375211 h 411599"/>
                <a:gd name="connsiteX59" fmla="*/ 448132 w 522354"/>
                <a:gd name="connsiteY59" fmla="*/ 376511 h 411599"/>
                <a:gd name="connsiteX60" fmla="*/ 437515 w 522354"/>
                <a:gd name="connsiteY60" fmla="*/ 389851 h 411599"/>
                <a:gd name="connsiteX61" fmla="*/ 436302 w 522354"/>
                <a:gd name="connsiteY61" fmla="*/ 400919 h 411599"/>
                <a:gd name="connsiteX62" fmla="*/ 433999 w 522354"/>
                <a:gd name="connsiteY62" fmla="*/ 404791 h 411599"/>
                <a:gd name="connsiteX63" fmla="*/ 429874 w 522354"/>
                <a:gd name="connsiteY63" fmla="*/ 404957 h 411599"/>
                <a:gd name="connsiteX64" fmla="*/ 427060 w 522354"/>
                <a:gd name="connsiteY64" fmla="*/ 400663 h 411599"/>
                <a:gd name="connsiteX65" fmla="*/ 423924 w 522354"/>
                <a:gd name="connsiteY65" fmla="*/ 401420 h 411599"/>
                <a:gd name="connsiteX66" fmla="*/ 414937 w 522354"/>
                <a:gd name="connsiteY66" fmla="*/ 405246 h 411599"/>
                <a:gd name="connsiteX67" fmla="*/ 409917 w 522354"/>
                <a:gd name="connsiteY67" fmla="*/ 411432 h 411599"/>
                <a:gd name="connsiteX68" fmla="*/ 405791 w 522354"/>
                <a:gd name="connsiteY68" fmla="*/ 411599 h 411599"/>
                <a:gd name="connsiteX69" fmla="*/ 396035 w 522354"/>
                <a:gd name="connsiteY69" fmla="*/ 403176 h 411599"/>
                <a:gd name="connsiteX70" fmla="*/ 394788 w 522354"/>
                <a:gd name="connsiteY70" fmla="*/ 398504 h 411599"/>
                <a:gd name="connsiteX71" fmla="*/ 397407 w 522354"/>
                <a:gd name="connsiteY71" fmla="*/ 389583 h 411599"/>
                <a:gd name="connsiteX72" fmla="*/ 381605 w 522354"/>
                <a:gd name="connsiteY72" fmla="*/ 371014 h 411599"/>
                <a:gd name="connsiteX73" fmla="*/ 376904 w 522354"/>
                <a:gd name="connsiteY73" fmla="*/ 372148 h 411599"/>
                <a:gd name="connsiteX74" fmla="*/ 377063 w 522354"/>
                <a:gd name="connsiteY74" fmla="*/ 369623 h 411599"/>
                <a:gd name="connsiteX75" fmla="*/ 371786 w 522354"/>
                <a:gd name="connsiteY75" fmla="*/ 371725 h 411599"/>
                <a:gd name="connsiteX76" fmla="*/ 372875 w 522354"/>
                <a:gd name="connsiteY76" fmla="*/ 378923 h 411599"/>
                <a:gd name="connsiteX77" fmla="*/ 362641 w 522354"/>
                <a:gd name="connsiteY77" fmla="*/ 378077 h 411599"/>
                <a:gd name="connsiteX78" fmla="*/ 361488 w 522354"/>
                <a:gd name="connsiteY78" fmla="*/ 380013 h 411599"/>
                <a:gd name="connsiteX79" fmla="*/ 358930 w 522354"/>
                <a:gd name="connsiteY79" fmla="*/ 379801 h 411599"/>
                <a:gd name="connsiteX80" fmla="*/ 358673 w 522354"/>
                <a:gd name="connsiteY80" fmla="*/ 375720 h 411599"/>
                <a:gd name="connsiteX81" fmla="*/ 354290 w 522354"/>
                <a:gd name="connsiteY81" fmla="*/ 371803 h 411599"/>
                <a:gd name="connsiteX82" fmla="*/ 353044 w 522354"/>
                <a:gd name="connsiteY82" fmla="*/ 367130 h 411599"/>
                <a:gd name="connsiteX83" fmla="*/ 350070 w 522354"/>
                <a:gd name="connsiteY83" fmla="*/ 365362 h 411599"/>
                <a:gd name="connsiteX84" fmla="*/ 345367 w 522354"/>
                <a:gd name="connsiteY84" fmla="*/ 366496 h 411599"/>
                <a:gd name="connsiteX85" fmla="*/ 345112 w 522354"/>
                <a:gd name="connsiteY85" fmla="*/ 362412 h 411599"/>
                <a:gd name="connsiteX86" fmla="*/ 332733 w 522354"/>
                <a:gd name="connsiteY86" fmla="*/ 362914 h 411599"/>
                <a:gd name="connsiteX87" fmla="*/ 332893 w 522354"/>
                <a:gd name="connsiteY87" fmla="*/ 360388 h 411599"/>
                <a:gd name="connsiteX88" fmla="*/ 330335 w 522354"/>
                <a:gd name="connsiteY88" fmla="*/ 360176 h 411599"/>
                <a:gd name="connsiteX89" fmla="*/ 330813 w 522354"/>
                <a:gd name="connsiteY89" fmla="*/ 352601 h 411599"/>
                <a:gd name="connsiteX90" fmla="*/ 305961 w 522354"/>
                <a:gd name="connsiteY90" fmla="*/ 346994 h 411599"/>
                <a:gd name="connsiteX91" fmla="*/ 300012 w 522354"/>
                <a:gd name="connsiteY91" fmla="*/ 343455 h 411599"/>
                <a:gd name="connsiteX92" fmla="*/ 291184 w 522354"/>
                <a:gd name="connsiteY92" fmla="*/ 344756 h 411599"/>
                <a:gd name="connsiteX93" fmla="*/ 258497 w 522354"/>
                <a:gd name="connsiteY93" fmla="*/ 341038 h 411599"/>
                <a:gd name="connsiteX94" fmla="*/ 227119 w 522354"/>
                <a:gd name="connsiteY94" fmla="*/ 332862 h 411599"/>
                <a:gd name="connsiteX95" fmla="*/ 252637 w 522354"/>
                <a:gd name="connsiteY95" fmla="*/ 303492 h 411599"/>
                <a:gd name="connsiteX96" fmla="*/ 253629 w 522354"/>
                <a:gd name="connsiteY96" fmla="*/ 304082 h 411599"/>
                <a:gd name="connsiteX97" fmla="*/ 265555 w 522354"/>
                <a:gd name="connsiteY97" fmla="*/ 286282 h 411599"/>
                <a:gd name="connsiteX98" fmla="*/ 267538 w 522354"/>
                <a:gd name="connsiteY98" fmla="*/ 287461 h 411599"/>
                <a:gd name="connsiteX99" fmla="*/ 266131 w 522354"/>
                <a:gd name="connsiteY99" fmla="*/ 285315 h 411599"/>
                <a:gd name="connsiteX100" fmla="*/ 276331 w 522354"/>
                <a:gd name="connsiteY100" fmla="*/ 270419 h 411599"/>
                <a:gd name="connsiteX101" fmla="*/ 287398 w 522354"/>
                <a:gd name="connsiteY101" fmla="*/ 274381 h 411599"/>
                <a:gd name="connsiteX102" fmla="*/ 294339 w 522354"/>
                <a:gd name="connsiteY102" fmla="*/ 278507 h 411599"/>
                <a:gd name="connsiteX103" fmla="*/ 294402 w 522354"/>
                <a:gd name="connsiteY103" fmla="*/ 269374 h 411599"/>
                <a:gd name="connsiteX104" fmla="*/ 295810 w 522354"/>
                <a:gd name="connsiteY104" fmla="*/ 271521 h 411599"/>
                <a:gd name="connsiteX105" fmla="*/ 312500 w 522354"/>
                <a:gd name="connsiteY105" fmla="*/ 243454 h 411599"/>
                <a:gd name="connsiteX106" fmla="*/ 316626 w 522354"/>
                <a:gd name="connsiteY106" fmla="*/ 243287 h 411599"/>
                <a:gd name="connsiteX107" fmla="*/ 319087 w 522354"/>
                <a:gd name="connsiteY107" fmla="*/ 236889 h 411599"/>
                <a:gd name="connsiteX108" fmla="*/ 323630 w 522354"/>
                <a:gd name="connsiteY108" fmla="*/ 238282 h 411599"/>
                <a:gd name="connsiteX109" fmla="*/ 320974 w 522354"/>
                <a:gd name="connsiteY109" fmla="*/ 231461 h 411599"/>
                <a:gd name="connsiteX110" fmla="*/ 313874 w 522354"/>
                <a:gd name="connsiteY110" fmla="*/ 229859 h 411599"/>
                <a:gd name="connsiteX111" fmla="*/ 303125 w 522354"/>
                <a:gd name="connsiteY111" fmla="*/ 220848 h 411599"/>
                <a:gd name="connsiteX112" fmla="*/ 296025 w 522354"/>
                <a:gd name="connsiteY112" fmla="*/ 219246 h 411599"/>
                <a:gd name="connsiteX113" fmla="*/ 291226 w 522354"/>
                <a:gd name="connsiteY113" fmla="*/ 213771 h 411599"/>
                <a:gd name="connsiteX114" fmla="*/ 287676 w 522354"/>
                <a:gd name="connsiteY114" fmla="*/ 212971 h 411599"/>
                <a:gd name="connsiteX115" fmla="*/ 286843 w 522354"/>
                <a:gd name="connsiteY115" fmla="*/ 209855 h 411599"/>
                <a:gd name="connsiteX116" fmla="*/ 276770 w 522354"/>
                <a:gd name="connsiteY116" fmla="*/ 206485 h 411599"/>
                <a:gd name="connsiteX117" fmla="*/ 271332 w 522354"/>
                <a:gd name="connsiteY117" fmla="*/ 211111 h 411599"/>
                <a:gd name="connsiteX118" fmla="*/ 260973 w 522354"/>
                <a:gd name="connsiteY118" fmla="*/ 228533 h 411599"/>
                <a:gd name="connsiteX119" fmla="*/ 242867 w 522354"/>
                <a:gd name="connsiteY119" fmla="*/ 213836 h 411599"/>
                <a:gd name="connsiteX120" fmla="*/ 235926 w 522354"/>
                <a:gd name="connsiteY120" fmla="*/ 209710 h 411599"/>
                <a:gd name="connsiteX121" fmla="*/ 221151 w 522354"/>
                <a:gd name="connsiteY121" fmla="*/ 207473 h 411599"/>
                <a:gd name="connsiteX122" fmla="*/ 221948 w 522354"/>
                <a:gd name="connsiteY122" fmla="*/ 194845 h 411599"/>
                <a:gd name="connsiteX123" fmla="*/ 226073 w 522354"/>
                <a:gd name="connsiteY123" fmla="*/ 194679 h 411599"/>
                <a:gd name="connsiteX124" fmla="*/ 227800 w 522354"/>
                <a:gd name="connsiteY124" fmla="*/ 191776 h 411599"/>
                <a:gd name="connsiteX125" fmla="*/ 229271 w 522354"/>
                <a:gd name="connsiteY125" fmla="*/ 184789 h 411599"/>
                <a:gd name="connsiteX126" fmla="*/ 226456 w 522354"/>
                <a:gd name="connsiteY126" fmla="*/ 180495 h 411599"/>
                <a:gd name="connsiteX127" fmla="*/ 214396 w 522354"/>
                <a:gd name="connsiteY127" fmla="*/ 175944 h 411599"/>
                <a:gd name="connsiteX128" fmla="*/ 205985 w 522354"/>
                <a:gd name="connsiteY128" fmla="*/ 178803 h 411599"/>
                <a:gd name="connsiteX129" fmla="*/ 192341 w 522354"/>
                <a:gd name="connsiteY129" fmla="*/ 173235 h 411599"/>
                <a:gd name="connsiteX130" fmla="*/ 192360 w 522354"/>
                <a:gd name="connsiteY130" fmla="*/ 174631 h 411599"/>
                <a:gd name="connsiteX131" fmla="*/ 179151 w 522354"/>
                <a:gd name="connsiteY131" fmla="*/ 172016 h 411599"/>
                <a:gd name="connsiteX132" fmla="*/ 176017 w 522354"/>
                <a:gd name="connsiteY132" fmla="*/ 172774 h 411599"/>
                <a:gd name="connsiteX133" fmla="*/ 147136 w 522354"/>
                <a:gd name="connsiteY133" fmla="*/ 173941 h 411599"/>
                <a:gd name="connsiteX134" fmla="*/ 146755 w 522354"/>
                <a:gd name="connsiteY134" fmla="*/ 188125 h 411599"/>
                <a:gd name="connsiteX135" fmla="*/ 143974 w 522354"/>
                <a:gd name="connsiteY135" fmla="*/ 199571 h 411599"/>
                <a:gd name="connsiteX136" fmla="*/ 133738 w 522354"/>
                <a:gd name="connsiteY136" fmla="*/ 198726 h 411599"/>
                <a:gd name="connsiteX137" fmla="*/ 124751 w 522354"/>
                <a:gd name="connsiteY137" fmla="*/ 202553 h 411599"/>
                <a:gd name="connsiteX138" fmla="*/ 114934 w 522354"/>
                <a:gd name="connsiteY138" fmla="*/ 203264 h 411599"/>
                <a:gd name="connsiteX139" fmla="*/ 112181 w 522354"/>
                <a:gd name="connsiteY139" fmla="*/ 189837 h 411599"/>
                <a:gd name="connsiteX140" fmla="*/ 104885 w 522354"/>
                <a:gd name="connsiteY140" fmla="*/ 175018 h 411599"/>
                <a:gd name="connsiteX141" fmla="*/ 90109 w 522354"/>
                <a:gd name="connsiteY141" fmla="*/ 172782 h 411599"/>
                <a:gd name="connsiteX142" fmla="*/ 74535 w 522354"/>
                <a:gd name="connsiteY142" fmla="*/ 183172 h 411599"/>
                <a:gd name="connsiteX143" fmla="*/ 56846 w 522354"/>
                <a:gd name="connsiteY143" fmla="*/ 170033 h 411599"/>
                <a:gd name="connsiteX144" fmla="*/ 55022 w 522354"/>
                <a:gd name="connsiteY144" fmla="*/ 166327 h 411599"/>
                <a:gd name="connsiteX145" fmla="*/ 51472 w 522354"/>
                <a:gd name="connsiteY145" fmla="*/ 165526 h 411599"/>
                <a:gd name="connsiteX146" fmla="*/ 52047 w 522354"/>
                <a:gd name="connsiteY146" fmla="*/ 164558 h 411599"/>
                <a:gd name="connsiteX147" fmla="*/ 55182 w 522354"/>
                <a:gd name="connsiteY147" fmla="*/ 163803 h 411599"/>
                <a:gd name="connsiteX148" fmla="*/ 53773 w 522354"/>
                <a:gd name="connsiteY148" fmla="*/ 161655 h 411599"/>
                <a:gd name="connsiteX149" fmla="*/ 54925 w 522354"/>
                <a:gd name="connsiteY149" fmla="*/ 159719 h 411599"/>
                <a:gd name="connsiteX150" fmla="*/ 46577 w 522354"/>
                <a:gd name="connsiteY150" fmla="*/ 153445 h 411599"/>
                <a:gd name="connsiteX151" fmla="*/ 24214 w 522354"/>
                <a:gd name="connsiteY151" fmla="*/ 116564 h 411599"/>
                <a:gd name="connsiteX152" fmla="*/ 0 w 522354"/>
                <a:gd name="connsiteY152" fmla="*/ 100855 h 411599"/>
                <a:gd name="connsiteX153" fmla="*/ 11449 w 522354"/>
                <a:gd name="connsiteY153" fmla="*/ 90631 h 411599"/>
                <a:gd name="connsiteX154" fmla="*/ 23569 w 522354"/>
                <a:gd name="connsiteY154" fmla="*/ 86050 h 411599"/>
                <a:gd name="connsiteX155" fmla="*/ 28431 w 522354"/>
                <a:gd name="connsiteY155" fmla="*/ 82388 h 411599"/>
                <a:gd name="connsiteX156" fmla="*/ 14036 w 522354"/>
                <a:gd name="connsiteY156" fmla="*/ 65968 h 411599"/>
                <a:gd name="connsiteX157" fmla="*/ 5942 w 522354"/>
                <a:gd name="connsiteY157" fmla="*/ 63777 h 411599"/>
                <a:gd name="connsiteX158" fmla="*/ 12115 w 522354"/>
                <a:gd name="connsiteY158" fmla="*/ 55655 h 411599"/>
                <a:gd name="connsiteX159" fmla="*/ 19499 w 522354"/>
                <a:gd name="connsiteY159" fmla="*/ 36465 h 411599"/>
                <a:gd name="connsiteX160" fmla="*/ 33028 w 522354"/>
                <a:gd name="connsiteY160" fmla="*/ 34029 h 411599"/>
                <a:gd name="connsiteX161" fmla="*/ 70992 w 522354"/>
                <a:gd name="connsiteY161" fmla="*/ 35644 h 411599"/>
                <a:gd name="connsiteX162" fmla="*/ 77103 w 522354"/>
                <a:gd name="connsiteY162" fmla="*/ 36656 h 411599"/>
                <a:gd name="connsiteX163" fmla="*/ 80811 w 522354"/>
                <a:gd name="connsiteY163" fmla="*/ 34933 h 411599"/>
                <a:gd name="connsiteX164" fmla="*/ 87337 w 522354"/>
                <a:gd name="connsiteY164" fmla="*/ 37502 h 411599"/>
                <a:gd name="connsiteX165" fmla="*/ 120441 w 522354"/>
                <a:gd name="connsiteY165" fmla="*/ 42776 h 411599"/>
                <a:gd name="connsiteX166" fmla="*/ 142060 w 522354"/>
                <a:gd name="connsiteY166" fmla="*/ 42533 h 411599"/>
                <a:gd name="connsiteX167" fmla="*/ 162530 w 522354"/>
                <a:gd name="connsiteY167" fmla="*/ 44224 h 411599"/>
                <a:gd name="connsiteX168" fmla="*/ 167230 w 522354"/>
                <a:gd name="connsiteY168" fmla="*/ 43090 h 411599"/>
                <a:gd name="connsiteX169" fmla="*/ 189108 w 522354"/>
                <a:gd name="connsiteY169" fmla="*/ 46928 h 411599"/>
                <a:gd name="connsiteX170" fmla="*/ 205354 w 522354"/>
                <a:gd name="connsiteY170" fmla="*/ 42179 h 411599"/>
                <a:gd name="connsiteX171" fmla="*/ 206763 w 522354"/>
                <a:gd name="connsiteY171" fmla="*/ 44325 h 411599"/>
                <a:gd name="connsiteX172" fmla="*/ 207436 w 522354"/>
                <a:gd name="connsiteY172" fmla="*/ 49966 h 411599"/>
                <a:gd name="connsiteX173" fmla="*/ 207178 w 522354"/>
                <a:gd name="connsiteY173" fmla="*/ 45882 h 411599"/>
                <a:gd name="connsiteX174" fmla="*/ 209738 w 522354"/>
                <a:gd name="connsiteY174" fmla="*/ 46094 h 411599"/>
                <a:gd name="connsiteX175" fmla="*/ 215846 w 522354"/>
                <a:gd name="connsiteY175" fmla="*/ 47107 h 411599"/>
                <a:gd name="connsiteX176" fmla="*/ 215112 w 522354"/>
                <a:gd name="connsiteY176" fmla="*/ 50600 h 411599"/>
                <a:gd name="connsiteX177" fmla="*/ 223203 w 522354"/>
                <a:gd name="connsiteY177" fmla="*/ 52792 h 411599"/>
                <a:gd name="connsiteX178" fmla="*/ 251959 w 522354"/>
                <a:gd name="connsiteY178" fmla="*/ 69892 h 411599"/>
                <a:gd name="connsiteX179" fmla="*/ 278378 w 522354"/>
                <a:gd name="connsiteY179" fmla="*/ 75122 h 411599"/>
                <a:gd name="connsiteX180" fmla="*/ 288453 w 522354"/>
                <a:gd name="connsiteY180" fmla="*/ 78494 h 411599"/>
                <a:gd name="connsiteX181" fmla="*/ 298175 w 522354"/>
                <a:gd name="connsiteY181" fmla="*/ 71173 h 411599"/>
                <a:gd name="connsiteX182" fmla="*/ 299583 w 522354"/>
                <a:gd name="connsiteY182" fmla="*/ 73319 h 411599"/>
                <a:gd name="connsiteX183" fmla="*/ 292739 w 522354"/>
                <a:gd name="connsiteY183" fmla="*/ 75800 h 411599"/>
                <a:gd name="connsiteX184" fmla="*/ 292996 w 522354"/>
                <a:gd name="connsiteY184" fmla="*/ 79884 h 411599"/>
                <a:gd name="connsiteX185" fmla="*/ 309596 w 522354"/>
                <a:gd name="connsiteY185" fmla="*/ 85826 h 411599"/>
                <a:gd name="connsiteX186" fmla="*/ 336015 w 522354"/>
                <a:gd name="connsiteY186" fmla="*/ 91054 h 411599"/>
                <a:gd name="connsiteX187" fmla="*/ 356422 w 522354"/>
                <a:gd name="connsiteY187" fmla="*/ 101880 h 411599"/>
                <a:gd name="connsiteX188" fmla="*/ 385657 w 522354"/>
                <a:gd name="connsiteY188" fmla="*/ 111403 h 411599"/>
                <a:gd name="connsiteX189" fmla="*/ 390870 w 522354"/>
                <a:gd name="connsiteY189" fmla="*/ 118435 h 411599"/>
                <a:gd name="connsiteX190" fmla="*/ 395988 w 522354"/>
                <a:gd name="connsiteY190" fmla="*/ 118858 h 411599"/>
                <a:gd name="connsiteX191" fmla="*/ 398228 w 522354"/>
                <a:gd name="connsiteY191" fmla="*/ 124120 h 411599"/>
                <a:gd name="connsiteX192" fmla="*/ 407213 w 522354"/>
                <a:gd name="connsiteY192" fmla="*/ 120294 h 411599"/>
                <a:gd name="connsiteX193" fmla="*/ 408366 w 522354"/>
                <a:gd name="connsiteY193" fmla="*/ 118357 h 411599"/>
                <a:gd name="connsiteX194" fmla="*/ 408781 w 522354"/>
                <a:gd name="connsiteY194" fmla="*/ 119915 h 411599"/>
                <a:gd name="connsiteX195" fmla="*/ 415612 w 522354"/>
                <a:gd name="connsiteY195" fmla="*/ 36200 h 411599"/>
                <a:gd name="connsiteX196" fmla="*/ 418587 w 522354"/>
                <a:gd name="connsiteY196" fmla="*/ 37969 h 411599"/>
                <a:gd name="connsiteX197" fmla="*/ 417276 w 522354"/>
                <a:gd name="connsiteY197" fmla="*/ 42431 h 411599"/>
                <a:gd name="connsiteX198" fmla="*/ 412416 w 522354"/>
                <a:gd name="connsiteY198" fmla="*/ 46090 h 411599"/>
                <a:gd name="connsiteX199" fmla="*/ 409441 w 522354"/>
                <a:gd name="connsiteY199" fmla="*/ 44322 h 411599"/>
                <a:gd name="connsiteX200" fmla="*/ 408768 w 522354"/>
                <a:gd name="connsiteY200" fmla="*/ 38680 h 411599"/>
                <a:gd name="connsiteX201" fmla="*/ 412894 w 522354"/>
                <a:gd name="connsiteY201" fmla="*/ 38515 h 411599"/>
                <a:gd name="connsiteX202" fmla="*/ 371982 w 522354"/>
                <a:gd name="connsiteY202" fmla="*/ 10255 h 411599"/>
                <a:gd name="connsiteX203" fmla="*/ 374959 w 522354"/>
                <a:gd name="connsiteY203" fmla="*/ 12025 h 411599"/>
                <a:gd name="connsiteX204" fmla="*/ 370672 w 522354"/>
                <a:gd name="connsiteY204" fmla="*/ 14716 h 411599"/>
                <a:gd name="connsiteX205" fmla="*/ 368273 w 522354"/>
                <a:gd name="connsiteY205" fmla="*/ 11979 h 411599"/>
                <a:gd name="connsiteX206" fmla="*/ 433295 w 522354"/>
                <a:gd name="connsiteY206" fmla="*/ 8723 h 411599"/>
                <a:gd name="connsiteX207" fmla="*/ 431408 w 522354"/>
                <a:gd name="connsiteY207" fmla="*/ 14151 h 411599"/>
                <a:gd name="connsiteX208" fmla="*/ 426035 w 522354"/>
                <a:gd name="connsiteY208" fmla="*/ 9645 h 411599"/>
                <a:gd name="connsiteX209" fmla="*/ 423892 w 522354"/>
                <a:gd name="connsiteY209" fmla="*/ 10991 h 411599"/>
                <a:gd name="connsiteX210" fmla="*/ 416790 w 522354"/>
                <a:gd name="connsiteY210" fmla="*/ 9390 h 411599"/>
                <a:gd name="connsiteX211" fmla="*/ 412409 w 522354"/>
                <a:gd name="connsiteY211" fmla="*/ 5473 h 411599"/>
                <a:gd name="connsiteX212" fmla="*/ 402750 w 522354"/>
                <a:gd name="connsiteY212" fmla="*/ 3659 h 411599"/>
                <a:gd name="connsiteX213" fmla="*/ 396897 w 522354"/>
                <a:gd name="connsiteY213" fmla="*/ 6730 h 411599"/>
                <a:gd name="connsiteX214" fmla="*/ 395489 w 522354"/>
                <a:gd name="connsiteY214" fmla="*/ 4582 h 411599"/>
                <a:gd name="connsiteX215" fmla="*/ 398784 w 522354"/>
                <a:gd name="connsiteY215" fmla="*/ 1301 h 411599"/>
                <a:gd name="connsiteX216" fmla="*/ 407610 w 522354"/>
                <a:gd name="connsiteY216" fmla="*/ 0 h 41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522354" h="411599">
                  <a:moveTo>
                    <a:pt x="192263" y="168022"/>
                  </a:moveTo>
                  <a:lnTo>
                    <a:pt x="192263" y="168027"/>
                  </a:lnTo>
                  <a:lnTo>
                    <a:pt x="192264" y="168024"/>
                  </a:lnTo>
                  <a:close/>
                  <a:moveTo>
                    <a:pt x="209127" y="31322"/>
                  </a:moveTo>
                  <a:lnTo>
                    <a:pt x="212102" y="33091"/>
                  </a:lnTo>
                  <a:lnTo>
                    <a:pt x="209738" y="46094"/>
                  </a:lnTo>
                  <a:close/>
                  <a:moveTo>
                    <a:pt x="410030" y="124588"/>
                  </a:moveTo>
                  <a:lnTo>
                    <a:pt x="413421" y="127913"/>
                  </a:lnTo>
                  <a:lnTo>
                    <a:pt x="409700" y="124795"/>
                  </a:lnTo>
                  <a:close/>
                  <a:moveTo>
                    <a:pt x="488011" y="160478"/>
                  </a:moveTo>
                  <a:lnTo>
                    <a:pt x="488458" y="161531"/>
                  </a:lnTo>
                  <a:lnTo>
                    <a:pt x="488426" y="162036"/>
                  </a:lnTo>
                  <a:close/>
                  <a:moveTo>
                    <a:pt x="488533" y="160353"/>
                  </a:moveTo>
                  <a:lnTo>
                    <a:pt x="490870" y="162798"/>
                  </a:lnTo>
                  <a:lnTo>
                    <a:pt x="490251" y="165740"/>
                  </a:lnTo>
                  <a:lnTo>
                    <a:pt x="488458" y="161531"/>
                  </a:lnTo>
                  <a:close/>
                  <a:moveTo>
                    <a:pt x="418760" y="116677"/>
                  </a:moveTo>
                  <a:lnTo>
                    <a:pt x="405071" y="121638"/>
                  </a:lnTo>
                  <a:lnTo>
                    <a:pt x="406063" y="122227"/>
                  </a:lnTo>
                  <a:lnTo>
                    <a:pt x="401778" y="124920"/>
                  </a:lnTo>
                  <a:lnTo>
                    <a:pt x="408046" y="123407"/>
                  </a:lnTo>
                  <a:lnTo>
                    <a:pt x="409700" y="124795"/>
                  </a:lnTo>
                  <a:lnTo>
                    <a:pt x="407886" y="125933"/>
                  </a:lnTo>
                  <a:lnTo>
                    <a:pt x="409454" y="125554"/>
                  </a:lnTo>
                  <a:lnTo>
                    <a:pt x="419785" y="133010"/>
                  </a:lnTo>
                  <a:lnTo>
                    <a:pt x="426568" y="139662"/>
                  </a:lnTo>
                  <a:lnTo>
                    <a:pt x="433092" y="142232"/>
                  </a:lnTo>
                  <a:lnTo>
                    <a:pt x="443264" y="152211"/>
                  </a:lnTo>
                  <a:lnTo>
                    <a:pt x="485195" y="156185"/>
                  </a:lnTo>
                  <a:lnTo>
                    <a:pt x="492137" y="160313"/>
                  </a:lnTo>
                  <a:lnTo>
                    <a:pt x="495785" y="167721"/>
                  </a:lnTo>
                  <a:lnTo>
                    <a:pt x="489676" y="166708"/>
                  </a:lnTo>
                  <a:lnTo>
                    <a:pt x="492235" y="166921"/>
                  </a:lnTo>
                  <a:lnTo>
                    <a:pt x="492393" y="164395"/>
                  </a:lnTo>
                  <a:lnTo>
                    <a:pt x="490870" y="162798"/>
                  </a:lnTo>
                  <a:lnTo>
                    <a:pt x="490986" y="162247"/>
                  </a:lnTo>
                  <a:lnTo>
                    <a:pt x="488585" y="159511"/>
                  </a:lnTo>
                  <a:lnTo>
                    <a:pt x="488533" y="160353"/>
                  </a:lnTo>
                  <a:lnTo>
                    <a:pt x="486603" y="158332"/>
                  </a:lnTo>
                  <a:lnTo>
                    <a:pt x="463575" y="156427"/>
                  </a:lnTo>
                  <a:lnTo>
                    <a:pt x="469685" y="157442"/>
                  </a:lnTo>
                  <a:lnTo>
                    <a:pt x="463992" y="157985"/>
                  </a:lnTo>
                  <a:lnTo>
                    <a:pt x="466550" y="158196"/>
                  </a:lnTo>
                  <a:lnTo>
                    <a:pt x="465398" y="160133"/>
                  </a:lnTo>
                  <a:lnTo>
                    <a:pt x="456829" y="165517"/>
                  </a:lnTo>
                  <a:lnTo>
                    <a:pt x="453701" y="169813"/>
                  </a:lnTo>
                  <a:lnTo>
                    <a:pt x="502248" y="295170"/>
                  </a:lnTo>
                  <a:lnTo>
                    <a:pt x="504985" y="298963"/>
                  </a:lnTo>
                  <a:lnTo>
                    <a:pt x="512343" y="304647"/>
                  </a:lnTo>
                  <a:lnTo>
                    <a:pt x="515573" y="310499"/>
                  </a:lnTo>
                  <a:lnTo>
                    <a:pt x="522354" y="317153"/>
                  </a:lnTo>
                  <a:lnTo>
                    <a:pt x="492233" y="354263"/>
                  </a:lnTo>
                  <a:lnTo>
                    <a:pt x="500005" y="361507"/>
                  </a:lnTo>
                  <a:lnTo>
                    <a:pt x="501672" y="367736"/>
                  </a:lnTo>
                  <a:lnTo>
                    <a:pt x="494827" y="370217"/>
                  </a:lnTo>
                  <a:lnTo>
                    <a:pt x="483184" y="367224"/>
                  </a:lnTo>
                  <a:lnTo>
                    <a:pt x="462750" y="381274"/>
                  </a:lnTo>
                  <a:lnTo>
                    <a:pt x="461917" y="378160"/>
                  </a:lnTo>
                  <a:lnTo>
                    <a:pt x="456958" y="375211"/>
                  </a:lnTo>
                  <a:lnTo>
                    <a:pt x="448132" y="376511"/>
                  </a:lnTo>
                  <a:lnTo>
                    <a:pt x="437515" y="389851"/>
                  </a:lnTo>
                  <a:lnTo>
                    <a:pt x="436302" y="400919"/>
                  </a:lnTo>
                  <a:lnTo>
                    <a:pt x="433999" y="404791"/>
                  </a:lnTo>
                  <a:lnTo>
                    <a:pt x="429874" y="404957"/>
                  </a:lnTo>
                  <a:lnTo>
                    <a:pt x="427060" y="400663"/>
                  </a:lnTo>
                  <a:lnTo>
                    <a:pt x="423924" y="401420"/>
                  </a:lnTo>
                  <a:lnTo>
                    <a:pt x="414937" y="405246"/>
                  </a:lnTo>
                  <a:lnTo>
                    <a:pt x="409917" y="411432"/>
                  </a:lnTo>
                  <a:lnTo>
                    <a:pt x="405791" y="411599"/>
                  </a:lnTo>
                  <a:lnTo>
                    <a:pt x="396035" y="403176"/>
                  </a:lnTo>
                  <a:lnTo>
                    <a:pt x="394788" y="398504"/>
                  </a:lnTo>
                  <a:lnTo>
                    <a:pt x="397407" y="389583"/>
                  </a:lnTo>
                  <a:lnTo>
                    <a:pt x="381605" y="371014"/>
                  </a:lnTo>
                  <a:lnTo>
                    <a:pt x="376904" y="372148"/>
                  </a:lnTo>
                  <a:lnTo>
                    <a:pt x="377063" y="369623"/>
                  </a:lnTo>
                  <a:lnTo>
                    <a:pt x="371786" y="371725"/>
                  </a:lnTo>
                  <a:lnTo>
                    <a:pt x="372875" y="378923"/>
                  </a:lnTo>
                  <a:lnTo>
                    <a:pt x="362641" y="378077"/>
                  </a:lnTo>
                  <a:lnTo>
                    <a:pt x="361488" y="380013"/>
                  </a:lnTo>
                  <a:lnTo>
                    <a:pt x="358930" y="379801"/>
                  </a:lnTo>
                  <a:lnTo>
                    <a:pt x="358673" y="375720"/>
                  </a:lnTo>
                  <a:lnTo>
                    <a:pt x="354290" y="371803"/>
                  </a:lnTo>
                  <a:lnTo>
                    <a:pt x="353044" y="367130"/>
                  </a:lnTo>
                  <a:lnTo>
                    <a:pt x="350070" y="365362"/>
                  </a:lnTo>
                  <a:lnTo>
                    <a:pt x="345367" y="366496"/>
                  </a:lnTo>
                  <a:lnTo>
                    <a:pt x="345112" y="362412"/>
                  </a:lnTo>
                  <a:lnTo>
                    <a:pt x="332733" y="362914"/>
                  </a:lnTo>
                  <a:lnTo>
                    <a:pt x="332893" y="360388"/>
                  </a:lnTo>
                  <a:lnTo>
                    <a:pt x="330335" y="360176"/>
                  </a:lnTo>
                  <a:lnTo>
                    <a:pt x="330813" y="352601"/>
                  </a:lnTo>
                  <a:lnTo>
                    <a:pt x="305961" y="346994"/>
                  </a:lnTo>
                  <a:lnTo>
                    <a:pt x="300012" y="343455"/>
                  </a:lnTo>
                  <a:lnTo>
                    <a:pt x="291184" y="344756"/>
                  </a:lnTo>
                  <a:lnTo>
                    <a:pt x="258497" y="341038"/>
                  </a:lnTo>
                  <a:lnTo>
                    <a:pt x="227119" y="332862"/>
                  </a:lnTo>
                  <a:lnTo>
                    <a:pt x="252637" y="303492"/>
                  </a:lnTo>
                  <a:lnTo>
                    <a:pt x="253629" y="304082"/>
                  </a:lnTo>
                  <a:lnTo>
                    <a:pt x="265555" y="286282"/>
                  </a:lnTo>
                  <a:lnTo>
                    <a:pt x="267538" y="287461"/>
                  </a:lnTo>
                  <a:lnTo>
                    <a:pt x="266131" y="285315"/>
                  </a:lnTo>
                  <a:lnTo>
                    <a:pt x="276331" y="270419"/>
                  </a:lnTo>
                  <a:lnTo>
                    <a:pt x="287398" y="274381"/>
                  </a:lnTo>
                  <a:lnTo>
                    <a:pt x="294339" y="278507"/>
                  </a:lnTo>
                  <a:lnTo>
                    <a:pt x="294402" y="269374"/>
                  </a:lnTo>
                  <a:lnTo>
                    <a:pt x="295810" y="271521"/>
                  </a:lnTo>
                  <a:lnTo>
                    <a:pt x="312500" y="243454"/>
                  </a:lnTo>
                  <a:lnTo>
                    <a:pt x="316626" y="243287"/>
                  </a:lnTo>
                  <a:lnTo>
                    <a:pt x="319087" y="236889"/>
                  </a:lnTo>
                  <a:lnTo>
                    <a:pt x="323630" y="238282"/>
                  </a:lnTo>
                  <a:lnTo>
                    <a:pt x="320974" y="231461"/>
                  </a:lnTo>
                  <a:lnTo>
                    <a:pt x="313874" y="229859"/>
                  </a:lnTo>
                  <a:lnTo>
                    <a:pt x="303125" y="220848"/>
                  </a:lnTo>
                  <a:lnTo>
                    <a:pt x="296025" y="219246"/>
                  </a:lnTo>
                  <a:lnTo>
                    <a:pt x="291226" y="213771"/>
                  </a:lnTo>
                  <a:lnTo>
                    <a:pt x="287676" y="212971"/>
                  </a:lnTo>
                  <a:lnTo>
                    <a:pt x="286843" y="209855"/>
                  </a:lnTo>
                  <a:lnTo>
                    <a:pt x="276770" y="206485"/>
                  </a:lnTo>
                  <a:lnTo>
                    <a:pt x="271332" y="211111"/>
                  </a:lnTo>
                  <a:lnTo>
                    <a:pt x="260973" y="228533"/>
                  </a:lnTo>
                  <a:lnTo>
                    <a:pt x="242867" y="213836"/>
                  </a:lnTo>
                  <a:lnTo>
                    <a:pt x="235926" y="209710"/>
                  </a:lnTo>
                  <a:lnTo>
                    <a:pt x="221151" y="207473"/>
                  </a:lnTo>
                  <a:lnTo>
                    <a:pt x="221948" y="194845"/>
                  </a:lnTo>
                  <a:lnTo>
                    <a:pt x="226073" y="194679"/>
                  </a:lnTo>
                  <a:lnTo>
                    <a:pt x="227800" y="191776"/>
                  </a:lnTo>
                  <a:lnTo>
                    <a:pt x="229271" y="184789"/>
                  </a:lnTo>
                  <a:lnTo>
                    <a:pt x="226456" y="180495"/>
                  </a:lnTo>
                  <a:lnTo>
                    <a:pt x="214396" y="175944"/>
                  </a:lnTo>
                  <a:lnTo>
                    <a:pt x="205985" y="178803"/>
                  </a:lnTo>
                  <a:lnTo>
                    <a:pt x="192341" y="173235"/>
                  </a:lnTo>
                  <a:lnTo>
                    <a:pt x="192360" y="174631"/>
                  </a:lnTo>
                  <a:lnTo>
                    <a:pt x="179151" y="172016"/>
                  </a:lnTo>
                  <a:lnTo>
                    <a:pt x="176017" y="172774"/>
                  </a:lnTo>
                  <a:lnTo>
                    <a:pt x="147136" y="173941"/>
                  </a:lnTo>
                  <a:lnTo>
                    <a:pt x="146755" y="188125"/>
                  </a:lnTo>
                  <a:lnTo>
                    <a:pt x="143974" y="199571"/>
                  </a:lnTo>
                  <a:lnTo>
                    <a:pt x="133738" y="198726"/>
                  </a:lnTo>
                  <a:lnTo>
                    <a:pt x="124751" y="202553"/>
                  </a:lnTo>
                  <a:lnTo>
                    <a:pt x="114934" y="203264"/>
                  </a:lnTo>
                  <a:lnTo>
                    <a:pt x="112181" y="189837"/>
                  </a:lnTo>
                  <a:lnTo>
                    <a:pt x="104885" y="175018"/>
                  </a:lnTo>
                  <a:lnTo>
                    <a:pt x="90109" y="172782"/>
                  </a:lnTo>
                  <a:lnTo>
                    <a:pt x="74535" y="183172"/>
                  </a:lnTo>
                  <a:lnTo>
                    <a:pt x="56846" y="170033"/>
                  </a:lnTo>
                  <a:lnTo>
                    <a:pt x="55022" y="166327"/>
                  </a:lnTo>
                  <a:lnTo>
                    <a:pt x="51472" y="165526"/>
                  </a:lnTo>
                  <a:lnTo>
                    <a:pt x="52047" y="164558"/>
                  </a:lnTo>
                  <a:lnTo>
                    <a:pt x="55182" y="163803"/>
                  </a:lnTo>
                  <a:lnTo>
                    <a:pt x="53773" y="161655"/>
                  </a:lnTo>
                  <a:lnTo>
                    <a:pt x="54925" y="159719"/>
                  </a:lnTo>
                  <a:lnTo>
                    <a:pt x="46577" y="153445"/>
                  </a:lnTo>
                  <a:lnTo>
                    <a:pt x="24214" y="116564"/>
                  </a:lnTo>
                  <a:lnTo>
                    <a:pt x="0" y="100855"/>
                  </a:lnTo>
                  <a:lnTo>
                    <a:pt x="11449" y="90631"/>
                  </a:lnTo>
                  <a:lnTo>
                    <a:pt x="23569" y="86050"/>
                  </a:lnTo>
                  <a:lnTo>
                    <a:pt x="28431" y="82388"/>
                  </a:lnTo>
                  <a:lnTo>
                    <a:pt x="14036" y="65968"/>
                  </a:lnTo>
                  <a:lnTo>
                    <a:pt x="5942" y="63777"/>
                  </a:lnTo>
                  <a:lnTo>
                    <a:pt x="12115" y="55655"/>
                  </a:lnTo>
                  <a:lnTo>
                    <a:pt x="19499" y="36465"/>
                  </a:lnTo>
                  <a:lnTo>
                    <a:pt x="33028" y="34029"/>
                  </a:lnTo>
                  <a:lnTo>
                    <a:pt x="70992" y="35644"/>
                  </a:lnTo>
                  <a:lnTo>
                    <a:pt x="77103" y="36656"/>
                  </a:lnTo>
                  <a:lnTo>
                    <a:pt x="80811" y="34933"/>
                  </a:lnTo>
                  <a:lnTo>
                    <a:pt x="87337" y="37502"/>
                  </a:lnTo>
                  <a:lnTo>
                    <a:pt x="120441" y="42776"/>
                  </a:lnTo>
                  <a:lnTo>
                    <a:pt x="142060" y="42533"/>
                  </a:lnTo>
                  <a:lnTo>
                    <a:pt x="162530" y="44224"/>
                  </a:lnTo>
                  <a:lnTo>
                    <a:pt x="167230" y="43090"/>
                  </a:lnTo>
                  <a:lnTo>
                    <a:pt x="189108" y="46928"/>
                  </a:lnTo>
                  <a:lnTo>
                    <a:pt x="205354" y="42179"/>
                  </a:lnTo>
                  <a:lnTo>
                    <a:pt x="206763" y="44325"/>
                  </a:lnTo>
                  <a:lnTo>
                    <a:pt x="207436" y="49966"/>
                  </a:lnTo>
                  <a:lnTo>
                    <a:pt x="207178" y="45882"/>
                  </a:lnTo>
                  <a:lnTo>
                    <a:pt x="209738" y="46094"/>
                  </a:lnTo>
                  <a:lnTo>
                    <a:pt x="215846" y="47107"/>
                  </a:lnTo>
                  <a:lnTo>
                    <a:pt x="215112" y="50600"/>
                  </a:lnTo>
                  <a:lnTo>
                    <a:pt x="223203" y="52792"/>
                  </a:lnTo>
                  <a:lnTo>
                    <a:pt x="251959" y="69892"/>
                  </a:lnTo>
                  <a:lnTo>
                    <a:pt x="278378" y="75122"/>
                  </a:lnTo>
                  <a:lnTo>
                    <a:pt x="288453" y="78494"/>
                  </a:lnTo>
                  <a:lnTo>
                    <a:pt x="298175" y="71173"/>
                  </a:lnTo>
                  <a:lnTo>
                    <a:pt x="299583" y="73319"/>
                  </a:lnTo>
                  <a:lnTo>
                    <a:pt x="292739" y="75800"/>
                  </a:lnTo>
                  <a:lnTo>
                    <a:pt x="292996" y="79884"/>
                  </a:lnTo>
                  <a:lnTo>
                    <a:pt x="309596" y="85826"/>
                  </a:lnTo>
                  <a:lnTo>
                    <a:pt x="336015" y="91054"/>
                  </a:lnTo>
                  <a:lnTo>
                    <a:pt x="356422" y="101880"/>
                  </a:lnTo>
                  <a:lnTo>
                    <a:pt x="385657" y="111403"/>
                  </a:lnTo>
                  <a:lnTo>
                    <a:pt x="390870" y="118435"/>
                  </a:lnTo>
                  <a:lnTo>
                    <a:pt x="395988" y="118858"/>
                  </a:lnTo>
                  <a:lnTo>
                    <a:pt x="398228" y="124120"/>
                  </a:lnTo>
                  <a:lnTo>
                    <a:pt x="407213" y="120294"/>
                  </a:lnTo>
                  <a:lnTo>
                    <a:pt x="408366" y="118357"/>
                  </a:lnTo>
                  <a:lnTo>
                    <a:pt x="408781" y="119915"/>
                  </a:lnTo>
                  <a:close/>
                  <a:moveTo>
                    <a:pt x="415612" y="36200"/>
                  </a:moveTo>
                  <a:lnTo>
                    <a:pt x="418587" y="37969"/>
                  </a:lnTo>
                  <a:lnTo>
                    <a:pt x="417276" y="42431"/>
                  </a:lnTo>
                  <a:lnTo>
                    <a:pt x="412416" y="46090"/>
                  </a:lnTo>
                  <a:lnTo>
                    <a:pt x="409441" y="44322"/>
                  </a:lnTo>
                  <a:lnTo>
                    <a:pt x="408768" y="38680"/>
                  </a:lnTo>
                  <a:lnTo>
                    <a:pt x="412894" y="38515"/>
                  </a:lnTo>
                  <a:close/>
                  <a:moveTo>
                    <a:pt x="371982" y="10255"/>
                  </a:moveTo>
                  <a:lnTo>
                    <a:pt x="374959" y="12025"/>
                  </a:lnTo>
                  <a:lnTo>
                    <a:pt x="370672" y="14716"/>
                  </a:lnTo>
                  <a:lnTo>
                    <a:pt x="368273" y="11979"/>
                  </a:lnTo>
                  <a:close/>
                  <a:moveTo>
                    <a:pt x="433295" y="8723"/>
                  </a:moveTo>
                  <a:lnTo>
                    <a:pt x="431408" y="14151"/>
                  </a:lnTo>
                  <a:lnTo>
                    <a:pt x="426035" y="9645"/>
                  </a:lnTo>
                  <a:lnTo>
                    <a:pt x="423892" y="10991"/>
                  </a:lnTo>
                  <a:lnTo>
                    <a:pt x="416790" y="9390"/>
                  </a:lnTo>
                  <a:lnTo>
                    <a:pt x="412409" y="5473"/>
                  </a:lnTo>
                  <a:lnTo>
                    <a:pt x="402750" y="3659"/>
                  </a:lnTo>
                  <a:lnTo>
                    <a:pt x="396897" y="6730"/>
                  </a:lnTo>
                  <a:lnTo>
                    <a:pt x="395489" y="4582"/>
                  </a:lnTo>
                  <a:lnTo>
                    <a:pt x="398784" y="1301"/>
                  </a:lnTo>
                  <a:lnTo>
                    <a:pt x="407610" y="0"/>
                  </a:lnTo>
                  <a:close/>
                </a:path>
              </a:pathLst>
            </a:custGeom>
            <a:grp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dirty="0">
                <a:ln>
                  <a:noFill/>
                </a:ln>
                <a:solidFill>
                  <a:srgbClr val="000000"/>
                </a:solidFill>
                <a:effectLst/>
                <a:uLnTx/>
                <a:uFillTx/>
                <a:latin typeface="Corbel" panose="020B0503020204020204" pitchFamily="34" charset="0"/>
                <a:ea typeface="+mn-ea"/>
                <a:cs typeface="+mn-cs"/>
              </a:endParaRPr>
            </a:p>
          </p:txBody>
        </p:sp>
      </p:grpSp>
      <p:sp>
        <p:nvSpPr>
          <p:cNvPr id="2" name="TextBox 1">
            <a:extLst>
              <a:ext uri="{FF2B5EF4-FFF2-40B4-BE49-F238E27FC236}">
                <a16:creationId xmlns:a16="http://schemas.microsoft.com/office/drawing/2014/main" id="{CCB6C5C0-52D9-4639-AC55-1036F7EF6881}"/>
              </a:ext>
            </a:extLst>
          </p:cNvPr>
          <p:cNvSpPr txBox="1"/>
          <p:nvPr/>
        </p:nvSpPr>
        <p:spPr>
          <a:xfrm>
            <a:off x="8276159" y="2706454"/>
            <a:ext cx="914400" cy="914400"/>
          </a:xfrm>
          <a:prstGeom prst="rect">
            <a:avLst/>
          </a:prstGeom>
        </p:spPr>
        <p:txBody>
          <a:bodyPr vert="horz" wrap="none" lIns="91440" tIns="45720" rIns="91440" bIns="45720" rtlCol="0">
            <a:noAutofit/>
          </a:bodyPr>
          <a:lstStyle/>
          <a:p>
            <a:pPr marL="0" indent="0" algn="l">
              <a:buNone/>
            </a:pPr>
            <a:r>
              <a:rPr lang="nl-NL" sz="13800" b="1" noProof="0" dirty="0">
                <a:solidFill>
                  <a:schemeClr val="tx2"/>
                </a:solidFill>
              </a:rPr>
              <a:t>?</a:t>
            </a:r>
          </a:p>
        </p:txBody>
      </p:sp>
    </p:spTree>
    <p:extLst>
      <p:ext uri="{BB962C8B-B14F-4D97-AF65-F5344CB8AC3E}">
        <p14:creationId xmlns:p14="http://schemas.microsoft.com/office/powerpoint/2010/main" val="27224346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74A198B-95CC-4312-B36D-DA88F09F66CB}"/>
              </a:ext>
            </a:extLst>
          </p:cNvPr>
          <p:cNvGraphicFramePr>
            <a:graphicFrameLocks noChangeAspect="1"/>
          </p:cNvGraphicFramePr>
          <p:nvPr>
            <p:custDataLst>
              <p:tags r:id="rId1"/>
            </p:custDataLst>
            <p:extLst>
              <p:ext uri="{D42A27DB-BD31-4B8C-83A1-F6EECF244321}">
                <p14:modId xmlns:p14="http://schemas.microsoft.com/office/powerpoint/2010/main" val="224941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F38C8F67-88FC-47B8-B549-27F0617C7B2B}"/>
              </a:ext>
            </a:extLst>
          </p:cNvPr>
          <p:cNvSpPr/>
          <p:nvPr/>
        </p:nvSpPr>
        <p:spPr>
          <a:xfrm>
            <a:off x="1028490" y="4912032"/>
            <a:ext cx="5600700" cy="667876"/>
          </a:xfrm>
          <a:prstGeom prst="roundRect">
            <a:avLst/>
          </a:prstGeom>
          <a:solidFill>
            <a:srgbClr val="CFE3E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5" name="Rectangle: Rounded Corners 34">
            <a:extLst>
              <a:ext uri="{FF2B5EF4-FFF2-40B4-BE49-F238E27FC236}">
                <a16:creationId xmlns:a16="http://schemas.microsoft.com/office/drawing/2014/main" id="{B6181850-C69E-40CD-A1E2-178244B1E491}"/>
              </a:ext>
            </a:extLst>
          </p:cNvPr>
          <p:cNvSpPr/>
          <p:nvPr/>
        </p:nvSpPr>
        <p:spPr>
          <a:xfrm>
            <a:off x="1028490" y="2312451"/>
            <a:ext cx="5600700" cy="667876"/>
          </a:xfrm>
          <a:prstGeom prst="roundRect">
            <a:avLst/>
          </a:prstGeom>
          <a:solidFill>
            <a:srgbClr val="CFE3E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 name="Footer Placeholder 8">
            <a:extLst>
              <a:ext uri="{FF2B5EF4-FFF2-40B4-BE49-F238E27FC236}">
                <a16:creationId xmlns:a16="http://schemas.microsoft.com/office/drawing/2014/main" id="{3F12E11F-E3C6-4CB7-897A-B8F73AC48738}"/>
              </a:ext>
            </a:extLst>
          </p:cNvPr>
          <p:cNvSpPr>
            <a:spLocks noGrp="1"/>
          </p:cNvSpPr>
          <p:nvPr>
            <p:ph type="ftr" sz="quarter" idx="3"/>
          </p:nvPr>
        </p:nvSpPr>
        <p:spPr/>
        <p:txBody>
          <a:bodyPr/>
          <a:lstStyle/>
          <a:p>
            <a:r>
              <a:rPr lang="nl-NL" noProof="0" dirty="0"/>
              <a:t>Bron: it’s public analyse</a:t>
            </a:r>
          </a:p>
        </p:txBody>
      </p:sp>
      <p:sp>
        <p:nvSpPr>
          <p:cNvPr id="10" name="Slide Number Placeholder 9">
            <a:extLst>
              <a:ext uri="{FF2B5EF4-FFF2-40B4-BE49-F238E27FC236}">
                <a16:creationId xmlns:a16="http://schemas.microsoft.com/office/drawing/2014/main" id="{A1220223-E14A-4636-98CC-BB6A9693D78B}"/>
              </a:ext>
            </a:extLst>
          </p:cNvPr>
          <p:cNvSpPr>
            <a:spLocks noGrp="1"/>
          </p:cNvSpPr>
          <p:nvPr>
            <p:ph type="sldNum" sz="quarter" idx="12"/>
          </p:nvPr>
        </p:nvSpPr>
        <p:spPr/>
        <p:txBody>
          <a:bodyPr/>
          <a:lstStyle/>
          <a:p>
            <a:fld id="{992CD0B2-8AB2-4C6C-8876-E15753662C9B}" type="slidenum">
              <a:rPr lang="nl-NL" noProof="0" smtClean="0"/>
              <a:pPr/>
              <a:t>20</a:t>
            </a:fld>
            <a:endParaRPr lang="nl-NL" noProof="0"/>
          </a:p>
        </p:txBody>
      </p:sp>
      <p:sp>
        <p:nvSpPr>
          <p:cNvPr id="23" name="Text Placeholder 22">
            <a:extLst>
              <a:ext uri="{FF2B5EF4-FFF2-40B4-BE49-F238E27FC236}">
                <a16:creationId xmlns:a16="http://schemas.microsoft.com/office/drawing/2014/main" id="{C71ADF8A-9074-410A-A08B-24270C1504BE}"/>
              </a:ext>
            </a:extLst>
          </p:cNvPr>
          <p:cNvSpPr>
            <a:spLocks noGrp="1"/>
          </p:cNvSpPr>
          <p:nvPr>
            <p:ph type="body" sz="quarter" idx="14"/>
          </p:nvPr>
        </p:nvSpPr>
        <p:spPr/>
        <p:txBody>
          <a:bodyPr/>
          <a:lstStyle/>
          <a:p>
            <a:r>
              <a:rPr lang="nl-NL" dirty="0"/>
              <a:t>Mogelijke oplossingsrichtingen om kostenoverschrijdingen meer te verevenen tussen gemeenten</a:t>
            </a:r>
          </a:p>
        </p:txBody>
      </p:sp>
      <p:sp>
        <p:nvSpPr>
          <p:cNvPr id="12" name="Title 11">
            <a:extLst>
              <a:ext uri="{FF2B5EF4-FFF2-40B4-BE49-F238E27FC236}">
                <a16:creationId xmlns:a16="http://schemas.microsoft.com/office/drawing/2014/main" id="{F2B32666-0438-49E7-A27B-4AEE3B1413FD}"/>
              </a:ext>
            </a:extLst>
          </p:cNvPr>
          <p:cNvSpPr>
            <a:spLocks noGrp="1"/>
          </p:cNvSpPr>
          <p:nvPr>
            <p:ph type="title"/>
          </p:nvPr>
        </p:nvSpPr>
        <p:spPr/>
        <p:txBody>
          <a:bodyPr vert="horz"/>
          <a:lstStyle/>
          <a:p>
            <a:r>
              <a:rPr lang="nl-NL" dirty="0"/>
              <a:t>Er zijn meerdere oplossingsrichtingen om verschillen te verevenen</a:t>
            </a:r>
          </a:p>
        </p:txBody>
      </p:sp>
      <p:sp>
        <p:nvSpPr>
          <p:cNvPr id="34" name="TextBox 33">
            <a:extLst>
              <a:ext uri="{FF2B5EF4-FFF2-40B4-BE49-F238E27FC236}">
                <a16:creationId xmlns:a16="http://schemas.microsoft.com/office/drawing/2014/main" id="{DAE7522D-49AF-4EB0-B260-0872520666BD}"/>
              </a:ext>
            </a:extLst>
          </p:cNvPr>
          <p:cNvSpPr txBox="1"/>
          <p:nvPr/>
        </p:nvSpPr>
        <p:spPr>
          <a:xfrm>
            <a:off x="6772274" y="2400027"/>
            <a:ext cx="4541179" cy="463204"/>
          </a:xfrm>
          <a:prstGeom prst="rect">
            <a:avLst/>
          </a:prstGeom>
          <a:noFill/>
        </p:spPr>
        <p:txBody>
          <a:bodyPr wrap="square">
            <a:spAutoFit/>
          </a:bodyPr>
          <a:lstStyle/>
          <a:p>
            <a:pPr>
              <a:spcBef>
                <a:spcPts val="300"/>
              </a:spcBef>
            </a:pPr>
            <a:r>
              <a:rPr lang="nl-NL" sz="1200" dirty="0"/>
              <a:t>Grotere gemeentes lijken minder last van tekorten te hebben</a:t>
            </a:r>
          </a:p>
          <a:p>
            <a:pPr>
              <a:spcBef>
                <a:spcPts val="300"/>
              </a:spcBef>
            </a:pPr>
            <a:r>
              <a:rPr lang="nl-NL" sz="1200" dirty="0"/>
              <a:t>Echter: sterke wens gemeenten tégen verdere fusies</a:t>
            </a:r>
          </a:p>
        </p:txBody>
      </p:sp>
      <p:sp>
        <p:nvSpPr>
          <p:cNvPr id="36" name="Rectangle: Rounded Corners 35">
            <a:extLst>
              <a:ext uri="{FF2B5EF4-FFF2-40B4-BE49-F238E27FC236}">
                <a16:creationId xmlns:a16="http://schemas.microsoft.com/office/drawing/2014/main" id="{5BD5D603-83C3-41C3-BE61-FAF3B6B96912}"/>
              </a:ext>
            </a:extLst>
          </p:cNvPr>
          <p:cNvSpPr/>
          <p:nvPr/>
        </p:nvSpPr>
        <p:spPr>
          <a:xfrm>
            <a:off x="1028490" y="3178978"/>
            <a:ext cx="5600700" cy="667876"/>
          </a:xfrm>
          <a:prstGeom prst="roundRect">
            <a:avLst/>
          </a:prstGeom>
          <a:solidFill>
            <a:srgbClr val="CFE3E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Rounded Corners 36">
            <a:extLst>
              <a:ext uri="{FF2B5EF4-FFF2-40B4-BE49-F238E27FC236}">
                <a16:creationId xmlns:a16="http://schemas.microsoft.com/office/drawing/2014/main" id="{C0D9F898-203D-4B76-B8D9-FCBC7C19F4D3}"/>
              </a:ext>
            </a:extLst>
          </p:cNvPr>
          <p:cNvSpPr/>
          <p:nvPr/>
        </p:nvSpPr>
        <p:spPr>
          <a:xfrm>
            <a:off x="1028490" y="4045505"/>
            <a:ext cx="5600700" cy="667876"/>
          </a:xfrm>
          <a:prstGeom prst="roundRect">
            <a:avLst/>
          </a:prstGeom>
          <a:solidFill>
            <a:srgbClr val="CFE3E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Oval 21">
            <a:extLst>
              <a:ext uri="{FF2B5EF4-FFF2-40B4-BE49-F238E27FC236}">
                <a16:creationId xmlns:a16="http://schemas.microsoft.com/office/drawing/2014/main" id="{1A5972D5-1EFB-4847-8ADA-85B6DA3DC862}"/>
              </a:ext>
            </a:extLst>
          </p:cNvPr>
          <p:cNvSpPr/>
          <p:nvPr/>
        </p:nvSpPr>
        <p:spPr>
          <a:xfrm>
            <a:off x="1171574" y="2400027"/>
            <a:ext cx="492723" cy="492723"/>
          </a:xfrm>
          <a:prstGeom prst="ellipse">
            <a:avLst/>
          </a:prstGeom>
          <a:solidFill>
            <a:srgbClr val="408E94"/>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2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26" name="TextBox 25">
            <a:extLst>
              <a:ext uri="{FF2B5EF4-FFF2-40B4-BE49-F238E27FC236}">
                <a16:creationId xmlns:a16="http://schemas.microsoft.com/office/drawing/2014/main" id="{4C5AB119-E55E-4BDA-9609-601B7A192116}"/>
              </a:ext>
            </a:extLst>
          </p:cNvPr>
          <p:cNvSpPr txBox="1"/>
          <p:nvPr/>
        </p:nvSpPr>
        <p:spPr>
          <a:xfrm>
            <a:off x="1664297" y="2477045"/>
            <a:ext cx="914400" cy="338689"/>
          </a:xfrm>
          <a:prstGeom prst="rect">
            <a:avLst/>
          </a:prstGeom>
        </p:spPr>
        <p:txBody>
          <a:bodyPr vert="horz" wrap="none" lIns="91440" tIns="45720" rIns="91440" bIns="45720" rtlCol="0">
            <a:noAutofit/>
          </a:bodyPr>
          <a:lstStyle/>
          <a:p>
            <a:pPr marL="0" indent="0" algn="l">
              <a:buNone/>
            </a:pPr>
            <a:r>
              <a:rPr lang="nl-NL" sz="1800" b="1" noProof="0" dirty="0"/>
              <a:t>Gemeentelijke fusies</a:t>
            </a:r>
          </a:p>
        </p:txBody>
      </p:sp>
      <p:sp>
        <p:nvSpPr>
          <p:cNvPr id="29" name="Oval 28">
            <a:extLst>
              <a:ext uri="{FF2B5EF4-FFF2-40B4-BE49-F238E27FC236}">
                <a16:creationId xmlns:a16="http://schemas.microsoft.com/office/drawing/2014/main" id="{B745429D-72EE-4F44-8FBD-8C7D38177575}"/>
              </a:ext>
            </a:extLst>
          </p:cNvPr>
          <p:cNvSpPr/>
          <p:nvPr/>
        </p:nvSpPr>
        <p:spPr>
          <a:xfrm>
            <a:off x="1171574" y="3266555"/>
            <a:ext cx="492723" cy="492723"/>
          </a:xfrm>
          <a:prstGeom prst="ellipse">
            <a:avLst/>
          </a:prstGeom>
          <a:solidFill>
            <a:srgbClr val="408E94"/>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2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a:t>
            </a:r>
          </a:p>
        </p:txBody>
      </p:sp>
      <p:sp>
        <p:nvSpPr>
          <p:cNvPr id="30" name="TextBox 29">
            <a:extLst>
              <a:ext uri="{FF2B5EF4-FFF2-40B4-BE49-F238E27FC236}">
                <a16:creationId xmlns:a16="http://schemas.microsoft.com/office/drawing/2014/main" id="{E119E725-CF3E-4B06-9C65-D90614CBEB11}"/>
              </a:ext>
            </a:extLst>
          </p:cNvPr>
          <p:cNvSpPr txBox="1"/>
          <p:nvPr/>
        </p:nvSpPr>
        <p:spPr>
          <a:xfrm>
            <a:off x="1664297" y="3343572"/>
            <a:ext cx="914400" cy="338689"/>
          </a:xfrm>
          <a:prstGeom prst="rect">
            <a:avLst/>
          </a:prstGeom>
        </p:spPr>
        <p:txBody>
          <a:bodyPr vert="horz" wrap="none" lIns="91440" tIns="45720" rIns="91440" bIns="45720" rtlCol="0">
            <a:noAutofit/>
          </a:bodyPr>
          <a:lstStyle/>
          <a:p>
            <a:pPr marL="0" indent="0" algn="l">
              <a:buNone/>
            </a:pPr>
            <a:r>
              <a:rPr lang="nl-NL" sz="1800" b="1" dirty="0"/>
              <a:t>Verplichte risicodeling binnen jeugdzorgregio’s</a:t>
            </a:r>
            <a:endParaRPr lang="nl-NL" sz="1800" b="1" noProof="0" dirty="0"/>
          </a:p>
        </p:txBody>
      </p:sp>
      <p:sp>
        <p:nvSpPr>
          <p:cNvPr id="31" name="Oval 30">
            <a:extLst>
              <a:ext uri="{FF2B5EF4-FFF2-40B4-BE49-F238E27FC236}">
                <a16:creationId xmlns:a16="http://schemas.microsoft.com/office/drawing/2014/main" id="{1586206B-CD13-4976-8713-9213862F4FB3}"/>
              </a:ext>
            </a:extLst>
          </p:cNvPr>
          <p:cNvSpPr/>
          <p:nvPr/>
        </p:nvSpPr>
        <p:spPr>
          <a:xfrm>
            <a:off x="1171574" y="4133082"/>
            <a:ext cx="492723" cy="492723"/>
          </a:xfrm>
          <a:prstGeom prst="ellipse">
            <a:avLst/>
          </a:prstGeom>
          <a:solidFill>
            <a:srgbClr val="408E94"/>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2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2" name="TextBox 31">
            <a:extLst>
              <a:ext uri="{FF2B5EF4-FFF2-40B4-BE49-F238E27FC236}">
                <a16:creationId xmlns:a16="http://schemas.microsoft.com/office/drawing/2014/main" id="{3C474DFD-25A2-4598-97C9-8C0A72AA708A}"/>
              </a:ext>
            </a:extLst>
          </p:cNvPr>
          <p:cNvSpPr txBox="1"/>
          <p:nvPr/>
        </p:nvSpPr>
        <p:spPr>
          <a:xfrm>
            <a:off x="1664297" y="4099923"/>
            <a:ext cx="914400" cy="559041"/>
          </a:xfrm>
          <a:prstGeom prst="rect">
            <a:avLst/>
          </a:prstGeom>
        </p:spPr>
        <p:txBody>
          <a:bodyPr vert="horz" wrap="none" lIns="91440" tIns="45720" rIns="91440" bIns="45720" rtlCol="0">
            <a:noAutofit/>
          </a:bodyPr>
          <a:lstStyle/>
          <a:p>
            <a:pPr marL="0" indent="0" algn="l">
              <a:buNone/>
            </a:pPr>
            <a:r>
              <a:rPr lang="nl-NL" sz="1800" b="1" noProof="0" dirty="0"/>
              <a:t>Budget deels verdelen o.b.v. objectieve criteria,</a:t>
            </a:r>
            <a:br>
              <a:rPr lang="nl-NL" sz="1800" b="1" noProof="0" dirty="0"/>
            </a:br>
            <a:r>
              <a:rPr lang="nl-NL" sz="1800" b="1" noProof="0" dirty="0"/>
              <a:t>deels o.b.v. daadwerkelijk gebruik</a:t>
            </a:r>
            <a:endParaRPr lang="nl-NL" sz="1800" b="1" baseline="30000" noProof="0" dirty="0"/>
          </a:p>
        </p:txBody>
      </p:sp>
      <p:sp>
        <p:nvSpPr>
          <p:cNvPr id="33" name="Oval 32">
            <a:extLst>
              <a:ext uri="{FF2B5EF4-FFF2-40B4-BE49-F238E27FC236}">
                <a16:creationId xmlns:a16="http://schemas.microsoft.com/office/drawing/2014/main" id="{B98D1B65-2C43-419B-9584-5B04151C6C3A}"/>
              </a:ext>
            </a:extLst>
          </p:cNvPr>
          <p:cNvSpPr/>
          <p:nvPr/>
        </p:nvSpPr>
        <p:spPr>
          <a:xfrm>
            <a:off x="1171574" y="4999608"/>
            <a:ext cx="492723" cy="492723"/>
          </a:xfrm>
          <a:prstGeom prst="ellipse">
            <a:avLst/>
          </a:prstGeom>
          <a:solidFill>
            <a:srgbClr val="408E94"/>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2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t>
            </a:r>
          </a:p>
        </p:txBody>
      </p:sp>
      <p:sp>
        <p:nvSpPr>
          <p:cNvPr id="39" name="TextBox 38">
            <a:extLst>
              <a:ext uri="{FF2B5EF4-FFF2-40B4-BE49-F238E27FC236}">
                <a16:creationId xmlns:a16="http://schemas.microsoft.com/office/drawing/2014/main" id="{C712F048-FC4B-4116-ADFD-9308FD3741B7}"/>
              </a:ext>
            </a:extLst>
          </p:cNvPr>
          <p:cNvSpPr txBox="1"/>
          <p:nvPr/>
        </p:nvSpPr>
        <p:spPr>
          <a:xfrm>
            <a:off x="6772274" y="3148086"/>
            <a:ext cx="4541179" cy="795602"/>
          </a:xfrm>
          <a:prstGeom prst="rect">
            <a:avLst/>
          </a:prstGeom>
          <a:noFill/>
        </p:spPr>
        <p:txBody>
          <a:bodyPr wrap="square">
            <a:spAutoFit/>
          </a:bodyPr>
          <a:lstStyle/>
          <a:p>
            <a:pPr>
              <a:spcBef>
                <a:spcPts val="300"/>
              </a:spcBef>
            </a:pPr>
            <a:r>
              <a:rPr lang="nl-NL" sz="1200" dirty="0"/>
              <a:t>Gemeentes binnen inkoopcombinatie zouden verplicht kunnen worden om risico’s te delen (aanpassing woonplaatsbeginsel)</a:t>
            </a:r>
          </a:p>
          <a:p>
            <a:pPr>
              <a:spcBef>
                <a:spcPts val="300"/>
              </a:spcBef>
            </a:pPr>
            <a:r>
              <a:rPr lang="nl-NL" sz="1200" dirty="0"/>
              <a:t>Echter: er blijven nog steeds verschillen tussen jeugdzorgregio’s ontstaan</a:t>
            </a:r>
          </a:p>
        </p:txBody>
      </p:sp>
      <p:sp>
        <p:nvSpPr>
          <p:cNvPr id="40" name="TextBox 39">
            <a:extLst>
              <a:ext uri="{FF2B5EF4-FFF2-40B4-BE49-F238E27FC236}">
                <a16:creationId xmlns:a16="http://schemas.microsoft.com/office/drawing/2014/main" id="{3854D80D-A1B8-4FF0-94C1-4DDA4AE0B3FD}"/>
              </a:ext>
            </a:extLst>
          </p:cNvPr>
          <p:cNvSpPr txBox="1"/>
          <p:nvPr/>
        </p:nvSpPr>
        <p:spPr>
          <a:xfrm>
            <a:off x="6772274" y="4022090"/>
            <a:ext cx="4541179" cy="795602"/>
          </a:xfrm>
          <a:prstGeom prst="rect">
            <a:avLst/>
          </a:prstGeom>
          <a:noFill/>
        </p:spPr>
        <p:txBody>
          <a:bodyPr wrap="square">
            <a:spAutoFit/>
          </a:bodyPr>
          <a:lstStyle/>
          <a:p>
            <a:pPr>
              <a:spcBef>
                <a:spcPts val="300"/>
              </a:spcBef>
            </a:pPr>
            <a:r>
              <a:rPr lang="nl-NL" sz="1200" dirty="0"/>
              <a:t>Budget zou deels o.b.v. daadwerkelijk gebruik verdeeld kunnen worden (zoals nu nog bij Voogdij/18+) i.p.v. met objectieve model</a:t>
            </a:r>
          </a:p>
          <a:p>
            <a:pPr>
              <a:spcBef>
                <a:spcPts val="300"/>
              </a:spcBef>
            </a:pPr>
            <a:r>
              <a:rPr lang="nl-NL" sz="1200" dirty="0"/>
              <a:t>Echter: er wordt nu een tegengestelde beweging gemaakt, waarbij alles aan objectieve model wordt toegevoegd</a:t>
            </a:r>
            <a:r>
              <a:rPr lang="nl-NL" sz="1200" baseline="30000" dirty="0"/>
              <a:t>1</a:t>
            </a:r>
            <a:endParaRPr lang="nl-NL" sz="1200" dirty="0"/>
          </a:p>
        </p:txBody>
      </p:sp>
      <p:sp>
        <p:nvSpPr>
          <p:cNvPr id="41" name="TextBox 40">
            <a:extLst>
              <a:ext uri="{FF2B5EF4-FFF2-40B4-BE49-F238E27FC236}">
                <a16:creationId xmlns:a16="http://schemas.microsoft.com/office/drawing/2014/main" id="{56425411-2294-4AE5-98A1-2F126F272173}"/>
              </a:ext>
            </a:extLst>
          </p:cNvPr>
          <p:cNvSpPr txBox="1"/>
          <p:nvPr/>
        </p:nvSpPr>
        <p:spPr>
          <a:xfrm>
            <a:off x="6772274" y="5024151"/>
            <a:ext cx="4541179" cy="463204"/>
          </a:xfrm>
          <a:prstGeom prst="rect">
            <a:avLst/>
          </a:prstGeom>
          <a:noFill/>
        </p:spPr>
        <p:txBody>
          <a:bodyPr wrap="square" anchor="ctr">
            <a:spAutoFit/>
          </a:bodyPr>
          <a:lstStyle/>
          <a:p>
            <a:pPr>
              <a:spcBef>
                <a:spcPts val="300"/>
              </a:spcBef>
            </a:pPr>
            <a:r>
              <a:rPr lang="nl-NL" sz="1200" dirty="0"/>
              <a:t>…</a:t>
            </a:r>
          </a:p>
          <a:p>
            <a:pPr>
              <a:spcBef>
                <a:spcPts val="300"/>
              </a:spcBef>
            </a:pPr>
            <a:r>
              <a:rPr lang="nl-NL" sz="1200" dirty="0"/>
              <a:t>…</a:t>
            </a:r>
          </a:p>
        </p:txBody>
      </p:sp>
      <p:sp>
        <p:nvSpPr>
          <p:cNvPr id="42" name="TextBox 41">
            <a:extLst>
              <a:ext uri="{FF2B5EF4-FFF2-40B4-BE49-F238E27FC236}">
                <a16:creationId xmlns:a16="http://schemas.microsoft.com/office/drawing/2014/main" id="{2DA30DA5-62DD-49B1-A78F-0A7C4C2EBB26}"/>
              </a:ext>
            </a:extLst>
          </p:cNvPr>
          <p:cNvSpPr txBox="1"/>
          <p:nvPr/>
        </p:nvSpPr>
        <p:spPr>
          <a:xfrm>
            <a:off x="1664297" y="4966448"/>
            <a:ext cx="914400" cy="559041"/>
          </a:xfrm>
          <a:prstGeom prst="rect">
            <a:avLst/>
          </a:prstGeom>
        </p:spPr>
        <p:txBody>
          <a:bodyPr vert="horz" wrap="none" lIns="91440" tIns="45720" rIns="91440" bIns="45720" rtlCol="0" anchor="ctr">
            <a:noAutofit/>
          </a:bodyPr>
          <a:lstStyle/>
          <a:p>
            <a:pPr marL="0" indent="0" algn="l">
              <a:buNone/>
            </a:pPr>
            <a:r>
              <a:rPr lang="nl-NL" sz="1800" b="1" noProof="0" dirty="0"/>
              <a:t>…</a:t>
            </a:r>
          </a:p>
        </p:txBody>
      </p:sp>
      <p:sp>
        <p:nvSpPr>
          <p:cNvPr id="43" name="Text Placeholder 25">
            <a:extLst>
              <a:ext uri="{FF2B5EF4-FFF2-40B4-BE49-F238E27FC236}">
                <a16:creationId xmlns:a16="http://schemas.microsoft.com/office/drawing/2014/main" id="{D393B674-2C7B-41F2-ABBF-F2031C789AA0}"/>
              </a:ext>
            </a:extLst>
          </p:cNvPr>
          <p:cNvSpPr>
            <a:spLocks noGrp="1"/>
          </p:cNvSpPr>
          <p:nvPr>
            <p:ph type="body" sz="quarter" idx="20"/>
          </p:nvPr>
        </p:nvSpPr>
        <p:spPr>
          <a:xfrm>
            <a:off x="662780" y="6487298"/>
            <a:ext cx="10868400" cy="122400"/>
          </a:xfrm>
        </p:spPr>
        <p:txBody>
          <a:bodyPr/>
          <a:lstStyle/>
          <a:p>
            <a:r>
              <a:rPr lang="nl-NL" dirty="0"/>
              <a:t>Het budget voor Voogdij/18+ wordt nu nog verdeeld o.b.v. daadwerkelijk gebruik, maar gaat na invoering van woonplaatsbeginsel over naar het objectieve model. Dit komt neer op minder risicoverevening en onderlinge verschillen in tekorten per gemeente zullen daardoor waarschijnlijk groter worden</a:t>
            </a:r>
          </a:p>
        </p:txBody>
      </p:sp>
    </p:spTree>
    <p:extLst>
      <p:ext uri="{BB962C8B-B14F-4D97-AF65-F5344CB8AC3E}">
        <p14:creationId xmlns:p14="http://schemas.microsoft.com/office/powerpoint/2010/main" val="1137190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1"/>
            </p:custDataLst>
            <p:extLst>
              <p:ext uri="{D42A27DB-BD31-4B8C-83A1-F6EECF244321}">
                <p14:modId xmlns:p14="http://schemas.microsoft.com/office/powerpoint/2010/main" val="249957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normAutofit/>
          </a:bodyPr>
          <a:lstStyle/>
          <a:p>
            <a:pPr marL="0" indent="0">
              <a:buNone/>
            </a:pPr>
            <a:r>
              <a:rPr lang="nl-NL" b="1" dirty="0">
                <a:solidFill>
                  <a:schemeClr val="tx1"/>
                </a:solidFill>
              </a:rPr>
              <a:t>Meer weten?</a:t>
            </a:r>
          </a:p>
          <a:p>
            <a:pPr marL="0" indent="0">
              <a:buNone/>
            </a:pPr>
            <a:r>
              <a:rPr lang="nl-NL" dirty="0">
                <a:solidFill>
                  <a:schemeClr val="tx1"/>
                </a:solidFill>
              </a:rPr>
              <a:t>Kijk op </a:t>
            </a:r>
            <a:r>
              <a:rPr lang="nl-NL" dirty="0">
                <a:solidFill>
                  <a:srgbClr val="22777B"/>
                </a:solidFill>
                <a:hlinkClick r:id="rId5">
                  <a:extLst>
                    <a:ext uri="{A12FA001-AC4F-418D-AE19-62706E023703}">
                      <ahyp:hlinkClr xmlns:ahyp="http://schemas.microsoft.com/office/drawing/2018/hyperlinkcolor" val="tx"/>
                    </a:ext>
                  </a:extLst>
                </a:hlinkClick>
              </a:rPr>
              <a:t>www.itspublic.nl/materialen</a:t>
            </a:r>
            <a:r>
              <a:rPr lang="nl-NL" dirty="0">
                <a:solidFill>
                  <a:srgbClr val="22777B"/>
                </a:solidFill>
              </a:rPr>
              <a:t> </a:t>
            </a:r>
            <a:r>
              <a:rPr lang="nl-NL" dirty="0">
                <a:solidFill>
                  <a:schemeClr val="tx1"/>
                </a:solidFill>
              </a:rPr>
              <a:t>voor al onze andere publicaties. Wij delen onze projectinzichten zo veel mogelijk en doen wij ook zelf onderzoek dat wij open source publiceren. Deze benchmark tekorten jeugdzorg is onderdeel van onze eigen open source publicaties. Zie voor meer informatie ook onze uitgangspunten op onze website.</a:t>
            </a:r>
          </a:p>
          <a:p>
            <a:pPr marL="0" indent="0">
              <a:buNone/>
            </a:pPr>
            <a:endParaRPr lang="nl-NL" dirty="0">
              <a:solidFill>
                <a:schemeClr val="tx1"/>
              </a:solidFill>
            </a:endParaRPr>
          </a:p>
          <a:p>
            <a:pPr marL="0" indent="0">
              <a:spcBef>
                <a:spcPts val="800"/>
              </a:spcBef>
              <a:buNone/>
            </a:pPr>
            <a:r>
              <a:rPr lang="nl-NL" dirty="0">
                <a:solidFill>
                  <a:schemeClr val="tx2"/>
                </a:solidFill>
                <a:hlinkClick r:id="rId6">
                  <a:extLst>
                    <a:ext uri="{A12FA001-AC4F-418D-AE19-62706E023703}">
                      <ahyp:hlinkClr xmlns:ahyp="http://schemas.microsoft.com/office/drawing/2018/hyperlinkcolor" val="tx"/>
                    </a:ext>
                  </a:extLst>
                </a:hlinkClick>
              </a:rPr>
              <a:t>Laat het ons vooral weten</a:t>
            </a:r>
            <a:r>
              <a:rPr lang="nl-NL" dirty="0">
                <a:solidFill>
                  <a:schemeClr val="tx2"/>
                </a:solidFill>
              </a:rPr>
              <a:t> </a:t>
            </a:r>
            <a:r>
              <a:rPr lang="nl-NL" dirty="0">
                <a:solidFill>
                  <a:schemeClr val="tx1"/>
                </a:solidFill>
              </a:rPr>
              <a:t>als u specifieke vragen, tips of opmerkingen heeft. Dit helpt ons ook om te bepalen waar wij onze toekomstige onderzoeken op richten.</a:t>
            </a:r>
          </a:p>
          <a:p>
            <a:pPr marL="0" indent="0">
              <a:spcBef>
                <a:spcPts val="800"/>
              </a:spcBef>
              <a:buNone/>
            </a:pPr>
            <a:endParaRPr lang="nl-NL" dirty="0">
              <a:solidFill>
                <a:schemeClr val="tx1"/>
              </a:solidFill>
            </a:endParaRPr>
          </a:p>
          <a:p>
            <a:pPr marL="0" indent="0">
              <a:buNone/>
            </a:pPr>
            <a:r>
              <a:rPr lang="nl-NL" b="1" dirty="0">
                <a:solidFill>
                  <a:schemeClr val="tx1"/>
                </a:solidFill>
              </a:rPr>
              <a:t>Over it’s public</a:t>
            </a:r>
          </a:p>
          <a:p>
            <a:pPr marL="0" indent="0">
              <a:buNone/>
            </a:pPr>
            <a:r>
              <a:rPr lang="nl-NL" dirty="0">
                <a:solidFill>
                  <a:schemeClr val="tx1"/>
                </a:solidFill>
              </a:rPr>
              <a:t>it’s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dirty="0"/>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deze benchmark tekorten jeugdzorg</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32" name="Picture 31">
            <a:extLst>
              <a:ext uri="{FF2B5EF4-FFF2-40B4-BE49-F238E27FC236}">
                <a16:creationId xmlns:a16="http://schemas.microsoft.com/office/drawing/2014/main" id="{5A90C3E8-49F1-4870-A792-E94F90431EF9}"/>
              </a:ext>
            </a:extLst>
          </p:cNvPr>
          <p:cNvPicPr>
            <a:picLocks noChangeAspect="1"/>
          </p:cNvPicPr>
          <p:nvPr/>
        </p:nvPicPr>
        <p:blipFill>
          <a:blip r:embed="rId7"/>
          <a:srcRect/>
          <a:stretch/>
        </p:blipFill>
        <p:spPr>
          <a:xfrm>
            <a:off x="737387" y="1734004"/>
            <a:ext cx="1920000" cy="1080000"/>
          </a:xfrm>
          <a:prstGeom prst="rect">
            <a:avLst/>
          </a:prstGeom>
          <a:ln>
            <a:solidFill>
              <a:srgbClr val="AFAFAF"/>
            </a:solidFill>
          </a:ln>
        </p:spPr>
      </p:pic>
      <p:pic>
        <p:nvPicPr>
          <p:cNvPr id="34" name="Picture 33">
            <a:extLst>
              <a:ext uri="{FF2B5EF4-FFF2-40B4-BE49-F238E27FC236}">
                <a16:creationId xmlns:a16="http://schemas.microsoft.com/office/drawing/2014/main" id="{8B1E23AB-F941-46F5-BF76-18F43A2B58E9}"/>
              </a:ext>
            </a:extLst>
          </p:cNvPr>
          <p:cNvPicPr>
            <a:picLocks noChangeAspect="1"/>
          </p:cNvPicPr>
          <p:nvPr/>
        </p:nvPicPr>
        <p:blipFill>
          <a:blip r:embed="rId8"/>
          <a:srcRect/>
          <a:stretch/>
        </p:blipFill>
        <p:spPr>
          <a:xfrm>
            <a:off x="1012422" y="2373465"/>
            <a:ext cx="1920000" cy="1080000"/>
          </a:xfrm>
          <a:prstGeom prst="rect">
            <a:avLst/>
          </a:prstGeom>
          <a:ln>
            <a:solidFill>
              <a:srgbClr val="AFAFAF"/>
            </a:solidFill>
          </a:ln>
        </p:spPr>
      </p:pic>
      <p:pic>
        <p:nvPicPr>
          <p:cNvPr id="35" name="Picture 34">
            <a:extLst>
              <a:ext uri="{FF2B5EF4-FFF2-40B4-BE49-F238E27FC236}">
                <a16:creationId xmlns:a16="http://schemas.microsoft.com/office/drawing/2014/main" id="{CC767F80-6897-4777-8F04-35634A9450C2}"/>
              </a:ext>
            </a:extLst>
          </p:cNvPr>
          <p:cNvPicPr>
            <a:picLocks noChangeAspect="1"/>
          </p:cNvPicPr>
          <p:nvPr/>
        </p:nvPicPr>
        <p:blipFill>
          <a:blip r:embed="rId9"/>
          <a:srcRect/>
          <a:stretch/>
        </p:blipFill>
        <p:spPr>
          <a:xfrm>
            <a:off x="1287457" y="3012926"/>
            <a:ext cx="1920000" cy="1080000"/>
          </a:xfrm>
          <a:prstGeom prst="rect">
            <a:avLst/>
          </a:prstGeom>
          <a:ln>
            <a:solidFill>
              <a:srgbClr val="AFAFAF"/>
            </a:solidFill>
          </a:ln>
        </p:spPr>
      </p:pic>
      <p:pic>
        <p:nvPicPr>
          <p:cNvPr id="36" name="Picture 35">
            <a:extLst>
              <a:ext uri="{FF2B5EF4-FFF2-40B4-BE49-F238E27FC236}">
                <a16:creationId xmlns:a16="http://schemas.microsoft.com/office/drawing/2014/main" id="{8F147D22-D40B-4EB9-A980-24A85DB1D238}"/>
              </a:ext>
            </a:extLst>
          </p:cNvPr>
          <p:cNvPicPr>
            <a:picLocks noChangeAspect="1"/>
          </p:cNvPicPr>
          <p:nvPr/>
        </p:nvPicPr>
        <p:blipFill>
          <a:blip r:embed="rId10"/>
          <a:srcRect/>
          <a:stretch/>
        </p:blipFill>
        <p:spPr>
          <a:xfrm>
            <a:off x="1562492" y="3652387"/>
            <a:ext cx="1920000" cy="1080000"/>
          </a:xfrm>
          <a:prstGeom prst="rect">
            <a:avLst/>
          </a:prstGeom>
          <a:ln>
            <a:solidFill>
              <a:srgbClr val="AFAFAF"/>
            </a:solidFill>
          </a:ln>
        </p:spPr>
      </p:pic>
      <p:pic>
        <p:nvPicPr>
          <p:cNvPr id="40" name="Picture 39">
            <a:extLst>
              <a:ext uri="{FF2B5EF4-FFF2-40B4-BE49-F238E27FC236}">
                <a16:creationId xmlns:a16="http://schemas.microsoft.com/office/drawing/2014/main" id="{ACA65A38-16A1-4E5A-9ABC-0F97562EA4C0}"/>
              </a:ext>
            </a:extLst>
          </p:cNvPr>
          <p:cNvPicPr>
            <a:picLocks noChangeAspect="1"/>
          </p:cNvPicPr>
          <p:nvPr/>
        </p:nvPicPr>
        <p:blipFill>
          <a:blip r:embed="rId11"/>
          <a:srcRect/>
          <a:stretch/>
        </p:blipFill>
        <p:spPr>
          <a:xfrm>
            <a:off x="1837527" y="4291848"/>
            <a:ext cx="1920000" cy="1080000"/>
          </a:xfrm>
          <a:prstGeom prst="rect">
            <a:avLst/>
          </a:prstGeom>
          <a:ln>
            <a:solidFill>
              <a:srgbClr val="AFAFAF"/>
            </a:solidFill>
          </a:ln>
        </p:spPr>
      </p:pic>
      <p:pic>
        <p:nvPicPr>
          <p:cNvPr id="53" name="Picture 52">
            <a:extLst>
              <a:ext uri="{FF2B5EF4-FFF2-40B4-BE49-F238E27FC236}">
                <a16:creationId xmlns:a16="http://schemas.microsoft.com/office/drawing/2014/main" id="{42C0747F-029F-45B7-8A17-DA4B859C167D}"/>
              </a:ext>
            </a:extLst>
          </p:cNvPr>
          <p:cNvPicPr>
            <a:picLocks noChangeAspect="1"/>
          </p:cNvPicPr>
          <p:nvPr/>
        </p:nvPicPr>
        <p:blipFill>
          <a:blip r:embed="rId12"/>
          <a:srcRect/>
          <a:stretch/>
        </p:blipFill>
        <p:spPr>
          <a:xfrm>
            <a:off x="2112563" y="4931307"/>
            <a:ext cx="1920000" cy="1080000"/>
          </a:xfrm>
          <a:prstGeom prst="rect">
            <a:avLst/>
          </a:prstGeom>
          <a:ln>
            <a:solidFill>
              <a:srgbClr val="AFAFAF"/>
            </a:solidFill>
          </a:ln>
        </p:spPr>
      </p:pic>
    </p:spTree>
    <p:extLst>
      <p:ext uri="{BB962C8B-B14F-4D97-AF65-F5344CB8AC3E}">
        <p14:creationId xmlns:p14="http://schemas.microsoft.com/office/powerpoint/2010/main" val="1228324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BA1877FE-EBF6-4AD1-B70B-088BAAEAD6FD}"/>
              </a:ext>
            </a:extLst>
          </p:cNvPr>
          <p:cNvPicPr>
            <a:picLocks noChangeAspect="1"/>
          </p:cNvPicPr>
          <p:nvPr/>
        </p:nvPicPr>
        <p:blipFill>
          <a:blip r:embed="rId6"/>
          <a:srcRect t="8756" b="8756"/>
          <a:stretch/>
        </p:blipFill>
        <p:spPr>
          <a:xfrm>
            <a:off x="163806" y="166778"/>
            <a:ext cx="11864388" cy="6524444"/>
          </a:xfrm>
          <a:prstGeom prst="roundRect">
            <a:avLst>
              <a:gd name="adj" fmla="val 2247"/>
            </a:avLst>
          </a:prstGeom>
        </p:spPr>
      </p:pic>
      <p:sp>
        <p:nvSpPr>
          <p:cNvPr id="3" name="Rectangle: Rounded Corners 2">
            <a:extLst>
              <a:ext uri="{FF2B5EF4-FFF2-40B4-BE49-F238E27FC236}">
                <a16:creationId xmlns:a16="http://schemas.microsoft.com/office/drawing/2014/main" id="{F742646D-2898-4D66-9983-5C934BDB676D}"/>
              </a:ext>
            </a:extLst>
          </p:cNvPr>
          <p:cNvSpPr/>
          <p:nvPr/>
        </p:nvSpPr>
        <p:spPr>
          <a:xfrm>
            <a:off x="1368284" y="847010"/>
            <a:ext cx="8100000" cy="5211192"/>
          </a:xfrm>
          <a:prstGeom prst="roundRect">
            <a:avLst>
              <a:gd name="adj" fmla="val 2527"/>
            </a:avLst>
          </a:prstGeom>
          <a:solidFill>
            <a:srgbClr val="22777B">
              <a:alpha val="90000"/>
            </a:srgb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sym typeface="Corbel" panose="020B0503020204020204" pitchFamily="34" charset="0"/>
            </a:endParaRPr>
          </a:p>
        </p:txBody>
      </p:sp>
      <p:sp>
        <p:nvSpPr>
          <p:cNvPr id="25" name="Text Placeholder 5">
            <a:extLst>
              <a:ext uri="{FF2B5EF4-FFF2-40B4-BE49-F238E27FC236}">
                <a16:creationId xmlns:a16="http://schemas.microsoft.com/office/drawing/2014/main" id="{60F09069-F494-45CA-8ACC-7993822D5D5C}"/>
              </a:ext>
            </a:extLst>
          </p:cNvPr>
          <p:cNvSpPr txBox="1">
            <a:spLocks/>
          </p:cNvSpPr>
          <p:nvPr/>
        </p:nvSpPr>
        <p:spPr>
          <a:xfrm>
            <a:off x="1761234" y="109902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solidFill>
                  <a:srgbClr val="FFFFFF"/>
                </a:solidFill>
                <a:ea typeface="+mj-ea"/>
                <a:cs typeface="+mj-cs"/>
                <a:sym typeface="Corbel" panose="020B0503020204020204" pitchFamily="34" charset="0"/>
              </a:rPr>
              <a:t>Inhoudsopgave</a:t>
            </a:r>
          </a:p>
        </p:txBody>
      </p:sp>
      <p:pic>
        <p:nvPicPr>
          <p:cNvPr id="16" name="Graphic 15" descr="Arrow: Straight">
            <a:extLst>
              <a:ext uri="{FF2B5EF4-FFF2-40B4-BE49-F238E27FC236}">
                <a16:creationId xmlns:a16="http://schemas.microsoft.com/office/drawing/2014/main" id="{EF7EBCF3-658A-4717-BDE3-F2687284931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1838835" y="3770641"/>
            <a:ext cx="418002" cy="396000"/>
          </a:xfrm>
          <a:prstGeom prst="rect">
            <a:avLst/>
          </a:prstGeom>
        </p:spPr>
      </p:pic>
      <p:sp>
        <p:nvSpPr>
          <p:cNvPr id="15" name="Text Placeholder 5">
            <a:hlinkClick r:id="rId9" action="ppaction://hlinksldjump"/>
            <a:extLst>
              <a:ext uri="{FF2B5EF4-FFF2-40B4-BE49-F238E27FC236}">
                <a16:creationId xmlns:a16="http://schemas.microsoft.com/office/drawing/2014/main" id="{45E8F7BF-59BF-4C8E-8C83-4658E1145269}"/>
              </a:ext>
            </a:extLst>
          </p:cNvPr>
          <p:cNvSpPr txBox="1">
            <a:spLocks/>
          </p:cNvSpPr>
          <p:nvPr/>
        </p:nvSpPr>
        <p:spPr>
          <a:xfrm>
            <a:off x="2341436" y="2980259"/>
            <a:ext cx="6827730"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lang="nl-NL" b="1" dirty="0">
                <a:solidFill>
                  <a:prstClr val="white"/>
                </a:solidFill>
              </a:rPr>
              <a:t>Discussie: kunnen verschillen verminderd worden?</a:t>
            </a:r>
            <a:endPar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8" name="Text Placeholder 5">
            <a:hlinkClick r:id="rId10" action="ppaction://hlinksldjump"/>
            <a:extLst>
              <a:ext uri="{FF2B5EF4-FFF2-40B4-BE49-F238E27FC236}">
                <a16:creationId xmlns:a16="http://schemas.microsoft.com/office/drawing/2014/main" id="{A3F67D4A-89FD-4C52-9BA3-D5FEE89A7F5E}"/>
              </a:ext>
            </a:extLst>
          </p:cNvPr>
          <p:cNvSpPr txBox="1">
            <a:spLocks/>
          </p:cNvSpPr>
          <p:nvPr/>
        </p:nvSpPr>
        <p:spPr>
          <a:xfrm>
            <a:off x="2341435" y="3705445"/>
            <a:ext cx="5587221" cy="526393"/>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n</a:t>
            </a:r>
          </a:p>
        </p:txBody>
      </p:sp>
      <p:sp>
        <p:nvSpPr>
          <p:cNvPr id="19" name="Text Placeholder 5">
            <a:hlinkClick r:id="rId11" action="ppaction://hlinksldjump"/>
            <a:extLst>
              <a:ext uri="{FF2B5EF4-FFF2-40B4-BE49-F238E27FC236}">
                <a16:creationId xmlns:a16="http://schemas.microsoft.com/office/drawing/2014/main" id="{093AB8D2-722E-4E04-B8A7-C93E24067B8F}"/>
              </a:ext>
            </a:extLst>
          </p:cNvPr>
          <p:cNvSpPr txBox="1">
            <a:spLocks/>
          </p:cNvSpPr>
          <p:nvPr/>
        </p:nvSpPr>
        <p:spPr>
          <a:xfrm>
            <a:off x="2341436" y="225507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Resultaten benchmark</a:t>
            </a:r>
          </a:p>
        </p:txBody>
      </p:sp>
      <p:sp>
        <p:nvSpPr>
          <p:cNvPr id="20" name="Text Placeholder 5">
            <a:hlinkClick r:id="rId12" action="ppaction://hlinksldjump"/>
            <a:extLst>
              <a:ext uri="{FF2B5EF4-FFF2-40B4-BE49-F238E27FC236}">
                <a16:creationId xmlns:a16="http://schemas.microsoft.com/office/drawing/2014/main" id="{45D71543-4D2A-42C2-88BA-1EAE9C9D578F}"/>
              </a:ext>
            </a:extLst>
          </p:cNvPr>
          <p:cNvSpPr txBox="1">
            <a:spLocks/>
          </p:cNvSpPr>
          <p:nvPr/>
        </p:nvSpPr>
        <p:spPr>
          <a:xfrm>
            <a:off x="2682135" y="460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2: extra uitleg methodologie en achtergrond</a:t>
            </a:r>
          </a:p>
        </p:txBody>
      </p:sp>
      <p:sp>
        <p:nvSpPr>
          <p:cNvPr id="21" name="Text Placeholder 5">
            <a:hlinkClick r:id="rId10" action="ppaction://hlinksldjump"/>
            <a:extLst>
              <a:ext uri="{FF2B5EF4-FFF2-40B4-BE49-F238E27FC236}">
                <a16:creationId xmlns:a16="http://schemas.microsoft.com/office/drawing/2014/main" id="{F7FF47EA-DF6E-4E12-A466-618A26DB24E9}"/>
              </a:ext>
            </a:extLst>
          </p:cNvPr>
          <p:cNvSpPr txBox="1">
            <a:spLocks/>
          </p:cNvSpPr>
          <p:nvPr/>
        </p:nvSpPr>
        <p:spPr>
          <a:xfrm>
            <a:off x="2682135" y="424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1: tekort per gemeente (groot-klein &amp; alfabetisch)</a:t>
            </a:r>
          </a:p>
        </p:txBody>
      </p:sp>
      <p:pic>
        <p:nvPicPr>
          <p:cNvPr id="22" name="Graphic 21" descr="Arrow: Straight">
            <a:extLst>
              <a:ext uri="{FF2B5EF4-FFF2-40B4-BE49-F238E27FC236}">
                <a16:creationId xmlns:a16="http://schemas.microsoft.com/office/drawing/2014/main" id="{494EF877-8143-4415-B301-F654840337E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2437433" y="4326027"/>
            <a:ext cx="219302" cy="207759"/>
          </a:xfrm>
          <a:prstGeom prst="rect">
            <a:avLst/>
          </a:prstGeom>
        </p:spPr>
      </p:pic>
    </p:spTree>
    <p:extLst>
      <p:ext uri="{BB962C8B-B14F-4D97-AF65-F5344CB8AC3E}">
        <p14:creationId xmlns:p14="http://schemas.microsoft.com/office/powerpoint/2010/main" val="3544217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extLst>
              <p:ext uri="{D42A27DB-BD31-4B8C-83A1-F6EECF244321}">
                <p14:modId xmlns:p14="http://schemas.microsoft.com/office/powerpoint/2010/main" val="662505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3</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1/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b"/>
                      <a:r>
                        <a:rPr lang="nl-NL" sz="1000" b="0" i="0" u="none" strike="noStrike" dirty="0">
                          <a:solidFill>
                            <a:srgbClr val="FFFFFF"/>
                          </a:solidFill>
                          <a:effectLst/>
                          <a:latin typeface="Corbel" panose="020B0503020204020204" pitchFamily="34" charset="0"/>
                        </a:rPr>
                        <a:t>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Terschell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b"/>
                      <a:r>
                        <a:rPr lang="nl-NL" sz="1000" b="0" i="0" u="none" strike="noStrike" dirty="0">
                          <a:solidFill>
                            <a:srgbClr val="FFFFFF"/>
                          </a:solidFill>
                          <a:effectLst/>
                          <a:latin typeface="Corbel" panose="020B0503020204020204" pitchFamily="34" charset="0"/>
                        </a:rPr>
                        <a:t>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oz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b"/>
                      <a:r>
                        <a:rPr lang="nl-NL" sz="1000" b="0" i="0" u="none" strike="noStrike" dirty="0">
                          <a:solidFill>
                            <a:srgbClr val="FFFFFF"/>
                          </a:solidFill>
                          <a:effectLst/>
                          <a:latin typeface="Corbel" panose="020B0503020204020204" pitchFamily="34" charset="0"/>
                        </a:rPr>
                        <a:t>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oord-Bev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b"/>
                      <a:r>
                        <a:rPr lang="nl-NL" sz="1000" b="0" i="0" u="none" strike="noStrike" dirty="0">
                          <a:solidFill>
                            <a:srgbClr val="FFFFFF"/>
                          </a:solidFill>
                          <a:effectLst/>
                          <a:latin typeface="Corbel" panose="020B0503020204020204" pitchFamily="34" charset="0"/>
                        </a:rPr>
                        <a:t>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degraven-Ree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b"/>
                      <a:r>
                        <a:rPr lang="nl-NL" sz="1000" b="0" i="0" u="none" strike="noStrike" dirty="0">
                          <a:solidFill>
                            <a:srgbClr val="FFFFFF"/>
                          </a:solidFill>
                          <a:effectLst/>
                          <a:latin typeface="Corbel" panose="020B0503020204020204" pitchFamily="34" charset="0"/>
                        </a:rPr>
                        <a:t>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b"/>
                      <a:r>
                        <a:rPr lang="nl-NL" sz="1000" b="0" i="0" u="none" strike="noStrike" dirty="0">
                          <a:solidFill>
                            <a:srgbClr val="FFFFFF"/>
                          </a:solidFill>
                          <a:effectLst/>
                          <a:latin typeface="Corbel" panose="020B0503020204020204" pitchFamily="34" charset="0"/>
                        </a:rPr>
                        <a:t>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idden-Delf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b"/>
                      <a:r>
                        <a:rPr lang="nl-NL" sz="1000" b="0" i="0" u="none" strike="noStrike" dirty="0">
                          <a:solidFill>
                            <a:srgbClr val="FFFFFF"/>
                          </a:solidFill>
                          <a:effectLst/>
                          <a:latin typeface="Corbel" panose="020B0503020204020204" pitchFamily="34" charset="0"/>
                        </a:rPr>
                        <a:t>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b"/>
                      <a:r>
                        <a:rPr lang="nl-NL" sz="1000" b="0" i="0" u="none" strike="noStrike" dirty="0">
                          <a:solidFill>
                            <a:srgbClr val="FFFFFF"/>
                          </a:solidFill>
                          <a:effectLst/>
                          <a:latin typeface="Corbel" panose="020B0503020204020204" pitchFamily="34" charset="0"/>
                        </a:rPr>
                        <a:t>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ook en Middel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b"/>
                      <a:r>
                        <a:rPr lang="nl-NL" sz="1000" b="0" i="0" u="none" strike="noStrike" dirty="0">
                          <a:solidFill>
                            <a:srgbClr val="FFFFFF"/>
                          </a:solidFill>
                          <a:effectLst/>
                          <a:latin typeface="Corbel" panose="020B0503020204020204" pitchFamily="34" charset="0"/>
                        </a:rPr>
                        <a:t>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oggen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b"/>
                      <a:r>
                        <a:rPr lang="nl-NL" sz="1000" b="0" i="0" u="none" strike="noStrike" dirty="0">
                          <a:solidFill>
                            <a:srgbClr val="FFFFFF"/>
                          </a:solidFill>
                          <a:effectLst/>
                          <a:latin typeface="Corbel" panose="020B0503020204020204" pitchFamily="34" charset="0"/>
                        </a:rPr>
                        <a:t>1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voo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b"/>
                      <a:r>
                        <a:rPr lang="nl-NL" sz="1000" b="0" i="0" u="none" strike="noStrike" dirty="0">
                          <a:solidFill>
                            <a:srgbClr val="FFFFFF"/>
                          </a:solidFill>
                          <a:effectLst/>
                          <a:latin typeface="Corbel" panose="020B0503020204020204" pitchFamily="34" charset="0"/>
                        </a:rPr>
                        <a:t>1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nswou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b"/>
                      <a:r>
                        <a:rPr lang="nl-NL" sz="1000" b="0" i="0" u="none" strike="noStrike" dirty="0">
                          <a:solidFill>
                            <a:srgbClr val="FFFFFF"/>
                          </a:solidFill>
                          <a:effectLst/>
                          <a:latin typeface="Corbel" panose="020B0503020204020204" pitchFamily="34" charset="0"/>
                        </a:rPr>
                        <a:t>1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eidschendam-V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b"/>
                      <a:r>
                        <a:rPr lang="nl-NL" sz="1000" b="0" i="0" u="none" strike="noStrike" dirty="0">
                          <a:solidFill>
                            <a:srgbClr val="FFFFFF"/>
                          </a:solidFill>
                          <a:effectLst/>
                          <a:latin typeface="Corbel" panose="020B0503020204020204" pitchFamily="34" charset="0"/>
                        </a:rPr>
                        <a:t>1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b"/>
                      <a:r>
                        <a:rPr lang="nl-NL" sz="1000" b="0" i="0" u="none" strike="noStrike" dirty="0">
                          <a:solidFill>
                            <a:srgbClr val="FFFFFF"/>
                          </a:solidFill>
                          <a:effectLst/>
                          <a:latin typeface="Corbel" panose="020B0503020204020204" pitchFamily="34" charset="0"/>
                        </a:rPr>
                        <a:t>1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ps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b"/>
                      <a:r>
                        <a:rPr lang="nl-NL" sz="1000" b="0" i="0" u="none" strike="noStrike" dirty="0">
                          <a:solidFill>
                            <a:srgbClr val="FFFFFF"/>
                          </a:solidFill>
                          <a:effectLst/>
                          <a:latin typeface="Corbel" panose="020B0503020204020204" pitchFamily="34" charset="0"/>
                        </a:rPr>
                        <a:t>1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of van Twent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b"/>
                      <a:r>
                        <a:rPr lang="nl-NL" sz="1000" b="0" i="0" u="none" strike="noStrike" dirty="0">
                          <a:solidFill>
                            <a:srgbClr val="FFFFFF"/>
                          </a:solidFill>
                          <a:effectLst/>
                          <a:latin typeface="Corbel" panose="020B0503020204020204" pitchFamily="34" charset="0"/>
                        </a:rPr>
                        <a:t>1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eers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b"/>
                      <a:r>
                        <a:rPr lang="nl-NL" sz="1000" b="0" i="0" u="none" strike="noStrike" dirty="0">
                          <a:solidFill>
                            <a:srgbClr val="FFFFFF"/>
                          </a:solidFill>
                          <a:effectLst/>
                          <a:latin typeface="Corbel" panose="020B0503020204020204" pitchFamily="34" charset="0"/>
                        </a:rPr>
                        <a:t>1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a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b"/>
                      <a:r>
                        <a:rPr lang="nl-NL" sz="1000" b="0" i="0" u="none" strike="noStrike" dirty="0">
                          <a:solidFill>
                            <a:srgbClr val="FFFFFF"/>
                          </a:solidFill>
                          <a:effectLst/>
                          <a:latin typeface="Corbel" panose="020B0503020204020204" pitchFamily="34" charset="0"/>
                        </a:rPr>
                        <a:t>1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rimpener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b"/>
                      <a:r>
                        <a:rPr lang="nl-NL" sz="1000" b="0" i="0" u="none" strike="noStrike" dirty="0">
                          <a:solidFill>
                            <a:srgbClr val="FFFFFF"/>
                          </a:solidFill>
                          <a:effectLst/>
                          <a:latin typeface="Corbel" panose="020B0503020204020204" pitchFamily="34" charset="0"/>
                        </a:rPr>
                        <a:t>1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ui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b"/>
                      <a:r>
                        <a:rPr lang="nl-NL" sz="1000" b="0" i="0" u="none" strike="noStrike" dirty="0">
                          <a:solidFill>
                            <a:srgbClr val="FFFFFF"/>
                          </a:solidFill>
                          <a:effectLst/>
                          <a:latin typeface="Corbel" panose="020B0503020204020204" pitchFamily="34" charset="0"/>
                        </a:rPr>
                        <a:t>2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Hul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0-4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b"/>
                      <a:r>
                        <a:rPr lang="nl-NL" sz="1100" b="0" i="0" u="none" strike="noStrike" dirty="0">
                          <a:solidFill>
                            <a:srgbClr val="FFFFFF"/>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Scha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b"/>
                      <a:r>
                        <a:rPr lang="nl-NL" sz="1100" b="0" i="0" u="none" strike="noStrike" dirty="0">
                          <a:solidFill>
                            <a:srgbClr val="FFFFFF"/>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ronckh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b"/>
                      <a:r>
                        <a:rPr lang="nl-NL" sz="1100" b="0" i="0" u="none" strike="noStrike">
                          <a:solidFill>
                            <a:srgbClr val="FFFFFF"/>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Terneu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b"/>
                      <a:r>
                        <a:rPr lang="nl-NL" sz="1100" b="0" i="0" u="none" strike="noStrike" dirty="0">
                          <a:solidFill>
                            <a:srgbClr val="FFFFFF"/>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een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b"/>
                      <a:r>
                        <a:rPr lang="nl-NL" sz="1100" b="0" i="0" u="none" strike="noStrike" dirty="0">
                          <a:solidFill>
                            <a:srgbClr val="FFFFFF"/>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ijde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b"/>
                      <a:r>
                        <a:rPr lang="nl-NL" sz="1100" b="0" i="0" u="none" strike="noStrike" dirty="0">
                          <a:solidFill>
                            <a:srgbClr val="FFFFFF"/>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als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b"/>
                      <a:r>
                        <a:rPr lang="nl-NL" sz="1100" b="0" i="0" u="none" strike="noStrike" dirty="0">
                          <a:solidFill>
                            <a:srgbClr val="FFFFFF"/>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o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b"/>
                      <a:r>
                        <a:rPr lang="nl-NL" sz="1100" b="0" i="0" u="none" strike="noStrike" dirty="0">
                          <a:solidFill>
                            <a:srgbClr val="FFFFFF"/>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ijc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b"/>
                      <a:r>
                        <a:rPr lang="nl-NL" sz="1100" b="0" i="0" u="none" strike="noStrike" dirty="0">
                          <a:solidFill>
                            <a:srgbClr val="FFFFFF"/>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andgraaf</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b"/>
                      <a:r>
                        <a:rPr lang="nl-NL" sz="1100" b="0" i="0" u="none" strike="noStrike" dirty="0">
                          <a:solidFill>
                            <a:srgbClr val="FFFFFF"/>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ist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b"/>
                      <a:r>
                        <a:rPr lang="nl-NL" sz="1100" b="0" i="0" u="none" strike="noStrike" dirty="0">
                          <a:solidFill>
                            <a:srgbClr val="FFFFFF"/>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aaks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b"/>
                      <a:r>
                        <a:rPr lang="nl-NL" sz="1100" b="0" i="0" u="none" strike="noStrike" dirty="0">
                          <a:solidFill>
                            <a:srgbClr val="FFFFFF"/>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chouwen-Duiv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b"/>
                      <a:r>
                        <a:rPr lang="nl-NL" sz="1100" b="0" i="0" u="none" strike="noStrike" dirty="0">
                          <a:solidFill>
                            <a:srgbClr val="FFFFFF"/>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b"/>
                      <a:r>
                        <a:rPr lang="nl-NL" sz="1100" b="0" i="0" u="none" strike="noStrike">
                          <a:solidFill>
                            <a:srgbClr val="FFFFFF"/>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ekdae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b"/>
                      <a:r>
                        <a:rPr lang="nl-NL" sz="1100" b="0" i="0" u="none" strike="noStrike" dirty="0">
                          <a:solidFill>
                            <a:srgbClr val="FFFFFF"/>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Pekel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b"/>
                      <a:r>
                        <a:rPr lang="nl-NL" sz="1100" b="0" i="0" u="none" strike="noStrike" dirty="0">
                          <a:solidFill>
                            <a:srgbClr val="FFFFFF"/>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mstel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b"/>
                      <a:r>
                        <a:rPr lang="nl-NL" sz="1100" b="0" i="0" u="none" strike="noStrike" dirty="0">
                          <a:solidFill>
                            <a:srgbClr val="FFFFFF"/>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chiermonnikoo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b"/>
                      <a:r>
                        <a:rPr lang="nl-NL" sz="1100" b="0" i="0" u="none" strike="noStrike" dirty="0">
                          <a:solidFill>
                            <a:srgbClr val="FFFFFF"/>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rkel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b"/>
                      <a:r>
                        <a:rPr lang="nl-NL" sz="1100" b="0" i="0" u="none" strike="noStrike" dirty="0">
                          <a:solidFill>
                            <a:srgbClr val="FFFFFF"/>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idde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b"/>
                      <a:r>
                        <a:rPr lang="nl-NL" sz="1100" b="0" i="0" u="none" strike="noStrike" dirty="0">
                          <a:solidFill>
                            <a:srgbClr val="FFFFFF"/>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Utrechtse </a:t>
                      </a:r>
                      <a:r>
                        <a:rPr lang="nl-NL" sz="1000" b="0" i="0" u="none" strike="noStrike" dirty="0" err="1">
                          <a:solidFill>
                            <a:srgbClr val="000000"/>
                          </a:solidFill>
                          <a:effectLst/>
                          <a:latin typeface="Corbel" panose="020B0503020204020204" pitchFamily="34" charset="0"/>
                        </a:rPr>
                        <a:t>Heuve</a:t>
                      </a:r>
                      <a:endParaRPr lang="nl-NL" sz="1000" b="0" i="0" u="none" strike="noStrike" dirty="0">
                        <a:solidFill>
                          <a:srgbClr val="000000"/>
                        </a:solidFill>
                        <a:effectLst/>
                        <a:latin typeface="Corbel" panose="020B0503020204020204"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nvGraphicFramePr>
        <p:xfrm>
          <a:off x="6289707"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40-6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Rijs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dam-Volen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u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he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laric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imersw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usel-De Mie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eud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rse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p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eldrop-Mier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oir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eer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ddinx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ij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ape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ard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Zwartewa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oud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Loon op Z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60-8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Vee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rg en D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de Broe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ge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ui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eder-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 Maas en W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aastri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Castric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Ouder-Amst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Zeven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De Ronde Ven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Berge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Lely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Heeren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Het Hog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Zoeter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Over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Nunspee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Oldebro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pSp>
        <p:nvGrpSpPr>
          <p:cNvPr id="9" name="Group 8">
            <a:extLst>
              <a:ext uri="{FF2B5EF4-FFF2-40B4-BE49-F238E27FC236}">
                <a16:creationId xmlns:a16="http://schemas.microsoft.com/office/drawing/2014/main" id="{29216069-2334-4DF1-A81C-2F74EF4E1BE3}"/>
              </a:ext>
            </a:extLst>
          </p:cNvPr>
          <p:cNvGrpSpPr/>
          <p:nvPr/>
        </p:nvGrpSpPr>
        <p:grpSpPr>
          <a:xfrm>
            <a:off x="6337410" y="1206634"/>
            <a:ext cx="3842909" cy="1016682"/>
            <a:chOff x="6337410" y="1206634"/>
            <a:chExt cx="3842909" cy="1016682"/>
          </a:xfrm>
        </p:grpSpPr>
        <p:sp>
          <p:nvSpPr>
            <p:cNvPr id="2" name="Isosceles Triangle 1">
              <a:extLst>
                <a:ext uri="{FF2B5EF4-FFF2-40B4-BE49-F238E27FC236}">
                  <a16:creationId xmlns:a16="http://schemas.microsoft.com/office/drawing/2014/main" id="{D18617D5-1570-4DDE-8A16-EEF4F4838540}"/>
                </a:ext>
              </a:extLst>
            </p:cNvPr>
            <p:cNvSpPr/>
            <p:nvPr/>
          </p:nvSpPr>
          <p:spPr>
            <a:xfrm rot="9313266">
              <a:off x="7515210" y="1493259"/>
              <a:ext cx="270375" cy="730057"/>
            </a:xfrm>
            <a:prstGeom prst="triangle">
              <a:avLst/>
            </a:prstGeom>
            <a:solidFill>
              <a:schemeClr val="bg1">
                <a:lumMod val="85000"/>
              </a:schemeClr>
            </a:solidFill>
            <a:ln w="9525">
              <a:noFill/>
            </a:ln>
            <a:extLst>
              <a:ext uri="{91240B29-F687-4F45-9708-019B960494DF}">
                <a14:hiddenLine xmlns:a14="http://schemas.microsoft.com/office/drawing/2010/main" w="9525">
                  <a:solidFill>
                    <a:srgbClr val="68ABB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AA4AC24B-AA40-41DE-A1F0-08AF30224FA3}"/>
                </a:ext>
              </a:extLst>
            </p:cNvPr>
            <p:cNvSpPr/>
            <p:nvPr/>
          </p:nvSpPr>
          <p:spPr>
            <a:xfrm>
              <a:off x="6337410" y="1206634"/>
              <a:ext cx="3842909" cy="385378"/>
            </a:xfrm>
            <a:prstGeom prst="rect">
              <a:avLst/>
            </a:prstGeom>
            <a:solidFill>
              <a:srgbClr val="FFFFFF"/>
            </a:solidFill>
            <a:ln w="9525">
              <a:solidFill>
                <a:srgbClr val="408E9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t>Rijswijk heeft 58% tekort. Nederland heeft gemiddeld 30% tekort, dus Rijswijk doet het 28%pt slechter dan gemiddeld</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grpSp>
      <p:sp>
        <p:nvSpPr>
          <p:cNvPr id="15" name="Text Placeholder 9">
            <a:hlinkClick r:id="rId5"/>
            <a:extLst>
              <a:ext uri="{FF2B5EF4-FFF2-40B4-BE49-F238E27FC236}">
                <a16:creationId xmlns:a16="http://schemas.microsoft.com/office/drawing/2014/main" id="{E9220FD6-55C4-4507-88A9-B4CD7C84AC67}"/>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6" name="Graphic 15" descr="Right pointing backhand index">
            <a:hlinkClick r:id="rId5"/>
            <a:extLst>
              <a:ext uri="{FF2B5EF4-FFF2-40B4-BE49-F238E27FC236}">
                <a16:creationId xmlns:a16="http://schemas.microsoft.com/office/drawing/2014/main" id="{FCB47BF1-3523-4E1E-8ED2-4754C06794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4933263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4</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2/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80-10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Alm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58501264"/>
                  </a:ext>
                </a:extLst>
              </a:tr>
              <a:tr h="213100">
                <a:tc>
                  <a:txBody>
                    <a:bodyPr/>
                    <a:lstStyle/>
                    <a:p>
                      <a:pPr algn="ctr" fontAlgn="ctr"/>
                      <a:r>
                        <a:rPr lang="nl-NL" sz="1100" b="0" i="0" u="none" strike="noStrike" dirty="0">
                          <a:solidFill>
                            <a:srgbClr val="FFFFFF"/>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udewa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edembl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nkhui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alf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enwijk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uenen, Gerwe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a en Hunz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erv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oens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emn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aarlemmer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s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al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 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pel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stellingw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enray</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en Held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Eemsdelt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100-12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Go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ssen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liss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es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1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Twenter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1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nk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o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1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ilvaren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1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inkel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1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E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1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eldho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a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1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u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1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lphen-Cha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1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ittard-Gel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1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1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Eijsden-Margra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1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ederwe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1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rie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1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Harl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nvGraphicFramePr>
        <p:xfrm>
          <a:off x="6285739"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120-14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Tynaar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ude IJsselst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on en Breug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e Fryske Mar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1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ie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1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ooge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e Wol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1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ieuwko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1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eewol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1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oes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1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loem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1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s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1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arne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1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erhou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1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1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rgen (N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1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laard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1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Ti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1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erhugo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1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Capelle aan 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140-16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Sint-</a:t>
                      </a:r>
                      <a:r>
                        <a:rPr lang="nl-NL" sz="1000" b="0" i="0" u="none" strike="noStrike" dirty="0" err="1">
                          <a:solidFill>
                            <a:srgbClr val="000000"/>
                          </a:solidFill>
                          <a:effectLst/>
                          <a:latin typeface="Corbel" panose="020B0503020204020204" pitchFamily="34" charset="0"/>
                        </a:rPr>
                        <a:t>Michielsge</a:t>
                      </a:r>
                      <a:endParaRPr lang="nl-NL" sz="1000" b="0" i="0" u="none" strike="noStrike" dirty="0">
                        <a:solidFill>
                          <a:srgbClr val="000000"/>
                        </a:solidFill>
                        <a:effectLst/>
                        <a:latin typeface="Corbel" panose="020B0503020204020204"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ems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er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ho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1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esterkwarti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1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egstge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aasdr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1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elf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1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lkm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1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Roerda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1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al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1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za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1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taph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1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ou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a:solidFill>
                            <a:srgbClr val="FFFFFF"/>
                          </a:solidFill>
                          <a:effectLst/>
                          <a:latin typeface="Corbel" panose="020B0503020204020204" pitchFamily="34" charset="0"/>
                        </a:rPr>
                        <a:t>1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ie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a:solidFill>
                            <a:srgbClr val="FFFFFF"/>
                          </a:solidFill>
                          <a:effectLst/>
                          <a:latin typeface="Corbel" panose="020B0503020204020204" pitchFamily="34" charset="0"/>
                        </a:rPr>
                        <a:t>1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andv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1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e Bil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1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oorden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1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are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1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Horst aan de M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5" name="Isosceles Triangle 14">
            <a:extLst>
              <a:ext uri="{FF2B5EF4-FFF2-40B4-BE49-F238E27FC236}">
                <a16:creationId xmlns:a16="http://schemas.microsoft.com/office/drawing/2014/main" id="{D2475918-A518-4F07-AE41-F07032E532A5}"/>
              </a:ext>
            </a:extLst>
          </p:cNvPr>
          <p:cNvSpPr/>
          <p:nvPr/>
        </p:nvSpPr>
        <p:spPr>
          <a:xfrm rot="11920794">
            <a:off x="5344441" y="1400974"/>
            <a:ext cx="270375" cy="730057"/>
          </a:xfrm>
          <a:prstGeom prst="triangle">
            <a:avLst/>
          </a:prstGeom>
          <a:solidFill>
            <a:schemeClr val="bg1">
              <a:lumMod val="85000"/>
            </a:schemeClr>
          </a:solidFill>
          <a:ln w="9525">
            <a:noFill/>
          </a:ln>
          <a:extLst>
            <a:ext uri="{91240B29-F687-4F45-9708-019B960494DF}">
              <a14:hiddenLine xmlns:a14="http://schemas.microsoft.com/office/drawing/2010/main" w="9525">
                <a:solidFill>
                  <a:srgbClr val="68ABB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47B58AB6-96CC-424C-89F3-A644327B4EAC}"/>
              </a:ext>
            </a:extLst>
          </p:cNvPr>
          <p:cNvSpPr/>
          <p:nvPr/>
        </p:nvSpPr>
        <p:spPr>
          <a:xfrm>
            <a:off x="3533251" y="1206634"/>
            <a:ext cx="3723038" cy="385378"/>
          </a:xfrm>
          <a:prstGeom prst="rect">
            <a:avLst/>
          </a:prstGeom>
          <a:solidFill>
            <a:srgbClr val="FFFFFF"/>
          </a:solidFill>
          <a:ln w="9525">
            <a:solidFill>
              <a:srgbClr val="408E9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t>Goes heeft 46% tekort. Nederland heeft gemiddeld 30% tekort, dus Goes doet het 16%pt slechter dan gemiddeld</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Text Placeholder 9">
            <a:hlinkClick r:id="rId5"/>
            <a:extLst>
              <a:ext uri="{FF2B5EF4-FFF2-40B4-BE49-F238E27FC236}">
                <a16:creationId xmlns:a16="http://schemas.microsoft.com/office/drawing/2014/main" id="{5475B70D-0029-4DC3-9E71-DED2AABBB8D9}"/>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8" name="Graphic 17" descr="Right pointing backhand index">
            <a:hlinkClick r:id="rId5"/>
            <a:extLst>
              <a:ext uri="{FF2B5EF4-FFF2-40B4-BE49-F238E27FC236}">
                <a16:creationId xmlns:a16="http://schemas.microsoft.com/office/drawing/2014/main" id="{5D262D9F-A198-42DD-859C-4E512326CE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703315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extLst>
              <p:ext uri="{D42A27DB-BD31-4B8C-83A1-F6EECF244321}">
                <p14:modId xmlns:p14="http://schemas.microsoft.com/office/powerpoint/2010/main" val="261321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5</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3/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160-18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Drimme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oetin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el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tichtse V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1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ldenz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1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ru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ontf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1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o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1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stellingw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1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utp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FFFFFF"/>
                          </a:solidFill>
                          <a:effectLst/>
                          <a:latin typeface="Corbel" panose="020B0503020204020204" pitchFamily="34" charset="0"/>
                        </a:rPr>
                        <a:t>1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ub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1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Gilze en Rij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1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esterwol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1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wo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1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malling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1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oordoostpold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1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ilo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a:solidFill>
                            <a:srgbClr val="FFFFFF"/>
                          </a:solidFill>
                          <a:effectLst/>
                          <a:latin typeface="Corbel" panose="020B0503020204020204" pitchFamily="34" charset="0"/>
                        </a:rPr>
                        <a:t>1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Gooise 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1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oe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1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Súdwest-Fryslâ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180-20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Leus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eyl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mst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1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ands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1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rgen op Zo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1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 Gel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op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1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Gro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FFFFFF"/>
                          </a:solidFill>
                          <a:effectLst/>
                          <a:latin typeface="Corbel" panose="020B0503020204020204" pitchFamily="34" charset="0"/>
                        </a:rPr>
                        <a:t>1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oorscho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FFFFFF"/>
                          </a:solidFill>
                          <a:effectLst/>
                          <a:latin typeface="Corbel" panose="020B0503020204020204" pitchFamily="34" charset="0"/>
                        </a:rPr>
                        <a:t>1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Cranendonc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a:solidFill>
                            <a:srgbClr val="FFFFFF"/>
                          </a:solidFill>
                          <a:effectLst/>
                          <a:latin typeface="Corbel" panose="020B0503020204020204" pitchFamily="34" charset="0"/>
                        </a:rPr>
                        <a:t>1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orm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FFFFFF"/>
                          </a:solidFill>
                          <a:effectLst/>
                          <a:latin typeface="Corbel" panose="020B0503020204020204" pitchFamily="34" charset="0"/>
                        </a:rPr>
                        <a:t>1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lmo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FFFFFF"/>
                          </a:solidFill>
                          <a:effectLst/>
                          <a:latin typeface="Corbel" panose="020B0503020204020204" pitchFamily="34" charset="0"/>
                        </a:rPr>
                        <a:t>1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alkenburg aa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FFFFFF"/>
                          </a:solidFill>
                          <a:effectLst/>
                          <a:latin typeface="Corbel" panose="020B0503020204020204" pitchFamily="34" charset="0"/>
                        </a:rPr>
                        <a:t>1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Uith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FFFFFF"/>
                          </a:solidFill>
                          <a:effectLst/>
                          <a:latin typeface="Corbel" panose="020B0503020204020204" pitchFamily="34" charset="0"/>
                        </a:rPr>
                        <a:t>1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oerd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FFFFFF"/>
                          </a:solidFill>
                          <a:effectLst/>
                          <a:latin typeface="Corbel" panose="020B0503020204020204" pitchFamily="34" charset="0"/>
                        </a:rPr>
                        <a:t>1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ar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1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inge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1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ijme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FFFFFF"/>
                          </a:solidFill>
                          <a:effectLst/>
                          <a:latin typeface="Corbel" panose="020B0503020204020204" pitchFamily="34" charset="0"/>
                        </a:rPr>
                        <a:t>1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ei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2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nvGraphicFramePr>
        <p:xfrm>
          <a:off x="6285739"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00-22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2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Ven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2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eiderdor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2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aal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FFFFFF"/>
                          </a:solidFill>
                          <a:effectLst/>
                          <a:latin typeface="Corbel" panose="020B0503020204020204" pitchFamily="34" charset="0"/>
                        </a:rPr>
                        <a:t>2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ldamb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FFFFFF"/>
                          </a:solidFill>
                          <a:effectLst/>
                          <a:latin typeface="Corbel" panose="020B0503020204020204" pitchFamily="34" charset="0"/>
                        </a:rPr>
                        <a:t>2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Peel en Maa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FFFFFF"/>
                          </a:solidFill>
                          <a:effectLst/>
                          <a:latin typeface="Corbel" panose="020B0503020204020204" pitchFamily="34" charset="0"/>
                        </a:rPr>
                        <a:t>2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ijk bij Duu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2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Kaag en Braass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FFFFFF"/>
                          </a:solidFill>
                          <a:effectLst/>
                          <a:latin typeface="Corbel" panose="020B0503020204020204" pitchFamily="34" charset="0"/>
                        </a:rPr>
                        <a:t>2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Ridder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antumad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Nisse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Zund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ox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nged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Grav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Put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hen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o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lst-Wijh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ijssen-Hol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20-24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Sint Anthon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ech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ll en Sint H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dden-Gronin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een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ontf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tadskan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dden-Drenth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Waadhoek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rimpen aan 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on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Cu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Gulpen-Witt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epp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ze-Leen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rm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itge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eu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a:solidFill>
                            <a:srgbClr val="000000"/>
                          </a:solidFill>
                          <a:effectLst/>
                          <a:latin typeface="Corbel" panose="020B0503020204020204" pitchFamily="34" charset="0"/>
                        </a:rPr>
                        <a:t>2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amp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Wees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7" name="Isosceles Triangle 16">
            <a:extLst>
              <a:ext uri="{FF2B5EF4-FFF2-40B4-BE49-F238E27FC236}">
                <a16:creationId xmlns:a16="http://schemas.microsoft.com/office/drawing/2014/main" id="{6DCB2186-D3BC-4BDF-AF3C-43C95ED5F18D}"/>
              </a:ext>
            </a:extLst>
          </p:cNvPr>
          <p:cNvSpPr/>
          <p:nvPr/>
        </p:nvSpPr>
        <p:spPr>
          <a:xfrm rot="11920794">
            <a:off x="8171460" y="1400974"/>
            <a:ext cx="270375" cy="730057"/>
          </a:xfrm>
          <a:prstGeom prst="triangle">
            <a:avLst/>
          </a:prstGeom>
          <a:solidFill>
            <a:schemeClr val="bg1">
              <a:lumMod val="85000"/>
            </a:schemeClr>
          </a:solidFill>
          <a:ln w="9525">
            <a:noFill/>
          </a:ln>
          <a:extLst>
            <a:ext uri="{91240B29-F687-4F45-9708-019B960494DF}">
              <a14:hiddenLine xmlns:a14="http://schemas.microsoft.com/office/drawing/2010/main" w="9525">
                <a:solidFill>
                  <a:srgbClr val="68ABB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0F342149-AE57-44B2-B10A-B7B551E56F97}"/>
              </a:ext>
            </a:extLst>
          </p:cNvPr>
          <p:cNvSpPr/>
          <p:nvPr/>
        </p:nvSpPr>
        <p:spPr>
          <a:xfrm>
            <a:off x="6337411" y="1206634"/>
            <a:ext cx="3723038" cy="385378"/>
          </a:xfrm>
          <a:prstGeom prst="rect">
            <a:avLst/>
          </a:prstGeom>
          <a:solidFill>
            <a:srgbClr val="FFFFFF"/>
          </a:solidFill>
          <a:ln w="9525">
            <a:solidFill>
              <a:srgbClr val="408E9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t>Venlo heeft 31% tekort. Dit is erg vergelijkbaar met het 30% tekort van het Nederlands gemiddelde.</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Text Placeholder 9">
            <a:hlinkClick r:id="rId5"/>
            <a:extLst>
              <a:ext uri="{FF2B5EF4-FFF2-40B4-BE49-F238E27FC236}">
                <a16:creationId xmlns:a16="http://schemas.microsoft.com/office/drawing/2014/main" id="{B9637CAB-7034-4ACC-89B5-CE121D373D52}"/>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8" name="Graphic 17" descr="Right pointing backhand index">
            <a:hlinkClick r:id="rId5"/>
            <a:extLst>
              <a:ext uri="{FF2B5EF4-FFF2-40B4-BE49-F238E27FC236}">
                <a16:creationId xmlns:a16="http://schemas.microsoft.com/office/drawing/2014/main" id="{9A68FF32-D16C-4F12-B135-8F0B5EAE93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6793750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extLst>
              <p:ext uri="{D42A27DB-BD31-4B8C-83A1-F6EECF244321}">
                <p14:modId xmlns:p14="http://schemas.microsoft.com/office/powerpoint/2010/main" val="321905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6</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4/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40-26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Purmere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at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ou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ei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unn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oer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lphen aan de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oxt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o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ollands Kroo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illeg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aal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orger-O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u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alderber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eierij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impel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rn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Leeuwa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60-28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H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unscho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a:solidFill>
                            <a:srgbClr val="000000"/>
                          </a:solidFill>
                          <a:effectLst/>
                          <a:latin typeface="Corbel" panose="020B0503020204020204" pitchFamily="34" charset="0"/>
                        </a:rPr>
                        <a:t>2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mersf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ergen (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aalt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ijfheerenlan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Zaltbomm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Culembo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IJsselst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Tytsjerksteradi</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runss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us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ucp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oermo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ug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aarl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oos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lten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ng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nvGraphicFramePr>
        <p:xfrm>
          <a:off x="6285739"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280-30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ms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a:solidFill>
                            <a:srgbClr val="000000"/>
                          </a:solidFill>
                          <a:effectLst/>
                          <a:latin typeface="Corbel" panose="020B0503020204020204" pitchFamily="34" charset="0"/>
                        </a:rPr>
                        <a:t>2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ar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a:solidFill>
                            <a:srgbClr val="000000"/>
                          </a:solidFill>
                          <a:effectLst/>
                          <a:latin typeface="Corbel" panose="020B0503020204020204" pitchFamily="34" charset="0"/>
                        </a:rPr>
                        <a:t>2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nsch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a:solidFill>
                            <a:srgbClr val="000000"/>
                          </a:solidFill>
                          <a:effectLst/>
                          <a:latin typeface="Corbel" panose="020B0503020204020204" pitchFamily="34" charset="0"/>
                        </a:rPr>
                        <a:t>2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Genne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a:solidFill>
                            <a:srgbClr val="000000"/>
                          </a:solidFill>
                          <a:effectLst/>
                          <a:latin typeface="Corbel" panose="020B0503020204020204" pitchFamily="34" charset="0"/>
                        </a:rPr>
                        <a:t>2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a:solidFill>
                            <a:srgbClr val="000000"/>
                          </a:solidFill>
                          <a:effectLst/>
                          <a:latin typeface="Corbel" panose="020B0503020204020204" pitchFamily="34" charset="0"/>
                        </a:rPr>
                        <a:t>2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iss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a:solidFill>
                            <a:srgbClr val="000000"/>
                          </a:solidFill>
                          <a:effectLst/>
                          <a:latin typeface="Corbel" panose="020B0503020204020204" pitchFamily="34" charset="0"/>
                        </a:rPr>
                        <a:t>2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ilvers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a:solidFill>
                            <a:srgbClr val="000000"/>
                          </a:solidFill>
                          <a:effectLst/>
                          <a:latin typeface="Corbel" panose="020B0503020204020204" pitchFamily="34" charset="0"/>
                        </a:rPr>
                        <a:t>2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t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a:solidFill>
                            <a:srgbClr val="000000"/>
                          </a:solidFill>
                          <a:effectLst/>
                          <a:latin typeface="Corbel" panose="020B0503020204020204" pitchFamily="34" charset="0"/>
                        </a:rPr>
                        <a:t>2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chtkarspe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a:solidFill>
                            <a:srgbClr val="000000"/>
                          </a:solidFill>
                          <a:effectLst/>
                          <a:latin typeface="Corbel" panose="020B0503020204020204" pitchFamily="34" charset="0"/>
                        </a:rPr>
                        <a:t>2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cherpenze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a:solidFill>
                            <a:srgbClr val="000000"/>
                          </a:solidFill>
                          <a:effectLst/>
                          <a:latin typeface="Corbel" panose="020B0503020204020204" pitchFamily="34" charset="0"/>
                        </a:rPr>
                        <a:t>2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nde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a:solidFill>
                            <a:srgbClr val="000000"/>
                          </a:solidFill>
                          <a:effectLst/>
                          <a:latin typeface="Corbel" panose="020B0503020204020204" pitchFamily="34" charset="0"/>
                        </a:rPr>
                        <a:t>2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s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a:solidFill>
                            <a:srgbClr val="000000"/>
                          </a:solidFill>
                          <a:effectLst/>
                          <a:latin typeface="Corbel" panose="020B0503020204020204" pitchFamily="34" charset="0"/>
                        </a:rPr>
                        <a:t>2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Hertogenbos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a:solidFill>
                            <a:srgbClr val="000000"/>
                          </a:solidFill>
                          <a:effectLst/>
                          <a:latin typeface="Corbel" panose="020B0503020204020204" pitchFamily="34" charset="0"/>
                        </a:rPr>
                        <a:t>2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mst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a:solidFill>
                            <a:srgbClr val="000000"/>
                          </a:solidFill>
                          <a:effectLst/>
                          <a:latin typeface="Corbel" panose="020B0503020204020204" pitchFamily="34" charset="0"/>
                        </a:rPr>
                        <a:t>2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Gravenha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a:solidFill>
                            <a:srgbClr val="000000"/>
                          </a:solidFill>
                          <a:effectLst/>
                          <a:latin typeface="Corbel" panose="020B0503020204020204" pitchFamily="34" charset="0"/>
                        </a:rPr>
                        <a:t>2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chie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a:solidFill>
                            <a:srgbClr val="000000"/>
                          </a:solidFill>
                          <a:effectLst/>
                          <a:latin typeface="Corbel" panose="020B0503020204020204" pitchFamily="34" charset="0"/>
                        </a:rPr>
                        <a:t>2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lme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a:solidFill>
                            <a:srgbClr val="000000"/>
                          </a:solidFill>
                          <a:effectLst/>
                          <a:latin typeface="Corbel" panose="020B0503020204020204" pitchFamily="34" charset="0"/>
                        </a:rPr>
                        <a:t>2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u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a:solidFill>
                            <a:srgbClr val="000000"/>
                          </a:solidFill>
                          <a:effectLst/>
                          <a:latin typeface="Corbel" panose="020B0503020204020204" pitchFamily="34" charset="0"/>
                        </a:rPr>
                        <a:t>2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Zaan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Winters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300-32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ardinxveld-Gi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3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Pape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3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Tex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ernhez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3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Zwij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3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Noardeast-Frys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3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cht-Sust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3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Steen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3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ev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3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olenlan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3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aasgouw</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3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lad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3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Dor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3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Gemert-Bak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endrik-Ido-Amb</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3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Gorin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3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oeksche 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Wester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3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Loss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ellen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6" name="Isosceles Triangle 15">
            <a:extLst>
              <a:ext uri="{FF2B5EF4-FFF2-40B4-BE49-F238E27FC236}">
                <a16:creationId xmlns:a16="http://schemas.microsoft.com/office/drawing/2014/main" id="{2B8A3EE6-EB82-43D1-A1B2-1440BD2D06D8}"/>
              </a:ext>
            </a:extLst>
          </p:cNvPr>
          <p:cNvSpPr/>
          <p:nvPr/>
        </p:nvSpPr>
        <p:spPr>
          <a:xfrm rot="9313266">
            <a:off x="4650090" y="1493259"/>
            <a:ext cx="270375" cy="730057"/>
          </a:xfrm>
          <a:prstGeom prst="triangle">
            <a:avLst/>
          </a:prstGeom>
          <a:solidFill>
            <a:schemeClr val="bg1">
              <a:lumMod val="85000"/>
            </a:schemeClr>
          </a:solidFill>
          <a:ln w="9525">
            <a:noFill/>
          </a:ln>
          <a:extLst>
            <a:ext uri="{91240B29-F687-4F45-9708-019B960494DF}">
              <a14:hiddenLine xmlns:a14="http://schemas.microsoft.com/office/drawing/2010/main" w="9525">
                <a:solidFill>
                  <a:srgbClr val="68ABB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5" name="Rectangle 14">
            <a:extLst>
              <a:ext uri="{FF2B5EF4-FFF2-40B4-BE49-F238E27FC236}">
                <a16:creationId xmlns:a16="http://schemas.microsoft.com/office/drawing/2014/main" id="{08A374ED-8E8D-4240-AA86-577C34455D43}"/>
              </a:ext>
            </a:extLst>
          </p:cNvPr>
          <p:cNvSpPr/>
          <p:nvPr/>
        </p:nvSpPr>
        <p:spPr>
          <a:xfrm>
            <a:off x="3472275" y="1206634"/>
            <a:ext cx="3723038" cy="385378"/>
          </a:xfrm>
          <a:prstGeom prst="rect">
            <a:avLst/>
          </a:prstGeom>
          <a:solidFill>
            <a:srgbClr val="FFFFFF"/>
          </a:solidFill>
          <a:ln w="9525">
            <a:solidFill>
              <a:srgbClr val="408E9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t>Hoorn heeft 22% tekort. Nederland heeft gemiddeld 30% tekort, dus Hoorn doet het 8%pt beter dan gemiddeld</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7" name="Text Placeholder 9">
            <a:hlinkClick r:id="rId5"/>
            <a:extLst>
              <a:ext uri="{FF2B5EF4-FFF2-40B4-BE49-F238E27FC236}">
                <a16:creationId xmlns:a16="http://schemas.microsoft.com/office/drawing/2014/main" id="{F12490A7-3E2B-4549-BA64-AAFD85313B1E}"/>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8" name="Graphic 17" descr="Right pointing backhand index">
            <a:hlinkClick r:id="rId5"/>
            <a:extLst>
              <a:ext uri="{FF2B5EF4-FFF2-40B4-BE49-F238E27FC236}">
                <a16:creationId xmlns:a16="http://schemas.microsoft.com/office/drawing/2014/main" id="{AE1FBFA1-FDE3-4C22-AC8B-D3F9A025B4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7506118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7</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5/5]</a:t>
            </a:r>
          </a:p>
        </p:txBody>
      </p:sp>
      <p:graphicFrame>
        <p:nvGraphicFramePr>
          <p:cNvPr id="9" name="Table 15">
            <a:extLst>
              <a:ext uri="{FF2B5EF4-FFF2-40B4-BE49-F238E27FC236}">
                <a16:creationId xmlns:a16="http://schemas.microsoft.com/office/drawing/2014/main" id="{A539D064-9BC4-429E-978E-F5768DECAB7A}"/>
              </a:ext>
            </a:extLst>
          </p:cNvPr>
          <p:cNvGraphicFramePr>
            <a:graphicFrameLocks noGrp="1"/>
          </p:cNvGraphicFramePr>
          <p:nvPr/>
        </p:nvGraphicFramePr>
        <p:xfrm>
          <a:off x="3456256" y="1710507"/>
          <a:ext cx="2430019" cy="2906844"/>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7388">
                <a:tc gridSpan="2">
                  <a:txBody>
                    <a:bodyPr/>
                    <a:lstStyle/>
                    <a:p>
                      <a:pPr algn="l" fontAlgn="b"/>
                      <a:r>
                        <a:rPr lang="nl-NL" sz="1000" b="1" i="0" u="none" strike="noStrike" dirty="0">
                          <a:solidFill>
                            <a:schemeClr val="bg1"/>
                          </a:solidFill>
                          <a:effectLst/>
                          <a:latin typeface="+mj-lt"/>
                        </a:rPr>
                        <a:t>Tekort top 340-352</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837">
                <a:tc>
                  <a:txBody>
                    <a:bodyPr/>
                    <a:lstStyle/>
                    <a:p>
                      <a:pPr algn="ctr" fontAlgn="ctr"/>
                      <a:r>
                        <a:rPr lang="nl-NL" sz="1100" b="0" i="0" u="none" strike="noStrike" dirty="0">
                          <a:solidFill>
                            <a:srgbClr val="000000"/>
                          </a:solidFill>
                          <a:effectLst/>
                          <a:latin typeface="Corbel" panose="020B0503020204020204" pitchFamily="34" charset="0"/>
                        </a:rPr>
                        <a:t>3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We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837">
                <a:tc>
                  <a:txBody>
                    <a:bodyPr/>
                    <a:lstStyle/>
                    <a:p>
                      <a:pPr algn="ctr" fontAlgn="ctr"/>
                      <a:r>
                        <a:rPr lang="nl-NL" sz="1100" b="0" i="0" u="none" strike="noStrike" dirty="0">
                          <a:solidFill>
                            <a:srgbClr val="FFFFFF"/>
                          </a:solidFill>
                          <a:effectLst/>
                          <a:latin typeface="Corbel" panose="020B0503020204020204" pitchFamily="34" charset="0"/>
                        </a:rPr>
                        <a:t>3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Lansing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837">
                <a:tc>
                  <a:txBody>
                    <a:bodyPr/>
                    <a:lstStyle/>
                    <a:p>
                      <a:pPr algn="ctr" fontAlgn="ctr"/>
                      <a:r>
                        <a:rPr lang="nl-NL" sz="1100" b="0" i="0" u="none" strike="noStrike" dirty="0">
                          <a:solidFill>
                            <a:srgbClr val="FFFFFF"/>
                          </a:solidFill>
                          <a:effectLst/>
                          <a:latin typeface="Corbel" panose="020B0503020204020204" pitchFamily="34" charset="0"/>
                        </a:rPr>
                        <a:t>3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Rott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837">
                <a:tc>
                  <a:txBody>
                    <a:bodyPr/>
                    <a:lstStyle/>
                    <a:p>
                      <a:pPr algn="ctr" fontAlgn="ctr"/>
                      <a:r>
                        <a:rPr lang="nl-NL" sz="1100" b="0" i="0" u="none" strike="noStrike" dirty="0">
                          <a:solidFill>
                            <a:srgbClr val="FFFFFF"/>
                          </a:solidFill>
                          <a:effectLst/>
                          <a:latin typeface="Corbel" panose="020B0503020204020204" pitchFamily="34" charset="0"/>
                        </a:rPr>
                        <a:t>3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Hellevoet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837">
                <a:tc>
                  <a:txBody>
                    <a:bodyPr/>
                    <a:lstStyle/>
                    <a:p>
                      <a:pPr algn="ctr" fontAlgn="ctr"/>
                      <a:r>
                        <a:rPr lang="nl-NL" sz="1100" b="0" i="0" u="none" strike="noStrike" dirty="0">
                          <a:solidFill>
                            <a:srgbClr val="FFFFFF"/>
                          </a:solidFill>
                          <a:effectLst/>
                          <a:latin typeface="Corbel" panose="020B0503020204020204" pitchFamily="34" charset="0"/>
                        </a:rPr>
                        <a:t>3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Noord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837">
                <a:tc>
                  <a:txBody>
                    <a:bodyPr/>
                    <a:lstStyle/>
                    <a:p>
                      <a:pPr algn="ctr" fontAlgn="ctr"/>
                      <a:r>
                        <a:rPr lang="nl-NL" sz="1100" b="0" i="0" u="none" strike="noStrike" dirty="0">
                          <a:solidFill>
                            <a:srgbClr val="FFFFFF"/>
                          </a:solidFill>
                          <a:effectLst/>
                          <a:latin typeface="Corbel" panose="020B0503020204020204" pitchFamily="34" charset="0"/>
                        </a:rPr>
                        <a:t>3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Zuidpla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837">
                <a:tc>
                  <a:txBody>
                    <a:bodyPr/>
                    <a:lstStyle/>
                    <a:p>
                      <a:pPr algn="ctr" fontAlgn="ctr"/>
                      <a:r>
                        <a:rPr lang="nl-NL" sz="1100" b="0" i="0" u="none" strike="noStrike">
                          <a:solidFill>
                            <a:srgbClr val="FFFFFF"/>
                          </a:solidFill>
                          <a:effectLst/>
                          <a:latin typeface="Corbel" panose="020B0503020204020204" pitchFamily="34" charset="0"/>
                        </a:rPr>
                        <a:t>3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Vli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837">
                <a:tc>
                  <a:txBody>
                    <a:bodyPr/>
                    <a:lstStyle/>
                    <a:p>
                      <a:pPr algn="ctr" fontAlgn="ctr"/>
                      <a:r>
                        <a:rPr lang="nl-NL" sz="1100" b="0" i="0" u="none" strike="noStrike">
                          <a:solidFill>
                            <a:srgbClr val="FFFFFF"/>
                          </a:solidFill>
                          <a:effectLst/>
                          <a:latin typeface="Corbel" panose="020B0503020204020204" pitchFamily="34" charset="0"/>
                        </a:rPr>
                        <a:t>3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Goeree-Overfla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837">
                <a:tc>
                  <a:txBody>
                    <a:bodyPr/>
                    <a:lstStyle/>
                    <a:p>
                      <a:pPr algn="ctr" fontAlgn="ctr"/>
                      <a:r>
                        <a:rPr lang="nl-NL" sz="1100" b="0" i="0" u="none" strike="noStrike">
                          <a:solidFill>
                            <a:srgbClr val="FFFFFF"/>
                          </a:solidFill>
                          <a:effectLst/>
                          <a:latin typeface="Corbel" panose="020B0503020204020204" pitchFamily="34" charset="0"/>
                        </a:rPr>
                        <a:t>3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Eers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837">
                <a:tc>
                  <a:txBody>
                    <a:bodyPr/>
                    <a:lstStyle/>
                    <a:p>
                      <a:pPr algn="ctr" fontAlgn="ctr"/>
                      <a:r>
                        <a:rPr lang="nl-NL" sz="1100" b="0" i="0" u="none" strike="noStrike" dirty="0">
                          <a:solidFill>
                            <a:srgbClr val="FFFFFF"/>
                          </a:solidFill>
                          <a:effectLst/>
                          <a:latin typeface="Corbel" panose="020B0503020204020204" pitchFamily="34" charset="0"/>
                        </a:rPr>
                        <a:t>3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a:solidFill>
                            <a:srgbClr val="000000"/>
                          </a:solidFill>
                          <a:effectLst/>
                          <a:latin typeface="Corbel" panose="020B0503020204020204" pitchFamily="34" charset="0"/>
                        </a:rPr>
                        <a:t>U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837">
                <a:tc>
                  <a:txBody>
                    <a:bodyPr/>
                    <a:lstStyle/>
                    <a:p>
                      <a:pPr algn="ctr" fontAlgn="ctr"/>
                      <a:r>
                        <a:rPr lang="nl-NL" sz="1100" b="0" i="0" u="none" strike="noStrike" dirty="0">
                          <a:solidFill>
                            <a:srgbClr val="FFFFFF"/>
                          </a:solidFill>
                          <a:effectLst/>
                          <a:latin typeface="Corbel" panose="020B0503020204020204" pitchFamily="34" charset="0"/>
                        </a:rPr>
                        <a:t>3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a:solidFill>
                            <a:srgbClr val="000000"/>
                          </a:solidFill>
                          <a:effectLst/>
                          <a:latin typeface="Corbel" panose="020B0503020204020204" pitchFamily="34" charset="0"/>
                        </a:rPr>
                        <a:t>Zoeterwou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837">
                <a:tc>
                  <a:txBody>
                    <a:bodyPr/>
                    <a:lstStyle/>
                    <a:p>
                      <a:pPr algn="ctr" fontAlgn="ctr"/>
                      <a:r>
                        <a:rPr lang="nl-NL" sz="1100" b="0" i="0" u="none" strike="noStrike" dirty="0">
                          <a:solidFill>
                            <a:srgbClr val="FFFFFF"/>
                          </a:solidFill>
                          <a:effectLst/>
                          <a:latin typeface="Corbel" panose="020B0503020204020204" pitchFamily="34" charset="0"/>
                        </a:rPr>
                        <a:t>3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dirty="0">
                          <a:solidFill>
                            <a:srgbClr val="000000"/>
                          </a:solidFill>
                          <a:effectLst/>
                          <a:latin typeface="Corbel" panose="020B0503020204020204" pitchFamily="34" charset="0"/>
                        </a:rPr>
                        <a:t>Am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bl>
          </a:graphicData>
        </a:graphic>
      </p:graphicFrame>
      <p:graphicFrame>
        <p:nvGraphicFramePr>
          <p:cNvPr id="11" name="Table 15">
            <a:extLst>
              <a:ext uri="{FF2B5EF4-FFF2-40B4-BE49-F238E27FC236}">
                <a16:creationId xmlns:a16="http://schemas.microsoft.com/office/drawing/2014/main" id="{FA2AE3B4-7E4A-481B-97B2-B68B574F2B2C}"/>
              </a:ext>
            </a:extLst>
          </p:cNvPr>
          <p:cNvGraphicFramePr>
            <a:graphicFrameLocks noGrp="1"/>
          </p:cNvGraphicFramePr>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r>
                        <a:rPr lang="nl-NL" sz="1000" b="1" i="0" u="none" strike="noStrike" dirty="0">
                          <a:solidFill>
                            <a:schemeClr val="bg1"/>
                          </a:solidFill>
                          <a:effectLst/>
                          <a:latin typeface="+mj-lt"/>
                        </a:rPr>
                        <a:t>Tekort top 320-340</a:t>
                      </a: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Valkens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3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Albrands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3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Kerkra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tten-Leu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3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aas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3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indho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3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Geertrui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3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Pijnacker-Noot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3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Oirscho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3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3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Alblass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3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Coevo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3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red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3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aa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att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a:solidFill>
                            <a:srgbClr val="000000"/>
                          </a:solidFill>
                          <a:effectLst/>
                          <a:latin typeface="Corbel" panose="020B0503020204020204" pitchFamily="34" charset="0"/>
                        </a:rPr>
                        <a:t>3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Nieuweg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a:solidFill>
                            <a:srgbClr val="000000"/>
                          </a:solidFill>
                          <a:effectLst/>
                          <a:latin typeface="Corbel" panose="020B0503020204020204" pitchFamily="34" charset="0"/>
                        </a:rPr>
                        <a:t>3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Slie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oek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3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aarle-Nassa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Deven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0" name="Isosceles Triangle 9">
            <a:extLst>
              <a:ext uri="{FF2B5EF4-FFF2-40B4-BE49-F238E27FC236}">
                <a16:creationId xmlns:a16="http://schemas.microsoft.com/office/drawing/2014/main" id="{FB335296-F250-4E31-89C5-38CFB687DB3D}"/>
              </a:ext>
            </a:extLst>
          </p:cNvPr>
          <p:cNvSpPr/>
          <p:nvPr/>
        </p:nvSpPr>
        <p:spPr>
          <a:xfrm rot="14237547">
            <a:off x="6280807" y="3133230"/>
            <a:ext cx="270375" cy="1215058"/>
          </a:xfrm>
          <a:prstGeom prst="triangle">
            <a:avLst/>
          </a:prstGeom>
          <a:solidFill>
            <a:schemeClr val="bg1">
              <a:lumMod val="85000"/>
            </a:schemeClr>
          </a:solidFill>
          <a:ln w="9525">
            <a:noFill/>
          </a:ln>
          <a:extLst>
            <a:ext uri="{91240B29-F687-4F45-9708-019B960494DF}">
              <a14:hiddenLine xmlns:a14="http://schemas.microsoft.com/office/drawing/2010/main" w="9525">
                <a:solidFill>
                  <a:srgbClr val="68ABB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AF010B71-903F-401A-9BF5-38D058169B11}"/>
              </a:ext>
            </a:extLst>
          </p:cNvPr>
          <p:cNvSpPr/>
          <p:nvPr/>
        </p:nvSpPr>
        <p:spPr>
          <a:xfrm>
            <a:off x="6360255" y="3221141"/>
            <a:ext cx="3723038" cy="385378"/>
          </a:xfrm>
          <a:prstGeom prst="rect">
            <a:avLst/>
          </a:prstGeom>
          <a:solidFill>
            <a:srgbClr val="FFFFFF"/>
          </a:solidFill>
          <a:ln w="9525">
            <a:solidFill>
              <a:srgbClr val="408E9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t>Urk heeft 18% overschot. Nederland heeft gemiddeld 30% tekort, dus Urk doet het 48%pt beter dan gemiddeld</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Text Placeholder 9">
            <a:hlinkClick r:id="rId5"/>
            <a:extLst>
              <a:ext uri="{FF2B5EF4-FFF2-40B4-BE49-F238E27FC236}">
                <a16:creationId xmlns:a16="http://schemas.microsoft.com/office/drawing/2014/main" id="{E33A58F4-C5B0-44C5-8B54-0C2A58F60984}"/>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5" name="Graphic 14" descr="Right pointing backhand index">
            <a:hlinkClick r:id="rId5"/>
            <a:extLst>
              <a:ext uri="{FF2B5EF4-FFF2-40B4-BE49-F238E27FC236}">
                <a16:creationId xmlns:a16="http://schemas.microsoft.com/office/drawing/2014/main" id="{50965324-871E-411E-AE3B-44FB6FD58E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0562504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8</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op alfabet [1/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extLst>
              <p:ext uri="{D42A27DB-BD31-4B8C-83A1-F6EECF244321}">
                <p14:modId xmlns:p14="http://schemas.microsoft.com/office/powerpoint/2010/main" val="3495563924"/>
              </p:ext>
            </p:extLst>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FFFFFF"/>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Aa en Hunz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als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Aal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Achtkarspe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3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Alblass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3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Albrands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Alkm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lm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Alme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lphen aan de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Alphen-Cha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Alten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a:solidFill>
                            <a:srgbClr val="000000"/>
                          </a:solidFill>
                          <a:effectLst/>
                          <a:latin typeface="Corbel" panose="020B0503020204020204" pitchFamily="34" charset="0"/>
                        </a:rPr>
                        <a:t>Am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Amersf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Amstel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Amst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Apel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Arn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As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FFFFFF"/>
                          </a:solidFill>
                          <a:effectLst/>
                          <a:latin typeface="Corbel" panose="020B0503020204020204" pitchFamily="34" charset="0"/>
                        </a:rPr>
                        <a:t>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As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extLst>
              <p:ext uri="{D42A27DB-BD31-4B8C-83A1-F6EECF244321}">
                <p14:modId xmlns:p14="http://schemas.microsoft.com/office/powerpoint/2010/main" val="422229192"/>
              </p:ext>
            </p:extLst>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Baarle-Nassa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3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Baa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FFFFFF"/>
                          </a:solidFill>
                          <a:effectLst/>
                          <a:latin typeface="Corbel" panose="020B0503020204020204" pitchFamily="34" charset="0"/>
                        </a:rPr>
                        <a:t>1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are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arne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err="1">
                          <a:solidFill>
                            <a:srgbClr val="000000"/>
                          </a:solidFill>
                          <a:effectLst/>
                          <a:latin typeface="Corbel" panose="020B0503020204020204" pitchFamily="34" charset="0"/>
                        </a:rPr>
                        <a:t>Beekdaelen</a:t>
                      </a:r>
                      <a:endParaRPr lang="nl-NL" sz="1000" b="0" i="0" u="none" strike="noStrike" dirty="0">
                        <a:solidFill>
                          <a:srgbClr val="000000"/>
                        </a:solidFill>
                        <a:effectLst/>
                        <a:latin typeface="Corbel" panose="020B0503020204020204"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eems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es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rg en D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rge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ergen (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ergen (NH.)</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ergen op Zo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erkel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ernhez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eu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Bev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e Bil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Blad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extLst>
              <p:ext uri="{D42A27DB-BD31-4B8C-83A1-F6EECF244321}">
                <p14:modId xmlns:p14="http://schemas.microsoft.com/office/powerpoint/2010/main" val="467975527"/>
              </p:ext>
            </p:extLst>
          </p:nvPr>
        </p:nvGraphicFramePr>
        <p:xfrm>
          <a:off x="6289707"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Blaric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loem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degraven-Ree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Boek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orger-O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orse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ox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Boxt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3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Bred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Brie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Bronckh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Bru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runss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unn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Bunscho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FFFFFF"/>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Bu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Capelle aan 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Castric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Coevo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extLst>
              <p:ext uri="{D42A27DB-BD31-4B8C-83A1-F6EECF244321}">
                <p14:modId xmlns:p14="http://schemas.microsoft.com/office/powerpoint/2010/main" val="2952052865"/>
              </p:ext>
            </p:extLst>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Cranendonc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Cu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Culembo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alf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antumad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Delf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eu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3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Deven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Die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inkel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oes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oetin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o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3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Dor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ech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Drimme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on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Dru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ui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cht-Sust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2" name="Text Placeholder 9">
            <a:hlinkClick r:id="rId5"/>
            <a:extLst>
              <a:ext uri="{FF2B5EF4-FFF2-40B4-BE49-F238E27FC236}">
                <a16:creationId xmlns:a16="http://schemas.microsoft.com/office/drawing/2014/main" id="{D1EEC155-CFBF-4EE0-8C5A-7D0E84F33C77}"/>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5" name="Graphic 14" descr="Right pointing backhand index">
            <a:hlinkClick r:id="rId5"/>
            <a:extLst>
              <a:ext uri="{FF2B5EF4-FFF2-40B4-BE49-F238E27FC236}">
                <a16:creationId xmlns:a16="http://schemas.microsoft.com/office/drawing/2014/main" id="{4E15240F-E900-4558-A2FF-2414BD115DB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26886860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29</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op alfabet [2/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extLst>
              <p:ext uri="{D42A27DB-BD31-4B8C-83A1-F6EECF244321}">
                <p14:modId xmlns:p14="http://schemas.microsoft.com/office/powerpoint/2010/main" val="449861194"/>
              </p:ext>
            </p:extLst>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dam-Volen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emn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emsdelt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Eers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Eijsden-Margra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3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indho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E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8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Enkhui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nsch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3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Erm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3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Etten-Leu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De </a:t>
                      </a:r>
                      <a:r>
                        <a:rPr lang="nl-NL" sz="1000" b="0" i="0" u="none" strike="noStrike" dirty="0" err="1">
                          <a:solidFill>
                            <a:srgbClr val="000000"/>
                          </a:solidFill>
                          <a:effectLst/>
                          <a:latin typeface="Corbel" panose="020B0503020204020204" pitchFamily="34" charset="0"/>
                        </a:rPr>
                        <a:t>Fryske</a:t>
                      </a:r>
                      <a:r>
                        <a:rPr lang="nl-NL" sz="1000" b="0" i="0" u="none" strike="noStrike" dirty="0">
                          <a:solidFill>
                            <a:srgbClr val="000000"/>
                          </a:solidFill>
                          <a:effectLst/>
                          <a:latin typeface="Corbel" panose="020B0503020204020204" pitchFamily="34" charset="0"/>
                        </a:rPr>
                        <a:t> </a:t>
                      </a:r>
                      <a:r>
                        <a:rPr lang="nl-NL" sz="1000" b="0" i="0" u="none" strike="noStrike" dirty="0" err="1">
                          <a:solidFill>
                            <a:srgbClr val="000000"/>
                          </a:solidFill>
                          <a:effectLst/>
                          <a:latin typeface="Corbel" panose="020B0503020204020204" pitchFamily="34" charset="0"/>
                        </a:rPr>
                        <a:t>Marre</a:t>
                      </a:r>
                      <a:endParaRPr lang="nl-NL" sz="1000" b="0" i="0" u="none" strike="noStrike" dirty="0">
                        <a:solidFill>
                          <a:srgbClr val="000000"/>
                        </a:solidFill>
                        <a:effectLst/>
                        <a:latin typeface="Corbel" panose="020B0503020204020204"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Geertrui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Geldrop-Mier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dirty="0">
                          <a:solidFill>
                            <a:srgbClr val="000000"/>
                          </a:solidFill>
                          <a:effectLst/>
                          <a:latin typeface="Corbel" panose="020B0503020204020204" pitchFamily="34" charset="0"/>
                        </a:rPr>
                        <a:t>Gemert-Bak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Genne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Gilze en Rij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extLst>
              <p:ext uri="{D42A27DB-BD31-4B8C-83A1-F6EECF244321}">
                <p14:modId xmlns:p14="http://schemas.microsoft.com/office/powerpoint/2010/main" val="4196113113"/>
              </p:ext>
            </p:extLst>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Goeree-Overfla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o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oir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Gooise 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3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Gorin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Goud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Grav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Gravenha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Gro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Gulpen-Witt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Haaks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Haarl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aarlemmer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Halderber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ar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dirty="0">
                          <a:solidFill>
                            <a:srgbClr val="000000"/>
                          </a:solidFill>
                          <a:effectLst/>
                          <a:latin typeface="Corbel" panose="020B0503020204020204" pitchFamily="34" charset="0"/>
                        </a:rPr>
                        <a:t>Hard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3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Hardinxveld-</a:t>
                      </a:r>
                      <a:r>
                        <a:rPr lang="nl-NL" sz="1000" b="0" i="0" u="none" strike="noStrike" dirty="0" err="1">
                          <a:solidFill>
                            <a:srgbClr val="000000"/>
                          </a:solidFill>
                          <a:effectLst/>
                          <a:latin typeface="Corbel" panose="020B0503020204020204" pitchFamily="34" charset="0"/>
                        </a:rPr>
                        <a:t>Gie</a:t>
                      </a:r>
                      <a:endParaRPr lang="nl-NL" sz="1000" b="0" i="0" u="none" strike="noStrike" dirty="0">
                        <a:solidFill>
                          <a:srgbClr val="000000"/>
                        </a:solidFill>
                        <a:effectLst/>
                        <a:latin typeface="Corbel" panose="020B0503020204020204" pitchFamily="34"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arl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3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att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ms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extLst>
              <p:ext uri="{D42A27DB-BD31-4B8C-83A1-F6EECF244321}">
                <p14:modId xmlns:p14="http://schemas.microsoft.com/office/powerpoint/2010/main" val="4094968055"/>
              </p:ext>
            </p:extLst>
          </p:nvPr>
        </p:nvGraphicFramePr>
        <p:xfrm>
          <a:off x="6289707"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mste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FFFFFF"/>
                          </a:solidFill>
                          <a:effectLst/>
                          <a:latin typeface="Corbel" panose="020B0503020204020204" pitchFamily="34" charset="0"/>
                        </a:rPr>
                        <a:t>1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er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eeren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erhugo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eer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eze-Leen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FFFFFF"/>
                          </a:solidFill>
                          <a:effectLst/>
                          <a:latin typeface="Corbel" panose="020B0503020204020204" pitchFamily="34" charset="0"/>
                        </a:rPr>
                        <a:t>1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ilo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en Held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3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ellend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Hellevoet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elmo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3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endrik-Ido-Amb</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nge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Hertogenbos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u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eus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illeg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FFFFFF"/>
                          </a:solidFill>
                          <a:effectLst/>
                          <a:latin typeface="Corbel" panose="020B0503020204020204" pitchFamily="34" charset="0"/>
                        </a:rPr>
                        <a:t>1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ilvaren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ilvers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Hoeksche 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extLst>
              <p:ext uri="{D42A27DB-BD31-4B8C-83A1-F6EECF244321}">
                <p14:modId xmlns:p14="http://schemas.microsoft.com/office/powerpoint/2010/main" val="1169121757"/>
              </p:ext>
            </p:extLst>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of van Twent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et Hog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ollands Kroo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ooge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Horst aan de M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Hou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ui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Hul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IJsselst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Kaag en Braass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amp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ape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at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Kerkra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oggen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Krimpen aan 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Krimpener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arbe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nde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2" name="Text Placeholder 9">
            <a:hlinkClick r:id="rId5"/>
            <a:extLst>
              <a:ext uri="{FF2B5EF4-FFF2-40B4-BE49-F238E27FC236}">
                <a16:creationId xmlns:a16="http://schemas.microsoft.com/office/drawing/2014/main" id="{66AB3223-234D-412C-A11F-50B292CF5277}"/>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5" name="Graphic 14" descr="Right pointing backhand index">
            <a:hlinkClick r:id="rId5"/>
            <a:extLst>
              <a:ext uri="{FF2B5EF4-FFF2-40B4-BE49-F238E27FC236}">
                <a16:creationId xmlns:a16="http://schemas.microsoft.com/office/drawing/2014/main" id="{1227F52D-9897-465E-983B-F8382F1C6D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987099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FA3ADD-6DE6-4A35-8C21-ADBCFD6CFDFC}"/>
              </a:ext>
            </a:extLst>
          </p:cNvPr>
          <p:cNvGraphicFramePr>
            <a:graphicFrameLocks noChangeAspect="1"/>
          </p:cNvGraphicFramePr>
          <p:nvPr>
            <p:custDataLst>
              <p:tags r:id="rId1"/>
            </p:custDataLst>
            <p:extLst>
              <p:ext uri="{D42A27DB-BD31-4B8C-83A1-F6EECF244321}">
                <p14:modId xmlns:p14="http://schemas.microsoft.com/office/powerpoint/2010/main" val="221710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01" imgH="502" progId="TCLayout.ActiveDocument.1">
                  <p:embed/>
                </p:oleObj>
              </mc:Choice>
              <mc:Fallback>
                <p:oleObj name="think-cell Slide" r:id="rId22" imgW="501" imgH="502" progId="TCLayout.ActiveDocument.1">
                  <p:embed/>
                  <p:pic>
                    <p:nvPicPr>
                      <p:cNvPr id="9" name="Object 8" hidden="1">
                        <a:extLst>
                          <a:ext uri="{FF2B5EF4-FFF2-40B4-BE49-F238E27FC236}">
                            <a16:creationId xmlns:a16="http://schemas.microsoft.com/office/drawing/2014/main" id="{CFFA3ADD-6DE6-4A35-8C21-ADBCFD6CFDFC}"/>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79" name="Content Placeholder 178">
            <a:extLst>
              <a:ext uri="{FF2B5EF4-FFF2-40B4-BE49-F238E27FC236}">
                <a16:creationId xmlns:a16="http://schemas.microsoft.com/office/drawing/2014/main" id="{F95F3042-99A7-4F7A-B2F5-63FC5FB85D41}"/>
              </a:ext>
            </a:extLst>
          </p:cNvPr>
          <p:cNvSpPr>
            <a:spLocks noGrp="1"/>
          </p:cNvSpPr>
          <p:nvPr>
            <p:ph sz="quarter" idx="39"/>
          </p:nvPr>
        </p:nvSpPr>
        <p:spPr>
          <a:xfrm>
            <a:off x="662780" y="1936729"/>
            <a:ext cx="3520285" cy="4284000"/>
          </a:xfrm>
        </p:spPr>
        <p:txBody>
          <a:bodyPr>
            <a:noAutofit/>
          </a:bodyPr>
          <a:lstStyle/>
          <a:p>
            <a:pPr>
              <a:spcBef>
                <a:spcPts val="1200"/>
              </a:spcBef>
            </a:pPr>
            <a:r>
              <a:rPr lang="nl-NL" sz="1600" dirty="0"/>
              <a:t>Het structurele tekort tussen wat gemeenten uitgaven aan jeugdzorg en wat ze daarvoor van het rijk kregen voor 2019 is door AEF ingeschat op</a:t>
            </a:r>
            <a:r>
              <a:rPr lang="nl-NL" sz="1600" b="1" dirty="0"/>
              <a:t> ca. €1,6-1,8 </a:t>
            </a:r>
            <a:r>
              <a:rPr lang="nl-NL" sz="1600" b="1" dirty="0" err="1"/>
              <a:t>mld</a:t>
            </a:r>
            <a:r>
              <a:rPr lang="nl-NL" sz="1600" b="1" dirty="0"/>
              <a:t> </a:t>
            </a:r>
            <a:r>
              <a:rPr lang="nl-NL" sz="1600" dirty="0"/>
              <a:t>voor 2019</a:t>
            </a:r>
            <a:r>
              <a:rPr lang="nl-NL" sz="1600" baseline="30000" dirty="0"/>
              <a:t>1</a:t>
            </a:r>
            <a:endParaRPr lang="nl-NL" sz="1600" b="1" baseline="30000" dirty="0"/>
          </a:p>
          <a:p>
            <a:pPr>
              <a:spcBef>
                <a:spcPts val="1200"/>
              </a:spcBef>
            </a:pPr>
            <a:r>
              <a:rPr lang="nl-NL" sz="1600" dirty="0"/>
              <a:t>Echter, het daadwerkelijke tekort voor 2019 is </a:t>
            </a:r>
            <a:r>
              <a:rPr lang="nl-NL" sz="1600" b="1" dirty="0"/>
              <a:t>€ 1,2-1,4 </a:t>
            </a:r>
            <a:r>
              <a:rPr lang="nl-NL" sz="1600" b="1" dirty="0" err="1"/>
              <a:t>mld</a:t>
            </a:r>
            <a:r>
              <a:rPr lang="nl-NL" sz="1600" dirty="0"/>
              <a:t> doordat er incidenteel €400 </a:t>
            </a:r>
            <a:r>
              <a:rPr lang="nl-NL" sz="1600" dirty="0" err="1"/>
              <a:t>mln</a:t>
            </a:r>
            <a:r>
              <a:rPr lang="nl-NL" sz="1600" dirty="0"/>
              <a:t> extra budget vanuit het Rijk beschikbaar is gesteld in 2019 </a:t>
            </a:r>
          </a:p>
          <a:p>
            <a:pPr>
              <a:spcBef>
                <a:spcPts val="1200"/>
              </a:spcBef>
            </a:pPr>
            <a:r>
              <a:rPr lang="nl-NL" sz="1600" dirty="0"/>
              <a:t>In deze publicatie wordt altijd het </a:t>
            </a:r>
            <a:r>
              <a:rPr lang="nl-NL" sz="1600" i="1" dirty="0"/>
              <a:t>daadwerkelijke tekort </a:t>
            </a:r>
            <a:r>
              <a:rPr lang="nl-NL" sz="1600" dirty="0"/>
              <a:t>getoond, dus de cijfers geven aan wat een gemeente daadwerkelijk heeft moeten bijleggen (ten koste van uitgaven aan andere domeinen)</a:t>
            </a:r>
          </a:p>
        </p:txBody>
      </p:sp>
      <p:sp>
        <p:nvSpPr>
          <p:cNvPr id="173" name="Text Placeholder 172">
            <a:extLst>
              <a:ext uri="{FF2B5EF4-FFF2-40B4-BE49-F238E27FC236}">
                <a16:creationId xmlns:a16="http://schemas.microsoft.com/office/drawing/2014/main" id="{B9C795AD-1518-4AED-ADCB-1609BE3A620C}"/>
              </a:ext>
            </a:extLst>
          </p:cNvPr>
          <p:cNvSpPr>
            <a:spLocks noGrp="1"/>
          </p:cNvSpPr>
          <p:nvPr>
            <p:ph type="body" sz="quarter" idx="20"/>
          </p:nvPr>
        </p:nvSpPr>
        <p:spPr/>
        <p:txBody>
          <a:bodyPr/>
          <a:lstStyle/>
          <a:p>
            <a:r>
              <a:rPr lang="nl-NL" dirty="0"/>
              <a:t>Het is niet onaannemelijk dat het structurele tekort hoger ligt dan door AEF becijferd, want de gekozen methodiek vergelijkt puur gedane uitgaven met inkomsten. Kostenverlagende effecten zoals wachtlijsten (voor iemand die op wachtlijst staat wordt niets of relatief weinig uitgegeven) zijn niet meegenomen in de berekening van het totale tekort</a:t>
            </a:r>
          </a:p>
        </p:txBody>
      </p:sp>
      <p:sp>
        <p:nvSpPr>
          <p:cNvPr id="4" name="Footer Placeholder 3">
            <a:extLst>
              <a:ext uri="{FF2B5EF4-FFF2-40B4-BE49-F238E27FC236}">
                <a16:creationId xmlns:a16="http://schemas.microsoft.com/office/drawing/2014/main" id="{A593C5A4-EE78-41E7-B6F2-E791C9EE17B9}"/>
              </a:ext>
            </a:extLst>
          </p:cNvPr>
          <p:cNvSpPr>
            <a:spLocks noGrp="1"/>
          </p:cNvSpPr>
          <p:nvPr>
            <p:ph type="ftr" sz="quarter" idx="3"/>
          </p:nvPr>
        </p:nvSpPr>
        <p:spPr/>
        <p:txBody>
          <a:bodyPr/>
          <a:lstStyle/>
          <a:p>
            <a:r>
              <a:rPr lang="nl-NL" noProof="0" dirty="0"/>
              <a:t>Bron: AEF-rapport ‘Stelsel in groei’ (dec 2020); Iv3-data; it’s public analyse</a:t>
            </a:r>
          </a:p>
        </p:txBody>
      </p:sp>
      <p:sp>
        <p:nvSpPr>
          <p:cNvPr id="128" name="Slide Number Placeholder 4">
            <a:extLst>
              <a:ext uri="{FF2B5EF4-FFF2-40B4-BE49-F238E27FC236}">
                <a16:creationId xmlns:a16="http://schemas.microsoft.com/office/drawing/2014/main" id="{09C1B53D-14D9-4934-931E-01E6A4D6D5AE}"/>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sp>
        <p:nvSpPr>
          <p:cNvPr id="2" name="Text Placeholder 1">
            <a:extLst>
              <a:ext uri="{FF2B5EF4-FFF2-40B4-BE49-F238E27FC236}">
                <a16:creationId xmlns:a16="http://schemas.microsoft.com/office/drawing/2014/main" id="{FDA93955-8303-46E1-8E19-CF9B7247172C}"/>
              </a:ext>
            </a:extLst>
          </p:cNvPr>
          <p:cNvSpPr>
            <a:spLocks noGrp="1"/>
          </p:cNvSpPr>
          <p:nvPr>
            <p:ph type="body" sz="quarter" idx="14"/>
          </p:nvPr>
        </p:nvSpPr>
        <p:spPr>
          <a:xfrm>
            <a:off x="662780" y="1203211"/>
            <a:ext cx="10866440" cy="388800"/>
          </a:xfrm>
        </p:spPr>
        <p:txBody>
          <a:bodyPr/>
          <a:lstStyle/>
          <a:p>
            <a:r>
              <a:rPr lang="nl-NL" dirty="0"/>
              <a:t>Verschil tussen uitgaven en budget jeugdzorg, totaal Nederlandse gemeenten, 2019</a:t>
            </a:r>
          </a:p>
        </p:txBody>
      </p:sp>
      <p:sp>
        <p:nvSpPr>
          <p:cNvPr id="7" name="Title 6">
            <a:extLst>
              <a:ext uri="{FF2B5EF4-FFF2-40B4-BE49-F238E27FC236}">
                <a16:creationId xmlns:a16="http://schemas.microsoft.com/office/drawing/2014/main" id="{534B37DA-10E3-4872-821E-6DC9A91B75B9}"/>
              </a:ext>
            </a:extLst>
          </p:cNvPr>
          <p:cNvSpPr>
            <a:spLocks noGrp="1"/>
          </p:cNvSpPr>
          <p:nvPr>
            <p:ph type="title"/>
          </p:nvPr>
        </p:nvSpPr>
        <p:spPr/>
        <p:txBody>
          <a:bodyPr vert="horz"/>
          <a:lstStyle/>
          <a:p>
            <a:r>
              <a:rPr lang="nl-NL" dirty="0"/>
              <a:t>Gemeenten gaven in 2019 ca. € 1,2-1,4 </a:t>
            </a:r>
            <a:r>
              <a:rPr lang="nl-NL" dirty="0" err="1"/>
              <a:t>mld</a:t>
            </a:r>
            <a:r>
              <a:rPr lang="nl-NL" dirty="0"/>
              <a:t> meer uit aan jeugdzorg dan dat ze van het Rijk ontvingen</a:t>
            </a:r>
          </a:p>
        </p:txBody>
      </p:sp>
      <p:sp>
        <p:nvSpPr>
          <p:cNvPr id="30" name="Rectangle 29" hidden="1">
            <a:extLst>
              <a:ext uri="{FF2B5EF4-FFF2-40B4-BE49-F238E27FC236}">
                <a16:creationId xmlns:a16="http://schemas.microsoft.com/office/drawing/2014/main" id="{A0F4B74F-EA2F-41E3-9BAB-29D330726F8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trike="noStrike" kern="1200" spc="0" normalizeH="0" noProof="0" dirty="0">
              <a:ln>
                <a:noFill/>
              </a:ln>
              <a:effectLst/>
              <a:uLnTx/>
              <a:uFillTx/>
              <a:latin typeface="+mn-lt"/>
            </a:endParaRPr>
          </a:p>
        </p:txBody>
      </p:sp>
      <p:cxnSp>
        <p:nvCxnSpPr>
          <p:cNvPr id="198" name="Straight Connector 197">
            <a:extLst>
              <a:ext uri="{FF2B5EF4-FFF2-40B4-BE49-F238E27FC236}">
                <a16:creationId xmlns:a16="http://schemas.microsoft.com/office/drawing/2014/main" id="{F5297E2B-E7EB-4B68-9704-71AC88FB09F3}"/>
              </a:ext>
            </a:extLst>
          </p:cNvPr>
          <p:cNvCxnSpPr/>
          <p:nvPr>
            <p:custDataLst>
              <p:tags r:id="rId2"/>
            </p:custDataLst>
          </p:nvPr>
        </p:nvCxnSpPr>
        <p:spPr bwMode="gray">
          <a:xfrm flipV="1">
            <a:off x="6502400" y="5319713"/>
            <a:ext cx="6350" cy="25400"/>
          </a:xfrm>
          <a:prstGeom prst="line">
            <a:avLst/>
          </a:prstGeom>
          <a:ln w="317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3F32B723-F545-46E7-A6B8-B57EF23DE235}"/>
              </a:ext>
            </a:extLst>
          </p:cNvPr>
          <p:cNvCxnSpPr/>
          <p:nvPr>
            <p:custDataLst>
              <p:tags r:id="rId3"/>
            </p:custDataLst>
          </p:nvPr>
        </p:nvCxnSpPr>
        <p:spPr bwMode="gray">
          <a:xfrm flipV="1">
            <a:off x="6523038" y="3575050"/>
            <a:ext cx="409575" cy="1685925"/>
          </a:xfrm>
          <a:prstGeom prst="line">
            <a:avLst/>
          </a:prstGeom>
          <a:ln w="317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34F10A9E-4068-497E-AE0A-507759812055}"/>
              </a:ext>
            </a:extLst>
          </p:cNvPr>
          <p:cNvCxnSpPr/>
          <p:nvPr>
            <p:custDataLst>
              <p:tags r:id="rId4"/>
            </p:custDataLst>
          </p:nvPr>
        </p:nvCxnSpPr>
        <p:spPr bwMode="gray">
          <a:xfrm flipV="1">
            <a:off x="7472363" y="3549650"/>
            <a:ext cx="15875" cy="25400"/>
          </a:xfrm>
          <a:prstGeom prst="line">
            <a:avLst/>
          </a:prstGeom>
          <a:ln w="317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B063348B-ADA6-4D98-AB4F-CC6FCFD0A022}"/>
              </a:ext>
            </a:extLst>
          </p:cNvPr>
          <p:cNvCxnSpPr/>
          <p:nvPr>
            <p:custDataLst>
              <p:tags r:id="rId5"/>
            </p:custDataLst>
          </p:nvPr>
        </p:nvCxnSpPr>
        <p:spPr bwMode="gray">
          <a:xfrm flipV="1">
            <a:off x="7496175" y="2886075"/>
            <a:ext cx="406400" cy="650875"/>
          </a:xfrm>
          <a:prstGeom prst="line">
            <a:avLst/>
          </a:prstGeom>
          <a:ln w="317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07CAB9BE-2195-4654-918D-B7256677B8A3}"/>
              </a:ext>
            </a:extLst>
          </p:cNvPr>
          <p:cNvCxnSpPr/>
          <p:nvPr>
            <p:custDataLst>
              <p:tags r:id="rId6"/>
            </p:custDataLst>
          </p:nvPr>
        </p:nvCxnSpPr>
        <p:spPr bwMode="gray">
          <a:xfrm>
            <a:off x="8442325" y="2886075"/>
            <a:ext cx="430213" cy="98425"/>
          </a:xfrm>
          <a:prstGeom prst="line">
            <a:avLst/>
          </a:prstGeom>
          <a:ln w="3175" cap="flat" cmpd="sng" algn="ctr">
            <a:solidFill>
              <a:srgbClr val="808080"/>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53" name="Chart 52">
            <a:extLst>
              <a:ext uri="{FF2B5EF4-FFF2-40B4-BE49-F238E27FC236}">
                <a16:creationId xmlns:a16="http://schemas.microsoft.com/office/drawing/2014/main" id="{A850B3D9-CEB8-405D-B85F-8059B359B37D}"/>
              </a:ext>
            </a:extLst>
          </p:cNvPr>
          <p:cNvGraphicFramePr/>
          <p:nvPr>
            <p:custDataLst>
              <p:tags r:id="rId7"/>
            </p:custDataLst>
            <p:extLst>
              <p:ext uri="{D42A27DB-BD31-4B8C-83A1-F6EECF244321}">
                <p14:modId xmlns:p14="http://schemas.microsoft.com/office/powerpoint/2010/main" val="581650621"/>
              </p:ext>
            </p:extLst>
          </p:nvPr>
        </p:nvGraphicFramePr>
        <p:xfrm>
          <a:off x="4695825" y="2114550"/>
          <a:ext cx="5014913" cy="3509963"/>
        </p:xfrm>
        <a:graphic>
          <a:graphicData uri="http://schemas.openxmlformats.org/drawingml/2006/chart">
            <c:chart xmlns:c="http://schemas.openxmlformats.org/drawingml/2006/chart" xmlns:r="http://schemas.openxmlformats.org/officeDocument/2006/relationships" r:id="rId24"/>
          </a:graphicData>
        </a:graphic>
      </p:graphicFrame>
      <p:sp>
        <p:nvSpPr>
          <p:cNvPr id="28" name="Content 1">
            <a:extLst>
              <a:ext uri="{FF2B5EF4-FFF2-40B4-BE49-F238E27FC236}">
                <a16:creationId xmlns:a16="http://schemas.microsoft.com/office/drawing/2014/main" id="{EB2355EE-BD99-4D17-BFEB-31E445404441}"/>
              </a:ext>
            </a:extLst>
          </p:cNvPr>
          <p:cNvSpPr>
            <a:spLocks noGrp="1"/>
          </p:cNvSpPr>
          <p:nvPr>
            <p:custDataLst>
              <p:tags r:id="rId8"/>
            </p:custDataLst>
          </p:nvPr>
        </p:nvSpPr>
        <p:spPr bwMode="auto">
          <a:xfrm>
            <a:off x="8959850" y="5600700"/>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FAEDDA-1ADF-4C4B-8E55-C7E66D70CCE7}" type="datetime'''''''''''''2''''''''''''''''''''''''''''0''''''1''''''9'''''">
              <a:rPr lang="nl-NL" altLang="en-US" smtClean="0">
                <a:solidFill>
                  <a:schemeClr val="tx1"/>
                </a:solidFill>
                <a:latin typeface="+mn-lt"/>
              </a:rPr>
              <a:pPr/>
              <a:t>2019</a:t>
            </a:fld>
            <a:endParaRPr lang="nl-NL" noProof="0" dirty="0">
              <a:solidFill>
                <a:schemeClr val="tx1"/>
              </a:solidFill>
              <a:latin typeface="+mn-lt"/>
            </a:endParaRPr>
          </a:p>
        </p:txBody>
      </p:sp>
      <p:sp>
        <p:nvSpPr>
          <p:cNvPr id="122"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7886700" y="4117975"/>
            <a:ext cx="57150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bg1"/>
                </a:solidFill>
                <a:effectLst/>
                <a:latin typeface="+mn-lt"/>
              </a:rPr>
              <a:t>1,2-1,5</a:t>
            </a:r>
            <a:endParaRPr lang="nl-NL" b="1" noProof="0" dirty="0">
              <a:solidFill>
                <a:schemeClr val="bg1"/>
              </a:solidFill>
              <a:latin typeface="+mn-lt"/>
            </a:endParaRPr>
          </a:p>
        </p:txBody>
      </p:sp>
      <p:sp>
        <p:nvSpPr>
          <p:cNvPr id="126"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6910388" y="4462463"/>
            <a:ext cx="585788" cy="192088"/>
          </a:xfrm>
          <a:prstGeom prst="rect">
            <a:avLst/>
          </a:prstGeom>
          <a:solidFill>
            <a:schemeClr val="accent1"/>
          </a:solidFill>
          <a:ln>
            <a:noFill/>
          </a:ln>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bg1"/>
                </a:solidFill>
                <a:effectLst/>
                <a:latin typeface="+mn-lt"/>
              </a:rPr>
              <a:t>0,9-1,1</a:t>
            </a:r>
            <a:endParaRPr lang="nl-NL" b="1" noProof="0" dirty="0">
              <a:solidFill>
                <a:schemeClr val="bg1"/>
              </a:solidFill>
              <a:latin typeface="+mn-lt"/>
            </a:endParaRPr>
          </a:p>
        </p:txBody>
      </p:sp>
      <p:sp>
        <p:nvSpPr>
          <p:cNvPr id="32"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4783138" y="5324475"/>
            <a:ext cx="9588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tx1"/>
                </a:solidFill>
                <a:effectLst/>
                <a:latin typeface="+mn-lt"/>
              </a:rPr>
              <a:t>Geen tekort</a:t>
            </a:r>
            <a:endParaRPr lang="nl-NL" b="1" noProof="0" dirty="0">
              <a:solidFill>
                <a:schemeClr val="tx1"/>
              </a:solidFill>
              <a:latin typeface="+mn-lt"/>
            </a:endParaRPr>
          </a:p>
        </p:txBody>
      </p:sp>
      <p:sp>
        <p:nvSpPr>
          <p:cNvPr id="74"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6049963" y="5600700"/>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0388C37-1E83-4A88-9126-B2E83A10571A}" type="datetime'2''''''''''''''''''''''''''''''''''''''01''''''''''6'">
              <a:rPr lang="nl-NL" altLang="en-US" smtClean="0">
                <a:solidFill>
                  <a:schemeClr val="tx1"/>
                </a:solidFill>
                <a:latin typeface="+mn-lt"/>
              </a:rPr>
              <a:pPr/>
              <a:t>2016</a:t>
            </a:fld>
            <a:endParaRPr lang="nl-NL" noProof="0" dirty="0">
              <a:solidFill>
                <a:schemeClr val="tx1"/>
              </a:solidFill>
              <a:latin typeface="+mn-lt"/>
            </a:endParaRPr>
          </a:p>
        </p:txBody>
      </p:sp>
      <p:sp>
        <p:nvSpPr>
          <p:cNvPr id="70"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5084763" y="5600700"/>
            <a:ext cx="3571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69BBE30-9A19-4A30-8AB7-BF47432574A9}" type="datetime'''''''''''''''2''''''0''''''1''''''''''''''5'''''">
              <a:rPr lang="nl-NL" altLang="en-US" smtClean="0">
                <a:solidFill>
                  <a:schemeClr val="tx1"/>
                </a:solidFill>
                <a:latin typeface="+mn-lt"/>
              </a:rPr>
              <a:pPr/>
              <a:t>2015</a:t>
            </a:fld>
            <a:endParaRPr lang="nl-NL" noProof="0" dirty="0">
              <a:solidFill>
                <a:schemeClr val="tx1"/>
              </a:solidFill>
              <a:latin typeface="+mn-lt"/>
            </a:endParaRPr>
          </a:p>
        </p:txBody>
      </p:sp>
      <p:sp>
        <p:nvSpPr>
          <p:cNvPr id="76"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auto">
          <a:xfrm>
            <a:off x="7031038" y="5600700"/>
            <a:ext cx="3444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F7E6DCB-078A-4221-BBEA-A6AD5ADD522C}" type="datetime'''''''''''''''2''''''''0''''17'''''''''">
              <a:rPr lang="nl-NL" altLang="en-US" smtClean="0">
                <a:solidFill>
                  <a:schemeClr val="tx1"/>
                </a:solidFill>
                <a:latin typeface="+mn-lt"/>
              </a:rPr>
              <a:pPr/>
              <a:t>2017</a:t>
            </a:fld>
            <a:endParaRPr lang="nl-NL" noProof="0" dirty="0">
              <a:solidFill>
                <a:schemeClr val="tx1"/>
              </a:solidFill>
              <a:latin typeface="+mn-lt"/>
            </a:endParaRPr>
          </a:p>
        </p:txBody>
      </p:sp>
      <p:sp>
        <p:nvSpPr>
          <p:cNvPr id="93" name="Content 1">
            <a:extLst>
              <a:ext uri="{FF2B5EF4-FFF2-40B4-BE49-F238E27FC236}">
                <a16:creationId xmlns:a16="http://schemas.microsoft.com/office/drawing/2014/main" id="{09D1ED78-8D41-4921-845F-1D1E853D6F00}"/>
              </a:ext>
            </a:extLst>
          </p:cNvPr>
          <p:cNvSpPr>
            <a:spLocks noGrp="1"/>
          </p:cNvSpPr>
          <p:nvPr>
            <p:custDataLst>
              <p:tags r:id="rId15"/>
            </p:custDataLst>
          </p:nvPr>
        </p:nvSpPr>
        <p:spPr bwMode="auto">
          <a:xfrm>
            <a:off x="7991475" y="5600700"/>
            <a:ext cx="3635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1A47C47-B83F-45EF-A4A4-1BA050B1A585}" type="datetime'''''2''''0''1''8'''''''''''''''''''''''''''">
              <a:rPr lang="nl-NL" altLang="en-US" smtClean="0">
                <a:solidFill>
                  <a:schemeClr val="tx1"/>
                </a:solidFill>
                <a:latin typeface="+mn-lt"/>
              </a:rPr>
              <a:pPr/>
              <a:t>2018</a:t>
            </a:fld>
            <a:endParaRPr lang="nl-NL" noProof="0" dirty="0">
              <a:solidFill>
                <a:schemeClr val="tx1"/>
              </a:solidFill>
              <a:latin typeface="+mn-lt"/>
            </a:endParaRPr>
          </a:p>
        </p:txBody>
      </p:sp>
      <p:sp>
        <p:nvSpPr>
          <p:cNvPr id="90"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8853488" y="4167188"/>
            <a:ext cx="577850"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bg1"/>
                </a:solidFill>
                <a:effectLst/>
                <a:latin typeface="+mn-lt"/>
              </a:rPr>
              <a:t>1,2-1,4</a:t>
            </a:r>
            <a:endParaRPr lang="nl-NL" b="1" noProof="0" dirty="0">
              <a:solidFill>
                <a:schemeClr val="bg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8847138" y="1979613"/>
            <a:ext cx="5921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tx1"/>
                </a:solidFill>
                <a:effectLst/>
                <a:latin typeface="+mn-lt"/>
              </a:rPr>
              <a:t>1,6-1,8</a:t>
            </a:r>
            <a:endParaRPr lang="nl-NL" b="1" noProof="0" dirty="0">
              <a:solidFill>
                <a:schemeClr val="tx1"/>
              </a:solidFill>
              <a:latin typeface="+mn-lt"/>
            </a:endParaRPr>
          </a:p>
        </p:txBody>
      </p:sp>
      <p:sp>
        <p:nvSpPr>
          <p:cNvPr id="47"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5942013" y="5127625"/>
            <a:ext cx="581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50044CF-1D2F-40CD-9CD6-FDBC548B1D8B}" type="datetime'''''''''''0,''''''''''''1'''''''''''''''''''''''''">
              <a:rPr lang="nl-NL" altLang="en-US" b="1" smtClean="0">
                <a:solidFill>
                  <a:schemeClr val="tx1"/>
                </a:solidFill>
                <a:effectLst/>
                <a:latin typeface="+mn-lt"/>
              </a:rPr>
              <a:pPr marL="0" indent="0" algn="ctr">
                <a:spcBef>
                  <a:spcPct val="0"/>
                </a:spcBef>
                <a:spcAft>
                  <a:spcPct val="0"/>
                </a:spcAft>
                <a:buNone/>
              </a:pPr>
              <a:t>0,1</a:t>
            </a:fld>
            <a:r>
              <a:rPr lang="nl-NL" altLang="en-US" b="1" dirty="0">
                <a:solidFill>
                  <a:schemeClr val="tx1"/>
                </a:solidFill>
                <a:effectLst/>
                <a:latin typeface="+mn-lt"/>
              </a:rPr>
              <a:t>-0,2</a:t>
            </a:r>
            <a:endParaRPr lang="nl-NL" b="1" noProof="0" dirty="0">
              <a:solidFill>
                <a:schemeClr val="tx1"/>
              </a:solidFill>
              <a:latin typeface="+mn-lt"/>
            </a:endParaRPr>
          </a:p>
        </p:txBody>
      </p:sp>
      <p:sp>
        <p:nvSpPr>
          <p:cNvPr id="52"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gray">
          <a:xfrm>
            <a:off x="6910388" y="3357563"/>
            <a:ext cx="5857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tx1"/>
                </a:solidFill>
                <a:effectLst/>
                <a:latin typeface="+mn-lt"/>
              </a:rPr>
              <a:t>0,9-1,1</a:t>
            </a:r>
            <a:endParaRPr lang="nl-NL"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gray">
          <a:xfrm>
            <a:off x="7886700" y="2668588"/>
            <a:ext cx="5715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tx1"/>
                </a:solidFill>
                <a:effectLst/>
                <a:latin typeface="+mn-lt"/>
              </a:rPr>
              <a:t>1,2-1,5</a:t>
            </a:r>
            <a:endParaRPr lang="nl-NL" b="1" noProof="0" dirty="0">
              <a:solidFill>
                <a:schemeClr val="tx1"/>
              </a:solidFill>
              <a:latin typeface="+mn-lt"/>
            </a:endParaRPr>
          </a:p>
        </p:txBody>
      </p:sp>
      <p:sp>
        <p:nvSpPr>
          <p:cNvPr id="25" name="TextBox 24">
            <a:extLst>
              <a:ext uri="{FF2B5EF4-FFF2-40B4-BE49-F238E27FC236}">
                <a16:creationId xmlns:a16="http://schemas.microsoft.com/office/drawing/2014/main" id="{08BAEB6C-67F3-4482-B72F-F098EFB4D89E}"/>
              </a:ext>
            </a:extLst>
          </p:cNvPr>
          <p:cNvSpPr txBox="1"/>
          <p:nvPr/>
        </p:nvSpPr>
        <p:spPr>
          <a:xfrm>
            <a:off x="9512299" y="2501085"/>
            <a:ext cx="1758949" cy="237604"/>
          </a:xfrm>
          <a:prstGeom prst="rect">
            <a:avLst/>
          </a:prstGeom>
        </p:spPr>
        <p:txBody>
          <a:bodyPr vert="horz" wrap="square" lIns="91440" tIns="45720" rIns="91440" bIns="45720" rtlCol="0">
            <a:noAutofit/>
          </a:bodyPr>
          <a:lstStyle/>
          <a:p>
            <a:pPr marL="0" indent="0" algn="l">
              <a:buNone/>
            </a:pPr>
            <a:r>
              <a:rPr lang="nl-NL" sz="1000" noProof="0" dirty="0"/>
              <a:t>Incidentele bijdrage rijk 2019</a:t>
            </a:r>
          </a:p>
        </p:txBody>
      </p:sp>
      <p:sp>
        <p:nvSpPr>
          <p:cNvPr id="132" name="TextBox 131">
            <a:extLst>
              <a:ext uri="{FF2B5EF4-FFF2-40B4-BE49-F238E27FC236}">
                <a16:creationId xmlns:a16="http://schemas.microsoft.com/office/drawing/2014/main" id="{5CCD2AF4-1D15-4F6F-BDC0-49545C17FAAC}"/>
              </a:ext>
            </a:extLst>
          </p:cNvPr>
          <p:cNvSpPr txBox="1"/>
          <p:nvPr/>
        </p:nvSpPr>
        <p:spPr>
          <a:xfrm>
            <a:off x="9512300" y="1936750"/>
            <a:ext cx="1758948" cy="279400"/>
          </a:xfrm>
          <a:prstGeom prst="rect">
            <a:avLst/>
          </a:prstGeom>
          <a:ln>
            <a:solidFill>
              <a:schemeClr val="accent5"/>
            </a:solidFill>
          </a:ln>
        </p:spPr>
        <p:txBody>
          <a:bodyPr vert="horz" wrap="none" lIns="91440" tIns="45720" rIns="91440" bIns="45720" rtlCol="0">
            <a:noAutofit/>
          </a:bodyPr>
          <a:lstStyle/>
          <a:p>
            <a:pPr marL="0" indent="0" algn="l">
              <a:buNone/>
            </a:pPr>
            <a:r>
              <a:rPr lang="nl-NL" b="1" noProof="0" dirty="0"/>
              <a:t>Structureel tekort</a:t>
            </a:r>
          </a:p>
        </p:txBody>
      </p:sp>
      <p:sp>
        <p:nvSpPr>
          <p:cNvPr id="133" name="TextBox 132">
            <a:extLst>
              <a:ext uri="{FF2B5EF4-FFF2-40B4-BE49-F238E27FC236}">
                <a16:creationId xmlns:a16="http://schemas.microsoft.com/office/drawing/2014/main" id="{33E777E8-3F5E-48D6-B7D4-4BB40F95769B}"/>
              </a:ext>
            </a:extLst>
          </p:cNvPr>
          <p:cNvSpPr txBox="1"/>
          <p:nvPr/>
        </p:nvSpPr>
        <p:spPr>
          <a:xfrm>
            <a:off x="9512300" y="4165600"/>
            <a:ext cx="1758950" cy="257175"/>
          </a:xfrm>
          <a:prstGeom prst="rect">
            <a:avLst/>
          </a:prstGeom>
          <a:ln w="19050">
            <a:solidFill>
              <a:srgbClr val="22777B"/>
            </a:solidFill>
          </a:ln>
        </p:spPr>
        <p:txBody>
          <a:bodyPr vert="horz" wrap="none" lIns="91440" tIns="45720" rIns="91440" bIns="45720" rtlCol="0">
            <a:noAutofit/>
          </a:bodyPr>
          <a:lstStyle/>
          <a:p>
            <a:pPr marL="0" indent="0" algn="l">
              <a:buNone/>
            </a:pPr>
            <a:r>
              <a:rPr lang="nl-NL" b="1" noProof="0" dirty="0"/>
              <a:t>Daadwerkelijk tekort</a:t>
            </a:r>
          </a:p>
        </p:txBody>
      </p:sp>
      <p:cxnSp>
        <p:nvCxnSpPr>
          <p:cNvPr id="10" name="Straight Connector 9">
            <a:extLst>
              <a:ext uri="{FF2B5EF4-FFF2-40B4-BE49-F238E27FC236}">
                <a16:creationId xmlns:a16="http://schemas.microsoft.com/office/drawing/2014/main" id="{88DB6A1E-3D4F-49E9-B7AA-3D8E53384EFE}"/>
              </a:ext>
            </a:extLst>
          </p:cNvPr>
          <p:cNvCxnSpPr>
            <a:cxnSpLocks/>
          </p:cNvCxnSpPr>
          <p:nvPr/>
        </p:nvCxnSpPr>
        <p:spPr>
          <a:xfrm>
            <a:off x="9439275" y="4294188"/>
            <a:ext cx="73025" cy="0"/>
          </a:xfrm>
          <a:prstGeom prst="line">
            <a:avLst/>
          </a:prstGeom>
          <a:ln>
            <a:solidFill>
              <a:srgbClr val="22777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3B84EEB-9954-4EA6-9440-541CC2CAD9CB}"/>
              </a:ext>
            </a:extLst>
          </p:cNvPr>
          <p:cNvCxnSpPr>
            <a:cxnSpLocks/>
            <a:stCxn id="60" idx="3"/>
            <a:endCxn id="132" idx="1"/>
          </p:cNvCxnSpPr>
          <p:nvPr/>
        </p:nvCxnSpPr>
        <p:spPr>
          <a:xfrm>
            <a:off x="9439276" y="2075657"/>
            <a:ext cx="73024" cy="79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7126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30</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op alfabet [3/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extLst>
              <p:ext uri="{D42A27DB-BD31-4B8C-83A1-F6EECF244321}">
                <p14:modId xmlns:p14="http://schemas.microsoft.com/office/powerpoint/2010/main" val="2682564372"/>
              </p:ext>
            </p:extLst>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andgraaf</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ands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anged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Lansing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a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eeuwa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ei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eiderdor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eidschendam-V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ely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eud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eus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inge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Liss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Loche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Loon op Z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Lop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Loss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aasdr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3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aasgouw</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extLst>
              <p:ext uri="{D42A27DB-BD31-4B8C-83A1-F6EECF244321}">
                <p14:modId xmlns:p14="http://schemas.microsoft.com/office/powerpoint/2010/main" val="617038717"/>
              </p:ext>
            </p:extLst>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aas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aastri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edembli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eers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eierij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epp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idde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idden-Delf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dden-Drenth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dden-Gronin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ill en Sint Hu</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oerd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3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Molenlan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Montf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Montf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Mook en Middel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eder-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ederwe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3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Nieuweg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ieuwkoo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extLst>
              <p:ext uri="{D42A27DB-BD31-4B8C-83A1-F6EECF244321}">
                <p14:modId xmlns:p14="http://schemas.microsoft.com/office/powerpoint/2010/main" val="3931211967"/>
              </p:ext>
            </p:extLst>
          </p:nvPr>
        </p:nvGraphicFramePr>
        <p:xfrm>
          <a:off x="6289707"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ij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ijme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isse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Noardeast-Frys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oord-Bev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oorden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Noordoostpold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3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Noord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uenen, Gerwe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Nunspee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egstge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3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Oirscho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ister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ldamb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ldebroe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ldenz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lst-Wijh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mm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 Gel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erhou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extLst>
              <p:ext uri="{D42A27DB-BD31-4B8C-83A1-F6EECF244321}">
                <p14:modId xmlns:p14="http://schemas.microsoft.com/office/powerpoint/2010/main" val="2456238722"/>
              </p:ext>
            </p:extLst>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stellingw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ostza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p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ps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rgbClr val="000000"/>
                          </a:solidFill>
                          <a:effectLst/>
                          <a:latin typeface="Corbel" panose="020B0503020204020204" pitchFamily="34" charset="0"/>
                        </a:rPr>
                        <a:t>29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Os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Oude IJsselst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uder-Amst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udewat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Over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3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Pape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Peel en Maa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Pekel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3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Pijnacker-Noot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Purmere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Put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rgbClr val="000000"/>
                          </a:solidFill>
                          <a:effectLst/>
                          <a:latin typeface="Corbel" panose="020B0503020204020204" pitchFamily="34" charset="0"/>
                        </a:rPr>
                        <a:t>2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aalt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imersw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nku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nswou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eusel-De Mie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2" name="Text Placeholder 9">
            <a:hlinkClick r:id="rId5"/>
            <a:extLst>
              <a:ext uri="{FF2B5EF4-FFF2-40B4-BE49-F238E27FC236}">
                <a16:creationId xmlns:a16="http://schemas.microsoft.com/office/drawing/2014/main" id="{7F783D2A-610C-4000-A976-919138C283E3}"/>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5" name="Graphic 14" descr="Right pointing backhand index">
            <a:hlinkClick r:id="rId5"/>
            <a:extLst>
              <a:ext uri="{FF2B5EF4-FFF2-40B4-BE49-F238E27FC236}">
                <a16:creationId xmlns:a16="http://schemas.microsoft.com/office/drawing/2014/main" id="{6F14BFC4-C560-4AD9-8C6E-67824B9A8E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5571342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31</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op alfabet [4/5]</a:t>
            </a:r>
          </a:p>
        </p:txBody>
      </p:sp>
      <p:graphicFrame>
        <p:nvGraphicFramePr>
          <p:cNvPr id="14" name="Table 15">
            <a:extLst>
              <a:ext uri="{FF2B5EF4-FFF2-40B4-BE49-F238E27FC236}">
                <a16:creationId xmlns:a16="http://schemas.microsoft.com/office/drawing/2014/main" id="{5E1FB6A6-AD7A-4D47-9C96-042E3E08380D}"/>
              </a:ext>
            </a:extLst>
          </p:cNvPr>
          <p:cNvGraphicFramePr>
            <a:graphicFrameLocks noGrp="1"/>
          </p:cNvGraphicFramePr>
          <p:nvPr>
            <p:extLst>
              <p:ext uri="{D42A27DB-BD31-4B8C-83A1-F6EECF244321}">
                <p14:modId xmlns:p14="http://schemas.microsoft.com/office/powerpoint/2010/main" val="2386938812"/>
              </p:ext>
            </p:extLst>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he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2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hen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Ridderke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rgbClr val="000000"/>
                          </a:solidFill>
                          <a:effectLst/>
                          <a:latin typeface="Corbel" panose="020B0503020204020204" pitchFamily="34" charset="0"/>
                        </a:rPr>
                        <a:t>2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ijssen-Hol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ijs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Roerda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oermo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De Ronde Ven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oos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Rotter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Roz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rgbClr val="000000"/>
                          </a:solidFill>
                          <a:effectLst/>
                          <a:latin typeface="Corbel" panose="020B0503020204020204" pitchFamily="34" charset="0"/>
                        </a:rPr>
                        <a:t>2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Rucp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cha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rgbClr val="000000"/>
                          </a:solidFill>
                          <a:effectLst/>
                          <a:latin typeface="Corbel" panose="020B0503020204020204" pitchFamily="34" charset="0"/>
                        </a:rPr>
                        <a:t>2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cherpenze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29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chie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chiermonnikoo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chouwen-Duiv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2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impel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int Anthon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int-Michielsg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4" name="Table 15">
            <a:extLst>
              <a:ext uri="{FF2B5EF4-FFF2-40B4-BE49-F238E27FC236}">
                <a16:creationId xmlns:a16="http://schemas.microsoft.com/office/drawing/2014/main" id="{ACDBA72A-6132-4424-88C4-7458388A173D}"/>
              </a:ext>
            </a:extLst>
          </p:cNvPr>
          <p:cNvGraphicFramePr>
            <a:graphicFrameLocks noGrp="1"/>
          </p:cNvGraphicFramePr>
          <p:nvPr>
            <p:extLst>
              <p:ext uri="{D42A27DB-BD31-4B8C-83A1-F6EECF244321}">
                <p14:modId xmlns:p14="http://schemas.microsoft.com/office/powerpoint/2010/main" val="1803101047"/>
              </p:ext>
            </p:extLst>
          </p:nvPr>
        </p:nvGraphicFramePr>
        <p:xfrm>
          <a:off x="3472276"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ittard-Gel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rgbClr val="000000"/>
                          </a:solidFill>
                          <a:effectLst/>
                          <a:latin typeface="Corbel" panose="020B0503020204020204" pitchFamily="34" charset="0"/>
                        </a:rPr>
                        <a:t>3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Slie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lui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7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malling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o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o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on en Breug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Stadskan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taph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de Broec</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3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Steen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enwijk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Stei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tichtse V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Súdwest-Fryslâ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Terneuz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Terschellin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Tex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eyl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hol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5" name="Table 15">
            <a:extLst>
              <a:ext uri="{FF2B5EF4-FFF2-40B4-BE49-F238E27FC236}">
                <a16:creationId xmlns:a16="http://schemas.microsoft.com/office/drawing/2014/main" id="{B69EBF30-9C53-444C-84A0-55EBF5B5BA56}"/>
              </a:ext>
            </a:extLst>
          </p:cNvPr>
          <p:cNvGraphicFramePr>
            <a:graphicFrameLocks noGrp="1"/>
          </p:cNvGraphicFramePr>
          <p:nvPr>
            <p:extLst>
              <p:ext uri="{D42A27DB-BD31-4B8C-83A1-F6EECF244321}">
                <p14:modId xmlns:p14="http://schemas.microsoft.com/office/powerpoint/2010/main" val="2357758500"/>
              </p:ext>
            </p:extLst>
          </p:nvPr>
        </p:nvGraphicFramePr>
        <p:xfrm>
          <a:off x="6289707"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i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ilbu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ubber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Twenter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Tynaar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rgbClr val="000000"/>
                          </a:solidFill>
                          <a:effectLst/>
                          <a:latin typeface="Corbel" panose="020B0503020204020204" pitchFamily="34" charset="0"/>
                        </a:rPr>
                        <a:t>2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Tytsjerksteradi</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rgbClr val="000000"/>
                          </a:solidFill>
                          <a:effectLst/>
                          <a:latin typeface="Corbel" panose="020B0503020204020204" pitchFamily="34" charset="0"/>
                        </a:rPr>
                        <a:t>2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itgee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Uithoor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a:solidFill>
                            <a:srgbClr val="000000"/>
                          </a:solidFill>
                          <a:effectLst/>
                          <a:latin typeface="Corbel" panose="020B0503020204020204" pitchFamily="34" charset="0"/>
                        </a:rPr>
                        <a:t>Ur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8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Ut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Utrechtse Heuv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2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aal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alkenburg aa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rgbClr val="000000"/>
                          </a:solidFill>
                          <a:effectLst/>
                          <a:latin typeface="Corbel" panose="020B0503020204020204" pitchFamily="34" charset="0"/>
                        </a:rPr>
                        <a:t>3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Valkenswaar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eenda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6,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rgbClr val="000000"/>
                          </a:solidFill>
                          <a:effectLst/>
                          <a:latin typeface="Corbel" panose="020B0503020204020204" pitchFamily="34" charset="0"/>
                        </a:rPr>
                        <a:t>2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een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ee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eldhov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6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els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2BD03AEA-58B9-48D2-B42F-920D7CCB2494}"/>
              </a:ext>
            </a:extLst>
          </p:cNvPr>
          <p:cNvGraphicFramePr>
            <a:graphicFrameLocks noGrp="1"/>
          </p:cNvGraphicFramePr>
          <p:nvPr>
            <p:extLst>
              <p:ext uri="{D42A27DB-BD31-4B8C-83A1-F6EECF244321}">
                <p14:modId xmlns:p14="http://schemas.microsoft.com/office/powerpoint/2010/main" val="377755247"/>
              </p:ext>
            </p:extLst>
          </p:nvPr>
        </p:nvGraphicFramePr>
        <p:xfrm>
          <a:off x="9099201"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enlo</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enray</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2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ijfheerenlan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laard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Vlie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Vliss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rgbClr val="000000"/>
                          </a:solidFill>
                          <a:effectLst/>
                          <a:latin typeface="Corbel" panose="020B0503020204020204" pitchFamily="34" charset="0"/>
                        </a:rPr>
                        <a:t>2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oerendaa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Voorschot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rgbClr val="000000"/>
                          </a:solidFill>
                          <a:effectLst/>
                          <a:latin typeface="Corbel" panose="020B0503020204020204" pitchFamily="34" charset="0"/>
                        </a:rPr>
                        <a:t>2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oo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rgbClr val="000000"/>
                          </a:solidFill>
                          <a:effectLst/>
                          <a:latin typeface="Corbel" panose="020B0503020204020204" pitchFamily="34" charset="0"/>
                        </a:rPr>
                        <a:t>27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Vug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rgbClr val="000000"/>
                          </a:solidFill>
                          <a:effectLst/>
                          <a:latin typeface="Corbel" panose="020B0503020204020204" pitchFamily="34" charset="0"/>
                        </a:rPr>
                        <a:t>2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Waadhoek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alr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aal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ddinxve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gening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assen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a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rgbClr val="000000"/>
                          </a:solidFill>
                          <a:effectLst/>
                          <a:latin typeface="Corbel" panose="020B0503020204020204" pitchFamily="34" charset="0"/>
                        </a:rPr>
                        <a:t>3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We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a:solidFill>
                            <a:srgbClr val="000000"/>
                          </a:solidFill>
                          <a:effectLst/>
                          <a:latin typeface="Corbel" panose="020B0503020204020204" pitchFamily="34" charset="0"/>
                        </a:rPr>
                        <a:t>Weesp</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 Betuw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4,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2" name="Text Placeholder 9">
            <a:hlinkClick r:id="rId5"/>
            <a:extLst>
              <a:ext uri="{FF2B5EF4-FFF2-40B4-BE49-F238E27FC236}">
                <a16:creationId xmlns:a16="http://schemas.microsoft.com/office/drawing/2014/main" id="{270DF040-40BF-4462-8D16-ECC2A17C0274}"/>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5" name="Graphic 14" descr="Right pointing backhand index">
            <a:hlinkClick r:id="rId5"/>
            <a:extLst>
              <a:ext uri="{FF2B5EF4-FFF2-40B4-BE49-F238E27FC236}">
                <a16:creationId xmlns:a16="http://schemas.microsoft.com/office/drawing/2014/main" id="{96B5800C-26C3-4C11-A064-60930798C8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699516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F9A97E-23E4-440D-A3FE-C674CE1F8D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1CF9A97E-23E4-440D-A3FE-C674CE1F8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E4D53E97-509E-4D4D-8BDC-893A825FCB8C}"/>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9A7CFE3A-2AE8-4EEA-B013-0AB96CA9ED49}"/>
              </a:ext>
            </a:extLst>
          </p:cNvPr>
          <p:cNvSpPr>
            <a:spLocks noGrp="1"/>
          </p:cNvSpPr>
          <p:nvPr>
            <p:ph type="ftr" sz="quarter" idx="3"/>
          </p:nvPr>
        </p:nvSpPr>
        <p:spPr/>
        <p:txBody>
          <a:bodyPr/>
          <a:lstStyle/>
          <a:p>
            <a:r>
              <a:rPr lang="nl-NL" noProof="0" dirty="0"/>
              <a:t>Bron: </a:t>
            </a:r>
          </a:p>
        </p:txBody>
      </p:sp>
      <p:sp>
        <p:nvSpPr>
          <p:cNvPr id="5" name="Slide Number Placeholder 4">
            <a:extLst>
              <a:ext uri="{FF2B5EF4-FFF2-40B4-BE49-F238E27FC236}">
                <a16:creationId xmlns:a16="http://schemas.microsoft.com/office/drawing/2014/main" id="{B831CEC3-90C9-4616-B6C4-C7D49C4CA122}"/>
              </a:ext>
            </a:extLst>
          </p:cNvPr>
          <p:cNvSpPr>
            <a:spLocks noGrp="1"/>
          </p:cNvSpPr>
          <p:nvPr>
            <p:ph type="sldNum" sz="quarter" idx="12"/>
          </p:nvPr>
        </p:nvSpPr>
        <p:spPr/>
        <p:txBody>
          <a:bodyPr/>
          <a:lstStyle/>
          <a:p>
            <a:fld id="{992CD0B2-8AB2-4C6C-8876-E15753662C9B}" type="slidenum">
              <a:rPr lang="nl-NL" noProof="0" smtClean="0"/>
              <a:pPr/>
              <a:t>32</a:t>
            </a:fld>
            <a:endParaRPr lang="nl-NL" noProof="0" dirty="0"/>
          </a:p>
        </p:txBody>
      </p:sp>
      <p:sp>
        <p:nvSpPr>
          <p:cNvPr id="6" name="Text Placeholder 5">
            <a:extLst>
              <a:ext uri="{FF2B5EF4-FFF2-40B4-BE49-F238E27FC236}">
                <a16:creationId xmlns:a16="http://schemas.microsoft.com/office/drawing/2014/main" id="{DCC61237-A09F-452A-84A2-24169D4E19D1}"/>
              </a:ext>
            </a:extLst>
          </p:cNvPr>
          <p:cNvSpPr>
            <a:spLocks noGrp="1"/>
          </p:cNvSpPr>
          <p:nvPr>
            <p:ph type="body" sz="quarter" idx="14"/>
          </p:nvPr>
        </p:nvSpPr>
        <p:spPr>
          <a:xfrm>
            <a:off x="662780" y="1203211"/>
            <a:ext cx="10866440" cy="388800"/>
          </a:xfrm>
        </p:spPr>
        <p:txBody>
          <a:bodyPr/>
          <a:lstStyle/>
          <a:p>
            <a:r>
              <a:rPr lang="nl-NL" dirty="0"/>
              <a:t>2019</a:t>
            </a:r>
          </a:p>
        </p:txBody>
      </p:sp>
      <p:sp>
        <p:nvSpPr>
          <p:cNvPr id="7" name="Title 6">
            <a:extLst>
              <a:ext uri="{FF2B5EF4-FFF2-40B4-BE49-F238E27FC236}">
                <a16:creationId xmlns:a16="http://schemas.microsoft.com/office/drawing/2014/main" id="{C6B2174E-C6F5-405D-BD1A-76F64236F33A}"/>
              </a:ext>
            </a:extLst>
          </p:cNvPr>
          <p:cNvSpPr>
            <a:spLocks noGrp="1"/>
          </p:cNvSpPr>
          <p:nvPr>
            <p:ph type="title"/>
          </p:nvPr>
        </p:nvSpPr>
        <p:spPr/>
        <p:txBody>
          <a:bodyPr vert="horz"/>
          <a:lstStyle/>
          <a:p>
            <a:r>
              <a:rPr lang="nl-NL" dirty="0"/>
              <a:t>Procentueel tekort per gemeente van groot naar klein [5/5]</a:t>
            </a:r>
          </a:p>
        </p:txBody>
      </p:sp>
      <p:graphicFrame>
        <p:nvGraphicFramePr>
          <p:cNvPr id="9" name="Table 15">
            <a:extLst>
              <a:ext uri="{FF2B5EF4-FFF2-40B4-BE49-F238E27FC236}">
                <a16:creationId xmlns:a16="http://schemas.microsoft.com/office/drawing/2014/main" id="{A539D064-9BC4-429E-978E-F5768DECAB7A}"/>
              </a:ext>
            </a:extLst>
          </p:cNvPr>
          <p:cNvGraphicFramePr>
            <a:graphicFrameLocks noGrp="1"/>
          </p:cNvGraphicFramePr>
          <p:nvPr>
            <p:extLst>
              <p:ext uri="{D42A27DB-BD31-4B8C-83A1-F6EECF244321}">
                <p14:modId xmlns:p14="http://schemas.microsoft.com/office/powerpoint/2010/main" val="2508469207"/>
              </p:ext>
            </p:extLst>
          </p:nvPr>
        </p:nvGraphicFramePr>
        <p:xfrm>
          <a:off x="3456256" y="1710507"/>
          <a:ext cx="2430019" cy="2906844"/>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7388">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15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andv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1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eewol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1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ei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7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Zevenaa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7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Zoeterme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3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ctr"/>
                      <a:r>
                        <a:rPr lang="nl-NL" sz="1000" b="0" i="0" u="none" strike="noStrike">
                          <a:solidFill>
                            <a:srgbClr val="000000"/>
                          </a:solidFill>
                          <a:effectLst/>
                          <a:latin typeface="Corbel" panose="020B0503020204020204" pitchFamily="34" charset="0"/>
                        </a:rPr>
                        <a:t>Zoeterwou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34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ctr"/>
                      <a:r>
                        <a:rPr lang="nl-NL" sz="1000" b="0" i="0" u="none" strike="noStrike">
                          <a:solidFill>
                            <a:srgbClr val="000000"/>
                          </a:solidFill>
                          <a:effectLst/>
                          <a:latin typeface="Corbel" panose="020B0503020204020204" pitchFamily="34" charset="0"/>
                        </a:rPr>
                        <a:t>Zuidpla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2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unde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1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Zutp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5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Zwartewat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837">
                <a:tc>
                  <a:txBody>
                    <a:bodyPr/>
                    <a:lstStyle/>
                    <a:p>
                      <a:pPr algn="ctr" fontAlgn="ctr"/>
                      <a:r>
                        <a:rPr lang="nl-NL" sz="1100" b="0" i="0" u="none" strike="noStrike" dirty="0">
                          <a:solidFill>
                            <a:srgbClr val="000000"/>
                          </a:solidFill>
                          <a:effectLst/>
                          <a:latin typeface="Corbel" panose="020B0503020204020204" pitchFamily="34" charset="0"/>
                        </a:rPr>
                        <a:t>30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Zwijn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837">
                <a:tc>
                  <a:txBody>
                    <a:bodyPr/>
                    <a:lstStyle/>
                    <a:p>
                      <a:pPr algn="ctr" fontAlgn="ctr"/>
                      <a:r>
                        <a:rPr lang="nl-NL" sz="1100" b="0" i="0" u="none" strike="noStrike" dirty="0">
                          <a:solidFill>
                            <a:schemeClr val="accent6"/>
                          </a:solidFill>
                          <a:effectLst/>
                          <a:latin typeface="Corbel" panose="020B0503020204020204" pitchFamily="34" charset="0"/>
                        </a:rPr>
                        <a:t>17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Zwoll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bl>
          </a:graphicData>
        </a:graphic>
      </p:graphicFrame>
      <p:graphicFrame>
        <p:nvGraphicFramePr>
          <p:cNvPr id="11" name="Table 15">
            <a:extLst>
              <a:ext uri="{FF2B5EF4-FFF2-40B4-BE49-F238E27FC236}">
                <a16:creationId xmlns:a16="http://schemas.microsoft.com/office/drawing/2014/main" id="{FA2AE3B4-7E4A-481B-97B2-B68B574F2B2C}"/>
              </a:ext>
            </a:extLst>
          </p:cNvPr>
          <p:cNvGraphicFramePr>
            <a:graphicFrameLocks noGrp="1"/>
          </p:cNvGraphicFramePr>
          <p:nvPr>
            <p:extLst>
              <p:ext uri="{D42A27DB-BD31-4B8C-83A1-F6EECF244321}">
                <p14:modId xmlns:p14="http://schemas.microsoft.com/office/powerpoint/2010/main" val="353511719"/>
              </p:ext>
            </p:extLst>
          </p:nvPr>
        </p:nvGraphicFramePr>
        <p:xfrm>
          <a:off x="658813" y="1710507"/>
          <a:ext cx="2430019" cy="46028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1080000">
                  <a:extLst>
                    <a:ext uri="{9D8B030D-6E8A-4147-A177-3AD203B41FA5}">
                      <a16:colId xmlns:a16="http://schemas.microsoft.com/office/drawing/2014/main" val="2639174703"/>
                    </a:ext>
                  </a:extLst>
                </a:gridCol>
                <a:gridCol w="582217">
                  <a:extLst>
                    <a:ext uri="{9D8B030D-6E8A-4147-A177-3AD203B41FA5}">
                      <a16:colId xmlns:a16="http://schemas.microsoft.com/office/drawing/2014/main" val="1189516012"/>
                    </a:ext>
                  </a:extLst>
                </a:gridCol>
                <a:gridCol w="494202">
                  <a:extLst>
                    <a:ext uri="{9D8B030D-6E8A-4147-A177-3AD203B41FA5}">
                      <a16:colId xmlns:a16="http://schemas.microsoft.com/office/drawing/2014/main" val="3619418630"/>
                    </a:ext>
                  </a:extLst>
                </a:gridCol>
              </a:tblGrid>
              <a:tr h="336224">
                <a:tc gridSpan="2">
                  <a:txBody>
                    <a:bodyPr/>
                    <a:lstStyle/>
                    <a:p>
                      <a:pPr algn="l" fontAlgn="b"/>
                      <a:endParaRPr lang="nl-NL" sz="1000" b="1" i="0" u="none" strike="noStrike" dirty="0">
                        <a:solidFill>
                          <a:schemeClr val="bg1"/>
                        </a:solidFill>
                        <a:effectLst/>
                        <a:latin typeface="+mj-lt"/>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1" i="0" u="none" strike="noStrike" dirty="0">
                          <a:solidFill>
                            <a:srgbClr val="FFFFFF"/>
                          </a:solidFill>
                          <a:effectLst/>
                          <a:latin typeface="+mj-lt"/>
                        </a:rPr>
                        <a:t>% t.o.v. budge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1" i="0" u="none" strike="noStrike" kern="1200" dirty="0">
                          <a:solidFill>
                            <a:srgbClr val="FFFFFF"/>
                          </a:solidFill>
                          <a:effectLst/>
                          <a:latin typeface="+mn-lt"/>
                          <a:ea typeface="+mn-ea"/>
                          <a:cs typeface="+mn-cs"/>
                        </a:rPr>
                        <a:t>€ </a:t>
                      </a:r>
                      <a:r>
                        <a:rPr lang="nl-NL" sz="1000" b="1" i="0" u="none" strike="noStrike" kern="1200" dirty="0" err="1">
                          <a:solidFill>
                            <a:srgbClr val="FFFFFF"/>
                          </a:solidFill>
                          <a:effectLst/>
                          <a:latin typeface="+mn-lt"/>
                          <a:ea typeface="+mn-ea"/>
                          <a:cs typeface="+mn-cs"/>
                        </a:rPr>
                        <a:t>mln</a:t>
                      </a:r>
                      <a:endParaRPr lang="nl-NL" sz="1000" b="1" i="0" u="none" strike="noStrike" kern="1200" dirty="0">
                        <a:solidFill>
                          <a:srgbClr val="FFFFFF"/>
                        </a:solidFill>
                        <a:effectLst/>
                        <a:latin typeface="+mn-lt"/>
                        <a:ea typeface="+mn-ea"/>
                        <a:cs typeface="+mn-cs"/>
                      </a:endParaRPr>
                    </a:p>
                  </a:txBody>
                  <a:tcPr marL="36000" marR="36000" marT="36000" marB="36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36769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6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 Maas en W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4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esterkwarti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213100">
                <a:tc>
                  <a:txBody>
                    <a:bodyPr/>
                    <a:lstStyle/>
                    <a:p>
                      <a:pPr algn="ctr" fontAlgn="ctr"/>
                      <a:r>
                        <a:rPr lang="nl-NL" sz="1100" b="0" i="0" u="none" strike="noStrike" dirty="0">
                          <a:solidFill>
                            <a:srgbClr val="000000"/>
                          </a:solidFill>
                          <a:effectLst/>
                          <a:latin typeface="Corbel" panose="020B0503020204020204" pitchFamily="34" charset="0"/>
                        </a:rPr>
                        <a:t>3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ctr"/>
                      <a:r>
                        <a:rPr lang="nl-NL" sz="1000" b="0" i="0" u="none" strike="noStrike">
                          <a:solidFill>
                            <a:srgbClr val="000000"/>
                          </a:solidFill>
                          <a:effectLst/>
                          <a:latin typeface="Corbel" panose="020B0503020204020204" pitchFamily="34" charset="0"/>
                        </a:rPr>
                        <a:t>Westervel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8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ervoor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esterwold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5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stellingwer</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estvoorn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8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ie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ijch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5,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5</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ijdemer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6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20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a:solidFill>
                            <a:srgbClr val="000000"/>
                          </a:solidFill>
                          <a:effectLst/>
                          <a:latin typeface="Corbel" panose="020B0503020204020204" pitchFamily="34" charset="0"/>
                        </a:rPr>
                        <a:t>Wijk bij Duurs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213100">
                <a:tc>
                  <a:txBody>
                    <a:bodyPr/>
                    <a:lstStyle/>
                    <a:p>
                      <a:pPr algn="ctr" fontAlgn="ctr"/>
                      <a:r>
                        <a:rPr lang="nl-NL" sz="1100" b="0" i="0" u="none" strike="noStrike" dirty="0">
                          <a:solidFill>
                            <a:srgbClr val="000000"/>
                          </a:solidFill>
                          <a:effectLst/>
                          <a:latin typeface="Corbel" panose="020B0503020204020204" pitchFamily="34" charset="0"/>
                        </a:rPr>
                        <a:t>30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Winterswijk</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ctr"/>
                      <a:r>
                        <a:rPr lang="nl-NL" sz="1000" b="0" i="0" u="none" strike="noStrike">
                          <a:solidFill>
                            <a:srgbClr val="000000"/>
                          </a:solidFill>
                          <a:effectLst/>
                          <a:latin typeface="Corbel" panose="020B0503020204020204" pitchFamily="34" charset="0"/>
                        </a:rPr>
                        <a:t>Woensdrecht</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2,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7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Woer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3,3</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2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De Wolde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4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7</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9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Wormerlan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0,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213100">
                <a:tc>
                  <a:txBody>
                    <a:bodyPr/>
                    <a:lstStyle/>
                    <a:p>
                      <a:pPr algn="ctr" fontAlgn="ctr"/>
                      <a:r>
                        <a:rPr lang="nl-NL" sz="1100" b="0" i="0" u="none" strike="noStrike" dirty="0">
                          <a:solidFill>
                            <a:schemeClr val="accent6"/>
                          </a:solidFill>
                          <a:effectLst/>
                          <a:latin typeface="Corbel" panose="020B0503020204020204" pitchFamily="34" charset="0"/>
                        </a:rPr>
                        <a:t>15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ctr"/>
                      <a:r>
                        <a:rPr lang="nl-NL" sz="1000" b="0" i="0" u="none" strike="noStrike" dirty="0">
                          <a:solidFill>
                            <a:srgbClr val="000000"/>
                          </a:solidFill>
                          <a:effectLst/>
                          <a:latin typeface="Corbel" panose="020B0503020204020204" pitchFamily="34" charset="0"/>
                        </a:rPr>
                        <a:t>Woudenberg</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3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1,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213100">
                <a:tc>
                  <a:txBody>
                    <a:bodyPr/>
                    <a:lstStyle/>
                    <a:p>
                      <a:pPr algn="ctr" fontAlgn="ctr"/>
                      <a:r>
                        <a:rPr lang="nl-NL" sz="1100" b="0" i="0" u="none" strike="noStrike" dirty="0">
                          <a:solidFill>
                            <a:srgbClr val="000000"/>
                          </a:solidFill>
                          <a:effectLst/>
                          <a:latin typeface="Corbel" panose="020B0503020204020204" pitchFamily="34" charset="0"/>
                        </a:rPr>
                        <a:t>29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Zaansta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16%</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a:solidFill>
                            <a:srgbClr val="000000"/>
                          </a:solidFill>
                          <a:effectLst/>
                          <a:latin typeface="Corbel" panose="020B0503020204020204" pitchFamily="34" charset="0"/>
                        </a:rPr>
                        <a:t>7,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213100">
                <a:tc>
                  <a:txBody>
                    <a:bodyPr/>
                    <a:lstStyle/>
                    <a:p>
                      <a:pPr algn="ctr" fontAlgn="ctr"/>
                      <a:r>
                        <a:rPr lang="nl-NL" sz="1100" b="0" i="0" u="none" strike="noStrike" dirty="0">
                          <a:solidFill>
                            <a:srgbClr val="000000"/>
                          </a:solidFill>
                          <a:effectLst/>
                          <a:latin typeface="Corbel" panose="020B0503020204020204" pitchFamily="34" charset="0"/>
                        </a:rPr>
                        <a:t>268</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ctr"/>
                      <a:r>
                        <a:rPr lang="nl-NL" sz="1000" b="0" i="0" u="none" strike="noStrike" dirty="0">
                          <a:solidFill>
                            <a:srgbClr val="000000"/>
                          </a:solidFill>
                          <a:effectLst/>
                          <a:latin typeface="Corbel" panose="020B0503020204020204" pitchFamily="34" charset="0"/>
                        </a:rPr>
                        <a:t>Zaltbommel</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ctr"/>
                      <a:r>
                        <a:rPr lang="nl-NL" sz="1000" b="0" i="0" u="none" strike="noStrike">
                          <a:solidFill>
                            <a:srgbClr val="000000"/>
                          </a:solidFill>
                          <a:effectLst/>
                          <a:latin typeface="Corbel" panose="020B0503020204020204" pitchFamily="34" charset="0"/>
                        </a:rPr>
                        <a:t>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ctr"/>
                      <a:r>
                        <a:rPr lang="nl-NL" sz="1000" b="0" i="0" u="none" strike="noStrike" dirty="0">
                          <a:solidFill>
                            <a:srgbClr val="000000"/>
                          </a:solidFill>
                          <a:effectLst/>
                          <a:latin typeface="Corbel" panose="020B0503020204020204" pitchFamily="34" charset="0"/>
                        </a:rPr>
                        <a:t>1,4</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10" name="Text Placeholder 9">
            <a:hlinkClick r:id="rId5"/>
            <a:extLst>
              <a:ext uri="{FF2B5EF4-FFF2-40B4-BE49-F238E27FC236}">
                <a16:creationId xmlns:a16="http://schemas.microsoft.com/office/drawing/2014/main" id="{262B6DE4-9D49-4036-BA1D-DB2152387771}"/>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cel-bestand met alle details</a:t>
            </a:r>
          </a:p>
        </p:txBody>
      </p:sp>
      <p:pic>
        <p:nvPicPr>
          <p:cNvPr id="12" name="Graphic 11" descr="Right pointing backhand index">
            <a:hlinkClick r:id="rId5"/>
            <a:extLst>
              <a:ext uri="{FF2B5EF4-FFF2-40B4-BE49-F238E27FC236}">
                <a16:creationId xmlns:a16="http://schemas.microsoft.com/office/drawing/2014/main" id="{3A354C89-A3A3-460C-AE42-C6C9F8F7A8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536175" y="128659"/>
            <a:ext cx="482600" cy="482600"/>
          </a:xfrm>
          <a:prstGeom prst="rect">
            <a:avLst/>
          </a:prstGeom>
        </p:spPr>
      </p:pic>
    </p:spTree>
    <p:extLst>
      <p:ext uri="{BB962C8B-B14F-4D97-AF65-F5344CB8AC3E}">
        <p14:creationId xmlns:p14="http://schemas.microsoft.com/office/powerpoint/2010/main" val="17257661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BA1877FE-EBF6-4AD1-B70B-088BAAEAD6FD}"/>
              </a:ext>
            </a:extLst>
          </p:cNvPr>
          <p:cNvPicPr>
            <a:picLocks noChangeAspect="1"/>
          </p:cNvPicPr>
          <p:nvPr/>
        </p:nvPicPr>
        <p:blipFill>
          <a:blip r:embed="rId6"/>
          <a:srcRect t="8756" b="8756"/>
          <a:stretch/>
        </p:blipFill>
        <p:spPr>
          <a:xfrm>
            <a:off x="163806" y="166778"/>
            <a:ext cx="11864388" cy="6524444"/>
          </a:xfrm>
          <a:prstGeom prst="roundRect">
            <a:avLst>
              <a:gd name="adj" fmla="val 2247"/>
            </a:avLst>
          </a:prstGeom>
        </p:spPr>
      </p:pic>
      <p:sp>
        <p:nvSpPr>
          <p:cNvPr id="3" name="Rectangle: Rounded Corners 2">
            <a:extLst>
              <a:ext uri="{FF2B5EF4-FFF2-40B4-BE49-F238E27FC236}">
                <a16:creationId xmlns:a16="http://schemas.microsoft.com/office/drawing/2014/main" id="{F742646D-2898-4D66-9983-5C934BDB676D}"/>
              </a:ext>
            </a:extLst>
          </p:cNvPr>
          <p:cNvSpPr/>
          <p:nvPr/>
        </p:nvSpPr>
        <p:spPr>
          <a:xfrm>
            <a:off x="1368284" y="847010"/>
            <a:ext cx="8100000" cy="5211192"/>
          </a:xfrm>
          <a:prstGeom prst="roundRect">
            <a:avLst>
              <a:gd name="adj" fmla="val 2527"/>
            </a:avLst>
          </a:prstGeom>
          <a:solidFill>
            <a:srgbClr val="22777B">
              <a:alpha val="90000"/>
            </a:srgb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sym typeface="Corbel" panose="020B0503020204020204" pitchFamily="34" charset="0"/>
            </a:endParaRPr>
          </a:p>
        </p:txBody>
      </p:sp>
      <p:sp>
        <p:nvSpPr>
          <p:cNvPr id="25" name="Text Placeholder 5">
            <a:extLst>
              <a:ext uri="{FF2B5EF4-FFF2-40B4-BE49-F238E27FC236}">
                <a16:creationId xmlns:a16="http://schemas.microsoft.com/office/drawing/2014/main" id="{60F09069-F494-45CA-8ACC-7993822D5D5C}"/>
              </a:ext>
            </a:extLst>
          </p:cNvPr>
          <p:cNvSpPr txBox="1">
            <a:spLocks/>
          </p:cNvSpPr>
          <p:nvPr/>
        </p:nvSpPr>
        <p:spPr>
          <a:xfrm>
            <a:off x="1761234" y="109902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solidFill>
                  <a:srgbClr val="FFFFFF"/>
                </a:solidFill>
                <a:ea typeface="+mj-ea"/>
                <a:cs typeface="+mj-cs"/>
                <a:sym typeface="Corbel" panose="020B0503020204020204" pitchFamily="34" charset="0"/>
              </a:rPr>
              <a:t>Inhoudsopgave</a:t>
            </a:r>
          </a:p>
        </p:txBody>
      </p:sp>
      <p:sp>
        <p:nvSpPr>
          <p:cNvPr id="15" name="Text Placeholder 5">
            <a:hlinkClick r:id="rId7" action="ppaction://hlinksldjump"/>
            <a:extLst>
              <a:ext uri="{FF2B5EF4-FFF2-40B4-BE49-F238E27FC236}">
                <a16:creationId xmlns:a16="http://schemas.microsoft.com/office/drawing/2014/main" id="{27A7D1D1-9414-4C0E-A4AB-56DC2F9D71B2}"/>
              </a:ext>
            </a:extLst>
          </p:cNvPr>
          <p:cNvSpPr txBox="1">
            <a:spLocks/>
          </p:cNvSpPr>
          <p:nvPr/>
        </p:nvSpPr>
        <p:spPr>
          <a:xfrm>
            <a:off x="2341436" y="2980259"/>
            <a:ext cx="6827730"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lang="nl-NL" b="1" dirty="0">
                <a:solidFill>
                  <a:prstClr val="white"/>
                </a:solidFill>
              </a:rPr>
              <a:t>Discussie: kunnen verschillen verminderd worden?</a:t>
            </a:r>
            <a:endPar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8" name="Text Placeholder 5">
            <a:hlinkClick r:id="rId8" action="ppaction://hlinksldjump"/>
            <a:extLst>
              <a:ext uri="{FF2B5EF4-FFF2-40B4-BE49-F238E27FC236}">
                <a16:creationId xmlns:a16="http://schemas.microsoft.com/office/drawing/2014/main" id="{89627B0B-D74C-4D81-8835-63BF96A30A7F}"/>
              </a:ext>
            </a:extLst>
          </p:cNvPr>
          <p:cNvSpPr txBox="1">
            <a:spLocks/>
          </p:cNvSpPr>
          <p:nvPr/>
        </p:nvSpPr>
        <p:spPr>
          <a:xfrm>
            <a:off x="2341435" y="3705445"/>
            <a:ext cx="5587221" cy="526393"/>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n</a:t>
            </a:r>
          </a:p>
        </p:txBody>
      </p:sp>
      <p:sp>
        <p:nvSpPr>
          <p:cNvPr id="19" name="Text Placeholder 5">
            <a:hlinkClick r:id="rId9" action="ppaction://hlinksldjump"/>
            <a:extLst>
              <a:ext uri="{FF2B5EF4-FFF2-40B4-BE49-F238E27FC236}">
                <a16:creationId xmlns:a16="http://schemas.microsoft.com/office/drawing/2014/main" id="{B619F41A-41DE-4607-88E1-96C86BFFAD73}"/>
              </a:ext>
            </a:extLst>
          </p:cNvPr>
          <p:cNvSpPr txBox="1">
            <a:spLocks/>
          </p:cNvSpPr>
          <p:nvPr/>
        </p:nvSpPr>
        <p:spPr>
          <a:xfrm>
            <a:off x="2341436" y="225507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Resultaten benchmark</a:t>
            </a:r>
          </a:p>
        </p:txBody>
      </p:sp>
      <p:sp>
        <p:nvSpPr>
          <p:cNvPr id="20" name="Text Placeholder 5">
            <a:hlinkClick r:id="rId10" action="ppaction://hlinksldjump"/>
            <a:extLst>
              <a:ext uri="{FF2B5EF4-FFF2-40B4-BE49-F238E27FC236}">
                <a16:creationId xmlns:a16="http://schemas.microsoft.com/office/drawing/2014/main" id="{3E88DEBD-5861-446F-96F9-BB9F4B788B85}"/>
              </a:ext>
            </a:extLst>
          </p:cNvPr>
          <p:cNvSpPr txBox="1">
            <a:spLocks/>
          </p:cNvSpPr>
          <p:nvPr/>
        </p:nvSpPr>
        <p:spPr>
          <a:xfrm>
            <a:off x="2682135" y="460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2: extra uitleg methodologie en achtergrond</a:t>
            </a:r>
          </a:p>
        </p:txBody>
      </p:sp>
      <p:sp>
        <p:nvSpPr>
          <p:cNvPr id="21" name="Text Placeholder 5">
            <a:hlinkClick r:id="rId8" action="ppaction://hlinksldjump"/>
            <a:extLst>
              <a:ext uri="{FF2B5EF4-FFF2-40B4-BE49-F238E27FC236}">
                <a16:creationId xmlns:a16="http://schemas.microsoft.com/office/drawing/2014/main" id="{C020A4FC-7356-42CA-842D-1EE6094EDC82}"/>
              </a:ext>
            </a:extLst>
          </p:cNvPr>
          <p:cNvSpPr txBox="1">
            <a:spLocks/>
          </p:cNvSpPr>
          <p:nvPr/>
        </p:nvSpPr>
        <p:spPr>
          <a:xfrm>
            <a:off x="2682135" y="424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1: tekort per gemeente (groot-klein &amp; alfabetisch)</a:t>
            </a:r>
          </a:p>
        </p:txBody>
      </p:sp>
      <p:pic>
        <p:nvPicPr>
          <p:cNvPr id="22" name="Graphic 21" descr="Arrow: Straight">
            <a:extLst>
              <a:ext uri="{FF2B5EF4-FFF2-40B4-BE49-F238E27FC236}">
                <a16:creationId xmlns:a16="http://schemas.microsoft.com/office/drawing/2014/main" id="{5A3E8722-1EC8-4DED-AF95-D8E45F68A66A}"/>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flipH="1">
            <a:off x="1838835" y="3770641"/>
            <a:ext cx="418002" cy="396000"/>
          </a:xfrm>
          <a:prstGeom prst="rect">
            <a:avLst/>
          </a:prstGeom>
        </p:spPr>
      </p:pic>
      <p:pic>
        <p:nvPicPr>
          <p:cNvPr id="23" name="Graphic 22" descr="Arrow: Straight">
            <a:extLst>
              <a:ext uri="{FF2B5EF4-FFF2-40B4-BE49-F238E27FC236}">
                <a16:creationId xmlns:a16="http://schemas.microsoft.com/office/drawing/2014/main" id="{D05E3D46-35AA-4543-ABAC-8949C7C22FD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flipH="1">
            <a:off x="2437433" y="4686027"/>
            <a:ext cx="219302" cy="207759"/>
          </a:xfrm>
          <a:prstGeom prst="rect">
            <a:avLst/>
          </a:prstGeom>
        </p:spPr>
      </p:pic>
    </p:spTree>
    <p:extLst>
      <p:ext uri="{BB962C8B-B14F-4D97-AF65-F5344CB8AC3E}">
        <p14:creationId xmlns:p14="http://schemas.microsoft.com/office/powerpoint/2010/main" val="1494318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261DE95-F6BE-4D75-A7AA-AF0609815A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3" name="Object 12" hidden="1">
                        <a:extLst>
                          <a:ext uri="{FF2B5EF4-FFF2-40B4-BE49-F238E27FC236}">
                            <a16:creationId xmlns:a16="http://schemas.microsoft.com/office/drawing/2014/main" id="{3261DE95-F6BE-4D75-A7AA-AF0609815A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78E3D856-5275-4D75-87F8-D94AC2DD269A}"/>
              </a:ext>
            </a:extLst>
          </p:cNvPr>
          <p:cNvSpPr>
            <a:spLocks noGrp="1"/>
          </p:cNvSpPr>
          <p:nvPr>
            <p:ph type="body" sz="quarter" idx="20"/>
          </p:nvPr>
        </p:nvSpPr>
        <p:spPr/>
        <p:txBody>
          <a:bodyPr/>
          <a:lstStyle/>
          <a:p>
            <a:r>
              <a:rPr lang="nl-NL" dirty="0"/>
              <a:t>Voor 2015 voerden gemeenten ook al bepaalde jeugdzorgtaken uit; door zowel aan inkomstenkant als uitgavenkant alleen te kijken naar extra inkomsten en extra uitgaven vanaf 2015 wordt een eerlijk vergelijking gemaakt</a:t>
            </a:r>
          </a:p>
          <a:p>
            <a:r>
              <a:rPr lang="nl-NL" dirty="0"/>
              <a:t>AEF heeft om totale tekort te berekenen een inschatting van extra uitgaven aan </a:t>
            </a:r>
            <a:r>
              <a:rPr lang="nl-NL" dirty="0" err="1"/>
              <a:t>voorveld</a:t>
            </a:r>
            <a:r>
              <a:rPr lang="nl-NL" dirty="0"/>
              <a:t> sinds 2015. In de weergegeven cijfers is typisch het middelpunt van deze schatting genomen. Er is aangenomen dat uitgaven aan </a:t>
            </a:r>
            <a:r>
              <a:rPr lang="nl-NL" dirty="0" err="1"/>
              <a:t>voorveld</a:t>
            </a:r>
            <a:r>
              <a:rPr lang="nl-NL" dirty="0"/>
              <a:t> niet verschillen tussen gemeenten. Mocht een gemeente meer of minder aan </a:t>
            </a:r>
            <a:r>
              <a:rPr lang="nl-NL" dirty="0" err="1"/>
              <a:t>voorveld</a:t>
            </a:r>
            <a:r>
              <a:rPr lang="nl-NL" dirty="0"/>
              <a:t> uitgeven dan Nederlands gemiddelde, dan zal dit totale tekort op Jeugd nog wel beïnvloeden. Dit is echter i.v.m. databeschikbaarheid niet goed uit te splitsen voor alle Nederlandse gemeenten</a:t>
            </a:r>
          </a:p>
        </p:txBody>
      </p:sp>
      <p:sp>
        <p:nvSpPr>
          <p:cNvPr id="9" name="Footer Placeholder 8">
            <a:extLst>
              <a:ext uri="{FF2B5EF4-FFF2-40B4-BE49-F238E27FC236}">
                <a16:creationId xmlns:a16="http://schemas.microsoft.com/office/drawing/2014/main" id="{ED649D21-202E-45BC-9981-2A9F192FBACD}"/>
              </a:ext>
            </a:extLst>
          </p:cNvPr>
          <p:cNvSpPr>
            <a:spLocks noGrp="1"/>
          </p:cNvSpPr>
          <p:nvPr>
            <p:ph type="ftr" sz="quarter" idx="3"/>
          </p:nvPr>
        </p:nvSpPr>
        <p:spPr/>
        <p:txBody>
          <a:bodyPr/>
          <a:lstStyle/>
          <a:p>
            <a:r>
              <a:rPr lang="nl-NL" noProof="0" dirty="0"/>
              <a:t>Bron: AEF-rapport ‘Stelsel in groei’ (dec 2020); Iv3-data; it’s public analyse</a:t>
            </a:r>
          </a:p>
        </p:txBody>
      </p:sp>
      <p:sp>
        <p:nvSpPr>
          <p:cNvPr id="10" name="Slide Number Placeholder 9">
            <a:extLst>
              <a:ext uri="{FF2B5EF4-FFF2-40B4-BE49-F238E27FC236}">
                <a16:creationId xmlns:a16="http://schemas.microsoft.com/office/drawing/2014/main" id="{826B53F1-7B5A-41B2-9558-4F0330F02570}"/>
              </a:ext>
            </a:extLst>
          </p:cNvPr>
          <p:cNvSpPr>
            <a:spLocks noGrp="1"/>
          </p:cNvSpPr>
          <p:nvPr>
            <p:ph type="sldNum" sz="quarter" idx="12"/>
          </p:nvPr>
        </p:nvSpPr>
        <p:spPr/>
        <p:txBody>
          <a:bodyPr/>
          <a:lstStyle/>
          <a:p>
            <a:fld id="{992CD0B2-8AB2-4C6C-8876-E15753662C9B}" type="slidenum">
              <a:rPr lang="nl-NL" noProof="0" smtClean="0"/>
              <a:pPr/>
              <a:t>34</a:t>
            </a:fld>
            <a:endParaRPr lang="nl-NL" noProof="0" dirty="0"/>
          </a:p>
        </p:txBody>
      </p:sp>
      <p:sp>
        <p:nvSpPr>
          <p:cNvPr id="12" name="Title 11">
            <a:extLst>
              <a:ext uri="{FF2B5EF4-FFF2-40B4-BE49-F238E27FC236}">
                <a16:creationId xmlns:a16="http://schemas.microsoft.com/office/drawing/2014/main" id="{F412CB4B-2276-432F-BDD3-4638279813CD}"/>
              </a:ext>
            </a:extLst>
          </p:cNvPr>
          <p:cNvSpPr>
            <a:spLocks noGrp="1"/>
          </p:cNvSpPr>
          <p:nvPr>
            <p:ph type="title"/>
          </p:nvPr>
        </p:nvSpPr>
        <p:spPr/>
        <p:txBody>
          <a:bodyPr vert="horz"/>
          <a:lstStyle/>
          <a:p>
            <a:r>
              <a:rPr lang="nl-NL" dirty="0"/>
              <a:t>Deze publicatie toont alleen verschillen in uitgaven aan maatwerkvoorzieningen (niet </a:t>
            </a:r>
            <a:r>
              <a:rPr lang="nl-NL" dirty="0" err="1"/>
              <a:t>voorveld</a:t>
            </a:r>
            <a:r>
              <a:rPr lang="nl-NL" dirty="0"/>
              <a:t> / preventie)</a:t>
            </a:r>
          </a:p>
        </p:txBody>
      </p:sp>
      <p:sp>
        <p:nvSpPr>
          <p:cNvPr id="44" name="Text Placeholder 9">
            <a:extLst>
              <a:ext uri="{FF2B5EF4-FFF2-40B4-BE49-F238E27FC236}">
                <a16:creationId xmlns:a16="http://schemas.microsoft.com/office/drawing/2014/main" id="{92D3DAA2-8518-4DBB-A9BD-FB8F2DB3F74B}"/>
              </a:ext>
            </a:extLst>
          </p:cNvPr>
          <p:cNvSpPr txBox="1">
            <a:spLocks/>
          </p:cNvSpPr>
          <p:nvPr/>
        </p:nvSpPr>
        <p:spPr>
          <a:xfrm>
            <a:off x="662780" y="1203211"/>
            <a:ext cx="10866440" cy="388800"/>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Uitleg interpretatie benchmark</a:t>
            </a:r>
          </a:p>
        </p:txBody>
      </p:sp>
      <p:sp>
        <p:nvSpPr>
          <p:cNvPr id="2" name="Rectangle: Rounded Corners 1">
            <a:extLst>
              <a:ext uri="{FF2B5EF4-FFF2-40B4-BE49-F238E27FC236}">
                <a16:creationId xmlns:a16="http://schemas.microsoft.com/office/drawing/2014/main" id="{2FA99BAE-BFF6-44D3-A2B4-664CF97A6B90}"/>
              </a:ext>
            </a:extLst>
          </p:cNvPr>
          <p:cNvSpPr/>
          <p:nvPr/>
        </p:nvSpPr>
        <p:spPr>
          <a:xfrm>
            <a:off x="1161013" y="1988124"/>
            <a:ext cx="3296688" cy="2746374"/>
          </a:xfrm>
          <a:prstGeom prst="roundRect">
            <a:avLst>
              <a:gd name="adj" fmla="val 9214"/>
            </a:avLst>
          </a:prstGeom>
          <a:solidFill>
            <a:schemeClr val="accent5"/>
          </a:solidFill>
          <a:ln>
            <a:solidFill>
              <a:schemeClr val="tx2"/>
            </a:solidFill>
          </a:ln>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indent="0" algn="ctr">
              <a:spcBef>
                <a:spcPts val="600"/>
              </a:spcBef>
              <a:buClr>
                <a:schemeClr val="tx2"/>
              </a:buClr>
              <a:buNone/>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aatwerkvoorzieningen jeugd </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br>
              <a:rPr kumimoji="0" lang="nl-NL" sz="1200" i="0" u="none" strike="noStrike" kern="1200" cap="none" spc="0" normalizeH="0" baseline="0" noProof="0" dirty="0">
                <a:ln>
                  <a:noFill/>
                </a:ln>
                <a:effectLst/>
                <a:uLnTx/>
                <a:uFillTx/>
                <a:latin typeface="Corbel" panose="020B0503020204020204" pitchFamily="34" charset="0"/>
                <a:ea typeface="+mn-ea"/>
                <a:cs typeface="+mn-cs"/>
              </a:rPr>
            </a:br>
            <a:r>
              <a:rPr kumimoji="0" lang="nl-NL" sz="1200" i="0" u="none" strike="noStrike" kern="1200" cap="none" spc="0" normalizeH="0" baseline="0" noProof="0" dirty="0">
                <a:ln>
                  <a:noFill/>
                </a:ln>
                <a:effectLst/>
                <a:uLnTx/>
                <a:uFillTx/>
                <a:latin typeface="Corbel" panose="020B0503020204020204" pitchFamily="34" charset="0"/>
                <a:ea typeface="+mn-ea"/>
                <a:cs typeface="+mn-cs"/>
              </a:rPr>
              <a:t>(ca.</a:t>
            </a:r>
            <a:r>
              <a:rPr lang="nl-NL" sz="1200" dirty="0"/>
              <a:t> 85</a:t>
            </a:r>
            <a:r>
              <a:rPr kumimoji="0" lang="nl-NL" sz="1200" i="0" u="none" strike="noStrike" kern="1200" cap="none" spc="0" normalizeH="0" baseline="0" noProof="0" dirty="0">
                <a:ln>
                  <a:noFill/>
                </a:ln>
                <a:effectLst/>
                <a:uLnTx/>
                <a:uFillTx/>
                <a:latin typeface="Corbel" panose="020B0503020204020204" pitchFamily="34" charset="0"/>
                <a:ea typeface="+mn-ea"/>
                <a:cs typeface="+mn-cs"/>
              </a:rPr>
              <a:t>% van totale uitgaven)</a:t>
            </a:r>
            <a:endParaRPr kumimoji="0" lang="nl-NL" sz="16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5A6309F8-754F-4310-A915-B709EE4460EA}"/>
              </a:ext>
            </a:extLst>
          </p:cNvPr>
          <p:cNvSpPr txBox="1"/>
          <p:nvPr/>
        </p:nvSpPr>
        <p:spPr>
          <a:xfrm>
            <a:off x="5582544" y="2989293"/>
            <a:ext cx="4386956" cy="535530"/>
          </a:xfrm>
          <a:prstGeom prst="rect">
            <a:avLst/>
          </a:prstGeom>
        </p:spPr>
        <p:txBody>
          <a:bodyPr vert="horz" wrap="square" lIns="91440" tIns="45720" rIns="91440" bIns="45720" rtlCol="0">
            <a:noAutofit/>
          </a:bodyPr>
          <a:lstStyle/>
          <a:p>
            <a:pPr marL="0" indent="0" algn="l">
              <a:buNone/>
            </a:pPr>
            <a:r>
              <a:rPr lang="nl-NL" sz="1600" b="1" noProof="0" dirty="0">
                <a:solidFill>
                  <a:srgbClr val="22777B"/>
                </a:solidFill>
              </a:rPr>
              <a:t>Gedetailleerd vergeleken per gemeente:</a:t>
            </a:r>
          </a:p>
          <a:p>
            <a:pPr marL="0" indent="0" algn="l">
              <a:spcBef>
                <a:spcPts val="600"/>
              </a:spcBef>
              <a:buNone/>
            </a:pPr>
            <a:r>
              <a:rPr lang="nl-NL" sz="1600" dirty="0">
                <a:solidFill>
                  <a:srgbClr val="22777B"/>
                </a:solidFill>
              </a:rPr>
              <a:t>B</a:t>
            </a:r>
            <a:r>
              <a:rPr lang="nl-NL" sz="1600" noProof="0" dirty="0" err="1">
                <a:solidFill>
                  <a:srgbClr val="22777B"/>
                </a:solidFill>
              </a:rPr>
              <a:t>eschikbaar</a:t>
            </a:r>
            <a:r>
              <a:rPr lang="nl-NL" sz="1600" noProof="0" dirty="0">
                <a:solidFill>
                  <a:srgbClr val="22777B"/>
                </a:solidFill>
              </a:rPr>
              <a:t> via Iv3-data</a:t>
            </a:r>
          </a:p>
        </p:txBody>
      </p:sp>
      <p:sp>
        <p:nvSpPr>
          <p:cNvPr id="28" name="TextBox 27">
            <a:extLst>
              <a:ext uri="{FF2B5EF4-FFF2-40B4-BE49-F238E27FC236}">
                <a16:creationId xmlns:a16="http://schemas.microsoft.com/office/drawing/2014/main" id="{60D9940C-EAC0-4C69-90CA-7484F4B87651}"/>
              </a:ext>
            </a:extLst>
          </p:cNvPr>
          <p:cNvSpPr txBox="1"/>
          <p:nvPr/>
        </p:nvSpPr>
        <p:spPr>
          <a:xfrm>
            <a:off x="5582544" y="4908968"/>
            <a:ext cx="4927504" cy="535530"/>
          </a:xfrm>
          <a:prstGeom prst="rect">
            <a:avLst/>
          </a:prstGeom>
        </p:spPr>
        <p:txBody>
          <a:bodyPr vert="horz" wrap="square" lIns="91440" tIns="45720" rIns="91440" bIns="45720" rtlCol="0">
            <a:noAutofit/>
          </a:bodyPr>
          <a:lstStyle/>
          <a:p>
            <a:pPr marL="0" indent="0" algn="l">
              <a:buNone/>
            </a:pPr>
            <a:r>
              <a:rPr lang="nl-NL" sz="1600" b="1" noProof="0" dirty="0">
                <a:solidFill>
                  <a:srgbClr val="6A6A6A"/>
                </a:solidFill>
              </a:rPr>
              <a:t>Niet vergeleken per gemeente:</a:t>
            </a:r>
          </a:p>
          <a:p>
            <a:pPr marL="0" indent="0" algn="l">
              <a:buNone/>
            </a:pPr>
            <a:r>
              <a:rPr lang="nl-NL" sz="1600" dirty="0">
                <a:solidFill>
                  <a:srgbClr val="6A6A6A"/>
                </a:solidFill>
              </a:rPr>
              <a:t>Niet uitgesplitst in Iv3-data, inschatting AEF gebruikt</a:t>
            </a:r>
            <a:r>
              <a:rPr lang="nl-NL" sz="1600" baseline="30000" dirty="0">
                <a:solidFill>
                  <a:srgbClr val="6A6A6A"/>
                </a:solidFill>
              </a:rPr>
              <a:t>2</a:t>
            </a:r>
            <a:endParaRPr lang="nl-NL" sz="1600" baseline="30000" noProof="0" dirty="0">
              <a:solidFill>
                <a:srgbClr val="6A6A6A"/>
              </a:solidFill>
            </a:endParaRPr>
          </a:p>
        </p:txBody>
      </p:sp>
      <p:sp>
        <p:nvSpPr>
          <p:cNvPr id="22" name="Rectangle: Rounded Corners 21">
            <a:extLst>
              <a:ext uri="{FF2B5EF4-FFF2-40B4-BE49-F238E27FC236}">
                <a16:creationId xmlns:a16="http://schemas.microsoft.com/office/drawing/2014/main" id="{51783905-3A4E-4113-8529-8AF40BE0B36F}"/>
              </a:ext>
            </a:extLst>
          </p:cNvPr>
          <p:cNvSpPr/>
          <p:nvPr/>
        </p:nvSpPr>
        <p:spPr>
          <a:xfrm>
            <a:off x="1161013" y="4863358"/>
            <a:ext cx="3296688" cy="748718"/>
          </a:xfrm>
          <a:prstGeom prst="roundRect">
            <a:avLst/>
          </a:prstGeom>
          <a:solidFill>
            <a:srgbClr val="F2F2F2"/>
          </a:solidFill>
          <a:ln>
            <a:solidFill>
              <a:srgbClr val="8C8C8C"/>
            </a:solidFill>
          </a:ln>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indent="0" algn="ctr">
              <a:spcBef>
                <a:spcPts val="600"/>
              </a:spcBef>
              <a:buClr>
                <a:schemeClr val="tx2"/>
              </a:buClr>
              <a:buNone/>
            </a:pPr>
            <a:r>
              <a:rPr kumimoji="0" lang="nl-NL" b="1" i="0" u="none" strike="noStrike" kern="1200" cap="none" spc="0" normalizeH="0" baseline="0" noProof="0" dirty="0" err="1">
                <a:ln>
                  <a:noFill/>
                </a:ln>
                <a:solidFill>
                  <a:srgbClr val="6A6A6A"/>
                </a:solidFill>
                <a:effectLst/>
                <a:uLnTx/>
                <a:uFillTx/>
                <a:latin typeface="Corbel" panose="020B0503020204020204" pitchFamily="34" charset="0"/>
                <a:ea typeface="+mn-ea"/>
                <a:cs typeface="+mn-cs"/>
              </a:rPr>
              <a:t>Voorveld</a:t>
            </a:r>
            <a:r>
              <a:rPr kumimoji="0" lang="nl-NL" b="1" i="0" u="none" strike="noStrike" kern="1200" cap="none" spc="0" normalizeH="0" baseline="0" noProof="0" dirty="0">
                <a:ln>
                  <a:noFill/>
                </a:ln>
                <a:solidFill>
                  <a:srgbClr val="6A6A6A"/>
                </a:solidFill>
                <a:effectLst/>
                <a:uLnTx/>
                <a:uFillTx/>
                <a:latin typeface="Corbel" panose="020B0503020204020204" pitchFamily="34" charset="0"/>
                <a:ea typeface="+mn-ea"/>
                <a:cs typeface="+mn-cs"/>
              </a:rPr>
              <a:t> / preventie – extra uitgaven sinds 2015</a:t>
            </a:r>
            <a:r>
              <a:rPr kumimoji="0" lang="nl-NL" b="1" i="0" u="none" strike="noStrike" kern="1200" cap="none" spc="0" normalizeH="0" baseline="30000" noProof="0" dirty="0">
                <a:ln>
                  <a:noFill/>
                </a:ln>
                <a:solidFill>
                  <a:srgbClr val="6A6A6A"/>
                </a:solidFill>
                <a:effectLst/>
                <a:uLnTx/>
                <a:uFillTx/>
                <a:latin typeface="Corbel" panose="020B0503020204020204" pitchFamily="34" charset="0"/>
                <a:ea typeface="+mn-ea"/>
                <a:cs typeface="+mn-cs"/>
              </a:rPr>
              <a:t>1</a:t>
            </a:r>
            <a:br>
              <a:rPr kumimoji="0" lang="nl-NL" sz="1600" b="1" i="0" u="none" strike="noStrike" kern="1200" cap="none" spc="0" normalizeH="0" baseline="30000" noProof="0" dirty="0">
                <a:ln>
                  <a:noFill/>
                </a:ln>
                <a:solidFill>
                  <a:srgbClr val="6A6A6A"/>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6A6A6A"/>
                </a:solidFill>
                <a:effectLst/>
                <a:uLnTx/>
                <a:uFillTx/>
                <a:latin typeface="Corbel" panose="020B0503020204020204" pitchFamily="34" charset="0"/>
                <a:ea typeface="+mn-ea"/>
                <a:cs typeface="+mn-cs"/>
              </a:rPr>
              <a:t>(ca.</a:t>
            </a:r>
            <a:r>
              <a:rPr lang="nl-NL" sz="1200" dirty="0">
                <a:solidFill>
                  <a:srgbClr val="6A6A6A"/>
                </a:solidFill>
              </a:rPr>
              <a:t> 15</a:t>
            </a:r>
            <a:r>
              <a:rPr kumimoji="0" lang="nl-NL" sz="1200" i="0" u="none" strike="noStrike" kern="1200" cap="none" spc="0" normalizeH="0" baseline="0" noProof="0" dirty="0">
                <a:ln>
                  <a:noFill/>
                </a:ln>
                <a:solidFill>
                  <a:srgbClr val="6A6A6A"/>
                </a:solidFill>
                <a:effectLst/>
                <a:uLnTx/>
                <a:uFillTx/>
                <a:latin typeface="Corbel" panose="020B0503020204020204" pitchFamily="34" charset="0"/>
                <a:ea typeface="+mn-ea"/>
                <a:cs typeface="+mn-cs"/>
              </a:rPr>
              <a:t>% van totale uitgaven)</a:t>
            </a:r>
            <a:endParaRPr kumimoji="0" lang="nl-NL" sz="1600" i="0" u="none" strike="noStrike" kern="1200" cap="none" spc="0" normalizeH="0" baseline="0" noProof="0" dirty="0">
              <a:ln>
                <a:noFill/>
              </a:ln>
              <a:solidFill>
                <a:srgbClr val="6A6A6A"/>
              </a:solidFill>
              <a:effectLst/>
              <a:uLnTx/>
              <a:uFillTx/>
              <a:latin typeface="Corbel" panose="020B0503020204020204" pitchFamily="34" charset="0"/>
              <a:ea typeface="+mn-ea"/>
              <a:cs typeface="+mn-cs"/>
            </a:endParaRPr>
          </a:p>
        </p:txBody>
      </p:sp>
      <p:sp>
        <p:nvSpPr>
          <p:cNvPr id="29" name="Text Box 4">
            <a:extLst>
              <a:ext uri="{FF2B5EF4-FFF2-40B4-BE49-F238E27FC236}">
                <a16:creationId xmlns:a16="http://schemas.microsoft.com/office/drawing/2014/main" id="{2F74340A-76AB-4090-A9F4-DFBE6ACE0E80}"/>
              </a:ext>
            </a:extLst>
          </p:cNvPr>
          <p:cNvSpPr txBox="1">
            <a:spLocks noChangeArrowheads="1"/>
          </p:cNvSpPr>
          <p:nvPr/>
        </p:nvSpPr>
        <p:spPr bwMode="auto">
          <a:xfrm>
            <a:off x="5010539" y="3041058"/>
            <a:ext cx="435348" cy="432000"/>
          </a:xfrm>
          <a:prstGeom prst="rect">
            <a:avLst/>
          </a:prstGeom>
          <a:noFill/>
          <a:ln w="6350" algn="ctr">
            <a:noFill/>
            <a:miter lim="800000"/>
            <a:headEnd/>
            <a:tailEnd/>
          </a:ln>
        </p:spPr>
        <p:txBody>
          <a:bodyPr wrap="square" lIns="0" tIns="0" rIns="0" bIns="0">
            <a:spAutoFit/>
          </a:bodyPr>
          <a:lstStyle/>
          <a:p>
            <a:pPr marL="0" indent="0">
              <a:buNone/>
            </a:pPr>
            <a:r>
              <a:rPr lang="nl-NL" altLang="ja-JP" sz="4400" dirty="0">
                <a:solidFill>
                  <a:srgbClr val="22777B"/>
                </a:solidFill>
                <a:latin typeface="+mj-lt"/>
                <a:ea typeface="ＭＳ Ｐゴシック" charset="-128"/>
                <a:sym typeface="Wingdings" pitchFamily="2" charset="2"/>
              </a:rPr>
              <a:t></a:t>
            </a:r>
            <a:endParaRPr lang="nl-NL" sz="4400" dirty="0">
              <a:solidFill>
                <a:srgbClr val="22777B"/>
              </a:solidFill>
              <a:latin typeface="+mj-lt"/>
              <a:ea typeface="ＭＳ Ｐゴシック" charset="-128"/>
              <a:sym typeface="Wingdings" pitchFamily="2" charset="2"/>
            </a:endParaRPr>
          </a:p>
        </p:txBody>
      </p:sp>
      <p:sp>
        <p:nvSpPr>
          <p:cNvPr id="30" name="Text Box 5">
            <a:extLst>
              <a:ext uri="{FF2B5EF4-FFF2-40B4-BE49-F238E27FC236}">
                <a16:creationId xmlns:a16="http://schemas.microsoft.com/office/drawing/2014/main" id="{557EAD39-4DA6-473B-AFF8-E87B5479C413}"/>
              </a:ext>
            </a:extLst>
          </p:cNvPr>
          <p:cNvSpPr txBox="1">
            <a:spLocks noChangeArrowheads="1"/>
          </p:cNvSpPr>
          <p:nvPr/>
        </p:nvSpPr>
        <p:spPr bwMode="auto">
          <a:xfrm>
            <a:off x="5010539" y="4906733"/>
            <a:ext cx="435348" cy="540000"/>
          </a:xfrm>
          <a:prstGeom prst="rect">
            <a:avLst/>
          </a:prstGeom>
          <a:noFill/>
          <a:ln w="6350" algn="ctr">
            <a:noFill/>
            <a:miter lim="800000"/>
            <a:headEnd/>
            <a:tailEnd/>
          </a:ln>
        </p:spPr>
        <p:txBody>
          <a:bodyPr wrap="square" lIns="0" tIns="0" rIns="0" bIns="0">
            <a:spAutoFit/>
          </a:bodyPr>
          <a:lstStyle/>
          <a:p>
            <a:pPr marL="0" indent="0">
              <a:buNone/>
            </a:pPr>
            <a:r>
              <a:rPr lang="nl-NL" altLang="ja-JP" sz="5000" dirty="0">
                <a:solidFill>
                  <a:srgbClr val="6A6A6A"/>
                </a:solidFill>
                <a:latin typeface="+mj-lt"/>
                <a:ea typeface="ＭＳ Ｐゴシック" charset="-128"/>
                <a:sym typeface="Wingdings" pitchFamily="2" charset="2"/>
              </a:rPr>
              <a:t></a:t>
            </a:r>
            <a:endParaRPr lang="nl-NL" sz="5000" dirty="0">
              <a:solidFill>
                <a:srgbClr val="6A6A6A"/>
              </a:solidFill>
              <a:latin typeface="+mj-lt"/>
              <a:ea typeface="ＭＳ Ｐゴシック" charset="-128"/>
              <a:sym typeface="Wingdings" pitchFamily="2" charset="2"/>
            </a:endParaRPr>
          </a:p>
        </p:txBody>
      </p:sp>
      <p:sp>
        <p:nvSpPr>
          <p:cNvPr id="3" name="Oval 2">
            <a:extLst>
              <a:ext uri="{FF2B5EF4-FFF2-40B4-BE49-F238E27FC236}">
                <a16:creationId xmlns:a16="http://schemas.microsoft.com/office/drawing/2014/main" id="{FE3F1968-DFCB-4C92-9843-63431347FBC6}"/>
              </a:ext>
            </a:extLst>
          </p:cNvPr>
          <p:cNvSpPr/>
          <p:nvPr/>
        </p:nvSpPr>
        <p:spPr>
          <a:xfrm rot="398346">
            <a:off x="6701598" y="1706486"/>
            <a:ext cx="4852542" cy="927787"/>
          </a:xfrm>
          <a:prstGeom prst="ellipse">
            <a:avLst/>
          </a:prstGeom>
          <a:solidFill>
            <a:schemeClr val="accent6"/>
          </a:solidFill>
          <a:ln>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De gebruikte methodologie in deze publicatie komt vrijwel geheel overeen met die van ‘Stelsel in groei’ door AEF. Zie ook uitleg methodologie in dat rapport</a:t>
            </a:r>
            <a:r>
              <a:rPr kumimoji="0" lang="nl-NL" sz="1400" b="0" i="0" u="none" strike="noStrike" kern="1200" cap="none" spc="0" normalizeH="0" baseline="30000" noProof="0" dirty="0">
                <a:ln>
                  <a:noFill/>
                </a:ln>
                <a:effectLst/>
                <a:uLnTx/>
                <a:uFillTx/>
                <a:latin typeface="Corbel" panose="020B0503020204020204" pitchFamily="34" charset="0"/>
                <a:ea typeface="+mn-ea"/>
                <a:cs typeface="+mn-cs"/>
              </a:rPr>
              <a:t>2</a:t>
            </a:r>
          </a:p>
        </p:txBody>
      </p:sp>
    </p:spTree>
    <p:extLst>
      <p:ext uri="{BB962C8B-B14F-4D97-AF65-F5344CB8AC3E}">
        <p14:creationId xmlns:p14="http://schemas.microsoft.com/office/powerpoint/2010/main" val="16808558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B53E23-EFA6-46F6-8C8C-D1BC3CAF1C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4BB53E23-EFA6-46F6-8C8C-D1BC3CAF1C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DBC1FCE-DFD1-4EC5-84FB-6F4A7DB3D59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 name="Footer Placeholder 1">
            <a:extLst>
              <a:ext uri="{FF2B5EF4-FFF2-40B4-BE49-F238E27FC236}">
                <a16:creationId xmlns:a16="http://schemas.microsoft.com/office/drawing/2014/main" id="{B1C25B60-3E99-4A7A-9375-ADBCAD8BB492}"/>
              </a:ext>
            </a:extLst>
          </p:cNvPr>
          <p:cNvSpPr>
            <a:spLocks noGrp="1"/>
          </p:cNvSpPr>
          <p:nvPr>
            <p:ph type="ftr" sz="quarter" idx="11"/>
          </p:nvPr>
        </p:nvSpPr>
        <p:spPr/>
        <p:txBody>
          <a:bodyPr/>
          <a:lstStyle/>
          <a:p>
            <a:r>
              <a:rPr lang="nl-NL" dirty="0"/>
              <a:t>Bron: </a:t>
            </a:r>
            <a:r>
              <a:rPr lang="nl-NL" dirty="0">
                <a:hlinkClick r:id="rId6"/>
              </a:rPr>
              <a:t>Analyses gemeentefonds</a:t>
            </a:r>
            <a:r>
              <a:rPr lang="nl-NL" dirty="0"/>
              <a:t>; </a:t>
            </a:r>
            <a:r>
              <a:rPr lang="nl-NL" sz="800" dirty="0">
                <a:solidFill>
                  <a:srgbClr val="000000"/>
                </a:solidFill>
                <a:latin typeface="Corbel" panose="020B0503020204020204" pitchFamily="34" charset="0"/>
                <a:hlinkClick r:id="rId7"/>
              </a:rPr>
              <a:t>CBS</a:t>
            </a:r>
            <a:r>
              <a:rPr lang="nl-NL" sz="800" dirty="0">
                <a:solidFill>
                  <a:srgbClr val="000000"/>
                </a:solidFill>
                <a:latin typeface="Corbel" panose="020B0503020204020204" pitchFamily="34" charset="0"/>
              </a:rPr>
              <a:t>;</a:t>
            </a:r>
            <a:r>
              <a:rPr lang="nl-NL" dirty="0"/>
              <a:t> Analyse it’s public</a:t>
            </a:r>
          </a:p>
        </p:txBody>
      </p:sp>
      <p:sp>
        <p:nvSpPr>
          <p:cNvPr id="3" name="Slide Number Placeholder 2">
            <a:extLst>
              <a:ext uri="{FF2B5EF4-FFF2-40B4-BE49-F238E27FC236}">
                <a16:creationId xmlns:a16="http://schemas.microsoft.com/office/drawing/2014/main" id="{B487D61E-17E5-49A9-82C5-999688FE8AEC}"/>
              </a:ext>
            </a:extLst>
          </p:cNvPr>
          <p:cNvSpPr>
            <a:spLocks noGrp="1"/>
          </p:cNvSpPr>
          <p:nvPr>
            <p:ph type="sldNum" sz="quarter" idx="12"/>
          </p:nvPr>
        </p:nvSpPr>
        <p:spPr/>
        <p:txBody>
          <a:bodyPr/>
          <a:lstStyle/>
          <a:p>
            <a:fld id="{992CD0B2-8AB2-4C6C-8876-E15753662C9B}" type="slidenum">
              <a:rPr lang="nl-NL" smtClean="0"/>
              <a:pPr/>
              <a:t>35</a:t>
            </a:fld>
            <a:endParaRPr lang="nl-NL" dirty="0"/>
          </a:p>
        </p:txBody>
      </p:sp>
      <p:sp>
        <p:nvSpPr>
          <p:cNvPr id="7" name="Text Placeholder 6">
            <a:extLst>
              <a:ext uri="{FF2B5EF4-FFF2-40B4-BE49-F238E27FC236}">
                <a16:creationId xmlns:a16="http://schemas.microsoft.com/office/drawing/2014/main" id="{F9A24F80-6E38-45CC-A36D-BCDCEA7DAF21}"/>
              </a:ext>
            </a:extLst>
          </p:cNvPr>
          <p:cNvSpPr>
            <a:spLocks noGrp="1"/>
          </p:cNvSpPr>
          <p:nvPr>
            <p:ph type="body" sz="quarter" idx="14"/>
          </p:nvPr>
        </p:nvSpPr>
        <p:spPr/>
        <p:txBody>
          <a:bodyPr/>
          <a:lstStyle/>
          <a:p>
            <a:pPr marL="0" indent="0">
              <a:buNone/>
            </a:pPr>
            <a:r>
              <a:rPr lang="nl-NL" b="1" dirty="0"/>
              <a:t>Belangrijke demografische kenmerken met relevantie voor jeugdzorg (maatstaven gemeentefonds), 2019</a:t>
            </a:r>
          </a:p>
          <a:p>
            <a:pPr marL="0" indent="0">
              <a:buNone/>
            </a:pPr>
            <a:r>
              <a:rPr lang="nl-NL" dirty="0"/>
              <a:t>% van totaal aantal jeugdigen/huishoudens</a:t>
            </a:r>
            <a:endParaRPr lang="nl-NL" b="1" dirty="0"/>
          </a:p>
        </p:txBody>
      </p:sp>
      <p:graphicFrame>
        <p:nvGraphicFramePr>
          <p:cNvPr id="11" name="Table 11">
            <a:extLst>
              <a:ext uri="{FF2B5EF4-FFF2-40B4-BE49-F238E27FC236}">
                <a16:creationId xmlns:a16="http://schemas.microsoft.com/office/drawing/2014/main" id="{E445CA77-DBBF-45D0-B1BA-15CF8D8FE118}"/>
              </a:ext>
            </a:extLst>
          </p:cNvPr>
          <p:cNvGraphicFramePr>
            <a:graphicFrameLocks noGrp="1"/>
          </p:cNvGraphicFramePr>
          <p:nvPr>
            <p:ph sz="quarter" idx="18"/>
          </p:nvPr>
        </p:nvGraphicFramePr>
        <p:xfrm>
          <a:off x="666748" y="1689917"/>
          <a:ext cx="10804302" cy="3822639"/>
        </p:xfrm>
        <a:graphic>
          <a:graphicData uri="http://schemas.openxmlformats.org/drawingml/2006/table">
            <a:tbl>
              <a:tblPr firstRow="1" bandRow="1">
                <a:tableStyleId>{5C22544A-7EE6-4342-B048-85BDC9FD1C3A}</a:tableStyleId>
              </a:tblPr>
              <a:tblGrid>
                <a:gridCol w="1974149">
                  <a:extLst>
                    <a:ext uri="{9D8B030D-6E8A-4147-A177-3AD203B41FA5}">
                      <a16:colId xmlns:a16="http://schemas.microsoft.com/office/drawing/2014/main" val="1257212061"/>
                    </a:ext>
                  </a:extLst>
                </a:gridCol>
                <a:gridCol w="790561">
                  <a:extLst>
                    <a:ext uri="{9D8B030D-6E8A-4147-A177-3AD203B41FA5}">
                      <a16:colId xmlns:a16="http://schemas.microsoft.com/office/drawing/2014/main" val="2041060168"/>
                    </a:ext>
                  </a:extLst>
                </a:gridCol>
                <a:gridCol w="1339932">
                  <a:extLst>
                    <a:ext uri="{9D8B030D-6E8A-4147-A177-3AD203B41FA5}">
                      <a16:colId xmlns:a16="http://schemas.microsoft.com/office/drawing/2014/main" val="2958509267"/>
                    </a:ext>
                  </a:extLst>
                </a:gridCol>
                <a:gridCol w="1339932">
                  <a:extLst>
                    <a:ext uri="{9D8B030D-6E8A-4147-A177-3AD203B41FA5}">
                      <a16:colId xmlns:a16="http://schemas.microsoft.com/office/drawing/2014/main" val="3669825087"/>
                    </a:ext>
                  </a:extLst>
                </a:gridCol>
                <a:gridCol w="1339932">
                  <a:extLst>
                    <a:ext uri="{9D8B030D-6E8A-4147-A177-3AD203B41FA5}">
                      <a16:colId xmlns:a16="http://schemas.microsoft.com/office/drawing/2014/main" val="1508052573"/>
                    </a:ext>
                  </a:extLst>
                </a:gridCol>
                <a:gridCol w="1339932">
                  <a:extLst>
                    <a:ext uri="{9D8B030D-6E8A-4147-A177-3AD203B41FA5}">
                      <a16:colId xmlns:a16="http://schemas.microsoft.com/office/drawing/2014/main" val="3960643023"/>
                    </a:ext>
                  </a:extLst>
                </a:gridCol>
                <a:gridCol w="1339932">
                  <a:extLst>
                    <a:ext uri="{9D8B030D-6E8A-4147-A177-3AD203B41FA5}">
                      <a16:colId xmlns:a16="http://schemas.microsoft.com/office/drawing/2014/main" val="25596531"/>
                    </a:ext>
                  </a:extLst>
                </a:gridCol>
                <a:gridCol w="1339932">
                  <a:extLst>
                    <a:ext uri="{9D8B030D-6E8A-4147-A177-3AD203B41FA5}">
                      <a16:colId xmlns:a16="http://schemas.microsoft.com/office/drawing/2014/main" val="663266776"/>
                    </a:ext>
                  </a:extLst>
                </a:gridCol>
              </a:tblGrid>
              <a:tr h="349653">
                <a:tc>
                  <a:txBody>
                    <a:bodyPr/>
                    <a:lstStyle/>
                    <a:p>
                      <a:endParaRPr lang="nl-NL" sz="1000" dirty="0"/>
                    </a:p>
                  </a:txBody>
                  <a:tcPr>
                    <a:solidFill>
                      <a:schemeClr val="bg1"/>
                    </a:solidFill>
                  </a:tcPr>
                </a:tc>
                <a:tc>
                  <a:txBody>
                    <a:bodyPr/>
                    <a:lstStyle/>
                    <a:p>
                      <a:pPr algn="ctr"/>
                      <a:endParaRPr lang="nl-NL" sz="1000" dirty="0">
                        <a:solidFill>
                          <a:srgbClr val="000000"/>
                        </a:solidFill>
                      </a:endParaRP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Amsterdam</a:t>
                      </a: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Rotterdam</a:t>
                      </a: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Den Haag</a:t>
                      </a: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Utrecht</a:t>
                      </a: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Eindhoven</a:t>
                      </a:r>
                    </a:p>
                  </a:txBody>
                  <a:tcPr>
                    <a:lnB w="12700" cap="flat" cmpd="sng" algn="ctr">
                      <a:solidFill>
                        <a:schemeClr val="accent1"/>
                      </a:solidFill>
                      <a:prstDash val="solid"/>
                      <a:round/>
                      <a:headEnd type="none" w="med" len="med"/>
                      <a:tailEnd type="none" w="med" len="med"/>
                    </a:lnB>
                    <a:noFill/>
                  </a:tcPr>
                </a:tc>
                <a:tc>
                  <a:txBody>
                    <a:bodyPr/>
                    <a:lstStyle/>
                    <a:p>
                      <a:pPr algn="ctr"/>
                      <a:r>
                        <a:rPr lang="nl-NL" sz="1200" dirty="0">
                          <a:solidFill>
                            <a:srgbClr val="000000"/>
                          </a:solidFill>
                        </a:rPr>
                        <a:t>Almere</a:t>
                      </a:r>
                    </a:p>
                  </a:txBody>
                  <a:tcP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704545"/>
                  </a:ext>
                </a:extLst>
              </a:tr>
              <a:tr h="349653">
                <a:tc>
                  <a:txBody>
                    <a:bodyPr/>
                    <a:lstStyle/>
                    <a:p>
                      <a:r>
                        <a:rPr lang="nl-NL" sz="1000" dirty="0"/>
                        <a:t>Huishoudens met laag inkomen</a:t>
                      </a:r>
                    </a:p>
                  </a:txBody>
                  <a:tcPr anchor="ctr">
                    <a:lnB w="6350" cap="flat" cmpd="sng" algn="ctr">
                      <a:solidFill>
                        <a:schemeClr val="bg1">
                          <a:lumMod val="75000"/>
                        </a:schemeClr>
                      </a:solidFill>
                      <a:prstDash val="solid"/>
                      <a:round/>
                      <a:headEnd type="none" w="med" len="med"/>
                      <a:tailEnd type="none" w="med" len="med"/>
                    </a:lnB>
                    <a:noFill/>
                  </a:tcPr>
                </a:tc>
                <a:tc rowSpan="2">
                  <a:txBody>
                    <a:bodyPr/>
                    <a:lstStyle/>
                    <a:p>
                      <a:pPr algn="ctr"/>
                      <a:r>
                        <a:rPr lang="nl-NL" sz="800" b="0" i="0" u="none" strike="noStrike" kern="1200" baseline="0" dirty="0">
                          <a:solidFill>
                            <a:schemeClr val="dk1"/>
                          </a:solidFill>
                          <a:latin typeface="+mn-lt"/>
                          <a:ea typeface="+mn-ea"/>
                          <a:cs typeface="+mn-cs"/>
                        </a:rPr>
                        <a:t>Aantal (% van huishoudens)</a:t>
                      </a:r>
                    </a:p>
                  </a:txBody>
                  <a:tcPr anchor="ctr">
                    <a:lnT w="12700" cap="flat" cmpd="sng" algn="ctr">
                      <a:solidFill>
                        <a:schemeClr val="accent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nl-NL" sz="1000" b="0" i="0" u="none" strike="noStrike" kern="1200" baseline="0" dirty="0">
                          <a:solidFill>
                            <a:schemeClr val="dk1"/>
                          </a:solidFill>
                          <a:latin typeface="+mn-lt"/>
                          <a:ea typeface="+mn-ea"/>
                          <a:cs typeface="+mn-cs"/>
                        </a:rPr>
                        <a:t>32%</a:t>
                      </a:r>
                    </a:p>
                  </a:txBody>
                  <a:tcPr anchor="ctr">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7%</a:t>
                      </a:r>
                    </a:p>
                  </a:txBody>
                  <a:tcPr anchor="ctr">
                    <a:lnL w="12700" cap="flat" cmpd="sng" algn="ctr">
                      <a:solidFill>
                        <a:schemeClr val="bg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00295874"/>
                  </a:ext>
                </a:extLst>
              </a:tr>
              <a:tr h="3496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Eenouderhuishoudens</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vMerge="1">
                  <a:txBody>
                    <a:bodyPr/>
                    <a:lstStyle/>
                    <a:p>
                      <a:pPr algn="ctr"/>
                      <a:endParaRPr lang="nl-NL" sz="1200" b="0" i="0" u="none" strike="noStrike" kern="1200" baseline="0" dirty="0">
                        <a:solidFill>
                          <a:schemeClr val="dk1"/>
                        </a:solidFill>
                        <a:latin typeface="+mn-lt"/>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nl-NL" sz="1000" b="0" i="0" u="none" strike="noStrike" kern="1200" baseline="0" dirty="0">
                          <a:solidFill>
                            <a:schemeClr val="dk1"/>
                          </a:solidFill>
                          <a:latin typeface="+mn-lt"/>
                          <a:ea typeface="+mn-ea"/>
                          <a:cs typeface="+mn-cs"/>
                        </a:rPr>
                        <a:t>8%</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2%</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608870529"/>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Jeugdigen in gezinnnen met armoederisico</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row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800" b="0" i="0" u="none" strike="noStrike" kern="1200" baseline="0" dirty="0">
                          <a:solidFill>
                            <a:schemeClr val="dk1"/>
                          </a:solidFill>
                          <a:latin typeface="+mn-lt"/>
                          <a:ea typeface="+mn-ea"/>
                          <a:cs typeface="+mn-cs"/>
                        </a:rPr>
                        <a:t>Aantal (% van jeugdige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5%</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6%</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39162563"/>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Ouders met langdurig psychisch medicijngebruik</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nl-NL" sz="1200" b="0" i="0" u="none" strike="noStrike" kern="1200" baseline="0" dirty="0">
                        <a:solidFill>
                          <a:schemeClr val="dk1"/>
                        </a:solidFill>
                        <a:latin typeface="+mn-lt"/>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9680949"/>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Eenouder huishoudens met 2 of meer kindere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rowSpan="3">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800" b="0" i="0" u="none" strike="noStrike" kern="1200" baseline="0" dirty="0">
                          <a:solidFill>
                            <a:schemeClr val="dk1"/>
                          </a:solidFill>
                          <a:latin typeface="+mn-lt"/>
                          <a:ea typeface="+mn-ea"/>
                          <a:cs typeface="+mn-cs"/>
                        </a:rPr>
                        <a:t>Aantal (% van huishoudens)</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nl-NL" sz="1000" b="0" i="0" u="none" strike="noStrike" kern="1200" baseline="0" dirty="0">
                          <a:solidFill>
                            <a:schemeClr val="dk1"/>
                          </a:solidFill>
                          <a:latin typeface="+mn-lt"/>
                          <a:ea typeface="+mn-ea"/>
                          <a:cs typeface="+mn-cs"/>
                        </a:rPr>
                        <a:t>3%</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5%</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519112331"/>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Bijstandshuishoudens met minderjarige kindere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nl-NL" sz="1200" b="0" i="0" u="none" strike="noStrike" kern="1200" baseline="0" dirty="0">
                        <a:solidFill>
                          <a:schemeClr val="dk1"/>
                        </a:solidFill>
                        <a:latin typeface="+mn-lt"/>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51693190"/>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Bijstandsontvangers eenouderhuishoudens</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nl-NL" sz="1200" b="0" i="0" u="none" strike="noStrike" kern="1200" baseline="0" dirty="0">
                        <a:solidFill>
                          <a:schemeClr val="dk1"/>
                        </a:solidFill>
                        <a:latin typeface="+mn-lt"/>
                        <a:ea typeface="+mn-ea"/>
                        <a:cs typeface="+mn-cs"/>
                      </a:endParaRPr>
                    </a:p>
                  </a:txBody>
                  <a:tcPr anchor="ctr">
                    <a:lnT w="6350" cap="flat" cmpd="sng" algn="ctr">
                      <a:solidFill>
                        <a:schemeClr val="bg1">
                          <a:lumMod val="75000"/>
                        </a:schemeClr>
                      </a:solidFill>
                      <a:prstDash val="solid"/>
                      <a:round/>
                      <a:headEnd type="none" w="med" len="med"/>
                      <a:tailEnd type="none" w="med" len="med"/>
                    </a:lnT>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67148798"/>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Basisonderwijsleerlingen met leerlinggewicht 0,3 of 1,2</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800" b="0" i="0" u="none" strike="noStrike" kern="1200" baseline="0" dirty="0">
                          <a:solidFill>
                            <a:schemeClr val="dk1"/>
                          </a:solidFill>
                          <a:latin typeface="+mn-lt"/>
                          <a:ea typeface="+mn-ea"/>
                          <a:cs typeface="+mn-cs"/>
                        </a:rPr>
                        <a:t>Aantal (% van jeugdige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fontAlgn="b"/>
                      <a:r>
                        <a:rPr lang="en-NL" sz="1100" b="0" i="0" u="none" strike="noStrike" dirty="0">
                          <a:solidFill>
                            <a:srgbClr val="000000"/>
                          </a:solidFill>
                          <a:effectLst/>
                          <a:latin typeface="Calibri" panose="020F0502020204030204" pitchFamily="34" charset="0"/>
                        </a:rPr>
                        <a:t>5%</a:t>
                      </a:r>
                    </a:p>
                  </a:txBody>
                  <a:tcPr marL="7620" marR="7620" marT="762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NL" sz="1100" b="0" i="0" u="none" strike="noStrike">
                          <a:solidFill>
                            <a:srgbClr val="000000"/>
                          </a:solidFill>
                          <a:effectLst/>
                          <a:latin typeface="Calibri" panose="020F0502020204030204" pitchFamily="34" charset="0"/>
                        </a:rPr>
                        <a:t>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fontAlgn="b"/>
                      <a:r>
                        <a:rPr lang="en-NL" sz="1100" b="0" i="0" u="none" strike="noStrike" dirty="0">
                          <a:solidFill>
                            <a:srgbClr val="000000"/>
                          </a:solidFill>
                          <a:effectLst/>
                          <a:latin typeface="Calibri" panose="020F0502020204030204" pitchFamily="34" charset="0"/>
                        </a:rPr>
                        <a:t>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b"/>
                      <a:r>
                        <a:rPr lang="en-NL" sz="1100" b="0" i="0" u="none" strike="noStrike">
                          <a:solidFill>
                            <a:srgbClr val="000000"/>
                          </a:solidFill>
                          <a:effectLst/>
                          <a:latin typeface="Calibri" panose="020F0502020204030204" pitchFamily="34" charset="0"/>
                        </a:rPr>
                        <a:t>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en-NL" sz="1100" b="0" i="0" u="none" strike="noStrike" dirty="0">
                          <a:solidFill>
                            <a:srgbClr val="000000"/>
                          </a:solidFill>
                          <a:effectLst/>
                          <a:latin typeface="Calibri" panose="020F0502020204030204" pitchFamily="34" charset="0"/>
                        </a:rPr>
                        <a:t>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r>
                        <a:rPr lang="en-NL" sz="1100" b="0" i="0" u="none" strike="noStrike" dirty="0">
                          <a:solidFill>
                            <a:srgbClr val="000000"/>
                          </a:solidFill>
                          <a:effectLst/>
                          <a:latin typeface="Calibri" panose="020F0502020204030204" pitchFamily="34" charset="0"/>
                        </a:rPr>
                        <a:t>3%</a:t>
                      </a:r>
                    </a:p>
                  </a:txBody>
                  <a:tcPr marL="7620" marR="7620" marT="762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60394076"/>
                  </a:ext>
                </a:extLst>
              </a:tr>
              <a:tr h="37360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dirty="0"/>
                        <a:t>Gemiddeld gestandaardiseerd inkomen huishoudens</a:t>
                      </a: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nl-NL" sz="800" b="0" i="0" u="none" strike="noStrike" kern="1200" baseline="0" dirty="0">
                        <a:solidFill>
                          <a:schemeClr val="dk1"/>
                        </a:solidFill>
                        <a:latin typeface="+mn-lt"/>
                        <a:ea typeface="+mn-ea"/>
                        <a:cs typeface="+mn-cs"/>
                      </a:endParaRP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0.700</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7.1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9.2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30.9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9.0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0" i="0" u="none" strike="noStrike" kern="1200" baseline="0" dirty="0">
                          <a:solidFill>
                            <a:schemeClr val="dk1"/>
                          </a:solidFill>
                          <a:latin typeface="+mn-lt"/>
                          <a:ea typeface="+mn-ea"/>
                          <a:cs typeface="+mn-cs"/>
                        </a:rPr>
                        <a:t>29.700</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690170718"/>
                  </a:ext>
                </a:extLst>
              </a:tr>
            </a:tbl>
          </a:graphicData>
        </a:graphic>
      </p:graphicFrame>
      <p:sp>
        <p:nvSpPr>
          <p:cNvPr id="6" name="Title 5">
            <a:extLst>
              <a:ext uri="{FF2B5EF4-FFF2-40B4-BE49-F238E27FC236}">
                <a16:creationId xmlns:a16="http://schemas.microsoft.com/office/drawing/2014/main" id="{C86FBBF8-80D2-454E-945B-F1747AA0B4DC}"/>
              </a:ext>
            </a:extLst>
          </p:cNvPr>
          <p:cNvSpPr>
            <a:spLocks noGrp="1"/>
          </p:cNvSpPr>
          <p:nvPr>
            <p:ph type="title"/>
          </p:nvPr>
        </p:nvSpPr>
        <p:spPr/>
        <p:txBody>
          <a:bodyPr vert="horz"/>
          <a:lstStyle/>
          <a:p>
            <a:r>
              <a:rPr lang="nl-NL" dirty="0"/>
              <a:t>De jeugdpopulatie verschilt per gemeente en daarmee verschilt ook de verwachte behoefte aan jeugdzorg</a:t>
            </a:r>
          </a:p>
        </p:txBody>
      </p:sp>
      <p:grpSp>
        <p:nvGrpSpPr>
          <p:cNvPr id="26" name="Group 25">
            <a:extLst>
              <a:ext uri="{FF2B5EF4-FFF2-40B4-BE49-F238E27FC236}">
                <a16:creationId xmlns:a16="http://schemas.microsoft.com/office/drawing/2014/main" id="{982DB9C2-BA7A-41A6-9C8C-C5AB1352D6A9}"/>
              </a:ext>
            </a:extLst>
          </p:cNvPr>
          <p:cNvGrpSpPr/>
          <p:nvPr/>
        </p:nvGrpSpPr>
        <p:grpSpPr>
          <a:xfrm>
            <a:off x="752654" y="5915403"/>
            <a:ext cx="4237704" cy="301625"/>
            <a:chOff x="658812" y="6007100"/>
            <a:chExt cx="4237704" cy="301625"/>
          </a:xfrm>
        </p:grpSpPr>
        <p:sp>
          <p:nvSpPr>
            <p:cNvPr id="16" name="Rectangle 15">
              <a:extLst>
                <a:ext uri="{FF2B5EF4-FFF2-40B4-BE49-F238E27FC236}">
                  <a16:creationId xmlns:a16="http://schemas.microsoft.com/office/drawing/2014/main" id="{0D970A7D-EB30-4866-9943-88D3A78592E2}"/>
                </a:ext>
              </a:extLst>
            </p:cNvPr>
            <p:cNvSpPr/>
            <p:nvPr/>
          </p:nvSpPr>
          <p:spPr>
            <a:xfrm>
              <a:off x="658812" y="6007100"/>
              <a:ext cx="1401635" cy="301625"/>
            </a:xfrm>
            <a:prstGeom prst="rect">
              <a:avLst/>
            </a:prstGeom>
            <a:noFill/>
            <a:ln w="9525">
              <a:no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000" b="1" dirty="0">
                  <a:solidFill>
                    <a:srgbClr val="000000"/>
                  </a:solidFill>
                  <a:latin typeface="Corbel" panose="020B0503020204020204" pitchFamily="34" charset="0"/>
                </a:rPr>
                <a:t>Hoogst scorend op demografische factor:</a:t>
              </a:r>
            </a:p>
          </p:txBody>
        </p:sp>
        <p:sp>
          <p:nvSpPr>
            <p:cNvPr id="18" name="Rectangle 17">
              <a:extLst>
                <a:ext uri="{FF2B5EF4-FFF2-40B4-BE49-F238E27FC236}">
                  <a16:creationId xmlns:a16="http://schemas.microsoft.com/office/drawing/2014/main" id="{332EBC59-22EB-48B5-B704-E8062C368E9C}"/>
                </a:ext>
              </a:extLst>
            </p:cNvPr>
            <p:cNvSpPr/>
            <p:nvPr/>
          </p:nvSpPr>
          <p:spPr>
            <a:xfrm>
              <a:off x="1828852" y="6007100"/>
              <a:ext cx="1081548" cy="150813"/>
            </a:xfrm>
            <a:prstGeom prst="rect">
              <a:avLst/>
            </a:prstGeom>
            <a:noFill/>
            <a:ln w="9525">
              <a:no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defTabSz="685800">
                <a:lnSpc>
                  <a:spcPct val="90000"/>
                </a:lnSpc>
                <a:spcBef>
                  <a:spcPts val="750"/>
                </a:spcBef>
                <a:buClr>
                  <a:srgbClr val="FF0000"/>
                </a:buClr>
                <a:buNone/>
              </a:pPr>
              <a:r>
                <a:rPr lang="nl-NL" sz="1000" b="1" dirty="0" err="1">
                  <a:solidFill>
                    <a:srgbClr val="000000"/>
                  </a:solidFill>
                  <a:latin typeface="Corbel" panose="020B0503020204020204" pitchFamily="34" charset="0"/>
                </a:rPr>
                <a:t>Plek</a:t>
              </a:r>
              <a:r>
                <a:rPr lang="nl-NL" sz="1000" b="1" dirty="0">
                  <a:solidFill>
                    <a:srgbClr val="000000"/>
                  </a:solidFill>
                  <a:latin typeface="Corbel" panose="020B0503020204020204" pitchFamily="34" charset="0"/>
                </a:rPr>
                <a:t> 1</a:t>
              </a:r>
            </a:p>
          </p:txBody>
        </p:sp>
        <p:sp>
          <p:nvSpPr>
            <p:cNvPr id="19" name="Rectangle 18">
              <a:extLst>
                <a:ext uri="{FF2B5EF4-FFF2-40B4-BE49-F238E27FC236}">
                  <a16:creationId xmlns:a16="http://schemas.microsoft.com/office/drawing/2014/main" id="{C3F7D8E3-7EC1-4A79-8519-0AA4B156DAF3}"/>
                </a:ext>
              </a:extLst>
            </p:cNvPr>
            <p:cNvSpPr/>
            <p:nvPr/>
          </p:nvSpPr>
          <p:spPr>
            <a:xfrm>
              <a:off x="2821910" y="6007100"/>
              <a:ext cx="1081548" cy="150813"/>
            </a:xfrm>
            <a:prstGeom prst="rect">
              <a:avLst/>
            </a:prstGeom>
            <a:noFill/>
            <a:ln w="9525">
              <a:no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defTabSz="685800">
                <a:lnSpc>
                  <a:spcPct val="90000"/>
                </a:lnSpc>
                <a:spcBef>
                  <a:spcPts val="750"/>
                </a:spcBef>
                <a:buClr>
                  <a:srgbClr val="FF0000"/>
                </a:buClr>
                <a:buNone/>
              </a:pPr>
              <a:r>
                <a:rPr lang="nl-NL" sz="1000" b="1" dirty="0" err="1">
                  <a:solidFill>
                    <a:srgbClr val="000000"/>
                  </a:solidFill>
                  <a:latin typeface="Corbel" panose="020B0503020204020204" pitchFamily="34" charset="0"/>
                </a:rPr>
                <a:t>Plek</a:t>
              </a:r>
              <a:r>
                <a:rPr lang="nl-NL" sz="1000" b="1" dirty="0">
                  <a:solidFill>
                    <a:srgbClr val="000000"/>
                  </a:solidFill>
                  <a:latin typeface="Corbel" panose="020B0503020204020204" pitchFamily="34" charset="0"/>
                </a:rPr>
                <a:t> 2</a:t>
              </a:r>
            </a:p>
          </p:txBody>
        </p:sp>
        <p:sp>
          <p:nvSpPr>
            <p:cNvPr id="20" name="Rectangle 19">
              <a:extLst>
                <a:ext uri="{FF2B5EF4-FFF2-40B4-BE49-F238E27FC236}">
                  <a16:creationId xmlns:a16="http://schemas.microsoft.com/office/drawing/2014/main" id="{A660DD3A-E288-4C5C-A0F9-490615800811}"/>
                </a:ext>
              </a:extLst>
            </p:cNvPr>
            <p:cNvSpPr/>
            <p:nvPr/>
          </p:nvSpPr>
          <p:spPr>
            <a:xfrm>
              <a:off x="3814968" y="6007100"/>
              <a:ext cx="1081548" cy="150813"/>
            </a:xfrm>
            <a:prstGeom prst="rect">
              <a:avLst/>
            </a:prstGeom>
            <a:noFill/>
            <a:ln w="9525">
              <a:no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defTabSz="685800">
                <a:lnSpc>
                  <a:spcPct val="90000"/>
                </a:lnSpc>
                <a:spcBef>
                  <a:spcPts val="750"/>
                </a:spcBef>
                <a:buClr>
                  <a:srgbClr val="FF0000"/>
                </a:buClr>
                <a:buNone/>
              </a:pPr>
              <a:r>
                <a:rPr lang="nl-NL" sz="1000" b="1" dirty="0" err="1">
                  <a:solidFill>
                    <a:srgbClr val="000000"/>
                  </a:solidFill>
                  <a:latin typeface="Corbel" panose="020B0503020204020204" pitchFamily="34" charset="0"/>
                </a:rPr>
                <a:t>Plek</a:t>
              </a:r>
              <a:r>
                <a:rPr lang="nl-NL" sz="1000" b="1" dirty="0">
                  <a:solidFill>
                    <a:srgbClr val="000000"/>
                  </a:solidFill>
                  <a:latin typeface="Corbel" panose="020B0503020204020204" pitchFamily="34" charset="0"/>
                </a:rPr>
                <a:t> 3</a:t>
              </a:r>
            </a:p>
          </p:txBody>
        </p:sp>
        <p:sp>
          <p:nvSpPr>
            <p:cNvPr id="21" name="Rectangle 20">
              <a:extLst>
                <a:ext uri="{FF2B5EF4-FFF2-40B4-BE49-F238E27FC236}">
                  <a16:creationId xmlns:a16="http://schemas.microsoft.com/office/drawing/2014/main" id="{C8F58F84-5B21-4F27-BAFE-E2548EF37EFA}"/>
                </a:ext>
              </a:extLst>
            </p:cNvPr>
            <p:cNvSpPr/>
            <p:nvPr/>
          </p:nvSpPr>
          <p:spPr>
            <a:xfrm>
              <a:off x="2198370" y="6157912"/>
              <a:ext cx="335280" cy="150813"/>
            </a:xfrm>
            <a:prstGeom prst="rect">
              <a:avLst/>
            </a:prstGeom>
            <a:solidFill>
              <a:schemeClr val="bg1">
                <a:lumMod val="7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685800">
                <a:lnSpc>
                  <a:spcPct val="90000"/>
                </a:lnSpc>
                <a:spcBef>
                  <a:spcPts val="750"/>
                </a:spcBef>
                <a:buClr>
                  <a:srgbClr val="FF0000"/>
                </a:buClr>
              </a:pPr>
              <a:endParaRPr lang="nl-NL" sz="1000" b="1" dirty="0">
                <a:solidFill>
                  <a:srgbClr val="000000"/>
                </a:solidFill>
                <a:latin typeface="Corbel" panose="020B0503020204020204" pitchFamily="34" charset="0"/>
              </a:endParaRPr>
            </a:p>
          </p:txBody>
        </p:sp>
        <p:sp>
          <p:nvSpPr>
            <p:cNvPr id="24" name="Rectangle 23">
              <a:extLst>
                <a:ext uri="{FF2B5EF4-FFF2-40B4-BE49-F238E27FC236}">
                  <a16:creationId xmlns:a16="http://schemas.microsoft.com/office/drawing/2014/main" id="{367E3AFC-D7F3-4048-AD0D-274CE80EE177}"/>
                </a:ext>
              </a:extLst>
            </p:cNvPr>
            <p:cNvSpPr/>
            <p:nvPr/>
          </p:nvSpPr>
          <p:spPr>
            <a:xfrm>
              <a:off x="3195044" y="6157912"/>
              <a:ext cx="335280" cy="150813"/>
            </a:xfrm>
            <a:prstGeom prst="rect">
              <a:avLst/>
            </a:prstGeom>
            <a:solidFill>
              <a:schemeClr val="bg1">
                <a:lumMod val="8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685800">
                <a:lnSpc>
                  <a:spcPct val="90000"/>
                </a:lnSpc>
                <a:spcBef>
                  <a:spcPts val="750"/>
                </a:spcBef>
                <a:buClr>
                  <a:srgbClr val="FF0000"/>
                </a:buClr>
              </a:pPr>
              <a:endParaRPr lang="nl-NL" sz="1000" b="1" dirty="0">
                <a:solidFill>
                  <a:srgbClr val="000000"/>
                </a:solidFill>
                <a:latin typeface="Corbel" panose="020B0503020204020204" pitchFamily="34" charset="0"/>
              </a:endParaRPr>
            </a:p>
          </p:txBody>
        </p:sp>
        <p:sp>
          <p:nvSpPr>
            <p:cNvPr id="25" name="Rectangle 24">
              <a:extLst>
                <a:ext uri="{FF2B5EF4-FFF2-40B4-BE49-F238E27FC236}">
                  <a16:creationId xmlns:a16="http://schemas.microsoft.com/office/drawing/2014/main" id="{232F4BA1-F67B-4310-8F73-D7A123AD1AEB}"/>
                </a:ext>
              </a:extLst>
            </p:cNvPr>
            <p:cNvSpPr/>
            <p:nvPr/>
          </p:nvSpPr>
          <p:spPr>
            <a:xfrm>
              <a:off x="4188102" y="6157912"/>
              <a:ext cx="335280" cy="150813"/>
            </a:xfrm>
            <a:prstGeom prst="rect">
              <a:avLst/>
            </a:prstGeom>
            <a:solidFill>
              <a:schemeClr val="bg1">
                <a:lumMod val="9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685800">
                <a:lnSpc>
                  <a:spcPct val="90000"/>
                </a:lnSpc>
                <a:spcBef>
                  <a:spcPts val="750"/>
                </a:spcBef>
                <a:buClr>
                  <a:srgbClr val="FF0000"/>
                </a:buClr>
              </a:pPr>
              <a:endParaRPr lang="nl-NL" sz="1000" b="1" dirty="0">
                <a:solidFill>
                  <a:srgbClr val="000000"/>
                </a:solidFill>
                <a:latin typeface="Corbel" panose="020B0503020204020204" pitchFamily="34" charset="0"/>
              </a:endParaRPr>
            </a:p>
          </p:txBody>
        </p:sp>
      </p:grpSp>
    </p:spTree>
    <p:extLst>
      <p:ext uri="{BB962C8B-B14F-4D97-AF65-F5344CB8AC3E}">
        <p14:creationId xmlns:p14="http://schemas.microsoft.com/office/powerpoint/2010/main" val="1622913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05A4DEC-7901-4614-BA64-9EB7C0A5DB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01" imgH="502" progId="TCLayout.ActiveDocument.1">
                  <p:embed/>
                </p:oleObj>
              </mc:Choice>
              <mc:Fallback>
                <p:oleObj name="think-cell Slide" r:id="rId28" imgW="501" imgH="502" progId="TCLayout.ActiveDocument.1">
                  <p:embed/>
                  <p:pic>
                    <p:nvPicPr>
                      <p:cNvPr id="13" name="Object 12" hidden="1">
                        <a:extLst>
                          <a:ext uri="{FF2B5EF4-FFF2-40B4-BE49-F238E27FC236}">
                            <a16:creationId xmlns:a16="http://schemas.microsoft.com/office/drawing/2014/main" id="{C05A4DEC-7901-4614-BA64-9EB7C0A5DB4C}"/>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D3B3BE62-69BE-4A8F-BFEE-340A375F228F}"/>
              </a:ext>
            </a:extLst>
          </p:cNvPr>
          <p:cNvSpPr>
            <a:spLocks noGrp="1"/>
          </p:cNvSpPr>
          <p:nvPr>
            <p:ph sz="quarter" idx="31"/>
          </p:nvPr>
        </p:nvSpPr>
        <p:spPr/>
        <p:txBody>
          <a:bodyPr>
            <a:normAutofit/>
          </a:bodyPr>
          <a:lstStyle/>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endParaRPr lang="nl-NL" sz="1200" dirty="0"/>
          </a:p>
          <a:p>
            <a:pPr>
              <a:spcBef>
                <a:spcPts val="1200"/>
              </a:spcBef>
            </a:pPr>
            <a:r>
              <a:rPr lang="nl-NL" sz="1200" dirty="0"/>
              <a:t>Het budget wordt gebaseerd op objectieve maatstaven (bijv. €452 voor iedere jeugdige), en vermenigvuldigd met uitkeringsfactor</a:t>
            </a:r>
          </a:p>
          <a:p>
            <a:pPr>
              <a:spcBef>
                <a:spcPts val="1200"/>
              </a:spcBef>
            </a:pPr>
            <a:r>
              <a:rPr lang="nl-NL" sz="1200" dirty="0"/>
              <a:t>Een maatstaf kan positief bijdragen aan budget (bijv. aantal inwoners &lt;18 jaar), maar ook negatief bijdragen (bijv. gemiddeld gestandaardiseerd inkomen)</a:t>
            </a:r>
          </a:p>
          <a:p>
            <a:pPr>
              <a:spcBef>
                <a:spcPts val="1200"/>
              </a:spcBef>
            </a:pPr>
            <a:endParaRPr lang="nl-NL" sz="1200" dirty="0"/>
          </a:p>
        </p:txBody>
      </p:sp>
      <p:sp>
        <p:nvSpPr>
          <p:cNvPr id="18" name="Text Placeholder 17">
            <a:extLst>
              <a:ext uri="{FF2B5EF4-FFF2-40B4-BE49-F238E27FC236}">
                <a16:creationId xmlns:a16="http://schemas.microsoft.com/office/drawing/2014/main" id="{78F7CD03-6D2A-4CCA-8A97-1E74F3EE5C74}"/>
              </a:ext>
            </a:extLst>
          </p:cNvPr>
          <p:cNvSpPr>
            <a:spLocks noGrp="1"/>
          </p:cNvSpPr>
          <p:nvPr>
            <p:ph type="body" sz="quarter" idx="34"/>
          </p:nvPr>
        </p:nvSpPr>
        <p:spPr/>
        <p:txBody>
          <a:bodyPr anchor="t"/>
          <a:lstStyle/>
          <a:p>
            <a:r>
              <a:rPr lang="nl-NL" dirty="0"/>
              <a:t>Aantal gemeenten met bepaalde hoogte budget voor jeugdzorg </a:t>
            </a:r>
            <a:br>
              <a:rPr lang="nl-NL" dirty="0"/>
            </a:br>
            <a:r>
              <a:rPr lang="nl-NL" dirty="0"/>
              <a:t>per jeugdige</a:t>
            </a:r>
            <a:endParaRPr lang="nl-NL" baseline="30000" dirty="0"/>
          </a:p>
        </p:txBody>
      </p:sp>
      <p:sp>
        <p:nvSpPr>
          <p:cNvPr id="6" name="Text Placeholder 5">
            <a:extLst>
              <a:ext uri="{FF2B5EF4-FFF2-40B4-BE49-F238E27FC236}">
                <a16:creationId xmlns:a16="http://schemas.microsoft.com/office/drawing/2014/main" id="{CC808825-1A1F-401F-8F09-6B6939A1F919}"/>
              </a:ext>
            </a:extLst>
          </p:cNvPr>
          <p:cNvSpPr>
            <a:spLocks noGrp="1"/>
          </p:cNvSpPr>
          <p:nvPr>
            <p:ph type="body" sz="quarter" idx="30"/>
          </p:nvPr>
        </p:nvSpPr>
        <p:spPr/>
        <p:txBody>
          <a:bodyPr anchor="t"/>
          <a:lstStyle/>
          <a:p>
            <a:r>
              <a:rPr lang="nl-NL" dirty="0"/>
              <a:t>Rekenvoorbeeld uitkering gemeentefonds Apeldoorn</a:t>
            </a:r>
            <a:r>
              <a:rPr lang="nl-NL" baseline="30000" dirty="0"/>
              <a:t>1</a:t>
            </a:r>
          </a:p>
        </p:txBody>
      </p:sp>
      <p:sp>
        <p:nvSpPr>
          <p:cNvPr id="4" name="Text Placeholder 3">
            <a:extLst>
              <a:ext uri="{FF2B5EF4-FFF2-40B4-BE49-F238E27FC236}">
                <a16:creationId xmlns:a16="http://schemas.microsoft.com/office/drawing/2014/main" id="{B762E557-A1B1-4227-8CA9-9E25261CE9A6}"/>
              </a:ext>
            </a:extLst>
          </p:cNvPr>
          <p:cNvSpPr>
            <a:spLocks noGrp="1"/>
          </p:cNvSpPr>
          <p:nvPr>
            <p:ph type="body" sz="quarter" idx="20"/>
          </p:nvPr>
        </p:nvSpPr>
        <p:spPr/>
        <p:txBody>
          <a:bodyPr/>
          <a:lstStyle/>
          <a:p>
            <a:r>
              <a:rPr lang="nl-NL" dirty="0"/>
              <a:t>Het rekenvoorbeeld links is illustratief. De cijfers elders in deze presentatie zijn bewerkt, waardoor ze niet precies overeenkomen met de cijfers in dit rekenvoorbeeld</a:t>
            </a:r>
          </a:p>
          <a:p>
            <a:r>
              <a:rPr lang="nl-NL" dirty="0"/>
              <a:t>Zoals gedefinieerd in deze publicatie; dit bevat bijvoorbeeld niet de gehele algemene uitkering voor cluster jeugd. Zie ook pagina 34 en methodologie in AEF-rapport ‘Stelsel in groei’</a:t>
            </a:r>
          </a:p>
        </p:txBody>
      </p:sp>
      <p:sp>
        <p:nvSpPr>
          <p:cNvPr id="9" name="Footer Placeholder 8">
            <a:extLst>
              <a:ext uri="{FF2B5EF4-FFF2-40B4-BE49-F238E27FC236}">
                <a16:creationId xmlns:a16="http://schemas.microsoft.com/office/drawing/2014/main" id="{050143F9-74D5-426B-B6E2-7CB3E1276F0A}"/>
              </a:ext>
            </a:extLst>
          </p:cNvPr>
          <p:cNvSpPr>
            <a:spLocks noGrp="1"/>
          </p:cNvSpPr>
          <p:nvPr>
            <p:ph type="ftr" sz="quarter" idx="3"/>
          </p:nvPr>
        </p:nvSpPr>
        <p:spPr/>
        <p:txBody>
          <a:bodyPr/>
          <a:lstStyle/>
          <a:p>
            <a:r>
              <a:rPr lang="nl-NL" noProof="0" dirty="0"/>
              <a:t>Bron: Rekenmodel gemeentefonds</a:t>
            </a:r>
          </a:p>
        </p:txBody>
      </p:sp>
      <p:sp>
        <p:nvSpPr>
          <p:cNvPr id="10" name="Slide Number Placeholder 9">
            <a:extLst>
              <a:ext uri="{FF2B5EF4-FFF2-40B4-BE49-F238E27FC236}">
                <a16:creationId xmlns:a16="http://schemas.microsoft.com/office/drawing/2014/main" id="{219EEF3D-77CC-4D3D-B253-2532BD12926B}"/>
              </a:ext>
            </a:extLst>
          </p:cNvPr>
          <p:cNvSpPr>
            <a:spLocks noGrp="1"/>
          </p:cNvSpPr>
          <p:nvPr>
            <p:ph type="sldNum" sz="quarter" idx="12"/>
          </p:nvPr>
        </p:nvSpPr>
        <p:spPr/>
        <p:txBody>
          <a:bodyPr/>
          <a:lstStyle/>
          <a:p>
            <a:fld id="{992CD0B2-8AB2-4C6C-8876-E15753662C9B}" type="slidenum">
              <a:rPr lang="nl-NL" noProof="0" smtClean="0"/>
              <a:pPr/>
              <a:t>36</a:t>
            </a:fld>
            <a:endParaRPr lang="nl-NL" noProof="0"/>
          </a:p>
        </p:txBody>
      </p:sp>
      <p:sp>
        <p:nvSpPr>
          <p:cNvPr id="5" name="Text Placeholder 4">
            <a:extLst>
              <a:ext uri="{FF2B5EF4-FFF2-40B4-BE49-F238E27FC236}">
                <a16:creationId xmlns:a16="http://schemas.microsoft.com/office/drawing/2014/main" id="{C7E3458A-1E6A-44EE-A40A-7171EF1B5DBF}"/>
              </a:ext>
            </a:extLst>
          </p:cNvPr>
          <p:cNvSpPr>
            <a:spLocks noGrp="1"/>
          </p:cNvSpPr>
          <p:nvPr>
            <p:ph type="body" sz="quarter" idx="14"/>
          </p:nvPr>
        </p:nvSpPr>
        <p:spPr/>
        <p:txBody>
          <a:bodyPr/>
          <a:lstStyle/>
          <a:p>
            <a:endParaRPr lang="nl-NL"/>
          </a:p>
        </p:txBody>
      </p:sp>
      <p:sp>
        <p:nvSpPr>
          <p:cNvPr id="12" name="Title 11">
            <a:extLst>
              <a:ext uri="{FF2B5EF4-FFF2-40B4-BE49-F238E27FC236}">
                <a16:creationId xmlns:a16="http://schemas.microsoft.com/office/drawing/2014/main" id="{26C55497-C35C-4131-8E69-61D04152D570}"/>
              </a:ext>
            </a:extLst>
          </p:cNvPr>
          <p:cNvSpPr>
            <a:spLocks noGrp="1"/>
          </p:cNvSpPr>
          <p:nvPr>
            <p:ph type="title"/>
          </p:nvPr>
        </p:nvSpPr>
        <p:spPr/>
        <p:txBody>
          <a:bodyPr vert="horz"/>
          <a:lstStyle/>
          <a:p>
            <a:r>
              <a:rPr lang="nl-NL" dirty="0"/>
              <a:t>Deze achtergrondkenmerken resulteren in verschillende uitkeringen per jeugdige uit het gemeentefonds</a:t>
            </a:r>
          </a:p>
        </p:txBody>
      </p:sp>
      <p:graphicFrame>
        <p:nvGraphicFramePr>
          <p:cNvPr id="14" name="Table 9">
            <a:extLst>
              <a:ext uri="{FF2B5EF4-FFF2-40B4-BE49-F238E27FC236}">
                <a16:creationId xmlns:a16="http://schemas.microsoft.com/office/drawing/2014/main" id="{43690102-66B0-48A7-BF5A-DE5AD92D0DC8}"/>
              </a:ext>
            </a:extLst>
          </p:cNvPr>
          <p:cNvGraphicFramePr>
            <a:graphicFrameLocks/>
          </p:cNvGraphicFramePr>
          <p:nvPr/>
        </p:nvGraphicFramePr>
        <p:xfrm>
          <a:off x="811207" y="2340637"/>
          <a:ext cx="4961294" cy="2332800"/>
        </p:xfrm>
        <a:graphic>
          <a:graphicData uri="http://schemas.openxmlformats.org/drawingml/2006/table">
            <a:tbl>
              <a:tblPr firstRow="1" bandRow="1">
                <a:tableStyleId>{5C22544A-7EE6-4342-B048-85BDC9FD1C3A}</a:tableStyleId>
              </a:tblPr>
              <a:tblGrid>
                <a:gridCol w="2295056">
                  <a:extLst>
                    <a:ext uri="{9D8B030D-6E8A-4147-A177-3AD203B41FA5}">
                      <a16:colId xmlns:a16="http://schemas.microsoft.com/office/drawing/2014/main" val="2116215753"/>
                    </a:ext>
                  </a:extLst>
                </a:gridCol>
                <a:gridCol w="639605">
                  <a:extLst>
                    <a:ext uri="{9D8B030D-6E8A-4147-A177-3AD203B41FA5}">
                      <a16:colId xmlns:a16="http://schemas.microsoft.com/office/drawing/2014/main" val="1434658370"/>
                    </a:ext>
                  </a:extLst>
                </a:gridCol>
                <a:gridCol w="639605">
                  <a:extLst>
                    <a:ext uri="{9D8B030D-6E8A-4147-A177-3AD203B41FA5}">
                      <a16:colId xmlns:a16="http://schemas.microsoft.com/office/drawing/2014/main" val="2384397102"/>
                    </a:ext>
                  </a:extLst>
                </a:gridCol>
                <a:gridCol w="639605">
                  <a:extLst>
                    <a:ext uri="{9D8B030D-6E8A-4147-A177-3AD203B41FA5}">
                      <a16:colId xmlns:a16="http://schemas.microsoft.com/office/drawing/2014/main" val="3439433365"/>
                    </a:ext>
                  </a:extLst>
                </a:gridCol>
                <a:gridCol w="150495">
                  <a:extLst>
                    <a:ext uri="{9D8B030D-6E8A-4147-A177-3AD203B41FA5}">
                      <a16:colId xmlns:a16="http://schemas.microsoft.com/office/drawing/2014/main" val="2492906806"/>
                    </a:ext>
                  </a:extLst>
                </a:gridCol>
                <a:gridCol w="596928">
                  <a:extLst>
                    <a:ext uri="{9D8B030D-6E8A-4147-A177-3AD203B41FA5}">
                      <a16:colId xmlns:a16="http://schemas.microsoft.com/office/drawing/2014/main" val="3636974195"/>
                    </a:ext>
                  </a:extLst>
                </a:gridCol>
              </a:tblGrid>
              <a:tr h="0">
                <a:tc>
                  <a:txBody>
                    <a:bodyPr/>
                    <a:lstStyle/>
                    <a:p>
                      <a:pPr algn="l" fontAlgn="ctr"/>
                      <a:r>
                        <a:rPr lang="nl-NL" sz="800" b="1" i="0" u="none" strike="noStrike" dirty="0">
                          <a:solidFill>
                            <a:srgbClr val="FFFFFF"/>
                          </a:solidFill>
                          <a:effectLst/>
                          <a:latin typeface="+mj-lt"/>
                        </a:rPr>
                        <a:t>Maatstaf</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408E94"/>
                    </a:solidFill>
                  </a:tcPr>
                </a:tc>
                <a:tc>
                  <a:txBody>
                    <a:bodyPr/>
                    <a:lstStyle/>
                    <a:p>
                      <a:pPr algn="l" fontAlgn="ctr"/>
                      <a:r>
                        <a:rPr lang="nl-NL" sz="800" b="1" i="0" u="none" strike="noStrike" dirty="0">
                          <a:solidFill>
                            <a:srgbClr val="FFFFFF"/>
                          </a:solidFill>
                          <a:effectLst/>
                          <a:latin typeface="+mj-lt"/>
                        </a:rPr>
                        <a:t>Bedrag per eenheid</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408E94"/>
                    </a:solidFill>
                  </a:tcPr>
                </a:tc>
                <a:tc>
                  <a:txBody>
                    <a:bodyPr/>
                    <a:lstStyle/>
                    <a:p>
                      <a:pPr algn="l" fontAlgn="ctr"/>
                      <a:r>
                        <a:rPr lang="nl-NL" sz="800" b="1" i="0" u="none" strike="noStrike" dirty="0">
                          <a:solidFill>
                            <a:srgbClr val="FFFFFF"/>
                          </a:solidFill>
                          <a:effectLst/>
                          <a:latin typeface="+mj-lt"/>
                        </a:rPr>
                        <a:t>Aantal Apeldoorn</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408E94"/>
                    </a:solidFill>
                  </a:tcPr>
                </a:tc>
                <a:tc>
                  <a:txBody>
                    <a:bodyPr/>
                    <a:lstStyle/>
                    <a:p>
                      <a:pPr algn="l" fontAlgn="ctr"/>
                      <a:r>
                        <a:rPr lang="nl-NL" sz="800" b="1" i="0" u="none" strike="noStrike" dirty="0">
                          <a:solidFill>
                            <a:srgbClr val="FFFFFF"/>
                          </a:solidFill>
                          <a:effectLst/>
                          <a:latin typeface="+mj-lt"/>
                        </a:rPr>
                        <a:t>Uitkerings-factor</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408E94"/>
                    </a:solidFill>
                  </a:tcPr>
                </a:tc>
                <a:tc>
                  <a:txBody>
                    <a:bodyPr/>
                    <a:lstStyle/>
                    <a:p>
                      <a:pPr algn="l" fontAlgn="ctr"/>
                      <a:endParaRPr lang="nl-NL" sz="800" b="1" i="0" u="none" strike="noStrike" dirty="0">
                        <a:solidFill>
                          <a:srgbClr val="FFFFFF"/>
                        </a:solidFill>
                        <a:effectLst/>
                        <a:latin typeface="+mj-lt"/>
                      </a:endParaRP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nl-NL" sz="800" b="1" i="0" u="none" strike="noStrike" dirty="0">
                          <a:solidFill>
                            <a:srgbClr val="FFFFFF"/>
                          </a:solidFill>
                          <a:effectLst/>
                          <a:latin typeface="+mj-lt"/>
                        </a:rPr>
                        <a:t>Totaal</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408E94"/>
                    </a:solidFill>
                  </a:tcPr>
                </a:tc>
                <a:extLst>
                  <a:ext uri="{0D108BD9-81ED-4DB2-BD59-A6C34878D82A}">
                    <a16:rowId xmlns:a16="http://schemas.microsoft.com/office/drawing/2014/main" val="1804563711"/>
                  </a:ext>
                </a:extLst>
              </a:tr>
              <a:tr h="0">
                <a:tc>
                  <a:txBody>
                    <a:bodyPr/>
                    <a:lstStyle/>
                    <a:p>
                      <a:pPr algn="l" fontAlgn="b"/>
                      <a:r>
                        <a:rPr lang="nl-NL" sz="800" b="0" i="0" u="none" strike="noStrike" dirty="0">
                          <a:solidFill>
                            <a:srgbClr val="000000"/>
                          </a:solidFill>
                          <a:effectLst/>
                          <a:latin typeface="+mj-lt"/>
                        </a:rPr>
                        <a:t>inwoners jongeren jonger dan 18 jaar</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452,02</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31.687</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22.0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6034"/>
                  </a:ext>
                </a:extLst>
              </a:tr>
              <a:tr h="0">
                <a:tc>
                  <a:txBody>
                    <a:bodyPr/>
                    <a:lstStyle/>
                    <a:p>
                      <a:pPr algn="l" fontAlgn="b"/>
                      <a:r>
                        <a:rPr lang="nl-NL" sz="800" b="0" i="0" u="none" strike="noStrike" dirty="0">
                          <a:solidFill>
                            <a:srgbClr val="000000"/>
                          </a:solidFill>
                          <a:effectLst/>
                          <a:latin typeface="+mj-lt"/>
                        </a:rPr>
                        <a:t>uitkeringsontvangers minus bijstandsontvangers</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884,03</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9.409</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12.8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5445905"/>
                  </a:ext>
                </a:extLst>
              </a:tr>
              <a:tr h="0">
                <a:tc>
                  <a:txBody>
                    <a:bodyPr/>
                    <a:lstStyle/>
                    <a:p>
                      <a:pPr algn="l" fontAlgn="b"/>
                      <a:r>
                        <a:rPr lang="nl-NL" sz="800" b="0" i="0" u="none" strike="noStrike" dirty="0">
                          <a:solidFill>
                            <a:srgbClr val="000000"/>
                          </a:solidFill>
                          <a:effectLst/>
                          <a:latin typeface="+mj-lt"/>
                        </a:rPr>
                        <a:t>ouders met langdurig psychisch medicijngebruik</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a:solidFill>
                            <a:srgbClr val="000000"/>
                          </a:solidFill>
                          <a:effectLst/>
                          <a:latin typeface="+mj-lt"/>
                        </a:rPr>
                        <a:t>3.616,63</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287</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7.2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79107"/>
                  </a:ext>
                </a:extLst>
              </a:tr>
              <a:tr h="0">
                <a:tc>
                  <a:txBody>
                    <a:bodyPr/>
                    <a:lstStyle/>
                    <a:p>
                      <a:pPr algn="l" fontAlgn="b"/>
                      <a:r>
                        <a:rPr lang="nl-NL" sz="800" b="0" i="0" u="none" strike="noStrike" dirty="0">
                          <a:solidFill>
                            <a:srgbClr val="000000"/>
                          </a:solidFill>
                          <a:effectLst/>
                          <a:latin typeface="+mj-lt"/>
                        </a:rPr>
                        <a:t>eenouderhuishoudens</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626,20</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5.163</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5.0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0131829"/>
                  </a:ext>
                </a:extLst>
              </a:tr>
              <a:tr h="0">
                <a:tc>
                  <a:txBody>
                    <a:bodyPr/>
                    <a:lstStyle/>
                    <a:p>
                      <a:pPr algn="l" fontAlgn="b"/>
                      <a:r>
                        <a:rPr lang="nl-NL" sz="800" b="0" i="0" u="none" strike="noStrike" dirty="0">
                          <a:solidFill>
                            <a:srgbClr val="000000"/>
                          </a:solidFill>
                          <a:effectLst/>
                          <a:latin typeface="+mj-lt"/>
                        </a:rPr>
                        <a:t>eenouderhuishoudens met 2 of meer kinderen</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1.279,81</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a:solidFill>
                            <a:srgbClr val="000000"/>
                          </a:solidFill>
                          <a:effectLst/>
                          <a:latin typeface="+mj-lt"/>
                        </a:rPr>
                        <a:t>1.82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3.6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66366734"/>
                  </a:ext>
                </a:extLst>
              </a:tr>
              <a:tr h="0">
                <a:tc>
                  <a:txBody>
                    <a:bodyPr/>
                    <a:lstStyle/>
                    <a:p>
                      <a:pPr algn="l" fontAlgn="b"/>
                      <a:r>
                        <a:rPr lang="nl-NL" sz="800" b="0" i="0" u="none" strike="noStrike" dirty="0">
                          <a:solidFill>
                            <a:srgbClr val="000000"/>
                          </a:solidFill>
                          <a:effectLst/>
                          <a:latin typeface="+mj-lt"/>
                        </a:rPr>
                        <a:t>eenouderhuishoudens die bijstand ontvangen</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a:solidFill>
                            <a:srgbClr val="000000"/>
                          </a:solidFill>
                          <a:effectLst/>
                          <a:latin typeface="+mj-lt"/>
                        </a:rPr>
                        <a:t>1.748,26</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a:solidFill>
                            <a:srgbClr val="000000"/>
                          </a:solidFill>
                          <a:effectLst/>
                          <a:latin typeface="+mj-lt"/>
                        </a:rPr>
                        <a:t>895</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2.4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7619461"/>
                  </a:ext>
                </a:extLst>
              </a:tr>
              <a:tr h="0">
                <a:tc>
                  <a:txBody>
                    <a:bodyPr/>
                    <a:lstStyle/>
                    <a:p>
                      <a:pPr algn="l" fontAlgn="b"/>
                      <a:r>
                        <a:rPr lang="nl-NL" sz="800" b="0" i="0" u="none" strike="noStrike" dirty="0">
                          <a:solidFill>
                            <a:srgbClr val="000000"/>
                          </a:solidFill>
                          <a:effectLst/>
                          <a:latin typeface="+mj-lt"/>
                        </a:rPr>
                        <a:t>jeugdigen in gezinnen met armoederisico</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245,66</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3.581</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1.4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9939625"/>
                  </a:ext>
                </a:extLst>
              </a:tr>
              <a:tr h="0">
                <a:tc>
                  <a:txBody>
                    <a:bodyPr/>
                    <a:lstStyle/>
                    <a:p>
                      <a:pPr algn="l" fontAlgn="b"/>
                      <a:r>
                        <a:rPr lang="nl-NL" sz="800" b="0" i="0" u="none" strike="noStrike" dirty="0">
                          <a:solidFill>
                            <a:srgbClr val="000000"/>
                          </a:solidFill>
                          <a:effectLst/>
                          <a:latin typeface="+mj-lt"/>
                        </a:rPr>
                        <a:t>bijstandshuishoudens met minderjarige kinderen</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659,95</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985</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17722B"/>
                          </a:solidFill>
                          <a:effectLst/>
                          <a:latin typeface="+mj-lt"/>
                        </a:rPr>
                        <a:t>+1.0 </a:t>
                      </a:r>
                      <a:r>
                        <a:rPr lang="nl-NL" sz="800" b="0" i="0" u="none" strike="noStrike" dirty="0" err="1">
                          <a:solidFill>
                            <a:srgbClr val="17722B"/>
                          </a:solidFill>
                          <a:effectLst/>
                          <a:latin typeface="+mj-lt"/>
                        </a:rPr>
                        <a:t>mln</a:t>
                      </a:r>
                      <a:endParaRPr lang="nl-NL" sz="800" b="0" i="0" u="none" strike="noStrike" dirty="0">
                        <a:solidFill>
                          <a:srgbClr val="17722B"/>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6969688"/>
                  </a:ext>
                </a:extLst>
              </a:tr>
              <a:tr h="0">
                <a:tc>
                  <a:txBody>
                    <a:bodyPr/>
                    <a:lstStyle/>
                    <a:p>
                      <a:pPr algn="l" fontAlgn="b"/>
                      <a:r>
                        <a:rPr lang="nl-NL" sz="800" b="0" i="0" u="none" strike="noStrike" dirty="0">
                          <a:solidFill>
                            <a:srgbClr val="000000"/>
                          </a:solidFill>
                          <a:effectLst/>
                          <a:latin typeface="+mj-lt"/>
                        </a:rPr>
                        <a:t>basisonderwijsleerlingen met leerlingengewicht 0.3</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1.632,89</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491</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BF211E"/>
                          </a:solidFill>
                          <a:effectLst/>
                          <a:latin typeface="+mj-lt"/>
                        </a:rPr>
                        <a:t>-1.2 </a:t>
                      </a:r>
                      <a:r>
                        <a:rPr lang="nl-NL" sz="800" b="0" i="0" u="none" strike="noStrike" dirty="0" err="1">
                          <a:solidFill>
                            <a:srgbClr val="BF211E"/>
                          </a:solidFill>
                          <a:effectLst/>
                          <a:latin typeface="+mj-lt"/>
                        </a:rPr>
                        <a:t>mln</a:t>
                      </a:r>
                      <a:endParaRPr lang="nl-NL" sz="800" b="0" i="0" u="none" strike="noStrike" dirty="0">
                        <a:solidFill>
                          <a:srgbClr val="BF211E"/>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22429044"/>
                  </a:ext>
                </a:extLst>
              </a:tr>
              <a:tr h="0">
                <a:tc>
                  <a:txBody>
                    <a:bodyPr/>
                    <a:lstStyle/>
                    <a:p>
                      <a:pPr algn="l" fontAlgn="b"/>
                      <a:r>
                        <a:rPr lang="nl-NL" sz="800" b="0" i="0" u="none" strike="noStrike" dirty="0">
                          <a:solidFill>
                            <a:srgbClr val="000000"/>
                          </a:solidFill>
                          <a:effectLst/>
                          <a:latin typeface="+mj-lt"/>
                        </a:rPr>
                        <a:t>basisonderwijsleerlingen met leerlingengewicht 1.2</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2.563,65</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335</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BF211E"/>
                          </a:solidFill>
                          <a:effectLst/>
                          <a:latin typeface="+mj-lt"/>
                        </a:rPr>
                        <a:t>-1.3 </a:t>
                      </a:r>
                      <a:r>
                        <a:rPr lang="nl-NL" sz="800" b="0" i="0" u="none" strike="noStrike" dirty="0" err="1">
                          <a:solidFill>
                            <a:srgbClr val="BF211E"/>
                          </a:solidFill>
                          <a:effectLst/>
                          <a:latin typeface="+mj-lt"/>
                        </a:rPr>
                        <a:t>mln</a:t>
                      </a:r>
                      <a:endParaRPr lang="nl-NL" sz="800" b="0" i="0" u="none" strike="noStrike" dirty="0">
                        <a:solidFill>
                          <a:srgbClr val="BF211E"/>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4564622"/>
                  </a:ext>
                </a:extLst>
              </a:tr>
              <a:tr h="0">
                <a:tc>
                  <a:txBody>
                    <a:bodyPr/>
                    <a:lstStyle/>
                    <a:p>
                      <a:pPr algn="l" fontAlgn="b"/>
                      <a:r>
                        <a:rPr lang="nl-NL" sz="800" b="0" i="0" u="none" strike="noStrike" dirty="0">
                          <a:solidFill>
                            <a:srgbClr val="000000"/>
                          </a:solidFill>
                          <a:effectLst/>
                          <a:latin typeface="+mj-lt"/>
                        </a:rPr>
                        <a:t>gemiddeld gestand. inkomen (</a:t>
                      </a:r>
                      <a:r>
                        <a:rPr lang="nl-NL" sz="800" b="0" i="0" u="none" strike="noStrike" dirty="0" err="1">
                          <a:solidFill>
                            <a:srgbClr val="000000"/>
                          </a:solidFill>
                          <a:effectLst/>
                          <a:latin typeface="+mj-lt"/>
                        </a:rPr>
                        <a:t>hh</a:t>
                      </a:r>
                      <a:r>
                        <a:rPr lang="nl-NL" sz="800" b="0" i="0" u="none" strike="noStrike" dirty="0">
                          <a:solidFill>
                            <a:srgbClr val="000000"/>
                          </a:solidFill>
                          <a:effectLst/>
                          <a:latin typeface="+mj-lt"/>
                        </a:rPr>
                        <a:t> met kinderen)</a:t>
                      </a:r>
                      <a:endParaRPr lang="nl-NL" sz="800" b="0" i="0" u="none" strike="noStrike" baseline="30000" dirty="0">
                        <a:solidFill>
                          <a:srgbClr val="000000"/>
                        </a:solidFill>
                        <a:effectLst/>
                        <a:latin typeface="+mj-lt"/>
                      </a:endParaRP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490,17</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1.080</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BF211E"/>
                          </a:solidFill>
                          <a:effectLst/>
                          <a:latin typeface="+mj-lt"/>
                        </a:rPr>
                        <a:t>-8.4 </a:t>
                      </a:r>
                      <a:r>
                        <a:rPr lang="nl-NL" sz="800" b="0" i="0" u="none" strike="noStrike" dirty="0" err="1">
                          <a:solidFill>
                            <a:srgbClr val="BF211E"/>
                          </a:solidFill>
                          <a:effectLst/>
                          <a:latin typeface="+mj-lt"/>
                        </a:rPr>
                        <a:t>mln</a:t>
                      </a:r>
                      <a:endParaRPr lang="nl-NL" sz="800" b="0" i="0" u="none" strike="noStrike" dirty="0">
                        <a:solidFill>
                          <a:srgbClr val="BF211E"/>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accent6">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9145190"/>
                  </a:ext>
                </a:extLst>
              </a:tr>
              <a:tr h="0">
                <a:tc>
                  <a:txBody>
                    <a:bodyPr/>
                    <a:lstStyle/>
                    <a:p>
                      <a:pPr algn="l" fontAlgn="b"/>
                      <a:r>
                        <a:rPr lang="nl-NL" sz="800" b="0" i="0" u="none" strike="noStrike" dirty="0">
                          <a:solidFill>
                            <a:srgbClr val="000000"/>
                          </a:solidFill>
                          <a:effectLst/>
                          <a:latin typeface="+mj-lt"/>
                        </a:rPr>
                        <a:t>gemiddeld gestand. inkomen (particuliere </a:t>
                      </a:r>
                      <a:r>
                        <a:rPr lang="nl-NL" sz="800" b="0" i="0" u="none" strike="noStrike" dirty="0" err="1">
                          <a:solidFill>
                            <a:srgbClr val="000000"/>
                          </a:solidFill>
                          <a:effectLst/>
                          <a:latin typeface="+mj-lt"/>
                        </a:rPr>
                        <a:t>hh</a:t>
                      </a:r>
                      <a:r>
                        <a:rPr lang="nl-NL" sz="800" b="0" i="0" u="none" strike="noStrike" dirty="0">
                          <a:solidFill>
                            <a:srgbClr val="000000"/>
                          </a:solidFill>
                          <a:effectLst/>
                          <a:latin typeface="+mj-lt"/>
                        </a:rPr>
                        <a:t>)</a:t>
                      </a:r>
                      <a:r>
                        <a:rPr lang="nl-NL" sz="800" b="0" i="0" u="none" strike="noStrike" kern="1200" baseline="30000" dirty="0">
                          <a:solidFill>
                            <a:srgbClr val="000000"/>
                          </a:solidFill>
                          <a:effectLst/>
                          <a:latin typeface="+mj-lt"/>
                          <a:ea typeface="+mn-ea"/>
                          <a:cs typeface="+mn-cs"/>
                        </a:rPr>
                        <a:t> </a:t>
                      </a:r>
                      <a:endParaRPr lang="nl-NL" sz="800" b="0" i="0" u="none" strike="noStrike" dirty="0">
                        <a:solidFill>
                          <a:srgbClr val="000000"/>
                        </a:solidFill>
                        <a:effectLst/>
                        <a:latin typeface="+mj-lt"/>
                      </a:endParaRP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FE3E6"/>
                    </a:solidFill>
                  </a:tcPr>
                </a:tc>
                <a:tc>
                  <a:txBody>
                    <a:bodyPr/>
                    <a:lstStyle/>
                    <a:p>
                      <a:pPr algn="r" fontAlgn="b"/>
                      <a:r>
                        <a:rPr lang="nl-NL" sz="800" b="0" i="0" u="none" strike="noStrike" dirty="0">
                          <a:solidFill>
                            <a:srgbClr val="000000"/>
                          </a:solidFill>
                          <a:effectLst/>
                          <a:latin typeface="+mj-lt"/>
                        </a:rPr>
                        <a:t>-125,25</a:t>
                      </a: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48.110</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pPr algn="r" fontAlgn="b"/>
                      <a:r>
                        <a:rPr lang="nl-NL" sz="800" b="0" i="0" u="none" strike="noStrike" dirty="0">
                          <a:solidFill>
                            <a:srgbClr val="000000"/>
                          </a:solidFill>
                          <a:effectLst/>
                          <a:latin typeface="+mj-lt"/>
                        </a:rPr>
                        <a:t>1,538</a:t>
                      </a: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pPr algn="l" fontAlgn="b"/>
                      <a:endParaRPr lang="nl-NL" sz="800" b="0" i="0" u="none" strike="noStrike" dirty="0">
                        <a:solidFill>
                          <a:srgbClr val="000000"/>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0" i="0" u="none" strike="noStrike" dirty="0">
                          <a:solidFill>
                            <a:srgbClr val="BF211E"/>
                          </a:solidFill>
                          <a:effectLst/>
                          <a:latin typeface="+mj-lt"/>
                        </a:rPr>
                        <a:t>-9.3 </a:t>
                      </a:r>
                      <a:r>
                        <a:rPr lang="nl-NL" sz="800" b="0" i="0" u="none" strike="noStrike" dirty="0" err="1">
                          <a:solidFill>
                            <a:srgbClr val="BF211E"/>
                          </a:solidFill>
                          <a:effectLst/>
                          <a:latin typeface="+mj-lt"/>
                        </a:rPr>
                        <a:t>mln</a:t>
                      </a:r>
                      <a:endParaRPr lang="nl-NL" sz="800" b="0" i="0" u="none" strike="noStrike" dirty="0">
                        <a:solidFill>
                          <a:srgbClr val="BF211E"/>
                        </a:solidFill>
                        <a:effectLst/>
                        <a:latin typeface="+mj-lt"/>
                      </a:endParaRPr>
                    </a:p>
                  </a:txBody>
                  <a:tcPr marL="36000" marR="36000" marT="18000" marB="18000" anchor="b">
                    <a:lnL w="9525" cap="flat" cmpd="sng" algn="ctr">
                      <a:solidFill>
                        <a:schemeClr val="accent6">
                          <a:lumMod val="85000"/>
                        </a:schemeClr>
                      </a:solidFill>
                      <a:prstDash val="solid"/>
                      <a:round/>
                      <a:headEnd type="none" w="med" len="med"/>
                      <a:tailEnd type="none" w="med" len="med"/>
                    </a:lnL>
                    <a:lnR w="9525" cap="flat" cmpd="sng" algn="ctr">
                      <a:solidFill>
                        <a:schemeClr val="accent6">
                          <a:lumMod val="85000"/>
                        </a:schemeClr>
                      </a:solidFill>
                      <a:prstDash val="solid"/>
                      <a:round/>
                      <a:headEnd type="none" w="med" len="med"/>
                      <a:tailEnd type="none" w="med" len="med"/>
                    </a:lnR>
                    <a:lnT w="9525" cap="flat" cmpd="sng" algn="ctr">
                      <a:solidFill>
                        <a:schemeClr val="accent6">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910420757"/>
                  </a:ext>
                </a:extLst>
              </a:tr>
              <a:tr h="0">
                <a:tc>
                  <a:txBody>
                    <a:bodyPr/>
                    <a:lstStyle/>
                    <a:p>
                      <a:pPr algn="l" fontAlgn="b"/>
                      <a:r>
                        <a:rPr lang="nl-NL" sz="800" b="1" i="0" u="none" strike="noStrike" dirty="0">
                          <a:solidFill>
                            <a:srgbClr val="FFFFFF"/>
                          </a:solidFill>
                          <a:effectLst/>
                          <a:latin typeface="+mj-lt"/>
                        </a:rPr>
                        <a:t>Totaal</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8ABB0"/>
                    </a:solidFill>
                  </a:tcPr>
                </a:tc>
                <a:tc>
                  <a:txBody>
                    <a:bodyPr/>
                    <a:lstStyle/>
                    <a:p>
                      <a:pPr algn="r" fontAlgn="ctr"/>
                      <a:endParaRPr lang="nl-NL" sz="800" b="1" i="0" u="none" strike="noStrike" dirty="0">
                        <a:solidFill>
                          <a:srgbClr val="FFFFFF"/>
                        </a:solidFill>
                        <a:effectLst/>
                        <a:latin typeface="+mj-lt"/>
                      </a:endParaRP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8ABB0"/>
                    </a:solidFill>
                  </a:tcPr>
                </a:tc>
                <a:tc>
                  <a:txBody>
                    <a:bodyPr/>
                    <a:lstStyle/>
                    <a:p>
                      <a:pPr algn="r" fontAlgn="ctr"/>
                      <a:endParaRPr lang="nl-NL" sz="800" b="1" i="0" u="none" strike="noStrike" dirty="0">
                        <a:solidFill>
                          <a:srgbClr val="FFFFFF"/>
                        </a:solidFill>
                        <a:effectLst/>
                        <a:latin typeface="+mj-lt"/>
                      </a:endParaRP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8ABB0"/>
                    </a:solidFill>
                  </a:tcPr>
                </a:tc>
                <a:tc>
                  <a:txBody>
                    <a:bodyPr/>
                    <a:lstStyle/>
                    <a:p>
                      <a:pPr algn="r" fontAlgn="ctr"/>
                      <a:endParaRPr lang="nl-NL" sz="800" b="1" i="0" u="none" strike="noStrike" dirty="0">
                        <a:solidFill>
                          <a:srgbClr val="FFFFFF"/>
                        </a:solidFill>
                        <a:effectLst/>
                        <a:latin typeface="+mj-lt"/>
                      </a:endParaRP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8ABB0"/>
                    </a:solidFill>
                  </a:tcPr>
                </a:tc>
                <a:tc>
                  <a:txBody>
                    <a:bodyPr/>
                    <a:lstStyle/>
                    <a:p>
                      <a:pPr algn="r" fontAlgn="ctr"/>
                      <a:endParaRPr lang="nl-NL" sz="800" b="1" i="0" u="none" strike="noStrike" kern="1200" dirty="0">
                        <a:solidFill>
                          <a:srgbClr val="FFFFFF"/>
                        </a:solidFill>
                        <a:effectLst/>
                        <a:latin typeface="+mj-lt"/>
                        <a:ea typeface="+mn-ea"/>
                        <a:cs typeface="+mn-cs"/>
                      </a:endParaRP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r" fontAlgn="b"/>
                      <a:r>
                        <a:rPr lang="nl-NL" sz="800" b="1" i="0" u="none" strike="noStrike" dirty="0">
                          <a:solidFill>
                            <a:srgbClr val="FFFFFF"/>
                          </a:solidFill>
                          <a:effectLst/>
                          <a:latin typeface="+mj-lt"/>
                        </a:rPr>
                        <a:t>€ 35.2 </a:t>
                      </a:r>
                      <a:r>
                        <a:rPr lang="nl-NL" sz="800" b="1" i="0" u="none" strike="noStrike" dirty="0" err="1">
                          <a:solidFill>
                            <a:srgbClr val="FFFFFF"/>
                          </a:solidFill>
                          <a:effectLst/>
                          <a:latin typeface="+mj-lt"/>
                        </a:rPr>
                        <a:t>mln</a:t>
                      </a:r>
                      <a:endParaRPr lang="nl-NL" sz="800" b="1" i="0" u="none" strike="noStrike" dirty="0">
                        <a:solidFill>
                          <a:srgbClr val="FFFFFF"/>
                        </a:solidFill>
                        <a:effectLst/>
                        <a:latin typeface="+mj-lt"/>
                      </a:endParaRPr>
                    </a:p>
                  </a:txBody>
                  <a:tcPr marL="36000" marR="36000" marT="18000" marB="1800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68ABB0"/>
                    </a:solidFill>
                  </a:tcPr>
                </a:tc>
                <a:extLst>
                  <a:ext uri="{0D108BD9-81ED-4DB2-BD59-A6C34878D82A}">
                    <a16:rowId xmlns:a16="http://schemas.microsoft.com/office/drawing/2014/main" val="2112521233"/>
                  </a:ext>
                </a:extLst>
              </a:tr>
            </a:tbl>
          </a:graphicData>
        </a:graphic>
      </p:graphicFrame>
      <p:sp>
        <p:nvSpPr>
          <p:cNvPr id="20" name="Rectangle 19">
            <a:extLst>
              <a:ext uri="{FF2B5EF4-FFF2-40B4-BE49-F238E27FC236}">
                <a16:creationId xmlns:a16="http://schemas.microsoft.com/office/drawing/2014/main" id="{913E7B01-2B2E-4829-92FD-104D23378DC4}"/>
              </a:ext>
            </a:extLst>
          </p:cNvPr>
          <p:cNvSpPr/>
          <p:nvPr>
            <p:custDataLst>
              <p:tags r:id="rId2"/>
            </p:custDataLst>
          </p:nvPr>
        </p:nvSpPr>
        <p:spPr bwMode="auto">
          <a:xfrm>
            <a:off x="8928100" y="5246688"/>
            <a:ext cx="87313" cy="371475"/>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1D589C70-3045-478F-8509-5D2E12693969}"/>
              </a:ext>
            </a:extLst>
          </p:cNvPr>
          <p:cNvSpPr/>
          <p:nvPr>
            <p:custDataLst>
              <p:tags r:id="rId3"/>
            </p:custDataLst>
          </p:nvPr>
        </p:nvSpPr>
        <p:spPr bwMode="auto">
          <a:xfrm>
            <a:off x="8928100" y="4873625"/>
            <a:ext cx="160338" cy="373063"/>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5A4091D9-2BC3-4727-AC60-B715460E74E3}"/>
              </a:ext>
            </a:extLst>
          </p:cNvPr>
          <p:cNvSpPr/>
          <p:nvPr>
            <p:custDataLst>
              <p:tags r:id="rId4"/>
            </p:custDataLst>
          </p:nvPr>
        </p:nvSpPr>
        <p:spPr bwMode="auto">
          <a:xfrm>
            <a:off x="8928100" y="4502150"/>
            <a:ext cx="363538" cy="371475"/>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EAA097A-2311-4D3A-A191-71623D50BAC8}"/>
              </a:ext>
            </a:extLst>
          </p:cNvPr>
          <p:cNvSpPr/>
          <p:nvPr>
            <p:custDataLst>
              <p:tags r:id="rId5"/>
            </p:custDataLst>
          </p:nvPr>
        </p:nvSpPr>
        <p:spPr bwMode="auto">
          <a:xfrm>
            <a:off x="8928100" y="4129088"/>
            <a:ext cx="973138" cy="373063"/>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0003DB6-864E-4D13-9DD7-637607B2B4EE}"/>
              </a:ext>
            </a:extLst>
          </p:cNvPr>
          <p:cNvSpPr/>
          <p:nvPr>
            <p:custDataLst>
              <p:tags r:id="rId6"/>
            </p:custDataLst>
          </p:nvPr>
        </p:nvSpPr>
        <p:spPr bwMode="auto">
          <a:xfrm>
            <a:off x="8928100" y="3757613"/>
            <a:ext cx="1771650" cy="371475"/>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0D289C9F-F930-4F21-84F9-22FD8542136B}"/>
              </a:ext>
            </a:extLst>
          </p:cNvPr>
          <p:cNvSpPr/>
          <p:nvPr>
            <p:custDataLst>
              <p:tags r:id="rId7"/>
            </p:custDataLst>
          </p:nvPr>
        </p:nvSpPr>
        <p:spPr bwMode="auto">
          <a:xfrm>
            <a:off x="8928100" y="3384550"/>
            <a:ext cx="1306513" cy="373063"/>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560B8292-54D6-4000-9E99-8EA6B54F43DD}"/>
              </a:ext>
            </a:extLst>
          </p:cNvPr>
          <p:cNvSpPr/>
          <p:nvPr>
            <p:custDataLst>
              <p:tags r:id="rId8"/>
            </p:custDataLst>
          </p:nvPr>
        </p:nvSpPr>
        <p:spPr bwMode="auto">
          <a:xfrm>
            <a:off x="8928100" y="3013075"/>
            <a:ext cx="420688" cy="371475"/>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0F25D4B-180B-4BE2-A073-A1E925BF4AE3}"/>
              </a:ext>
            </a:extLst>
          </p:cNvPr>
          <p:cNvSpPr/>
          <p:nvPr>
            <p:custDataLst>
              <p:tags r:id="rId9"/>
            </p:custDataLst>
          </p:nvPr>
        </p:nvSpPr>
        <p:spPr bwMode="auto">
          <a:xfrm>
            <a:off x="8928100" y="2640013"/>
            <a:ext cx="14288" cy="373063"/>
          </a:xfrm>
          <a:prstGeom prst="rect">
            <a:avLst/>
          </a:prstGeom>
          <a:solidFill>
            <a:schemeClr val="accent2"/>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28" name="Straight Connector 27">
            <a:extLst>
              <a:ext uri="{FF2B5EF4-FFF2-40B4-BE49-F238E27FC236}">
                <a16:creationId xmlns:a16="http://schemas.microsoft.com/office/drawing/2014/main" id="{3E8F4A50-8C87-45EF-8FA4-734F48395B2C}"/>
              </a:ext>
            </a:extLst>
          </p:cNvPr>
          <p:cNvCxnSpPr/>
          <p:nvPr>
            <p:custDataLst>
              <p:tags r:id="rId10"/>
            </p:custDataLst>
          </p:nvPr>
        </p:nvCxnSpPr>
        <p:spPr bwMode="auto">
          <a:xfrm>
            <a:off x="8928100" y="2635250"/>
            <a:ext cx="0" cy="298767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9" name="Content 1">
            <a:extLst>
              <a:ext uri="{FF2B5EF4-FFF2-40B4-BE49-F238E27FC236}">
                <a16:creationId xmlns:a16="http://schemas.microsoft.com/office/drawing/2014/main" id="{D460D497-17D5-4DD0-B5D3-0C9690AC8FE2}"/>
              </a:ext>
            </a:extLst>
          </p:cNvPr>
          <p:cNvSpPr>
            <a:spLocks noGrp="1"/>
          </p:cNvSpPr>
          <p:nvPr>
            <p:custDataLst>
              <p:tags r:id="rId11"/>
            </p:custDataLst>
          </p:nvPr>
        </p:nvSpPr>
        <p:spPr bwMode="gray">
          <a:xfrm>
            <a:off x="9113838" y="4976813"/>
            <a:ext cx="5175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7A6AE7C4-1D28-4E54-A4B4-FD357227D7B1}" type="datetime'''''''''''''''''''''''''''''''''''''''''''''''''''''''1''''1'">
              <a:rPr lang="nl-NL" altLang="en-US" sz="1200" b="1" smtClean="0">
                <a:solidFill>
                  <a:schemeClr val="tx1"/>
                </a:solidFill>
              </a:rPr>
              <a:pPr/>
              <a:t>11</a:t>
            </a:fld>
            <a:r>
              <a:rPr lang="nl-NL" altLang="en-US" sz="1200" b="1">
                <a:solidFill>
                  <a:schemeClr val="tx1"/>
                </a:solidFill>
              </a:rPr>
              <a:t> </a:t>
            </a:r>
            <a:r>
              <a:rPr lang="nl-NL" altLang="en-US" sz="1200" b="1" dirty="0">
                <a:solidFill>
                  <a:schemeClr val="tx1"/>
                </a:solidFill>
              </a:rPr>
              <a:t>(3%)</a:t>
            </a:r>
            <a:endParaRPr lang="nl-NL" sz="1200" b="1" noProof="0" dirty="0">
              <a:solidFill>
                <a:schemeClr val="tx1"/>
              </a:solidFill>
              <a:latin typeface="+mn-lt"/>
            </a:endParaRPr>
          </a:p>
        </p:txBody>
      </p:sp>
      <p:sp>
        <p:nvSpPr>
          <p:cNvPr id="30" name="Content 1">
            <a:extLst>
              <a:ext uri="{FF2B5EF4-FFF2-40B4-BE49-F238E27FC236}">
                <a16:creationId xmlns:a16="http://schemas.microsoft.com/office/drawing/2014/main" id="{293E25AF-EAB3-4DF0-A8F4-D680BB21AC90}"/>
              </a:ext>
            </a:extLst>
          </p:cNvPr>
          <p:cNvSpPr>
            <a:spLocks noGrp="1"/>
          </p:cNvSpPr>
          <p:nvPr>
            <p:custDataLst>
              <p:tags r:id="rId12"/>
            </p:custDataLst>
          </p:nvPr>
        </p:nvSpPr>
        <p:spPr bwMode="gray">
          <a:xfrm>
            <a:off x="9040813" y="5349875"/>
            <a:ext cx="4540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EC34EA9-DF19-41E1-AC80-094956D74EA6}" type="datetime'''6'''''''''''''''''''''''''''''''''''''''''''''''''''">
              <a:rPr lang="nl-NL" altLang="en-US" sz="1200" b="1" smtClean="0">
                <a:solidFill>
                  <a:schemeClr val="tx1"/>
                </a:solidFill>
              </a:rPr>
              <a:pPr/>
              <a:t>6</a:t>
            </a:fld>
            <a:r>
              <a:rPr lang="nl-NL" altLang="en-US" sz="1200" b="1">
                <a:solidFill>
                  <a:schemeClr val="tx1"/>
                </a:solidFill>
              </a:rPr>
              <a:t> </a:t>
            </a:r>
            <a:r>
              <a:rPr lang="nl-NL" altLang="en-US" sz="1200" b="1" dirty="0">
                <a:solidFill>
                  <a:schemeClr val="tx1"/>
                </a:solidFill>
              </a:rPr>
              <a:t>(2%)</a:t>
            </a:r>
            <a:endParaRPr lang="nl-NL" sz="1200" b="1" noProof="0" dirty="0">
              <a:solidFill>
                <a:schemeClr val="tx1"/>
              </a:solidFill>
              <a:latin typeface="+mn-lt"/>
            </a:endParaRPr>
          </a:p>
        </p:txBody>
      </p:sp>
      <p:sp>
        <p:nvSpPr>
          <p:cNvPr id="31" name="Content 1">
            <a:extLst>
              <a:ext uri="{FF2B5EF4-FFF2-40B4-BE49-F238E27FC236}">
                <a16:creationId xmlns:a16="http://schemas.microsoft.com/office/drawing/2014/main" id="{1D6842F7-0C3F-4202-89B1-4A53BD3007DB}"/>
              </a:ext>
            </a:extLst>
          </p:cNvPr>
          <p:cNvSpPr>
            <a:spLocks noGrp="1"/>
          </p:cNvSpPr>
          <p:nvPr>
            <p:custDataLst>
              <p:tags r:id="rId13"/>
            </p:custDataLst>
          </p:nvPr>
        </p:nvSpPr>
        <p:spPr bwMode="gray">
          <a:xfrm>
            <a:off x="9374188" y="3116263"/>
            <a:ext cx="5381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033B2B2-327A-4080-A3BD-B0007A07C2E8}" type="datetime'''''''''''''''''2''''''''''''''''''''''''''''''''''9'''''''''">
              <a:rPr lang="nl-NL" altLang="en-US" sz="1200" b="1" smtClean="0">
                <a:solidFill>
                  <a:schemeClr val="tx1"/>
                </a:solidFill>
              </a:rPr>
              <a:pPr/>
              <a:t>29</a:t>
            </a:fld>
            <a:r>
              <a:rPr lang="nl-NL" altLang="en-US" sz="1200" b="1" dirty="0">
                <a:solidFill>
                  <a:schemeClr val="tx1"/>
                </a:solidFill>
              </a:rPr>
              <a:t> (8%)</a:t>
            </a:r>
            <a:endParaRPr lang="nl-NL" sz="1200" b="1" noProof="0" dirty="0">
              <a:solidFill>
                <a:schemeClr val="tx1"/>
              </a:solidFill>
              <a:latin typeface="+mn-lt"/>
            </a:endParaRPr>
          </a:p>
        </p:txBody>
      </p:sp>
      <p:sp>
        <p:nvSpPr>
          <p:cNvPr id="32" name="Content 1">
            <a:extLst>
              <a:ext uri="{FF2B5EF4-FFF2-40B4-BE49-F238E27FC236}">
                <a16:creationId xmlns:a16="http://schemas.microsoft.com/office/drawing/2014/main" id="{B28F8033-22B6-447E-99DE-8920FB21985C}"/>
              </a:ext>
            </a:extLst>
          </p:cNvPr>
          <p:cNvSpPr>
            <a:spLocks noGrp="1"/>
          </p:cNvSpPr>
          <p:nvPr>
            <p:custDataLst>
              <p:tags r:id="rId14"/>
            </p:custDataLst>
          </p:nvPr>
        </p:nvSpPr>
        <p:spPr bwMode="gray">
          <a:xfrm>
            <a:off x="10260013" y="3487738"/>
            <a:ext cx="6159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9E6E3B8-06D0-4BE1-9CF0-490AAB501585}" type="datetime'''''''''''''''''''''''''9''''''0'''''''''''''''''''''''''">
              <a:rPr lang="nl-NL" altLang="en-US" sz="1200" b="1" smtClean="0">
                <a:solidFill>
                  <a:schemeClr val="tx1"/>
                </a:solidFill>
              </a:rPr>
              <a:pPr/>
              <a:t>90</a:t>
            </a:fld>
            <a:r>
              <a:rPr lang="nl-NL" altLang="en-US" sz="1200" b="1">
                <a:solidFill>
                  <a:schemeClr val="tx1"/>
                </a:solidFill>
              </a:rPr>
              <a:t> </a:t>
            </a:r>
            <a:r>
              <a:rPr lang="nl-NL" altLang="en-US" sz="1200" b="1" dirty="0">
                <a:solidFill>
                  <a:schemeClr val="tx1"/>
                </a:solidFill>
              </a:rPr>
              <a:t>(26%)</a:t>
            </a:r>
            <a:endParaRPr lang="nl-NL" sz="1200" b="1" noProof="0" dirty="0">
              <a:solidFill>
                <a:schemeClr val="tx1"/>
              </a:solidFill>
              <a:latin typeface="+mn-lt"/>
            </a:endParaRPr>
          </a:p>
        </p:txBody>
      </p:sp>
      <p:sp>
        <p:nvSpPr>
          <p:cNvPr id="33" name="Content 1">
            <a:extLst>
              <a:ext uri="{FF2B5EF4-FFF2-40B4-BE49-F238E27FC236}">
                <a16:creationId xmlns:a16="http://schemas.microsoft.com/office/drawing/2014/main" id="{79C4B9B3-EE63-4207-81D6-687A94A66178}"/>
              </a:ext>
            </a:extLst>
          </p:cNvPr>
          <p:cNvSpPr>
            <a:spLocks noGrp="1"/>
          </p:cNvSpPr>
          <p:nvPr>
            <p:custDataLst>
              <p:tags r:id="rId15"/>
            </p:custDataLst>
          </p:nvPr>
        </p:nvSpPr>
        <p:spPr bwMode="gray">
          <a:xfrm>
            <a:off x="10725150" y="3860800"/>
            <a:ext cx="666750"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715035A0-1014-4E40-ADEA-C726EC06F052}" type="datetime'''''''''''''''''''''''''''1''22'''''''">
              <a:rPr lang="nl-NL" altLang="en-US" sz="1200" b="1" smtClean="0">
                <a:solidFill>
                  <a:schemeClr val="tx1"/>
                </a:solidFill>
              </a:rPr>
              <a:pPr/>
              <a:t>122</a:t>
            </a:fld>
            <a:r>
              <a:rPr lang="nl-NL" altLang="en-US" sz="1200" b="1">
                <a:solidFill>
                  <a:schemeClr val="tx1"/>
                </a:solidFill>
              </a:rPr>
              <a:t> </a:t>
            </a:r>
            <a:r>
              <a:rPr lang="nl-NL" altLang="en-US" sz="1200" b="1" dirty="0">
                <a:solidFill>
                  <a:schemeClr val="tx1"/>
                </a:solidFill>
              </a:rPr>
              <a:t>(35%)</a:t>
            </a:r>
            <a:endParaRPr lang="nl-NL" sz="1200" b="1" noProof="0" dirty="0">
              <a:solidFill>
                <a:schemeClr val="tx1"/>
              </a:solidFill>
              <a:latin typeface="+mn-lt"/>
            </a:endParaRPr>
          </a:p>
        </p:txBody>
      </p:sp>
      <p:sp>
        <p:nvSpPr>
          <p:cNvPr id="34" name="Content 1">
            <a:extLst>
              <a:ext uri="{FF2B5EF4-FFF2-40B4-BE49-F238E27FC236}">
                <a16:creationId xmlns:a16="http://schemas.microsoft.com/office/drawing/2014/main" id="{ECA0229F-F66D-43B7-89A0-F89845B0A026}"/>
              </a:ext>
            </a:extLst>
          </p:cNvPr>
          <p:cNvSpPr>
            <a:spLocks noGrp="1"/>
          </p:cNvSpPr>
          <p:nvPr>
            <p:custDataLst>
              <p:tags r:id="rId16"/>
            </p:custDataLst>
          </p:nvPr>
        </p:nvSpPr>
        <p:spPr bwMode="auto">
          <a:xfrm>
            <a:off x="8147050" y="4246563"/>
            <a:ext cx="6953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4EB7ECB-7029-415D-BF5E-D8317C781DE4}" type="datetime'€ ''''''''''''''''''1.''''''''''''''250''''''''-''1.500'''''">
              <a:rPr lang="nl-NL" altLang="en-US" sz="1000" smtClean="0">
                <a:solidFill>
                  <a:schemeClr val="tx1"/>
                </a:solidFill>
              </a:rPr>
              <a:pPr/>
              <a:t>€ 1.250-1.500</a:t>
            </a:fld>
            <a:endParaRPr lang="nl-NL" sz="1000" noProof="0" dirty="0">
              <a:solidFill>
                <a:schemeClr val="tx1"/>
              </a:solidFill>
              <a:latin typeface="+mn-lt"/>
            </a:endParaRPr>
          </a:p>
        </p:txBody>
      </p:sp>
      <p:sp>
        <p:nvSpPr>
          <p:cNvPr id="35" name="Content 1">
            <a:extLst>
              <a:ext uri="{FF2B5EF4-FFF2-40B4-BE49-F238E27FC236}">
                <a16:creationId xmlns:a16="http://schemas.microsoft.com/office/drawing/2014/main" id="{D2BFEA97-2749-4454-ACEC-B4D56BB8D4EF}"/>
              </a:ext>
            </a:extLst>
          </p:cNvPr>
          <p:cNvSpPr>
            <a:spLocks noGrp="1"/>
          </p:cNvSpPr>
          <p:nvPr>
            <p:custDataLst>
              <p:tags r:id="rId17"/>
            </p:custDataLst>
          </p:nvPr>
        </p:nvSpPr>
        <p:spPr bwMode="gray">
          <a:xfrm>
            <a:off x="9926638" y="4232275"/>
            <a:ext cx="606425" cy="16510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8885B34-ACE1-4303-97C5-2A8D9DD10AA4}" type="datetime'''''''''''''''''''''''67'''''''''''''''''''">
              <a:rPr lang="nl-NL" altLang="en-US" sz="1200" b="1" smtClean="0">
                <a:solidFill>
                  <a:schemeClr val="tx1"/>
                </a:solidFill>
              </a:rPr>
              <a:pPr/>
              <a:t>67</a:t>
            </a:fld>
            <a:r>
              <a:rPr lang="nl-NL" altLang="en-US" sz="1200" b="1">
                <a:solidFill>
                  <a:schemeClr val="tx1"/>
                </a:solidFill>
              </a:rPr>
              <a:t> </a:t>
            </a:r>
            <a:r>
              <a:rPr lang="nl-NL" altLang="en-US" sz="1200" b="1" dirty="0">
                <a:solidFill>
                  <a:schemeClr val="tx1"/>
                </a:solidFill>
              </a:rPr>
              <a:t>(19%)</a:t>
            </a:r>
            <a:endParaRPr lang="nl-NL" sz="1200" b="1" noProof="0" dirty="0">
              <a:solidFill>
                <a:schemeClr val="tx1"/>
              </a:solidFill>
              <a:latin typeface="+mn-lt"/>
            </a:endParaRPr>
          </a:p>
        </p:txBody>
      </p:sp>
      <p:sp>
        <p:nvSpPr>
          <p:cNvPr id="36" name="Content 1">
            <a:extLst>
              <a:ext uri="{FF2B5EF4-FFF2-40B4-BE49-F238E27FC236}">
                <a16:creationId xmlns:a16="http://schemas.microsoft.com/office/drawing/2014/main" id="{95533BF4-8A67-4EEE-B3FC-968211FB7698}"/>
              </a:ext>
            </a:extLst>
          </p:cNvPr>
          <p:cNvSpPr>
            <a:spLocks noGrp="1"/>
          </p:cNvSpPr>
          <p:nvPr>
            <p:custDataLst>
              <p:tags r:id="rId18"/>
            </p:custDataLst>
          </p:nvPr>
        </p:nvSpPr>
        <p:spPr bwMode="gray">
          <a:xfrm>
            <a:off x="9317038" y="4605338"/>
            <a:ext cx="5143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1D44F2D-A6A4-4318-9724-B553BED3CB97}" type="datetime'''''''''''''''''''''''''''2''''''''''''5'''''">
              <a:rPr lang="nl-NL" altLang="en-US" sz="1200" b="1" smtClean="0">
                <a:solidFill>
                  <a:schemeClr val="tx1"/>
                </a:solidFill>
              </a:rPr>
              <a:pPr/>
              <a:t>25</a:t>
            </a:fld>
            <a:r>
              <a:rPr lang="nl-NL" altLang="en-US" sz="1200" b="1">
                <a:solidFill>
                  <a:schemeClr val="tx1"/>
                </a:solidFill>
              </a:rPr>
              <a:t> </a:t>
            </a:r>
            <a:r>
              <a:rPr lang="nl-NL" altLang="en-US" sz="1200" b="1" dirty="0">
                <a:solidFill>
                  <a:schemeClr val="tx1"/>
                </a:solidFill>
              </a:rPr>
              <a:t>(7%)</a:t>
            </a:r>
            <a:endParaRPr lang="nl-NL" sz="1200" b="1" noProof="0" dirty="0">
              <a:solidFill>
                <a:schemeClr val="tx1"/>
              </a:solidFill>
              <a:latin typeface="+mn-lt"/>
            </a:endParaRPr>
          </a:p>
        </p:txBody>
      </p:sp>
      <p:sp>
        <p:nvSpPr>
          <p:cNvPr id="37" name="Content 1">
            <a:extLst>
              <a:ext uri="{FF2B5EF4-FFF2-40B4-BE49-F238E27FC236}">
                <a16:creationId xmlns:a16="http://schemas.microsoft.com/office/drawing/2014/main" id="{72D566C7-DAF0-40E6-8A98-9B6BD877C92C}"/>
              </a:ext>
            </a:extLst>
          </p:cNvPr>
          <p:cNvSpPr>
            <a:spLocks noGrp="1"/>
          </p:cNvSpPr>
          <p:nvPr>
            <p:custDataLst>
              <p:tags r:id="rId19"/>
            </p:custDataLst>
          </p:nvPr>
        </p:nvSpPr>
        <p:spPr bwMode="auto">
          <a:xfrm>
            <a:off x="8339138" y="3130550"/>
            <a:ext cx="5032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12307EB-B05C-4AAA-B5C2-B383DC088D90}" type="datetime'''''''''''''''''€'' 5''0''''''''0''''-''''7''''''5''0'">
              <a:rPr lang="nl-NL" altLang="en-US" sz="1000" smtClean="0">
                <a:solidFill>
                  <a:schemeClr val="tx1"/>
                </a:solidFill>
              </a:rPr>
              <a:pPr/>
              <a:t>€ 500-750</a:t>
            </a:fld>
            <a:endParaRPr lang="nl-NL" sz="1000" noProof="0" dirty="0">
              <a:solidFill>
                <a:schemeClr val="tx1"/>
              </a:solidFill>
              <a:latin typeface="+mn-lt"/>
            </a:endParaRPr>
          </a:p>
        </p:txBody>
      </p:sp>
      <p:sp>
        <p:nvSpPr>
          <p:cNvPr id="38" name="Content 1">
            <a:extLst>
              <a:ext uri="{FF2B5EF4-FFF2-40B4-BE49-F238E27FC236}">
                <a16:creationId xmlns:a16="http://schemas.microsoft.com/office/drawing/2014/main" id="{DECE7F0C-944A-4790-8CCD-D628B5F0DF1C}"/>
              </a:ext>
            </a:extLst>
          </p:cNvPr>
          <p:cNvSpPr>
            <a:spLocks noGrp="1"/>
          </p:cNvSpPr>
          <p:nvPr>
            <p:custDataLst>
              <p:tags r:id="rId20"/>
            </p:custDataLst>
          </p:nvPr>
        </p:nvSpPr>
        <p:spPr bwMode="auto">
          <a:xfrm>
            <a:off x="8243888" y="3502025"/>
            <a:ext cx="598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C627823-3F02-4BB9-A963-0E5312FB4F68}" type="datetime'''''€ ''75''''''''''''0''''''-1''''.0''''0''''''0'">
              <a:rPr lang="nl-NL" altLang="en-US" sz="1000" smtClean="0">
                <a:solidFill>
                  <a:schemeClr val="tx1"/>
                </a:solidFill>
              </a:rPr>
              <a:pPr/>
              <a:t>€ 750-1.000</a:t>
            </a:fld>
            <a:endParaRPr lang="nl-NL" sz="1000" noProof="0" dirty="0">
              <a:solidFill>
                <a:schemeClr val="tx1"/>
              </a:solidFill>
              <a:latin typeface="+mn-lt"/>
            </a:endParaRPr>
          </a:p>
        </p:txBody>
      </p:sp>
      <p:sp>
        <p:nvSpPr>
          <p:cNvPr id="39" name="Content 1">
            <a:extLst>
              <a:ext uri="{FF2B5EF4-FFF2-40B4-BE49-F238E27FC236}">
                <a16:creationId xmlns:a16="http://schemas.microsoft.com/office/drawing/2014/main" id="{4C07AE33-B66C-4B2D-A59C-6940D6DA8C9A}"/>
              </a:ext>
            </a:extLst>
          </p:cNvPr>
          <p:cNvSpPr>
            <a:spLocks noGrp="1"/>
          </p:cNvSpPr>
          <p:nvPr>
            <p:custDataLst>
              <p:tags r:id="rId21"/>
            </p:custDataLst>
          </p:nvPr>
        </p:nvSpPr>
        <p:spPr bwMode="auto">
          <a:xfrm>
            <a:off x="8142288" y="3875088"/>
            <a:ext cx="700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0702487-C0A7-448D-BE93-FA0D446E4DFC}" type="datetime'''''''''''€'' 1''.0''00''''''-1''''.2''5''''0'''''">
              <a:rPr lang="nl-NL" altLang="en-US" sz="1000" smtClean="0">
                <a:solidFill>
                  <a:schemeClr val="tx1"/>
                </a:solidFill>
              </a:rPr>
              <a:pPr/>
              <a:t>€ 1.000-1.250</a:t>
            </a:fld>
            <a:endParaRPr lang="nl-NL" sz="1000" noProof="0" dirty="0">
              <a:solidFill>
                <a:schemeClr val="tx1"/>
              </a:solidFill>
              <a:latin typeface="+mn-lt"/>
            </a:endParaRPr>
          </a:p>
        </p:txBody>
      </p:sp>
      <p:sp>
        <p:nvSpPr>
          <p:cNvPr id="40" name="Content 1">
            <a:extLst>
              <a:ext uri="{FF2B5EF4-FFF2-40B4-BE49-F238E27FC236}">
                <a16:creationId xmlns:a16="http://schemas.microsoft.com/office/drawing/2014/main" id="{67817953-A10C-44BB-8D2A-6F29013F3DE1}"/>
              </a:ext>
            </a:extLst>
          </p:cNvPr>
          <p:cNvSpPr>
            <a:spLocks noGrp="1"/>
          </p:cNvSpPr>
          <p:nvPr>
            <p:custDataLst>
              <p:tags r:id="rId22"/>
            </p:custDataLst>
          </p:nvPr>
        </p:nvSpPr>
        <p:spPr bwMode="auto">
          <a:xfrm>
            <a:off x="8158163" y="4619625"/>
            <a:ext cx="684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7475853-DA22-4990-8F6E-EAF5C56775DD}" type="datetime'''''''''€'' ''1''''''.''''''''500''''-1.''75''''''''''''0'">
              <a:rPr lang="nl-NL" altLang="en-US" sz="1000" smtClean="0">
                <a:solidFill>
                  <a:schemeClr val="tx1"/>
                </a:solidFill>
              </a:rPr>
              <a:pPr/>
              <a:t>€ 1.500-1.750</a:t>
            </a:fld>
            <a:endParaRPr lang="nl-NL" sz="1000" noProof="0" dirty="0">
              <a:solidFill>
                <a:schemeClr val="tx1"/>
              </a:solidFill>
              <a:latin typeface="+mn-lt"/>
            </a:endParaRPr>
          </a:p>
        </p:txBody>
      </p:sp>
      <p:sp>
        <p:nvSpPr>
          <p:cNvPr id="41" name="Content 1">
            <a:extLst>
              <a:ext uri="{FF2B5EF4-FFF2-40B4-BE49-F238E27FC236}">
                <a16:creationId xmlns:a16="http://schemas.microsoft.com/office/drawing/2014/main" id="{98EB9C54-AF17-464E-9964-5727E52CFDE1}"/>
              </a:ext>
            </a:extLst>
          </p:cNvPr>
          <p:cNvSpPr>
            <a:spLocks noGrp="1"/>
          </p:cNvSpPr>
          <p:nvPr>
            <p:custDataLst>
              <p:tags r:id="rId23"/>
            </p:custDataLst>
          </p:nvPr>
        </p:nvSpPr>
        <p:spPr bwMode="auto">
          <a:xfrm>
            <a:off x="8145463" y="4991100"/>
            <a:ext cx="696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B1117A1-0C44-489C-ADC3-D09A016AF5DB}" type="datetime'€'''' ''''1.''75''''''0-''''''''''2''''''''''.''''0''''0''''0'">
              <a:rPr lang="nl-NL" altLang="en-US" sz="1000" smtClean="0">
                <a:solidFill>
                  <a:schemeClr val="tx1"/>
                </a:solidFill>
              </a:rPr>
              <a:pPr/>
              <a:t>€ 1.750-2.000</a:t>
            </a:fld>
            <a:endParaRPr lang="nl-NL" sz="1000" noProof="0" dirty="0">
              <a:solidFill>
                <a:schemeClr val="tx1"/>
              </a:solidFill>
              <a:latin typeface="+mn-lt"/>
            </a:endParaRPr>
          </a:p>
        </p:txBody>
      </p:sp>
      <p:sp>
        <p:nvSpPr>
          <p:cNvPr id="42" name="Content 1">
            <a:extLst>
              <a:ext uri="{FF2B5EF4-FFF2-40B4-BE49-F238E27FC236}">
                <a16:creationId xmlns:a16="http://schemas.microsoft.com/office/drawing/2014/main" id="{9B5BB55A-A5CA-437E-9E54-44192B8DB8DD}"/>
              </a:ext>
            </a:extLst>
          </p:cNvPr>
          <p:cNvSpPr>
            <a:spLocks noGrp="1"/>
          </p:cNvSpPr>
          <p:nvPr>
            <p:custDataLst>
              <p:tags r:id="rId24"/>
            </p:custDataLst>
          </p:nvPr>
        </p:nvSpPr>
        <p:spPr bwMode="auto">
          <a:xfrm>
            <a:off x="8126413" y="5364163"/>
            <a:ext cx="715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958B0CA-232B-4F05-A961-FAADA3BC5C21}" type="datetime'''€ ''''2''''.''000''-''''2''''''.2''''''''''5''''0'''''">
              <a:rPr lang="nl-NL" altLang="en-US" sz="1000" smtClean="0">
                <a:solidFill>
                  <a:schemeClr val="tx1"/>
                </a:solidFill>
              </a:rPr>
              <a:pPr/>
              <a:t>€ 2.000-2.250</a:t>
            </a:fld>
            <a:endParaRPr lang="nl-NL" sz="1000" noProof="0" dirty="0">
              <a:solidFill>
                <a:schemeClr val="tx1"/>
              </a:solidFill>
              <a:latin typeface="+mn-lt"/>
            </a:endParaRPr>
          </a:p>
        </p:txBody>
      </p:sp>
      <p:sp>
        <p:nvSpPr>
          <p:cNvPr id="43" name="Content 1">
            <a:extLst>
              <a:ext uri="{FF2B5EF4-FFF2-40B4-BE49-F238E27FC236}">
                <a16:creationId xmlns:a16="http://schemas.microsoft.com/office/drawing/2014/main" id="{FA2F28D9-5182-4F17-BB2C-A0291AE1EEB5}"/>
              </a:ext>
            </a:extLst>
          </p:cNvPr>
          <p:cNvSpPr>
            <a:spLocks noGrp="1"/>
          </p:cNvSpPr>
          <p:nvPr>
            <p:custDataLst>
              <p:tags r:id="rId25"/>
            </p:custDataLst>
          </p:nvPr>
        </p:nvSpPr>
        <p:spPr bwMode="auto">
          <a:xfrm>
            <a:off x="8328025" y="2757488"/>
            <a:ext cx="514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7095ED8-1EE1-423C-87D6-5BDB59946EAD}" type="datetime'€ 2''''''50''''''-''''''''5''''''''''''''''''''''00'">
              <a:rPr lang="nl-NL" altLang="en-US" sz="1000" smtClean="0">
                <a:solidFill>
                  <a:schemeClr val="tx1"/>
                </a:solidFill>
              </a:rPr>
              <a:pPr/>
              <a:t>€ 250-500</a:t>
            </a:fld>
            <a:endParaRPr lang="nl-NL" sz="1000" noProof="0" dirty="0">
              <a:solidFill>
                <a:schemeClr val="tx1"/>
              </a:solidFill>
              <a:latin typeface="+mn-lt"/>
            </a:endParaRPr>
          </a:p>
        </p:txBody>
      </p:sp>
      <p:sp>
        <p:nvSpPr>
          <p:cNvPr id="44" name="Content 1">
            <a:extLst>
              <a:ext uri="{FF2B5EF4-FFF2-40B4-BE49-F238E27FC236}">
                <a16:creationId xmlns:a16="http://schemas.microsoft.com/office/drawing/2014/main" id="{6CBC2490-414A-47A5-AAEA-01634AFA6DC7}"/>
              </a:ext>
            </a:extLst>
          </p:cNvPr>
          <p:cNvSpPr>
            <a:spLocks noGrp="1"/>
          </p:cNvSpPr>
          <p:nvPr>
            <p:custDataLst>
              <p:tags r:id="rId26"/>
            </p:custDataLst>
          </p:nvPr>
        </p:nvSpPr>
        <p:spPr bwMode="gray">
          <a:xfrm>
            <a:off x="8967788" y="2743200"/>
            <a:ext cx="568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177AEFC-9B88-4AAF-B97B-A45E164B9BA8}" type="datetime'''''''''''''''1'''''''''''''''''''''''''">
              <a:rPr lang="nl-NL" altLang="en-US" sz="1200" b="1" smtClean="0">
                <a:solidFill>
                  <a:schemeClr val="tx1"/>
                </a:solidFill>
              </a:rPr>
              <a:pPr/>
              <a:t>1</a:t>
            </a:fld>
            <a:r>
              <a:rPr lang="nl-NL" altLang="en-US" sz="1200" b="1">
                <a:solidFill>
                  <a:schemeClr val="tx1"/>
                </a:solidFill>
              </a:rPr>
              <a:t> </a:t>
            </a:r>
            <a:r>
              <a:rPr lang="nl-NL" altLang="en-US" sz="1200" b="1" dirty="0">
                <a:solidFill>
                  <a:schemeClr val="tx1"/>
                </a:solidFill>
              </a:rPr>
              <a:t>(0,3%)</a:t>
            </a:r>
            <a:endParaRPr lang="nl-NL" sz="1200" b="1" noProof="0" dirty="0">
              <a:solidFill>
                <a:schemeClr val="tx1"/>
              </a:solidFill>
              <a:latin typeface="+mn-lt"/>
            </a:endParaRPr>
          </a:p>
        </p:txBody>
      </p:sp>
      <p:sp>
        <p:nvSpPr>
          <p:cNvPr id="46" name="TextBox 45">
            <a:extLst>
              <a:ext uri="{FF2B5EF4-FFF2-40B4-BE49-F238E27FC236}">
                <a16:creationId xmlns:a16="http://schemas.microsoft.com/office/drawing/2014/main" id="{1FE46C44-621D-48CF-B749-015F2594A641}"/>
              </a:ext>
            </a:extLst>
          </p:cNvPr>
          <p:cNvSpPr txBox="1"/>
          <p:nvPr/>
        </p:nvSpPr>
        <p:spPr>
          <a:xfrm>
            <a:off x="5964161" y="2635250"/>
            <a:ext cx="2551693" cy="417513"/>
          </a:xfrm>
          <a:prstGeom prst="rect">
            <a:avLst/>
          </a:prstGeom>
        </p:spPr>
        <p:txBody>
          <a:bodyPr vert="horz" wrap="square" lIns="91440" tIns="45720" rIns="91440" bIns="45720" rtlCol="0">
            <a:noAutofit/>
          </a:bodyPr>
          <a:lstStyle/>
          <a:p>
            <a:pPr marL="0" indent="0" algn="ctr">
              <a:buNone/>
            </a:pPr>
            <a:r>
              <a:rPr lang="nl-NL" sz="1000" dirty="0"/>
              <a:t>Uitkering gemeentefonds jeugd</a:t>
            </a:r>
            <a:br>
              <a:rPr lang="nl-NL" sz="1000" dirty="0"/>
            </a:br>
            <a:r>
              <a:rPr lang="nl-NL" sz="1000" dirty="0"/>
              <a:t>(€ / inwoner &lt;18 jaar)</a:t>
            </a:r>
            <a:endParaRPr lang="nl-NL" sz="1000" noProof="0" dirty="0"/>
          </a:p>
        </p:txBody>
      </p:sp>
      <p:sp>
        <p:nvSpPr>
          <p:cNvPr id="47" name="Speech Bubble: Rectangle 46">
            <a:extLst>
              <a:ext uri="{FF2B5EF4-FFF2-40B4-BE49-F238E27FC236}">
                <a16:creationId xmlns:a16="http://schemas.microsoft.com/office/drawing/2014/main" id="{C16D0348-C619-4444-BABB-DD202D3175DC}"/>
              </a:ext>
            </a:extLst>
          </p:cNvPr>
          <p:cNvSpPr/>
          <p:nvPr/>
        </p:nvSpPr>
        <p:spPr>
          <a:xfrm>
            <a:off x="10093108" y="2536213"/>
            <a:ext cx="1436112" cy="603638"/>
          </a:xfrm>
          <a:prstGeom prst="wedgeRectCallout">
            <a:avLst>
              <a:gd name="adj1" fmla="val -29817"/>
              <a:gd name="adj2" fmla="val 95956"/>
            </a:avLst>
          </a:prstGeom>
          <a:solidFill>
            <a:srgbClr val="FFFFFF"/>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Leeswijzer: 26% van gemeenten ontvang €750-1000 per jeugdige voor Jeugdzorg</a:t>
            </a:r>
            <a:r>
              <a:rPr kumimoji="0" lang="nl-NL" sz="1000" b="0" i="0" u="none" strike="noStrike" kern="1200" cap="none" spc="0" normalizeH="0" baseline="30000" noProof="0" dirty="0">
                <a:ln>
                  <a:noFill/>
                </a:ln>
                <a:effectLst/>
                <a:uLnTx/>
                <a:uFillTx/>
                <a:latin typeface="Corbel" panose="020B0503020204020204" pitchFamily="34" charset="0"/>
                <a:ea typeface="+mn-ea"/>
                <a:cs typeface="+mn-cs"/>
              </a:rPr>
              <a:t>2</a:t>
            </a:r>
          </a:p>
        </p:txBody>
      </p:sp>
    </p:spTree>
    <p:extLst>
      <p:ext uri="{BB962C8B-B14F-4D97-AF65-F5344CB8AC3E}">
        <p14:creationId xmlns:p14="http://schemas.microsoft.com/office/powerpoint/2010/main" val="34161181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Clr>
                <a:schemeClr val="bg1"/>
              </a:buClr>
              <a:buNone/>
            </a:pPr>
            <a:r>
              <a:rPr lang="nl-NL" dirty="0"/>
              <a:t>Foto voorkant en agenda: </a:t>
            </a:r>
            <a:r>
              <a:rPr lang="nl-NL" dirty="0" err="1"/>
              <a:t>Mikail</a:t>
            </a:r>
            <a:r>
              <a:rPr lang="nl-NL" dirty="0"/>
              <a:t> </a:t>
            </a:r>
            <a:r>
              <a:rPr lang="nl-NL" dirty="0" err="1"/>
              <a:t>Duran</a:t>
            </a:r>
            <a:endParaRPr lang="nl-NL" dirty="0"/>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Hugo den Breejen (hugo.denbreejen@itspublic.nl)</a:t>
            </a:r>
          </a:p>
          <a:p>
            <a:r>
              <a:rPr lang="nl-NL" dirty="0"/>
              <a:t>Thijs Jacobs (thijs.jacobs@itspublic.nl)</a:t>
            </a:r>
          </a:p>
        </p:txBody>
      </p:sp>
    </p:spTree>
    <p:extLst>
      <p:ext uri="{BB962C8B-B14F-4D97-AF65-F5344CB8AC3E}">
        <p14:creationId xmlns:p14="http://schemas.microsoft.com/office/powerpoint/2010/main" val="306280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E644085-830E-4F1C-B8A6-DF5AC18C14AA}"/>
              </a:ext>
            </a:extLst>
          </p:cNvPr>
          <p:cNvGraphicFramePr>
            <a:graphicFrameLocks noChangeAspect="1"/>
          </p:cNvGraphicFramePr>
          <p:nvPr>
            <p:custDataLst>
              <p:tags r:id="rId1"/>
            </p:custDataLst>
            <p:extLst>
              <p:ext uri="{D42A27DB-BD31-4B8C-83A1-F6EECF244321}">
                <p14:modId xmlns:p14="http://schemas.microsoft.com/office/powerpoint/2010/main" val="75383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Content Placeholder 38">
            <a:extLst>
              <a:ext uri="{FF2B5EF4-FFF2-40B4-BE49-F238E27FC236}">
                <a16:creationId xmlns:a16="http://schemas.microsoft.com/office/drawing/2014/main" id="{793B6826-AB2C-4306-8993-93EDA66EADD8}"/>
              </a:ext>
            </a:extLst>
          </p:cNvPr>
          <p:cNvSpPr>
            <a:spLocks noGrp="1"/>
          </p:cNvSpPr>
          <p:nvPr>
            <p:ph sz="quarter" idx="31"/>
          </p:nvPr>
        </p:nvSpPr>
        <p:spPr>
          <a:xfrm>
            <a:off x="662780" y="1936729"/>
            <a:ext cx="3434400" cy="4284000"/>
          </a:xfrm>
        </p:spPr>
        <p:txBody>
          <a:bodyPr>
            <a:normAutofit/>
          </a:bodyPr>
          <a:lstStyle/>
          <a:p>
            <a:pPr>
              <a:spcBef>
                <a:spcPts val="1200"/>
              </a:spcBef>
            </a:pPr>
            <a:r>
              <a:rPr lang="nl-NL" sz="1600" dirty="0"/>
              <a:t>Als een gemeente normaal spreekt van een ‘tekort’, heeft zij het over het feit dat de uitgaven hoger zijn dan wat er begroot is</a:t>
            </a:r>
          </a:p>
          <a:p>
            <a:pPr>
              <a:spcBef>
                <a:spcPts val="1200"/>
              </a:spcBef>
            </a:pPr>
            <a:r>
              <a:rPr lang="nl-NL" sz="1600" dirty="0"/>
              <a:t>In deze publicatie is er sprake van een tekort als een gemeente meer uitgeeft dan binnenkrijgt via gemeentefonds (oftewel: moet bijleggen op jeugdzorg ten koste van andere domeinen)</a:t>
            </a:r>
          </a:p>
          <a:p>
            <a:pPr>
              <a:spcBef>
                <a:spcPts val="1200"/>
              </a:spcBef>
            </a:pPr>
            <a:r>
              <a:rPr lang="nl-NL" sz="1600" dirty="0"/>
              <a:t>Dit geeft een betere basis voor vergelijking aangezien de inkomsten in gemeentefonds op objectieve manier worden vastgesteld (niet gevoelig voor politieke keuzes om meer of minder voor jeugd te begroten)</a:t>
            </a:r>
          </a:p>
        </p:txBody>
      </p:sp>
      <p:sp>
        <p:nvSpPr>
          <p:cNvPr id="10" name="Text Placeholder 9">
            <a:extLst>
              <a:ext uri="{FF2B5EF4-FFF2-40B4-BE49-F238E27FC236}">
                <a16:creationId xmlns:a16="http://schemas.microsoft.com/office/drawing/2014/main" id="{BB17F6D8-4FBA-4CA5-90AF-3215F5048310}"/>
              </a:ext>
            </a:extLst>
          </p:cNvPr>
          <p:cNvSpPr>
            <a:spLocks noGrp="1"/>
          </p:cNvSpPr>
          <p:nvPr>
            <p:ph type="body" sz="quarter" idx="14"/>
          </p:nvPr>
        </p:nvSpPr>
        <p:spPr/>
        <p:txBody>
          <a:bodyPr/>
          <a:lstStyle/>
          <a:p>
            <a:r>
              <a:rPr lang="nl-NL" dirty="0"/>
              <a:t>Definitie tekort gebruikt in deze publicatie</a:t>
            </a:r>
          </a:p>
        </p:txBody>
      </p:sp>
      <p:sp>
        <p:nvSpPr>
          <p:cNvPr id="7" name="Title 6">
            <a:extLst>
              <a:ext uri="{FF2B5EF4-FFF2-40B4-BE49-F238E27FC236}">
                <a16:creationId xmlns:a16="http://schemas.microsoft.com/office/drawing/2014/main" id="{7B59F8CA-B6B9-4678-BA19-51C19C24E7FA}"/>
              </a:ext>
            </a:extLst>
          </p:cNvPr>
          <p:cNvSpPr>
            <a:spLocks noGrp="1"/>
          </p:cNvSpPr>
          <p:nvPr>
            <p:ph type="title"/>
          </p:nvPr>
        </p:nvSpPr>
        <p:spPr/>
        <p:txBody>
          <a:bodyPr vert="horz"/>
          <a:lstStyle/>
          <a:p>
            <a:r>
              <a:rPr lang="nl-NL" dirty="0"/>
              <a:t>In deze publicatie worden tekorten vergeleken op basis van </a:t>
            </a:r>
            <a:br>
              <a:rPr lang="nl-NL" dirty="0"/>
            </a:br>
            <a:r>
              <a:rPr lang="nl-NL" dirty="0"/>
              <a:t>verschil uitgaven en inkomsten (niet begroting!)</a:t>
            </a:r>
          </a:p>
        </p:txBody>
      </p:sp>
      <p:sp>
        <p:nvSpPr>
          <p:cNvPr id="56" name="Content Placeholder 30">
            <a:extLst>
              <a:ext uri="{FF2B5EF4-FFF2-40B4-BE49-F238E27FC236}">
                <a16:creationId xmlns:a16="http://schemas.microsoft.com/office/drawing/2014/main" id="{281D3AD0-DD4B-4594-8847-4F091B7AD7A5}"/>
              </a:ext>
            </a:extLst>
          </p:cNvPr>
          <p:cNvSpPr txBox="1">
            <a:spLocks/>
          </p:cNvSpPr>
          <p:nvPr/>
        </p:nvSpPr>
        <p:spPr>
          <a:xfrm>
            <a:off x="4378800" y="1936729"/>
            <a:ext cx="2994413" cy="593540"/>
          </a:xfrm>
          <a:prstGeom prst="rect">
            <a:avLst/>
          </a:prstGeom>
          <a:noFill/>
          <a:ln w="38100">
            <a:noFill/>
            <a:prstDash val="soli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nl-NL"/>
            </a:defPPr>
            <a:lvl1pPr marL="0" indent="0">
              <a:buClr>
                <a:schemeClr val="tx2"/>
              </a:buClr>
              <a:buNone/>
              <a:defRPr kumimoji="0" sz="1600" b="1" i="0" u="none" strike="noStrike" cap="none" spc="0" normalizeH="0" baseline="0">
                <a:ln>
                  <a:noFill/>
                </a:ln>
                <a:solidFill>
                  <a:srgbClr val="EC6224"/>
                </a:solidFill>
                <a:effectLst/>
                <a:uLnTx/>
                <a:uFillTx/>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rgbClr val="22777B"/>
                </a:solidFill>
              </a:rPr>
              <a:t>Definitie tekort in deze publicatie:</a:t>
            </a:r>
          </a:p>
        </p:txBody>
      </p:sp>
      <p:sp>
        <p:nvSpPr>
          <p:cNvPr id="57" name="Content Placeholder 30">
            <a:extLst>
              <a:ext uri="{FF2B5EF4-FFF2-40B4-BE49-F238E27FC236}">
                <a16:creationId xmlns:a16="http://schemas.microsoft.com/office/drawing/2014/main" id="{FD7C891C-C07D-460D-B390-65C814AB41E6}"/>
              </a:ext>
            </a:extLst>
          </p:cNvPr>
          <p:cNvSpPr txBox="1">
            <a:spLocks/>
          </p:cNvSpPr>
          <p:nvPr/>
        </p:nvSpPr>
        <p:spPr>
          <a:xfrm>
            <a:off x="8094820" y="1936729"/>
            <a:ext cx="2994413" cy="593540"/>
          </a:xfrm>
          <a:prstGeom prst="rect">
            <a:avLst/>
          </a:prstGeom>
          <a:noFill/>
          <a:ln w="38100">
            <a:noFill/>
            <a:prstDash val="soli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nl-NL"/>
            </a:defPPr>
            <a:lvl1pPr marL="0" indent="0">
              <a:buClr>
                <a:schemeClr val="tx2"/>
              </a:buClr>
              <a:buNone/>
              <a:defRPr kumimoji="0" sz="1600" b="1" i="0" u="none" strike="noStrike" cap="none" spc="0" normalizeH="0" baseline="0">
                <a:ln>
                  <a:noFill/>
                </a:ln>
                <a:solidFill>
                  <a:srgbClr val="EC6224"/>
                </a:solidFill>
                <a:effectLst/>
                <a:uLnTx/>
                <a:uFillTx/>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rgbClr val="4F4F4F"/>
                </a:solidFill>
              </a:rPr>
              <a:t>Typische definitie tekort:</a:t>
            </a:r>
          </a:p>
        </p:txBody>
      </p:sp>
      <p:sp>
        <p:nvSpPr>
          <p:cNvPr id="32" name="Footer Placeholder 3">
            <a:extLst>
              <a:ext uri="{FF2B5EF4-FFF2-40B4-BE49-F238E27FC236}">
                <a16:creationId xmlns:a16="http://schemas.microsoft.com/office/drawing/2014/main" id="{C7C79DAB-318D-442F-B5CC-DAA43FFE77A2}"/>
              </a:ext>
            </a:extLst>
          </p:cNvPr>
          <p:cNvSpPr>
            <a:spLocks noGrp="1"/>
          </p:cNvSpPr>
          <p:nvPr>
            <p:ph type="ftr" sz="quarter" idx="3"/>
          </p:nvPr>
        </p:nvSpPr>
        <p:spPr>
          <a:xfrm>
            <a:off x="661800" y="6624637"/>
            <a:ext cx="10868400" cy="122400"/>
          </a:xfrm>
        </p:spPr>
        <p:txBody>
          <a:bodyPr/>
          <a:lstStyle/>
          <a:p>
            <a:r>
              <a:rPr lang="nl-NL" noProof="0" dirty="0"/>
              <a:t>Bron: it’s public analyse</a:t>
            </a:r>
          </a:p>
        </p:txBody>
      </p:sp>
      <p:sp>
        <p:nvSpPr>
          <p:cNvPr id="21" name="Text Placeholder 9">
            <a:hlinkClick r:id="rId5" action="ppaction://hlinksldjump"/>
            <a:extLst>
              <a:ext uri="{FF2B5EF4-FFF2-40B4-BE49-F238E27FC236}">
                <a16:creationId xmlns:a16="http://schemas.microsoft.com/office/drawing/2014/main" id="{DDBB0F8C-1B47-4D0D-8898-D591ACC86E37}"/>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408E94"/>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extra uitleg methodologie en achtergrond</a:t>
            </a:r>
          </a:p>
        </p:txBody>
      </p:sp>
      <p:pic>
        <p:nvPicPr>
          <p:cNvPr id="22" name="Graphic 21" descr="Right pointing backhand index">
            <a:hlinkClick r:id="rId6" action="ppaction://hlinksldjump"/>
            <a:extLst>
              <a:ext uri="{FF2B5EF4-FFF2-40B4-BE49-F238E27FC236}">
                <a16:creationId xmlns:a16="http://schemas.microsoft.com/office/drawing/2014/main" id="{76B81CCD-4F31-4F93-B7F7-8792508388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536175" y="128659"/>
            <a:ext cx="482600" cy="482600"/>
          </a:xfrm>
          <a:prstGeom prst="rect">
            <a:avLst/>
          </a:prstGeom>
        </p:spPr>
      </p:pic>
      <p:sp>
        <p:nvSpPr>
          <p:cNvPr id="43" name="Content Placeholder 30">
            <a:extLst>
              <a:ext uri="{FF2B5EF4-FFF2-40B4-BE49-F238E27FC236}">
                <a16:creationId xmlns:a16="http://schemas.microsoft.com/office/drawing/2014/main" id="{75CDE8D9-8B4F-4DCC-9A61-1A10C137282F}"/>
              </a:ext>
            </a:extLst>
          </p:cNvPr>
          <p:cNvSpPr txBox="1">
            <a:spLocks/>
          </p:cNvSpPr>
          <p:nvPr/>
        </p:nvSpPr>
        <p:spPr>
          <a:xfrm>
            <a:off x="8333789" y="2665235"/>
            <a:ext cx="2955600" cy="2674800"/>
          </a:xfrm>
          <a:prstGeom prst="rect">
            <a:avLst/>
          </a:prstGeom>
          <a:noFill/>
          <a:ln w="19050">
            <a:solidFill>
              <a:srgbClr val="8C8C8C"/>
            </a:solidFill>
          </a:ln>
        </p:spPr>
        <p:txBody>
          <a:bodyPr vert="horz" lIns="72000" tIns="72000" rIns="72000" bIns="72000" rtlCol="0" anchor="t">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600" b="1"/>
              <a:t> </a:t>
            </a:r>
          </a:p>
        </p:txBody>
      </p:sp>
      <p:sp>
        <p:nvSpPr>
          <p:cNvPr id="44" name="Rectangle 43">
            <a:extLst>
              <a:ext uri="{FF2B5EF4-FFF2-40B4-BE49-F238E27FC236}">
                <a16:creationId xmlns:a16="http://schemas.microsoft.com/office/drawing/2014/main" id="{76411377-2582-4D75-83D8-75FD8EB8D3F7}"/>
              </a:ext>
            </a:extLst>
          </p:cNvPr>
          <p:cNvSpPr/>
          <p:nvPr/>
        </p:nvSpPr>
        <p:spPr>
          <a:xfrm>
            <a:off x="8572327" y="2940775"/>
            <a:ext cx="2478524" cy="495644"/>
          </a:xfrm>
          <a:prstGeom prst="rect">
            <a:avLst/>
          </a:prstGeom>
          <a:solidFill>
            <a:srgbClr val="DBDBDB"/>
          </a:solidFill>
          <a:ln>
            <a:noFill/>
          </a:ln>
        </p:spPr>
        <p:txBody>
          <a:bodyPr vert="horz" lIns="72000" tIns="72000" rIns="72000" bIns="72000" rtlCol="0" anchor="ctr">
            <a:noAutofit/>
          </a:bodyPr>
          <a:lstStyle/>
          <a:p>
            <a:pPr marL="0" indent="0" algn="ctr">
              <a:buClr>
                <a:schemeClr val="tx2"/>
              </a:buClr>
              <a:buNone/>
            </a:pPr>
            <a:r>
              <a:rPr lang="nl-NL" sz="1600" b="1" dirty="0"/>
              <a:t>Uitgaven</a:t>
            </a:r>
          </a:p>
        </p:txBody>
      </p:sp>
      <p:sp>
        <p:nvSpPr>
          <p:cNvPr id="45" name="Rectangle 44">
            <a:extLst>
              <a:ext uri="{FF2B5EF4-FFF2-40B4-BE49-F238E27FC236}">
                <a16:creationId xmlns:a16="http://schemas.microsoft.com/office/drawing/2014/main" id="{0A20153B-3A3C-415F-8141-57A2353BD92D}"/>
              </a:ext>
            </a:extLst>
          </p:cNvPr>
          <p:cNvSpPr/>
          <p:nvPr/>
        </p:nvSpPr>
        <p:spPr>
          <a:xfrm>
            <a:off x="8572327" y="3788973"/>
            <a:ext cx="2478524" cy="495644"/>
          </a:xfrm>
          <a:prstGeom prst="rect">
            <a:avLst/>
          </a:prstGeom>
          <a:solidFill>
            <a:srgbClr val="DBDBDB"/>
          </a:solidFill>
          <a:ln>
            <a:noFill/>
          </a:ln>
        </p:spPr>
        <p:txBody>
          <a:bodyPr vert="horz" lIns="72000" tIns="72000" rIns="72000" bIns="72000" rtlCol="0" anchor="ctr">
            <a:noAutofit/>
          </a:bodyPr>
          <a:lstStyle/>
          <a:p>
            <a:pPr marL="0" indent="0" algn="ctr">
              <a:buClr>
                <a:schemeClr val="tx2"/>
              </a:buClr>
              <a:buNone/>
            </a:pPr>
            <a:r>
              <a:rPr lang="nl-NL" sz="1600" b="1" dirty="0"/>
              <a:t>Begroting</a:t>
            </a:r>
          </a:p>
        </p:txBody>
      </p:sp>
      <p:sp>
        <p:nvSpPr>
          <p:cNvPr id="46" name="Rectangle 45">
            <a:extLst>
              <a:ext uri="{FF2B5EF4-FFF2-40B4-BE49-F238E27FC236}">
                <a16:creationId xmlns:a16="http://schemas.microsoft.com/office/drawing/2014/main" id="{507E5D6C-F576-4F25-BE2B-16B32D5A3D83}"/>
              </a:ext>
            </a:extLst>
          </p:cNvPr>
          <p:cNvSpPr/>
          <p:nvPr/>
        </p:nvSpPr>
        <p:spPr>
          <a:xfrm>
            <a:off x="8572327" y="4637172"/>
            <a:ext cx="2478524" cy="495644"/>
          </a:xfrm>
          <a:prstGeom prst="rect">
            <a:avLst/>
          </a:prstGeom>
          <a:solidFill>
            <a:srgbClr val="8C8C8C"/>
          </a:solidFill>
          <a:ln>
            <a:noFill/>
          </a:ln>
        </p:spPr>
        <p:txBody>
          <a:bodyPr vert="horz" lIns="72000" tIns="72000" rIns="72000" bIns="72000" rtlCol="0" anchor="ctr">
            <a:noAutofit/>
          </a:bodyPr>
          <a:lstStyle/>
          <a:p>
            <a:pPr marL="0" indent="0" algn="ctr">
              <a:buClr>
                <a:schemeClr val="tx2"/>
              </a:buClr>
              <a:buNone/>
            </a:pPr>
            <a:r>
              <a:rPr lang="nl-NL" sz="1600" b="1" dirty="0">
                <a:solidFill>
                  <a:srgbClr val="FFFFFF"/>
                </a:solidFill>
              </a:rPr>
              <a:t>Tekort op begroting</a:t>
            </a:r>
          </a:p>
        </p:txBody>
      </p:sp>
      <p:sp>
        <p:nvSpPr>
          <p:cNvPr id="47" name="Minus Sign 46">
            <a:extLst>
              <a:ext uri="{FF2B5EF4-FFF2-40B4-BE49-F238E27FC236}">
                <a16:creationId xmlns:a16="http://schemas.microsoft.com/office/drawing/2014/main" id="{B9C599DF-D4A3-4382-B01B-15F454B20F2B}"/>
              </a:ext>
            </a:extLst>
          </p:cNvPr>
          <p:cNvSpPr/>
          <p:nvPr/>
        </p:nvSpPr>
        <p:spPr>
          <a:xfrm>
            <a:off x="9638023" y="3439129"/>
            <a:ext cx="347133" cy="347133"/>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Equals 47">
            <a:extLst>
              <a:ext uri="{FF2B5EF4-FFF2-40B4-BE49-F238E27FC236}">
                <a16:creationId xmlns:a16="http://schemas.microsoft.com/office/drawing/2014/main" id="{7BEC5B76-DFA7-4ACC-B242-9F78678617B1}"/>
              </a:ext>
            </a:extLst>
          </p:cNvPr>
          <p:cNvSpPr/>
          <p:nvPr/>
        </p:nvSpPr>
        <p:spPr>
          <a:xfrm>
            <a:off x="9638023" y="4320558"/>
            <a:ext cx="347133" cy="280674"/>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5" name="Content Placeholder 30">
            <a:extLst>
              <a:ext uri="{FF2B5EF4-FFF2-40B4-BE49-F238E27FC236}">
                <a16:creationId xmlns:a16="http://schemas.microsoft.com/office/drawing/2014/main" id="{967C3F3F-8C81-4F36-85AA-EAF242065400}"/>
              </a:ext>
            </a:extLst>
          </p:cNvPr>
          <p:cNvSpPr txBox="1">
            <a:spLocks/>
          </p:cNvSpPr>
          <p:nvPr/>
        </p:nvSpPr>
        <p:spPr>
          <a:xfrm>
            <a:off x="4617769" y="2665187"/>
            <a:ext cx="2956462" cy="2674848"/>
          </a:xfrm>
          <a:prstGeom prst="rect">
            <a:avLst/>
          </a:prstGeom>
          <a:noFill/>
          <a:ln w="3810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indent="0">
              <a:buClr>
                <a:schemeClr val="tx2"/>
              </a:buClr>
              <a:buNone/>
              <a:defRPr kumimoji="0" sz="1600" b="1" i="0" u="none" strike="noStrike" cap="none" spc="0" normalizeH="0" baseline="0">
                <a:ln>
                  <a:noFill/>
                </a:ln>
                <a:solidFill>
                  <a:srgbClr val="EC6224"/>
                </a:solidFill>
                <a:effectLst/>
                <a:uLnTx/>
                <a:uFillTx/>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endParaRPr lang="nl-NL" dirty="0">
              <a:solidFill>
                <a:srgbClr val="000000"/>
              </a:solidFill>
            </a:endParaRPr>
          </a:p>
        </p:txBody>
      </p:sp>
      <p:sp>
        <p:nvSpPr>
          <p:cNvPr id="58" name="Rectangle 57">
            <a:extLst>
              <a:ext uri="{FF2B5EF4-FFF2-40B4-BE49-F238E27FC236}">
                <a16:creationId xmlns:a16="http://schemas.microsoft.com/office/drawing/2014/main" id="{C45FB776-1E0A-43A1-8A4A-D3959D7B094A}"/>
              </a:ext>
            </a:extLst>
          </p:cNvPr>
          <p:cNvSpPr/>
          <p:nvPr/>
        </p:nvSpPr>
        <p:spPr>
          <a:xfrm>
            <a:off x="4856738" y="2940775"/>
            <a:ext cx="2478524" cy="495644"/>
          </a:xfrm>
          <a:prstGeom prst="rect">
            <a:avLst/>
          </a:prstGeom>
          <a:solidFill>
            <a:srgbClr val="95C5C9"/>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600" b="1" dirty="0"/>
              <a:t>Uitgaven</a:t>
            </a:r>
          </a:p>
        </p:txBody>
      </p:sp>
      <p:sp>
        <p:nvSpPr>
          <p:cNvPr id="59" name="Rectangle 58">
            <a:extLst>
              <a:ext uri="{FF2B5EF4-FFF2-40B4-BE49-F238E27FC236}">
                <a16:creationId xmlns:a16="http://schemas.microsoft.com/office/drawing/2014/main" id="{1CF950C8-FDFC-4363-94E5-5520770BE652}"/>
              </a:ext>
            </a:extLst>
          </p:cNvPr>
          <p:cNvSpPr/>
          <p:nvPr/>
        </p:nvSpPr>
        <p:spPr>
          <a:xfrm>
            <a:off x="4856738" y="3788974"/>
            <a:ext cx="2478524" cy="495644"/>
          </a:xfrm>
          <a:prstGeom prst="rect">
            <a:avLst/>
          </a:prstGeom>
          <a:solidFill>
            <a:srgbClr val="95C5C9"/>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600" b="1" dirty="0"/>
              <a:t>Inkomsten uit gemeentefonds</a:t>
            </a:r>
          </a:p>
        </p:txBody>
      </p:sp>
      <p:sp>
        <p:nvSpPr>
          <p:cNvPr id="60" name="Rectangle 59">
            <a:extLst>
              <a:ext uri="{FF2B5EF4-FFF2-40B4-BE49-F238E27FC236}">
                <a16:creationId xmlns:a16="http://schemas.microsoft.com/office/drawing/2014/main" id="{CAC1271B-4016-4023-8D21-F5518E3B3B2C}"/>
              </a:ext>
            </a:extLst>
          </p:cNvPr>
          <p:cNvSpPr/>
          <p:nvPr/>
        </p:nvSpPr>
        <p:spPr>
          <a:xfrm>
            <a:off x="4856738" y="4637172"/>
            <a:ext cx="2478524" cy="495644"/>
          </a:xfrm>
          <a:prstGeom prst="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600" b="1" dirty="0">
                <a:solidFill>
                  <a:srgbClr val="FFFFFF"/>
                </a:solidFill>
              </a:rPr>
              <a:t>Werkelijk tekort</a:t>
            </a:r>
          </a:p>
        </p:txBody>
      </p:sp>
      <p:sp>
        <p:nvSpPr>
          <p:cNvPr id="61" name="Minus Sign 60">
            <a:extLst>
              <a:ext uri="{FF2B5EF4-FFF2-40B4-BE49-F238E27FC236}">
                <a16:creationId xmlns:a16="http://schemas.microsoft.com/office/drawing/2014/main" id="{07AE6065-556E-4813-9733-58D7234EC91A}"/>
              </a:ext>
            </a:extLst>
          </p:cNvPr>
          <p:cNvSpPr/>
          <p:nvPr/>
        </p:nvSpPr>
        <p:spPr>
          <a:xfrm>
            <a:off x="5922434" y="3439130"/>
            <a:ext cx="347133" cy="347133"/>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Equals 61">
            <a:extLst>
              <a:ext uri="{FF2B5EF4-FFF2-40B4-BE49-F238E27FC236}">
                <a16:creationId xmlns:a16="http://schemas.microsoft.com/office/drawing/2014/main" id="{E6541F88-5B58-4CBE-B6E3-0D964024808A}"/>
              </a:ext>
            </a:extLst>
          </p:cNvPr>
          <p:cNvSpPr/>
          <p:nvPr/>
        </p:nvSpPr>
        <p:spPr>
          <a:xfrm>
            <a:off x="5922434" y="4320558"/>
            <a:ext cx="347133" cy="280674"/>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295007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BA1877FE-EBF6-4AD1-B70B-088BAAEAD6FD}"/>
              </a:ext>
            </a:extLst>
          </p:cNvPr>
          <p:cNvPicPr>
            <a:picLocks noChangeAspect="1"/>
          </p:cNvPicPr>
          <p:nvPr/>
        </p:nvPicPr>
        <p:blipFill>
          <a:blip r:embed="rId6"/>
          <a:srcRect t="8756" b="8756"/>
          <a:stretch/>
        </p:blipFill>
        <p:spPr>
          <a:xfrm>
            <a:off x="163806" y="166778"/>
            <a:ext cx="11864388" cy="6524444"/>
          </a:xfrm>
          <a:prstGeom prst="roundRect">
            <a:avLst>
              <a:gd name="adj" fmla="val 2247"/>
            </a:avLst>
          </a:prstGeom>
        </p:spPr>
      </p:pic>
      <p:sp>
        <p:nvSpPr>
          <p:cNvPr id="3" name="Rectangle: Rounded Corners 2">
            <a:extLst>
              <a:ext uri="{FF2B5EF4-FFF2-40B4-BE49-F238E27FC236}">
                <a16:creationId xmlns:a16="http://schemas.microsoft.com/office/drawing/2014/main" id="{F742646D-2898-4D66-9983-5C934BDB676D}"/>
              </a:ext>
            </a:extLst>
          </p:cNvPr>
          <p:cNvSpPr/>
          <p:nvPr/>
        </p:nvSpPr>
        <p:spPr>
          <a:xfrm>
            <a:off x="1368284" y="847010"/>
            <a:ext cx="8100000" cy="5211192"/>
          </a:xfrm>
          <a:prstGeom prst="roundRect">
            <a:avLst>
              <a:gd name="adj" fmla="val 2527"/>
            </a:avLst>
          </a:prstGeom>
          <a:solidFill>
            <a:srgbClr val="22777B">
              <a:alpha val="90000"/>
            </a:srgb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sym typeface="Corbel" panose="020B0503020204020204" pitchFamily="34" charset="0"/>
            </a:endParaRPr>
          </a:p>
        </p:txBody>
      </p:sp>
      <p:sp>
        <p:nvSpPr>
          <p:cNvPr id="25" name="Text Placeholder 5">
            <a:extLst>
              <a:ext uri="{FF2B5EF4-FFF2-40B4-BE49-F238E27FC236}">
                <a16:creationId xmlns:a16="http://schemas.microsoft.com/office/drawing/2014/main" id="{60F09069-F494-45CA-8ACC-7993822D5D5C}"/>
              </a:ext>
            </a:extLst>
          </p:cNvPr>
          <p:cNvSpPr txBox="1">
            <a:spLocks/>
          </p:cNvSpPr>
          <p:nvPr/>
        </p:nvSpPr>
        <p:spPr>
          <a:xfrm>
            <a:off x="1761234" y="109902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solidFill>
                  <a:srgbClr val="FFFFFF"/>
                </a:solidFill>
                <a:ea typeface="+mj-ea"/>
                <a:cs typeface="+mj-cs"/>
                <a:sym typeface="Corbel" panose="020B0503020204020204" pitchFamily="34" charset="0"/>
              </a:rPr>
              <a:t>Inhoudsopgave</a:t>
            </a:r>
          </a:p>
        </p:txBody>
      </p:sp>
      <p:sp>
        <p:nvSpPr>
          <p:cNvPr id="13" name="Text Placeholder 5">
            <a:hlinkClick r:id="rId7" action="ppaction://hlinksldjump"/>
            <a:extLst>
              <a:ext uri="{FF2B5EF4-FFF2-40B4-BE49-F238E27FC236}">
                <a16:creationId xmlns:a16="http://schemas.microsoft.com/office/drawing/2014/main" id="{9BDDA7D9-924F-4747-856D-E90EFD4F5398}"/>
              </a:ext>
            </a:extLst>
          </p:cNvPr>
          <p:cNvSpPr txBox="1">
            <a:spLocks/>
          </p:cNvSpPr>
          <p:nvPr/>
        </p:nvSpPr>
        <p:spPr>
          <a:xfrm>
            <a:off x="2341436" y="2980259"/>
            <a:ext cx="6827730"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lang="nl-NL" b="1" dirty="0">
                <a:solidFill>
                  <a:prstClr val="white"/>
                </a:solidFill>
              </a:rPr>
              <a:t>Discussie: kunnen verschillen verminderd worden?</a:t>
            </a:r>
            <a:endPar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endParaRPr>
          </a:p>
        </p:txBody>
      </p:sp>
      <p:sp>
        <p:nvSpPr>
          <p:cNvPr id="14" name="Text Placeholder 5">
            <a:hlinkClick r:id="rId8" action="ppaction://hlinksldjump"/>
            <a:extLst>
              <a:ext uri="{FF2B5EF4-FFF2-40B4-BE49-F238E27FC236}">
                <a16:creationId xmlns:a16="http://schemas.microsoft.com/office/drawing/2014/main" id="{32B8864E-1DF3-4ABB-AF2B-6CB007C76AD2}"/>
              </a:ext>
            </a:extLst>
          </p:cNvPr>
          <p:cNvSpPr txBox="1">
            <a:spLocks/>
          </p:cNvSpPr>
          <p:nvPr/>
        </p:nvSpPr>
        <p:spPr>
          <a:xfrm>
            <a:off x="2341435" y="3705445"/>
            <a:ext cx="5587221" cy="526393"/>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n</a:t>
            </a:r>
          </a:p>
        </p:txBody>
      </p:sp>
      <p:sp>
        <p:nvSpPr>
          <p:cNvPr id="12" name="Text Placeholder 5">
            <a:hlinkClick r:id="rId9" action="ppaction://hlinksldjump"/>
            <a:extLst>
              <a:ext uri="{FF2B5EF4-FFF2-40B4-BE49-F238E27FC236}">
                <a16:creationId xmlns:a16="http://schemas.microsoft.com/office/drawing/2014/main" id="{A048D52B-9B96-4413-A573-55E663852D7F}"/>
              </a:ext>
            </a:extLst>
          </p:cNvPr>
          <p:cNvSpPr txBox="1">
            <a:spLocks/>
          </p:cNvSpPr>
          <p:nvPr/>
        </p:nvSpPr>
        <p:spPr>
          <a:xfrm>
            <a:off x="2341436" y="225507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2400" b="1"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Resultaten benchmark</a:t>
            </a:r>
          </a:p>
        </p:txBody>
      </p:sp>
      <p:pic>
        <p:nvPicPr>
          <p:cNvPr id="16" name="Graphic 15" descr="Arrow: Straight">
            <a:extLst>
              <a:ext uri="{FF2B5EF4-FFF2-40B4-BE49-F238E27FC236}">
                <a16:creationId xmlns:a16="http://schemas.microsoft.com/office/drawing/2014/main" id="{EF7EBCF3-658A-4717-BDE3-F2687284931C}"/>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flipH="1">
            <a:off x="1838835" y="2360981"/>
            <a:ext cx="418002" cy="396000"/>
          </a:xfrm>
          <a:prstGeom prst="rect">
            <a:avLst/>
          </a:prstGeom>
        </p:spPr>
      </p:pic>
      <p:sp>
        <p:nvSpPr>
          <p:cNvPr id="11" name="Text Placeholder 5">
            <a:hlinkClick r:id="rId12" action="ppaction://hlinksldjump"/>
            <a:extLst>
              <a:ext uri="{FF2B5EF4-FFF2-40B4-BE49-F238E27FC236}">
                <a16:creationId xmlns:a16="http://schemas.microsoft.com/office/drawing/2014/main" id="{0A6E4B3A-B3D6-402C-B7E5-349391399E4F}"/>
              </a:ext>
            </a:extLst>
          </p:cNvPr>
          <p:cNvSpPr txBox="1">
            <a:spLocks/>
          </p:cNvSpPr>
          <p:nvPr/>
        </p:nvSpPr>
        <p:spPr>
          <a:xfrm>
            <a:off x="2682135" y="460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2: extra uitleg methodologie en achtergrond</a:t>
            </a:r>
          </a:p>
        </p:txBody>
      </p:sp>
      <p:sp>
        <p:nvSpPr>
          <p:cNvPr id="17" name="Text Placeholder 5">
            <a:hlinkClick r:id="rId8" action="ppaction://hlinksldjump"/>
            <a:extLst>
              <a:ext uri="{FF2B5EF4-FFF2-40B4-BE49-F238E27FC236}">
                <a16:creationId xmlns:a16="http://schemas.microsoft.com/office/drawing/2014/main" id="{A2A88571-F917-4C91-819D-77C18147F121}"/>
              </a:ext>
            </a:extLst>
          </p:cNvPr>
          <p:cNvSpPr txBox="1">
            <a:spLocks/>
          </p:cNvSpPr>
          <p:nvPr/>
        </p:nvSpPr>
        <p:spPr>
          <a:xfrm>
            <a:off x="2682135" y="4249907"/>
            <a:ext cx="6827730" cy="360000"/>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ct val="0"/>
              </a:spcBef>
              <a:spcAft>
                <a:spcPts val="0"/>
              </a:spcAft>
              <a:buClr>
                <a:srgbClr val="FF0000"/>
              </a:buClr>
              <a:buSzTx/>
              <a:buFontTx/>
              <a:buNone/>
              <a:tabLst/>
              <a:defRPr/>
            </a:pPr>
            <a:r>
              <a:rPr kumimoji="0" lang="nl-NL" sz="1800" i="0" u="none" strike="noStrike" kern="1200" cap="none" spc="0" normalizeH="0" baseline="0" noProof="0" dirty="0">
                <a:ln>
                  <a:noFill/>
                </a:ln>
                <a:solidFill>
                  <a:prstClr val="white"/>
                </a:solidFill>
                <a:effectLst/>
                <a:uLnTx/>
                <a:uFillTx/>
                <a:latin typeface="Corbel" panose="020B0503020204020204" pitchFamily="34" charset="0"/>
                <a:ea typeface="+mn-ea"/>
                <a:cs typeface="+mn-cs"/>
              </a:rPr>
              <a:t>Bijlage 1: tekort per gemeente (groot-klein &amp; alfabetisch)</a:t>
            </a:r>
          </a:p>
        </p:txBody>
      </p:sp>
    </p:spTree>
    <p:extLst>
      <p:ext uri="{BB962C8B-B14F-4D97-AF65-F5344CB8AC3E}">
        <p14:creationId xmlns:p14="http://schemas.microsoft.com/office/powerpoint/2010/main" val="3903518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76970E34-799F-4814-8A32-A2383A064571}"/>
              </a:ext>
            </a:extLst>
          </p:cNvPr>
          <p:cNvGraphicFramePr>
            <a:graphicFrameLocks noChangeAspect="1"/>
          </p:cNvGraphicFramePr>
          <p:nvPr>
            <p:custDataLst>
              <p:tags r:id="rId1"/>
            </p:custDataLst>
            <p:extLst>
              <p:ext uri="{D42A27DB-BD31-4B8C-83A1-F6EECF244321}">
                <p14:modId xmlns:p14="http://schemas.microsoft.com/office/powerpoint/2010/main" val="702247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5" imgH="424" progId="TCLayout.ActiveDocument.1">
                  <p:embed/>
                </p:oleObj>
              </mc:Choice>
              <mc:Fallback>
                <p:oleObj name="think-cell Slide" r:id="rId40" imgW="425" imgH="424"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CA5365F-FE5E-4FC5-8660-42A67029A834}"/>
              </a:ext>
            </a:extLst>
          </p:cNvPr>
          <p:cNvSpPr>
            <a:spLocks noGrp="1"/>
          </p:cNvSpPr>
          <p:nvPr>
            <p:ph type="ftr" sz="quarter" idx="3"/>
          </p:nvPr>
        </p:nvSpPr>
        <p:spPr/>
        <p:txBody>
          <a:bodyPr/>
          <a:lstStyle/>
          <a:p>
            <a:r>
              <a:rPr lang="nl-NL" dirty="0"/>
              <a:t>Bron: Iv3-data; AEF; it’s public analyse</a:t>
            </a:r>
          </a:p>
        </p:txBody>
      </p:sp>
      <p:sp>
        <p:nvSpPr>
          <p:cNvPr id="3" name="Slide Number Placeholder 2">
            <a:extLst>
              <a:ext uri="{FF2B5EF4-FFF2-40B4-BE49-F238E27FC236}">
                <a16:creationId xmlns:a16="http://schemas.microsoft.com/office/drawing/2014/main" id="{F2B86ACA-B549-482F-A1F0-6EDE9756A98C}"/>
              </a:ext>
            </a:extLst>
          </p:cNvPr>
          <p:cNvSpPr>
            <a:spLocks noGrp="1"/>
          </p:cNvSpPr>
          <p:nvPr>
            <p:ph type="sldNum" sz="quarter" idx="12"/>
          </p:nvPr>
        </p:nvSpPr>
        <p:spPr/>
        <p:txBody>
          <a:bodyPr/>
          <a:lstStyle/>
          <a:p>
            <a:fld id="{992CD0B2-8AB2-4C6C-8876-E15753662C9B}" type="slidenum">
              <a:rPr lang="nl-NL" smtClean="0"/>
              <a:pPr/>
              <a:t>6</a:t>
            </a:fld>
            <a:endParaRPr lang="nl-NL" dirty="0"/>
          </a:p>
        </p:txBody>
      </p:sp>
      <p:sp>
        <p:nvSpPr>
          <p:cNvPr id="369" name="Text Placeholder 368">
            <a:extLst>
              <a:ext uri="{FF2B5EF4-FFF2-40B4-BE49-F238E27FC236}">
                <a16:creationId xmlns:a16="http://schemas.microsoft.com/office/drawing/2014/main" id="{C86F29FD-20D2-47DD-A87A-85D83F8C785A}"/>
              </a:ext>
            </a:extLst>
          </p:cNvPr>
          <p:cNvSpPr>
            <a:spLocks noGrp="1"/>
          </p:cNvSpPr>
          <p:nvPr>
            <p:ph type="body" sz="quarter" idx="14"/>
          </p:nvPr>
        </p:nvSpPr>
        <p:spPr/>
        <p:txBody>
          <a:bodyPr/>
          <a:lstStyle/>
          <a:p>
            <a:r>
              <a:rPr lang="nl-NL" dirty="0"/>
              <a:t>Tekort jeugdzorg per gemeente, Nederland, 2019</a:t>
            </a:r>
          </a:p>
          <a:p>
            <a:r>
              <a:rPr lang="nl-NL" b="0" dirty="0"/>
              <a:t>Aantal gemeenten met bepaald tekort</a:t>
            </a:r>
          </a:p>
        </p:txBody>
      </p:sp>
      <p:sp>
        <p:nvSpPr>
          <p:cNvPr id="6" name="Title 5">
            <a:extLst>
              <a:ext uri="{FF2B5EF4-FFF2-40B4-BE49-F238E27FC236}">
                <a16:creationId xmlns:a16="http://schemas.microsoft.com/office/drawing/2014/main" id="{5F4DE33F-8492-40B8-B9D9-1FF02119B7C3}"/>
              </a:ext>
            </a:extLst>
          </p:cNvPr>
          <p:cNvSpPr>
            <a:spLocks noGrp="1"/>
          </p:cNvSpPr>
          <p:nvPr>
            <p:ph type="title"/>
          </p:nvPr>
        </p:nvSpPr>
        <p:spPr>
          <a:xfrm>
            <a:off x="662780" y="384876"/>
            <a:ext cx="10866441" cy="774000"/>
          </a:xfrm>
        </p:spPr>
        <p:txBody>
          <a:bodyPr vert="horz"/>
          <a:lstStyle/>
          <a:p>
            <a:r>
              <a:rPr lang="nl-NL" dirty="0"/>
              <a:t>Circa 97% van de gemeenten heeft een tekort op jeugdzorg, waarbij de grootte van het tekort sterk verschilt</a:t>
            </a:r>
          </a:p>
        </p:txBody>
      </p:sp>
      <p:sp>
        <p:nvSpPr>
          <p:cNvPr id="17" name="TextBox 16">
            <a:extLst>
              <a:ext uri="{FF2B5EF4-FFF2-40B4-BE49-F238E27FC236}">
                <a16:creationId xmlns:a16="http://schemas.microsoft.com/office/drawing/2014/main" id="{7991B5A1-E6C8-489E-BD7D-CE3AB1CC2769}"/>
              </a:ext>
            </a:extLst>
          </p:cNvPr>
          <p:cNvSpPr txBox="1"/>
          <p:nvPr/>
        </p:nvSpPr>
        <p:spPr>
          <a:xfrm>
            <a:off x="4736879" y="2238103"/>
            <a:ext cx="1539321" cy="477838"/>
          </a:xfrm>
          <a:prstGeom prst="rect">
            <a:avLst/>
          </a:prstGeom>
          <a:ln>
            <a:solidFill>
              <a:srgbClr val="FFBD42"/>
            </a:solidFill>
          </a:ln>
        </p:spPr>
        <p:txBody>
          <a:bodyPr vert="horz" wrap="square" lIns="91440" tIns="45720" rIns="91440" bIns="45720" rtlCol="0">
            <a:noAutofit/>
          </a:bodyPr>
          <a:lstStyle/>
          <a:p>
            <a:pPr marL="0" indent="0" algn="ctr">
              <a:buNone/>
            </a:pPr>
            <a:r>
              <a:rPr lang="nl-NL" sz="1100" dirty="0"/>
              <a:t>Landelijk gemiddelde:</a:t>
            </a:r>
          </a:p>
          <a:p>
            <a:pPr marL="0" indent="0" algn="ctr">
              <a:spcBef>
                <a:spcPts val="0"/>
              </a:spcBef>
              <a:buNone/>
            </a:pPr>
            <a:r>
              <a:rPr lang="nl-NL" sz="1800" b="1" dirty="0"/>
              <a:t>30</a:t>
            </a:r>
            <a:r>
              <a:rPr lang="nl-NL" sz="1800" b="1" noProof="0" dirty="0"/>
              <a:t>% tekort</a:t>
            </a:r>
            <a:endParaRPr lang="nl-NL" sz="1100" b="1" noProof="0" dirty="0"/>
          </a:p>
        </p:txBody>
      </p:sp>
      <p:cxnSp>
        <p:nvCxnSpPr>
          <p:cNvPr id="36" name="Straight Arrow Connector 35">
            <a:extLst>
              <a:ext uri="{FF2B5EF4-FFF2-40B4-BE49-F238E27FC236}">
                <a16:creationId xmlns:a16="http://schemas.microsoft.com/office/drawing/2014/main" id="{236849D9-6E35-46FC-BEA9-790ADED4C093}"/>
              </a:ext>
            </a:extLst>
          </p:cNvPr>
          <p:cNvCxnSpPr>
            <a:cxnSpLocks/>
          </p:cNvCxnSpPr>
          <p:nvPr/>
        </p:nvCxnSpPr>
        <p:spPr>
          <a:xfrm flipV="1">
            <a:off x="961734" y="3171825"/>
            <a:ext cx="0" cy="162560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59681AD-B279-41A9-8529-6FDB0A514897}"/>
              </a:ext>
            </a:extLst>
          </p:cNvPr>
          <p:cNvSpPr/>
          <p:nvPr/>
        </p:nvSpPr>
        <p:spPr>
          <a:xfrm>
            <a:off x="3148878" y="5863187"/>
            <a:ext cx="3556715" cy="439737"/>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lang="nl-NL" sz="1000" dirty="0"/>
              <a:t>97% van gemeenten heeft tekort</a:t>
            </a:r>
            <a:endParaRPr kumimoji="0" lang="nl-NL" sz="1000" b="0" i="0" u="none" strike="noStrike" kern="1200" cap="none" spc="0" normalizeH="0" baseline="0" noProof="0" dirty="0">
              <a:ln>
                <a:noFill/>
              </a:ln>
              <a:solidFill>
                <a:srgbClr val="000000"/>
              </a:solidFill>
              <a:effectLst/>
              <a:uLnTx/>
              <a:uFillTx/>
            </a:endParaRPr>
          </a:p>
        </p:txBody>
      </p:sp>
      <p:cxnSp>
        <p:nvCxnSpPr>
          <p:cNvPr id="39" name="Straight Arrow Connector 38">
            <a:extLst>
              <a:ext uri="{FF2B5EF4-FFF2-40B4-BE49-F238E27FC236}">
                <a16:creationId xmlns:a16="http://schemas.microsoft.com/office/drawing/2014/main" id="{554278F0-7FF8-4D5B-AC09-B82D5BB9A614}"/>
              </a:ext>
            </a:extLst>
          </p:cNvPr>
          <p:cNvCxnSpPr>
            <a:cxnSpLocks/>
          </p:cNvCxnSpPr>
          <p:nvPr/>
        </p:nvCxnSpPr>
        <p:spPr>
          <a:xfrm>
            <a:off x="3155229" y="5863187"/>
            <a:ext cx="1969221" cy="0"/>
          </a:xfrm>
          <a:prstGeom prst="straightConnector1">
            <a:avLst/>
          </a:prstGeom>
          <a:noFill/>
          <a:ln w="9525" cap="flat" cmpd="sng" algn="ctr">
            <a:solidFill>
              <a:srgbClr val="22777B"/>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FBBBC97B-A4F5-4371-AA6D-36C3FB7AE5C8}"/>
              </a:ext>
            </a:extLst>
          </p:cNvPr>
          <p:cNvSpPr/>
          <p:nvPr/>
        </p:nvSpPr>
        <p:spPr>
          <a:xfrm>
            <a:off x="500063" y="4894263"/>
            <a:ext cx="923343" cy="439738"/>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0" i="0" u="none" strike="noStrike" kern="1200" cap="none" spc="0" normalizeH="0" baseline="0" noProof="0" dirty="0">
                <a:ln>
                  <a:noFill/>
                </a:ln>
                <a:solidFill>
                  <a:srgbClr val="000000"/>
                </a:solidFill>
                <a:effectLst/>
                <a:uLnTx/>
                <a:uFillTx/>
              </a:rPr>
              <a:t>Aantal </a:t>
            </a:r>
            <a:br>
              <a:rPr kumimoji="0" lang="nl-NL" sz="1000" b="0" i="0" u="none" strike="noStrike" kern="1200" cap="none" spc="0" normalizeH="0" baseline="0" noProof="0" dirty="0">
                <a:ln>
                  <a:noFill/>
                </a:ln>
                <a:solidFill>
                  <a:srgbClr val="000000"/>
                </a:solidFill>
                <a:effectLst/>
                <a:uLnTx/>
                <a:uFillTx/>
              </a:rPr>
            </a:br>
            <a:r>
              <a:rPr kumimoji="0" lang="nl-NL" sz="1000" b="0" i="0" u="none" strike="noStrike" kern="1200" cap="none" spc="0" normalizeH="0" baseline="0" noProof="0" dirty="0">
                <a:ln>
                  <a:noFill/>
                </a:ln>
                <a:solidFill>
                  <a:srgbClr val="000000"/>
                </a:solidFill>
                <a:effectLst/>
                <a:uLnTx/>
                <a:uFillTx/>
              </a:rPr>
              <a:t>g</a:t>
            </a:r>
            <a:r>
              <a:rPr lang="nl-NL" sz="1000" dirty="0" err="1"/>
              <a:t>emeenten</a:t>
            </a:r>
            <a:br>
              <a:rPr lang="nl-NL" sz="1000" dirty="0"/>
            </a:br>
            <a:r>
              <a:rPr lang="nl-NL" sz="1000" dirty="0"/>
              <a:t>(% totaal)</a:t>
            </a:r>
            <a:endParaRPr kumimoji="0" lang="nl-NL" sz="1000" b="0" i="0" u="none" strike="noStrike" kern="1200" cap="none" spc="0" normalizeH="0" baseline="0" noProof="0" dirty="0">
              <a:ln>
                <a:noFill/>
              </a:ln>
              <a:solidFill>
                <a:srgbClr val="000000"/>
              </a:solidFill>
              <a:effectLst/>
              <a:uLnTx/>
              <a:uFillTx/>
            </a:endParaRPr>
          </a:p>
        </p:txBody>
      </p:sp>
      <p:sp>
        <p:nvSpPr>
          <p:cNvPr id="336" name="Rectangle 335">
            <a:extLst>
              <a:ext uri="{FF2B5EF4-FFF2-40B4-BE49-F238E27FC236}">
                <a16:creationId xmlns:a16="http://schemas.microsoft.com/office/drawing/2014/main" id="{203C8256-8175-42B7-AEF8-CA64431DDAC0}"/>
              </a:ext>
            </a:extLst>
          </p:cNvPr>
          <p:cNvSpPr/>
          <p:nvPr>
            <p:custDataLst>
              <p:tags r:id="rId2"/>
            </p:custDataLst>
          </p:nvPr>
        </p:nvSpPr>
        <p:spPr bwMode="auto">
          <a:xfrm>
            <a:off x="10248900" y="5251450"/>
            <a:ext cx="792163" cy="1063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21" name="Rectangle 320">
            <a:extLst>
              <a:ext uri="{FF2B5EF4-FFF2-40B4-BE49-F238E27FC236}">
                <a16:creationId xmlns:a16="http://schemas.microsoft.com/office/drawing/2014/main" id="{76FE60AA-07C7-4D8B-9C8E-9B17287F8420}"/>
              </a:ext>
            </a:extLst>
          </p:cNvPr>
          <p:cNvSpPr/>
          <p:nvPr>
            <p:custDataLst>
              <p:tags r:id="rId3"/>
            </p:custDataLst>
          </p:nvPr>
        </p:nvSpPr>
        <p:spPr bwMode="auto">
          <a:xfrm>
            <a:off x="9455149" y="5170488"/>
            <a:ext cx="793750" cy="18732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05" name="Rectangle 304">
            <a:extLst>
              <a:ext uri="{FF2B5EF4-FFF2-40B4-BE49-F238E27FC236}">
                <a16:creationId xmlns:a16="http://schemas.microsoft.com/office/drawing/2014/main" id="{35EF4C22-A64A-4771-9FCD-828CCAC6DA86}"/>
              </a:ext>
            </a:extLst>
          </p:cNvPr>
          <p:cNvSpPr/>
          <p:nvPr>
            <p:custDataLst>
              <p:tags r:id="rId4"/>
            </p:custDataLst>
          </p:nvPr>
        </p:nvSpPr>
        <p:spPr bwMode="auto">
          <a:xfrm>
            <a:off x="8662988" y="5251450"/>
            <a:ext cx="792163" cy="1063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89" name="Rectangle 288">
            <a:extLst>
              <a:ext uri="{FF2B5EF4-FFF2-40B4-BE49-F238E27FC236}">
                <a16:creationId xmlns:a16="http://schemas.microsoft.com/office/drawing/2014/main" id="{A7FDAB31-930A-4C2F-B3FA-02033171DEF3}"/>
              </a:ext>
            </a:extLst>
          </p:cNvPr>
          <p:cNvSpPr/>
          <p:nvPr>
            <p:custDataLst>
              <p:tags r:id="rId5"/>
            </p:custDataLst>
          </p:nvPr>
        </p:nvSpPr>
        <p:spPr bwMode="auto">
          <a:xfrm>
            <a:off x="7869238" y="4903788"/>
            <a:ext cx="793750" cy="45402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72" name="Rectangle 271">
            <a:extLst>
              <a:ext uri="{FF2B5EF4-FFF2-40B4-BE49-F238E27FC236}">
                <a16:creationId xmlns:a16="http://schemas.microsoft.com/office/drawing/2014/main" id="{0BAE6AC3-EF61-4FB9-939C-CE65055014CE}"/>
              </a:ext>
            </a:extLst>
          </p:cNvPr>
          <p:cNvSpPr/>
          <p:nvPr>
            <p:custDataLst>
              <p:tags r:id="rId6"/>
            </p:custDataLst>
          </p:nvPr>
        </p:nvSpPr>
        <p:spPr bwMode="auto">
          <a:xfrm>
            <a:off x="7077075" y="3995738"/>
            <a:ext cx="792163" cy="1362075"/>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60" name="Rectangle 259">
            <a:extLst>
              <a:ext uri="{FF2B5EF4-FFF2-40B4-BE49-F238E27FC236}">
                <a16:creationId xmlns:a16="http://schemas.microsoft.com/office/drawing/2014/main" id="{C61DC898-A08D-4055-BF1D-B56A8A4D7775}"/>
              </a:ext>
            </a:extLst>
          </p:cNvPr>
          <p:cNvSpPr/>
          <p:nvPr>
            <p:custDataLst>
              <p:tags r:id="rId7"/>
            </p:custDataLst>
          </p:nvPr>
        </p:nvSpPr>
        <p:spPr bwMode="auto">
          <a:xfrm>
            <a:off x="6284913" y="3968750"/>
            <a:ext cx="792163" cy="1389063"/>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43" name="Rectangle 242">
            <a:extLst>
              <a:ext uri="{FF2B5EF4-FFF2-40B4-BE49-F238E27FC236}">
                <a16:creationId xmlns:a16="http://schemas.microsoft.com/office/drawing/2014/main" id="{54162B83-0337-4F9A-9620-A57B2D2E6A13}"/>
              </a:ext>
            </a:extLst>
          </p:cNvPr>
          <p:cNvSpPr/>
          <p:nvPr>
            <p:custDataLst>
              <p:tags r:id="rId8"/>
            </p:custDataLst>
          </p:nvPr>
        </p:nvSpPr>
        <p:spPr bwMode="auto">
          <a:xfrm>
            <a:off x="5491163" y="3300413"/>
            <a:ext cx="793750" cy="2057400"/>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6" name="Rectangle 225">
            <a:extLst>
              <a:ext uri="{FF2B5EF4-FFF2-40B4-BE49-F238E27FC236}">
                <a16:creationId xmlns:a16="http://schemas.microsoft.com/office/drawing/2014/main" id="{BBA7C2BD-7D3D-46F7-A68C-8E57F9DE74D6}"/>
              </a:ext>
            </a:extLst>
          </p:cNvPr>
          <p:cNvSpPr/>
          <p:nvPr>
            <p:custDataLst>
              <p:tags r:id="rId9"/>
            </p:custDataLst>
          </p:nvPr>
        </p:nvSpPr>
        <p:spPr bwMode="auto">
          <a:xfrm>
            <a:off x="4699000" y="3514725"/>
            <a:ext cx="792163" cy="184308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0" name="Rectangle 209">
            <a:extLst>
              <a:ext uri="{FF2B5EF4-FFF2-40B4-BE49-F238E27FC236}">
                <a16:creationId xmlns:a16="http://schemas.microsoft.com/office/drawing/2014/main" id="{72CCAFDC-3B75-4BFC-8420-AB309531C3AD}"/>
              </a:ext>
            </a:extLst>
          </p:cNvPr>
          <p:cNvSpPr/>
          <p:nvPr>
            <p:custDataLst>
              <p:tags r:id="rId10"/>
            </p:custDataLst>
          </p:nvPr>
        </p:nvSpPr>
        <p:spPr bwMode="auto">
          <a:xfrm>
            <a:off x="3905250" y="4181474"/>
            <a:ext cx="793750" cy="117633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97" name="Rectangle 196">
            <a:extLst>
              <a:ext uri="{FF2B5EF4-FFF2-40B4-BE49-F238E27FC236}">
                <a16:creationId xmlns:a16="http://schemas.microsoft.com/office/drawing/2014/main" id="{BE09C757-FF62-42BF-9468-5EE512F5DD9D}"/>
              </a:ext>
            </a:extLst>
          </p:cNvPr>
          <p:cNvSpPr/>
          <p:nvPr>
            <p:custDataLst>
              <p:tags r:id="rId11"/>
            </p:custDataLst>
          </p:nvPr>
        </p:nvSpPr>
        <p:spPr bwMode="auto">
          <a:xfrm>
            <a:off x="3113088" y="4930775"/>
            <a:ext cx="792163" cy="427038"/>
          </a:xfrm>
          <a:prstGeom prst="rect">
            <a:avLst/>
          </a:prstGeom>
          <a:solidFill>
            <a:schemeClr val="accent1"/>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85" name="Rectangle 184">
            <a:extLst>
              <a:ext uri="{FF2B5EF4-FFF2-40B4-BE49-F238E27FC236}">
                <a16:creationId xmlns:a16="http://schemas.microsoft.com/office/drawing/2014/main" id="{56F67422-242E-42E6-82DC-CBD2D18C20E2}"/>
              </a:ext>
            </a:extLst>
          </p:cNvPr>
          <p:cNvSpPr/>
          <p:nvPr>
            <p:custDataLst>
              <p:tags r:id="rId12"/>
            </p:custDataLst>
          </p:nvPr>
        </p:nvSpPr>
        <p:spPr bwMode="auto">
          <a:xfrm>
            <a:off x="2319337" y="5170488"/>
            <a:ext cx="793750" cy="187325"/>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6" name="Rectangle 125">
            <a:extLst>
              <a:ext uri="{FF2B5EF4-FFF2-40B4-BE49-F238E27FC236}">
                <a16:creationId xmlns:a16="http://schemas.microsoft.com/office/drawing/2014/main" id="{52B7C973-76FF-4AB8-A53F-82D71BE1CE82}"/>
              </a:ext>
            </a:extLst>
          </p:cNvPr>
          <p:cNvSpPr/>
          <p:nvPr>
            <p:custDataLst>
              <p:tags r:id="rId13"/>
            </p:custDataLst>
          </p:nvPr>
        </p:nvSpPr>
        <p:spPr bwMode="auto">
          <a:xfrm>
            <a:off x="1527175" y="5251450"/>
            <a:ext cx="792163" cy="106363"/>
          </a:xfrm>
          <a:prstGeom prst="rect">
            <a:avLst/>
          </a:prstGeom>
          <a:solidFill>
            <a:srgbClr val="808080"/>
          </a:solidFill>
          <a:ln w="9525" cap="flat" cmpd="sng" algn="ctr">
            <a:solidFill>
              <a:schemeClr val="bg1"/>
            </a:solidFill>
            <a:prstDash val="solid"/>
            <a:round/>
            <a:headEnd type="none" w="med" len="med"/>
            <a:tailEnd type="none" w="med" len="me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cxnSp>
        <p:nvCxnSpPr>
          <p:cNvPr id="69" name="Straight Connector 68">
            <a:extLst>
              <a:ext uri="{FF2B5EF4-FFF2-40B4-BE49-F238E27FC236}">
                <a16:creationId xmlns:a16="http://schemas.microsoft.com/office/drawing/2014/main" id="{CE7BA1FA-A662-4AC5-825E-24D5F2E57101}"/>
              </a:ext>
            </a:extLst>
          </p:cNvPr>
          <p:cNvCxnSpPr/>
          <p:nvPr>
            <p:custDataLst>
              <p:tags r:id="rId14"/>
            </p:custDataLst>
          </p:nvPr>
        </p:nvCxnSpPr>
        <p:spPr bwMode="auto">
          <a:xfrm>
            <a:off x="1522413" y="5357813"/>
            <a:ext cx="952341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3" name="Content 1">
            <a:extLst>
              <a:ext uri="{FF2B5EF4-FFF2-40B4-BE49-F238E27FC236}">
                <a16:creationId xmlns:a16="http://schemas.microsoft.com/office/drawing/2014/main" id="{F6877100-FEAB-4F84-8A2D-E57580D9236B}"/>
              </a:ext>
            </a:extLst>
          </p:cNvPr>
          <p:cNvSpPr>
            <a:spLocks noGrp="1"/>
          </p:cNvSpPr>
          <p:nvPr>
            <p:custDataLst>
              <p:tags r:id="rId15"/>
            </p:custDataLst>
          </p:nvPr>
        </p:nvSpPr>
        <p:spPr bwMode="gray">
          <a:xfrm>
            <a:off x="6515100" y="3670300"/>
            <a:ext cx="3302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70D1B54-F925-4DF8-80A7-E152E26C685B}" type="datetime'''''''''''''''''5''2'''''''''''''''''''''''''''">
              <a:rPr lang="nl-NL" altLang="en-US" sz="1000" smtClean="0">
                <a:solidFill>
                  <a:schemeClr val="tx1"/>
                </a:solidFill>
              </a:rPr>
              <a:pPr/>
              <a:t>52</a:t>
            </a:fld>
            <a:br>
              <a:rPr lang="nl-NL" altLang="en-US" sz="1000" dirty="0">
                <a:solidFill>
                  <a:schemeClr val="tx1"/>
                </a:solidFill>
              </a:rPr>
            </a:br>
            <a:r>
              <a:rPr lang="nl-NL" altLang="en-US" sz="1000" dirty="0">
                <a:solidFill>
                  <a:schemeClr val="tx1"/>
                </a:solidFill>
              </a:rPr>
              <a:t>(15%)</a:t>
            </a:r>
            <a:endParaRPr lang="nl-NL" sz="1000" noProof="0" dirty="0">
              <a:solidFill>
                <a:schemeClr val="tx1"/>
              </a:solidFill>
              <a:latin typeface="+mn-lt"/>
            </a:endParaRPr>
          </a:p>
        </p:txBody>
      </p:sp>
      <p:sp>
        <p:nvSpPr>
          <p:cNvPr id="130" name="Content 1">
            <a:extLst>
              <a:ext uri="{FF2B5EF4-FFF2-40B4-BE49-F238E27FC236}">
                <a16:creationId xmlns:a16="http://schemas.microsoft.com/office/drawing/2014/main" id="{DF5A7BC6-9509-45A2-966C-A0CA34BA3A54}"/>
              </a:ext>
            </a:extLst>
          </p:cNvPr>
          <p:cNvSpPr>
            <a:spLocks noGrp="1"/>
          </p:cNvSpPr>
          <p:nvPr>
            <p:custDataLst>
              <p:tags r:id="rId16"/>
            </p:custDataLst>
          </p:nvPr>
        </p:nvSpPr>
        <p:spPr bwMode="gray">
          <a:xfrm>
            <a:off x="7305676" y="3697288"/>
            <a:ext cx="3349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2276AF6-1DAF-4167-9B03-37D019B6C982}" type="datetime'5''''''''''''''''''''''''''''''''''''''1'''''''''''''''">
              <a:rPr lang="nl-NL" altLang="en-US" sz="1000" smtClean="0">
                <a:solidFill>
                  <a:schemeClr val="tx1"/>
                </a:solidFill>
              </a:rPr>
              <a:pPr/>
              <a:t>51</a:t>
            </a:fld>
            <a:br>
              <a:rPr lang="nl-NL" altLang="en-US" sz="1000" dirty="0">
                <a:solidFill>
                  <a:schemeClr val="tx1"/>
                </a:solidFill>
              </a:rPr>
            </a:br>
            <a:r>
              <a:rPr lang="nl-NL" altLang="en-US" sz="1000" dirty="0">
                <a:solidFill>
                  <a:schemeClr val="tx1"/>
                </a:solidFill>
              </a:rPr>
              <a:t>(14%)</a:t>
            </a:r>
            <a:endParaRPr lang="nl-NL" sz="1000" noProof="0" dirty="0">
              <a:solidFill>
                <a:schemeClr val="tx1"/>
              </a:solidFill>
              <a:latin typeface="+mn-lt"/>
            </a:endParaRPr>
          </a:p>
        </p:txBody>
      </p:sp>
      <p:sp>
        <p:nvSpPr>
          <p:cNvPr id="53"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2578101" y="4872038"/>
            <a:ext cx="27781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DE4CCE9-E384-4D25-B628-3C3EB59D5A89}" type="datetime'''''''''''''''''''''''''''''''''''7'''''''''">
              <a:rPr lang="nl-NL" altLang="en-US" sz="1000" smtClean="0">
                <a:solidFill>
                  <a:schemeClr val="tx1"/>
                </a:solidFill>
              </a:rPr>
              <a:pPr/>
              <a:t>7</a:t>
            </a:fld>
            <a:br>
              <a:rPr lang="nl-NL" altLang="en-US" sz="1000" dirty="0">
                <a:solidFill>
                  <a:schemeClr val="tx1"/>
                </a:solidFill>
              </a:rPr>
            </a:br>
            <a:r>
              <a:rPr lang="nl-NL" altLang="en-US" sz="1000" dirty="0">
                <a:solidFill>
                  <a:schemeClr val="tx1"/>
                </a:solidFill>
              </a:rPr>
              <a:t>(2%)</a:t>
            </a:r>
            <a:endParaRPr lang="nl-NL" sz="1000"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3371850" y="4632325"/>
            <a:ext cx="273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E99E199-9E00-4CEA-A558-A5E9E4C91040}" type="datetime'''''''''16'''''''''''''">
              <a:rPr lang="nl-NL" altLang="en-US" sz="1000" smtClean="0">
                <a:solidFill>
                  <a:schemeClr val="tx1"/>
                </a:solidFill>
              </a:rPr>
              <a:pPr/>
              <a:t>16</a:t>
            </a:fld>
            <a:br>
              <a:rPr lang="nl-NL" altLang="en-US" sz="1000" dirty="0">
                <a:solidFill>
                  <a:schemeClr val="tx1"/>
                </a:solidFill>
              </a:rPr>
            </a:br>
            <a:r>
              <a:rPr lang="nl-NL" altLang="en-US" sz="1000" dirty="0">
                <a:solidFill>
                  <a:schemeClr val="tx1"/>
                </a:solidFill>
              </a:rPr>
              <a:t>(5%)</a:t>
            </a:r>
            <a:endParaRPr lang="nl-NL" sz="1000" noProof="0" dirty="0">
              <a:solidFill>
                <a:schemeClr val="tx1"/>
              </a:solidFill>
              <a:latin typeface="+mn-lt"/>
            </a:endParaRPr>
          </a:p>
        </p:txBody>
      </p:sp>
      <p:sp>
        <p:nvSpPr>
          <p:cNvPr id="102" name="Content 1">
            <a:extLst>
              <a:ext uri="{FF2B5EF4-FFF2-40B4-BE49-F238E27FC236}">
                <a16:creationId xmlns:a16="http://schemas.microsoft.com/office/drawing/2014/main" id="{730181BE-C131-42D5-BE21-A2360BB47E9F}"/>
              </a:ext>
            </a:extLst>
          </p:cNvPr>
          <p:cNvSpPr>
            <a:spLocks noGrp="1"/>
          </p:cNvSpPr>
          <p:nvPr>
            <p:custDataLst>
              <p:tags r:id="rId19"/>
            </p:custDataLst>
          </p:nvPr>
        </p:nvSpPr>
        <p:spPr bwMode="gray">
          <a:xfrm>
            <a:off x="4138614" y="3883025"/>
            <a:ext cx="327025" cy="27305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0CD6CB-E489-4F8F-9D45-35D33C77A3DC}" type="datetime'''''''''''''''''''''''''''''''''''''''''''''''4''''''''4'">
              <a:rPr lang="nl-NL" altLang="en-US" sz="1000" smtClean="0">
                <a:solidFill>
                  <a:schemeClr val="tx1"/>
                </a:solidFill>
              </a:rPr>
              <a:pPr/>
              <a:t>44</a:t>
            </a:fld>
            <a:br>
              <a:rPr lang="nl-NL" altLang="en-US" sz="1000" dirty="0">
                <a:solidFill>
                  <a:schemeClr val="tx1"/>
                </a:solidFill>
              </a:rPr>
            </a:br>
            <a:r>
              <a:rPr lang="nl-NL" altLang="en-US" sz="1000" dirty="0">
                <a:solidFill>
                  <a:schemeClr val="tx1"/>
                </a:solidFill>
              </a:rPr>
              <a:t>(13%)</a:t>
            </a:r>
            <a:endParaRPr lang="nl-NL" sz="1000" noProof="0" dirty="0">
              <a:solidFill>
                <a:schemeClr val="tx1"/>
              </a:solidFill>
              <a:latin typeface="+mn-lt"/>
            </a:endParaRPr>
          </a:p>
        </p:txBody>
      </p:sp>
      <p:sp>
        <p:nvSpPr>
          <p:cNvPr id="101" name="Content 1">
            <a:extLst>
              <a:ext uri="{FF2B5EF4-FFF2-40B4-BE49-F238E27FC236}">
                <a16:creationId xmlns:a16="http://schemas.microsoft.com/office/drawing/2014/main" id="{F39F7FB4-5AB8-45B5-9DE3-02095D78B295}"/>
              </a:ext>
            </a:extLst>
          </p:cNvPr>
          <p:cNvSpPr>
            <a:spLocks noGrp="1"/>
          </p:cNvSpPr>
          <p:nvPr>
            <p:custDataLst>
              <p:tags r:id="rId20"/>
            </p:custDataLst>
          </p:nvPr>
        </p:nvSpPr>
        <p:spPr bwMode="auto">
          <a:xfrm>
            <a:off x="4895850" y="540067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E5B7619-E994-4055-A48A-D83733506FF9}" type="datetime'''''''''2''0-3''''0%''''''''''''&#10;t''''e''''''k''''or''''''t'">
              <a:rPr lang="nl-NL" altLang="en-US" sz="1000" smtClean="0">
                <a:solidFill>
                  <a:schemeClr val="tx1"/>
                </a:solidFill>
              </a:rPr>
              <a:pPr/>
              <a:t>20-30%
tekort</a:t>
            </a:fld>
            <a:endParaRPr lang="nl-NL" sz="1000" noProof="0" dirty="0">
              <a:solidFill>
                <a:schemeClr val="tx1"/>
              </a:solidFill>
              <a:latin typeface="+mn-lt"/>
            </a:endParaRPr>
          </a:p>
        </p:txBody>
      </p:sp>
      <p:sp>
        <p:nvSpPr>
          <p:cNvPr id="144" name="Content 1">
            <a:extLst>
              <a:ext uri="{FF2B5EF4-FFF2-40B4-BE49-F238E27FC236}">
                <a16:creationId xmlns:a16="http://schemas.microsoft.com/office/drawing/2014/main" id="{B367F6C5-1A6E-4FF7-8D7D-C15F85E97A06}"/>
              </a:ext>
            </a:extLst>
          </p:cNvPr>
          <p:cNvSpPr>
            <a:spLocks noGrp="1"/>
          </p:cNvSpPr>
          <p:nvPr>
            <p:custDataLst>
              <p:tags r:id="rId21"/>
            </p:custDataLst>
          </p:nvPr>
        </p:nvSpPr>
        <p:spPr bwMode="gray">
          <a:xfrm>
            <a:off x="8923338" y="4953000"/>
            <a:ext cx="269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87D14B9-AA77-40F6-AD31-5055FE44757D}" type="datetime'''''''''''''''''''4'''''">
              <a:rPr lang="nl-NL" altLang="en-US" sz="1000" smtClean="0">
                <a:solidFill>
                  <a:schemeClr val="tx1"/>
                </a:solidFill>
              </a:rPr>
              <a:pPr/>
              <a:t>4</a:t>
            </a:fld>
            <a:br>
              <a:rPr lang="nl-NL" altLang="en-US" sz="1000" dirty="0">
                <a:solidFill>
                  <a:schemeClr val="tx1"/>
                </a:solidFill>
              </a:rPr>
            </a:br>
            <a:r>
              <a:rPr lang="nl-NL" altLang="en-US" sz="1000" dirty="0">
                <a:solidFill>
                  <a:schemeClr val="tx1"/>
                </a:solidFill>
              </a:rPr>
              <a:t>(1%)</a:t>
            </a:r>
            <a:endParaRPr lang="nl-NL" sz="1000" noProof="0" dirty="0">
              <a:solidFill>
                <a:schemeClr val="tx1"/>
              </a:solidFill>
              <a:latin typeface="+mn-lt"/>
            </a:endParaRPr>
          </a:p>
        </p:txBody>
      </p:sp>
      <p:sp>
        <p:nvSpPr>
          <p:cNvPr id="109" name="Content 1">
            <a:extLst>
              <a:ext uri="{FF2B5EF4-FFF2-40B4-BE49-F238E27FC236}">
                <a16:creationId xmlns:a16="http://schemas.microsoft.com/office/drawing/2014/main" id="{FAC59CB9-6FC9-47B2-AA26-9CE0FDB30F63}"/>
              </a:ext>
            </a:extLst>
          </p:cNvPr>
          <p:cNvSpPr>
            <a:spLocks noGrp="1"/>
          </p:cNvSpPr>
          <p:nvPr>
            <p:custDataLst>
              <p:tags r:id="rId22"/>
            </p:custDataLst>
          </p:nvPr>
        </p:nvSpPr>
        <p:spPr bwMode="gray">
          <a:xfrm>
            <a:off x="4922838" y="3216275"/>
            <a:ext cx="342900" cy="27305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5C93A3E-4E03-462D-95BD-F64D5E9CC2DD}" type="datetime'''6''''''''''''''''''''''''''9'''''''''''''''''''''''''">
              <a:rPr lang="nl-NL" altLang="en-US" sz="1000" smtClean="0">
                <a:solidFill>
                  <a:schemeClr val="tx1"/>
                </a:solidFill>
              </a:rPr>
              <a:pPr/>
              <a:t>69</a:t>
            </a:fld>
            <a:br>
              <a:rPr lang="nl-NL" altLang="en-US" sz="1000" dirty="0">
                <a:solidFill>
                  <a:schemeClr val="tx1"/>
                </a:solidFill>
              </a:rPr>
            </a:br>
            <a:r>
              <a:rPr lang="nl-NL" altLang="en-US" sz="1000" dirty="0">
                <a:solidFill>
                  <a:schemeClr val="tx1"/>
                </a:solidFill>
              </a:rPr>
              <a:t>(20%)</a:t>
            </a:r>
            <a:endParaRPr lang="nl-NL" sz="1000" noProof="0" dirty="0">
              <a:solidFill>
                <a:schemeClr val="tx1"/>
              </a:solidFill>
              <a:latin typeface="+mn-lt"/>
            </a:endParaRPr>
          </a:p>
        </p:txBody>
      </p:sp>
      <p:sp>
        <p:nvSpPr>
          <p:cNvPr id="151" name="Content 1">
            <a:extLst>
              <a:ext uri="{FF2B5EF4-FFF2-40B4-BE49-F238E27FC236}">
                <a16:creationId xmlns:a16="http://schemas.microsoft.com/office/drawing/2014/main" id="{3D4E094D-39BC-40AE-B8C4-F5E6ECFB4D3F}"/>
              </a:ext>
            </a:extLst>
          </p:cNvPr>
          <p:cNvSpPr>
            <a:spLocks noGrp="1"/>
          </p:cNvSpPr>
          <p:nvPr>
            <p:custDataLst>
              <p:tags r:id="rId23"/>
            </p:custDataLst>
          </p:nvPr>
        </p:nvSpPr>
        <p:spPr bwMode="gray">
          <a:xfrm>
            <a:off x="9713914" y="4872038"/>
            <a:ext cx="277813" cy="27305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7FE66BB-83B1-4666-A631-1CAA7536AEEC}" type="datetime'''''''''''''''''''''''''''''''''''''''''7'''''''''''''''''''">
              <a:rPr lang="nl-NL" altLang="en-US" sz="1000" smtClean="0">
                <a:solidFill>
                  <a:schemeClr val="tx1"/>
                </a:solidFill>
              </a:rPr>
              <a:pPr/>
              <a:t>7</a:t>
            </a:fld>
            <a:br>
              <a:rPr lang="nl-NL" altLang="en-US" sz="1000" dirty="0">
                <a:solidFill>
                  <a:schemeClr val="tx1"/>
                </a:solidFill>
              </a:rPr>
            </a:br>
            <a:r>
              <a:rPr lang="nl-NL" altLang="en-US" sz="1000" dirty="0">
                <a:solidFill>
                  <a:schemeClr val="tx1"/>
                </a:solidFill>
              </a:rPr>
              <a:t>(2%)</a:t>
            </a:r>
            <a:endParaRPr lang="nl-NL" sz="1000" noProof="0" dirty="0">
              <a:solidFill>
                <a:schemeClr val="tx1"/>
              </a:solidFill>
              <a:latin typeface="+mn-lt"/>
            </a:endParaRPr>
          </a:p>
        </p:txBody>
      </p:sp>
      <p:sp>
        <p:nvSpPr>
          <p:cNvPr id="116" name="Content 1">
            <a:extLst>
              <a:ext uri="{FF2B5EF4-FFF2-40B4-BE49-F238E27FC236}">
                <a16:creationId xmlns:a16="http://schemas.microsoft.com/office/drawing/2014/main" id="{F14F13A2-56E1-431E-91BB-4ED1CA52F612}"/>
              </a:ext>
            </a:extLst>
          </p:cNvPr>
          <p:cNvSpPr>
            <a:spLocks noGrp="1"/>
          </p:cNvSpPr>
          <p:nvPr>
            <p:custDataLst>
              <p:tags r:id="rId24"/>
            </p:custDataLst>
          </p:nvPr>
        </p:nvSpPr>
        <p:spPr bwMode="gray">
          <a:xfrm>
            <a:off x="5716588" y="3001963"/>
            <a:ext cx="3429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B5ED9C0-53AC-45A6-AED0-43551200CC2F}" type="datetime'''''''''7''7'''''''''''''''''''''''''''''''">
              <a:rPr lang="nl-NL" altLang="en-US" sz="1000" smtClean="0">
                <a:solidFill>
                  <a:schemeClr val="tx1"/>
                </a:solidFill>
              </a:rPr>
              <a:pPr/>
              <a:t>77</a:t>
            </a:fld>
            <a:br>
              <a:rPr lang="nl-NL" altLang="en-US" sz="1000" dirty="0">
                <a:solidFill>
                  <a:schemeClr val="tx1"/>
                </a:solidFill>
              </a:rPr>
            </a:br>
            <a:r>
              <a:rPr lang="nl-NL" altLang="en-US" sz="1000" dirty="0">
                <a:solidFill>
                  <a:schemeClr val="tx1"/>
                </a:solidFill>
              </a:rPr>
              <a:t>(22%)</a:t>
            </a:r>
            <a:endParaRPr lang="nl-NL" sz="1000" noProof="0" dirty="0">
              <a:solidFill>
                <a:schemeClr val="tx1"/>
              </a:solidFill>
              <a:latin typeface="+mn-lt"/>
            </a:endParaRPr>
          </a:p>
        </p:txBody>
      </p:sp>
      <p:sp>
        <p:nvSpPr>
          <p:cNvPr id="158" name="Content 1">
            <a:extLst>
              <a:ext uri="{FF2B5EF4-FFF2-40B4-BE49-F238E27FC236}">
                <a16:creationId xmlns:a16="http://schemas.microsoft.com/office/drawing/2014/main" id="{CF140183-82BD-49BE-AF8B-FDE20D8B1C94}"/>
              </a:ext>
            </a:extLst>
          </p:cNvPr>
          <p:cNvSpPr>
            <a:spLocks noGrp="1"/>
          </p:cNvSpPr>
          <p:nvPr>
            <p:custDataLst>
              <p:tags r:id="rId25"/>
            </p:custDataLst>
          </p:nvPr>
        </p:nvSpPr>
        <p:spPr bwMode="gray">
          <a:xfrm>
            <a:off x="10509250" y="4953000"/>
            <a:ext cx="269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062CCEC-2688-457D-BDF2-58DCB011B3BF}" type="datetime'''''''''''''''''''4'''''''''''''''''''">
              <a:rPr lang="nl-NL" altLang="en-US" sz="1000" smtClean="0">
                <a:solidFill>
                  <a:schemeClr val="tx1"/>
                </a:solidFill>
              </a:rPr>
              <a:pPr/>
              <a:t>4</a:t>
            </a:fld>
            <a:br>
              <a:rPr lang="nl-NL" altLang="en-US" sz="1000" dirty="0">
                <a:solidFill>
                  <a:schemeClr val="tx1"/>
                </a:solidFill>
              </a:rPr>
            </a:br>
            <a:r>
              <a:rPr lang="nl-NL" altLang="en-US" sz="1000" dirty="0">
                <a:solidFill>
                  <a:schemeClr val="tx1"/>
                </a:solidFill>
              </a:rPr>
              <a:t>(1%)</a:t>
            </a:r>
            <a:endParaRPr lang="nl-NL" sz="1000" noProof="0" dirty="0">
              <a:solidFill>
                <a:schemeClr val="tx1"/>
              </a:solidFill>
              <a:latin typeface="+mn-lt"/>
            </a:endParaRPr>
          </a:p>
        </p:txBody>
      </p:sp>
      <p:sp>
        <p:nvSpPr>
          <p:cNvPr id="137" name="Content 1">
            <a:extLst>
              <a:ext uri="{FF2B5EF4-FFF2-40B4-BE49-F238E27FC236}">
                <a16:creationId xmlns:a16="http://schemas.microsoft.com/office/drawing/2014/main" id="{FC1B878F-11B1-46D0-A144-1B6F8041C850}"/>
              </a:ext>
            </a:extLst>
          </p:cNvPr>
          <p:cNvSpPr>
            <a:spLocks noGrp="1"/>
          </p:cNvSpPr>
          <p:nvPr>
            <p:custDataLst>
              <p:tags r:id="rId26"/>
            </p:custDataLst>
          </p:nvPr>
        </p:nvSpPr>
        <p:spPr bwMode="gray">
          <a:xfrm>
            <a:off x="8129588" y="4605338"/>
            <a:ext cx="273050" cy="27305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2BA19C0-3FB6-4176-BAF8-F064BF821E59}" type="datetime'''''''''''''''''''''''''''''1''''''''''''''''''7'''''''">
              <a:rPr lang="nl-NL" altLang="en-US" sz="1000" smtClean="0">
                <a:solidFill>
                  <a:schemeClr val="tx1"/>
                </a:solidFill>
              </a:rPr>
              <a:pPr/>
              <a:t>17</a:t>
            </a:fld>
            <a:br>
              <a:rPr lang="nl-NL" altLang="en-US" sz="1000" dirty="0">
                <a:solidFill>
                  <a:schemeClr val="tx1"/>
                </a:solidFill>
              </a:rPr>
            </a:br>
            <a:r>
              <a:rPr lang="nl-NL" altLang="en-US" sz="1000" dirty="0">
                <a:solidFill>
                  <a:schemeClr val="tx1"/>
                </a:solidFill>
              </a:rPr>
              <a:t>(5%)</a:t>
            </a:r>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BEC40E1A-5A8B-45A7-97A8-876CA57F1413}"/>
              </a:ext>
            </a:extLst>
          </p:cNvPr>
          <p:cNvSpPr>
            <a:spLocks noGrp="1"/>
          </p:cNvSpPr>
          <p:nvPr>
            <p:custDataLst>
              <p:tags r:id="rId27"/>
            </p:custDataLst>
          </p:nvPr>
        </p:nvSpPr>
        <p:spPr bwMode="auto">
          <a:xfrm>
            <a:off x="2455863" y="5400675"/>
            <a:ext cx="520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5023C3F-67C2-4CBC-834D-4CF64D44F699}" type="datetime'''''''''10''-''''0''%&#10;''o''''v''''''''er''s''''c''h''''''''ot'">
              <a:rPr lang="nl-NL" altLang="en-US" sz="1000" smtClean="0">
                <a:solidFill>
                  <a:schemeClr val="tx1"/>
                </a:solidFill>
              </a:rPr>
              <a:pPr/>
              <a:t>10-0%
overschot</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25C0DDED-7670-413E-A788-540171AB3328}"/>
              </a:ext>
            </a:extLst>
          </p:cNvPr>
          <p:cNvSpPr>
            <a:spLocks noGrp="1"/>
          </p:cNvSpPr>
          <p:nvPr>
            <p:custDataLst>
              <p:tags r:id="rId28"/>
            </p:custDataLst>
          </p:nvPr>
        </p:nvSpPr>
        <p:spPr bwMode="auto">
          <a:xfrm>
            <a:off x="3343275" y="5400675"/>
            <a:ext cx="3317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69C867-7AFC-40FC-A534-08CA4D04E93E}" type="datetime'0''''''''''-10''''%&#10;''''''''''t''''''eko''''''r''t'''''''">
              <a:rPr lang="nl-NL" altLang="en-US" sz="1000" smtClean="0">
                <a:solidFill>
                  <a:schemeClr val="tx1"/>
                </a:solidFill>
              </a:rPr>
              <a:pPr/>
              <a:t>0-10%
tekort</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21DA405E-EB48-46E7-BF2A-559F7A367A23}"/>
              </a:ext>
            </a:extLst>
          </p:cNvPr>
          <p:cNvSpPr>
            <a:spLocks noGrp="1"/>
          </p:cNvSpPr>
          <p:nvPr>
            <p:custDataLst>
              <p:tags r:id="rId29"/>
            </p:custDataLst>
          </p:nvPr>
        </p:nvSpPr>
        <p:spPr bwMode="auto">
          <a:xfrm>
            <a:off x="4103688" y="540067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AED748F-4D15-4FF4-A907-213AA927A044}" type="datetime'''''''''10''-20''''''''''''''''%''''&#10;t''''e''ko''rt'''''''''">
              <a:rPr lang="nl-NL" altLang="en-US" sz="1000" smtClean="0">
                <a:solidFill>
                  <a:schemeClr val="tx1"/>
                </a:solidFill>
              </a:rPr>
              <a:pPr/>
              <a:t>10-20%
tekort</a:t>
            </a:fld>
            <a:endParaRPr lang="nl-NL" sz="1000" noProof="0" dirty="0">
              <a:solidFill>
                <a:schemeClr val="tx1"/>
              </a:solidFill>
              <a:latin typeface="+mn-lt"/>
            </a:endParaRPr>
          </a:p>
        </p:txBody>
      </p:sp>
      <p:sp>
        <p:nvSpPr>
          <p:cNvPr id="103" name="Content 1">
            <a:extLst>
              <a:ext uri="{FF2B5EF4-FFF2-40B4-BE49-F238E27FC236}">
                <a16:creationId xmlns:a16="http://schemas.microsoft.com/office/drawing/2014/main" id="{2D566CEA-E077-4499-B6B0-8CE8E49F1501}"/>
              </a:ext>
            </a:extLst>
          </p:cNvPr>
          <p:cNvSpPr>
            <a:spLocks noGrp="1"/>
          </p:cNvSpPr>
          <p:nvPr>
            <p:custDataLst>
              <p:tags r:id="rId30"/>
            </p:custDataLst>
          </p:nvPr>
        </p:nvSpPr>
        <p:spPr bwMode="auto">
          <a:xfrm>
            <a:off x="5689600" y="5400675"/>
            <a:ext cx="396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BBDECBC-25EB-4EB5-BE84-0085329AA888}" type="datetime'30-''''40''%''''''''''''&#10;''te''''''''kort'''">
              <a:rPr lang="nl-NL" altLang="en-US" sz="1000" smtClean="0">
                <a:solidFill>
                  <a:schemeClr val="tx1"/>
                </a:solidFill>
              </a:rPr>
              <a:pPr/>
              <a:t>30-40%
tekort</a:t>
            </a:fld>
            <a:endParaRPr lang="nl-NL" sz="1000" noProof="0" dirty="0">
              <a:solidFill>
                <a:schemeClr val="tx1"/>
              </a:solidFill>
              <a:latin typeface="+mn-lt"/>
            </a:endParaRPr>
          </a:p>
        </p:txBody>
      </p:sp>
      <p:sp>
        <p:nvSpPr>
          <p:cNvPr id="104" name="Content 1">
            <a:extLst>
              <a:ext uri="{FF2B5EF4-FFF2-40B4-BE49-F238E27FC236}">
                <a16:creationId xmlns:a16="http://schemas.microsoft.com/office/drawing/2014/main" id="{0AB4DCA1-891F-4302-A493-2C479860C65B}"/>
              </a:ext>
            </a:extLst>
          </p:cNvPr>
          <p:cNvSpPr>
            <a:spLocks noGrp="1"/>
          </p:cNvSpPr>
          <p:nvPr>
            <p:custDataLst>
              <p:tags r:id="rId31"/>
            </p:custDataLst>
          </p:nvPr>
        </p:nvSpPr>
        <p:spPr bwMode="auto">
          <a:xfrm>
            <a:off x="6480175" y="5400675"/>
            <a:ext cx="400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F59335-1799-4229-93E0-76222AA40E1A}" type="datetime'''40''''''''''''''-''''5''''''0''''%&#10;''t''''''''''e''kort'''">
              <a:rPr lang="nl-NL" altLang="en-US" sz="1000" smtClean="0">
                <a:solidFill>
                  <a:schemeClr val="tx1"/>
                </a:solidFill>
              </a:rPr>
              <a:pPr/>
              <a:t>40-50%
tekort</a:t>
            </a:fld>
            <a:endParaRPr lang="nl-NL" sz="1000" noProof="0" dirty="0">
              <a:solidFill>
                <a:schemeClr val="tx1"/>
              </a:solidFill>
              <a:latin typeface="+mn-lt"/>
            </a:endParaRPr>
          </a:p>
        </p:txBody>
      </p:sp>
      <p:sp>
        <p:nvSpPr>
          <p:cNvPr id="105" name="Content 1">
            <a:extLst>
              <a:ext uri="{FF2B5EF4-FFF2-40B4-BE49-F238E27FC236}">
                <a16:creationId xmlns:a16="http://schemas.microsoft.com/office/drawing/2014/main" id="{5135D931-28F9-4F0E-A026-F226A8D553C4}"/>
              </a:ext>
            </a:extLst>
          </p:cNvPr>
          <p:cNvSpPr>
            <a:spLocks noGrp="1"/>
          </p:cNvSpPr>
          <p:nvPr>
            <p:custDataLst>
              <p:tags r:id="rId32"/>
            </p:custDataLst>
          </p:nvPr>
        </p:nvSpPr>
        <p:spPr bwMode="auto">
          <a:xfrm>
            <a:off x="7272338" y="5400675"/>
            <a:ext cx="4016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F876326-B575-4BD3-8C1F-834CFA382D09}" type="datetime'50''-''''''''6''0%''''''''&#10;t''''''e''''''''''k''o''''r''''''t'">
              <a:rPr lang="nl-NL" altLang="en-US" sz="1000" smtClean="0">
                <a:solidFill>
                  <a:schemeClr val="tx1"/>
                </a:solidFill>
              </a:rPr>
              <a:pPr/>
              <a:t>50-60%
tekort</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00FF6337-7E75-48AC-82A3-6FCAB3B4D5D7}"/>
              </a:ext>
            </a:extLst>
          </p:cNvPr>
          <p:cNvSpPr>
            <a:spLocks noGrp="1"/>
          </p:cNvSpPr>
          <p:nvPr>
            <p:custDataLst>
              <p:tags r:id="rId33"/>
            </p:custDataLst>
          </p:nvPr>
        </p:nvSpPr>
        <p:spPr bwMode="auto">
          <a:xfrm>
            <a:off x="8069263" y="5400675"/>
            <a:ext cx="3952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0E244C7-7ABC-4AD8-BA46-0441F697D20C}" type="datetime'''6''''''''''''''0''''''''-7''0''''''''''%&#10;t''''e''k''''ort'">
              <a:rPr lang="nl-NL" altLang="en-US" sz="1000" smtClean="0">
                <a:solidFill>
                  <a:schemeClr val="tx1"/>
                </a:solidFill>
              </a:rPr>
              <a:pPr/>
              <a:t>60-70%
tekort</a:t>
            </a:fld>
            <a:endParaRPr lang="nl-NL" sz="1000" noProof="0" dirty="0">
              <a:solidFill>
                <a:schemeClr val="tx1"/>
              </a:solidFill>
              <a:latin typeface="+mn-lt"/>
            </a:endParaRPr>
          </a:p>
        </p:txBody>
      </p:sp>
      <p:sp>
        <p:nvSpPr>
          <p:cNvPr id="97" name="Content 1">
            <a:extLst>
              <a:ext uri="{FF2B5EF4-FFF2-40B4-BE49-F238E27FC236}">
                <a16:creationId xmlns:a16="http://schemas.microsoft.com/office/drawing/2014/main" id="{AE0C0E32-7ADA-4C3B-BED8-9CE44B5C8580}"/>
              </a:ext>
            </a:extLst>
          </p:cNvPr>
          <p:cNvSpPr>
            <a:spLocks noGrp="1"/>
          </p:cNvSpPr>
          <p:nvPr>
            <p:custDataLst>
              <p:tags r:id="rId34"/>
            </p:custDataLst>
          </p:nvPr>
        </p:nvSpPr>
        <p:spPr bwMode="auto">
          <a:xfrm>
            <a:off x="1662113" y="5400675"/>
            <a:ext cx="520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E843792-A2C7-4F88-B2C6-CBD485DD61F7}" type="datetime'&gt;1''''''0''''''%&#10;''''''ov''''''''''''''''er''s''ch''ot'''''">
              <a:rPr lang="nl-NL" altLang="en-US" sz="1000" smtClean="0">
                <a:solidFill>
                  <a:schemeClr val="tx1"/>
                </a:solidFill>
              </a:rPr>
              <a:pPr/>
              <a:t>&gt;10%
overschot</a:t>
            </a:fld>
            <a:endParaRPr lang="nl-NL" sz="1000" noProof="0" dirty="0">
              <a:solidFill>
                <a:schemeClr val="tx1"/>
              </a:solidFill>
              <a:latin typeface="+mn-lt"/>
            </a:endParaRPr>
          </a:p>
        </p:txBody>
      </p:sp>
      <p:sp>
        <p:nvSpPr>
          <p:cNvPr id="108" name="Content 1">
            <a:extLst>
              <a:ext uri="{FF2B5EF4-FFF2-40B4-BE49-F238E27FC236}">
                <a16:creationId xmlns:a16="http://schemas.microsoft.com/office/drawing/2014/main" id="{FAED900F-0622-45B5-8069-23A702E5BC68}"/>
              </a:ext>
            </a:extLst>
          </p:cNvPr>
          <p:cNvSpPr>
            <a:spLocks noGrp="1"/>
          </p:cNvSpPr>
          <p:nvPr>
            <p:custDataLst>
              <p:tags r:id="rId35"/>
            </p:custDataLst>
          </p:nvPr>
        </p:nvSpPr>
        <p:spPr bwMode="auto">
          <a:xfrm>
            <a:off x="9648825" y="5400675"/>
            <a:ext cx="4064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EEACBF-D843-4035-9872-19AB3952DA78}" type="datetime'''''''80''''''-''9''0''''''%''''''''''''''&#10;t''''ek''o''''r''t'">
              <a:rPr lang="nl-NL" altLang="en-US" sz="1000" smtClean="0">
                <a:solidFill>
                  <a:schemeClr val="tx1"/>
                </a:solidFill>
              </a:rPr>
              <a:pPr/>
              <a:t>80-90%
tekort</a:t>
            </a:fld>
            <a:endParaRPr lang="nl-NL" sz="1000" noProof="0" dirty="0">
              <a:solidFill>
                <a:schemeClr val="tx1"/>
              </a:solidFill>
              <a:latin typeface="+mn-lt"/>
            </a:endParaRPr>
          </a:p>
        </p:txBody>
      </p:sp>
      <p:sp>
        <p:nvSpPr>
          <p:cNvPr id="110" name="Content 1">
            <a:extLst>
              <a:ext uri="{FF2B5EF4-FFF2-40B4-BE49-F238E27FC236}">
                <a16:creationId xmlns:a16="http://schemas.microsoft.com/office/drawing/2014/main" id="{68A36E60-BD69-4F03-947B-A4214FC2FE4B}"/>
              </a:ext>
            </a:extLst>
          </p:cNvPr>
          <p:cNvSpPr>
            <a:spLocks noGrp="1"/>
          </p:cNvSpPr>
          <p:nvPr>
            <p:custDataLst>
              <p:tags r:id="rId36"/>
            </p:custDataLst>
          </p:nvPr>
        </p:nvSpPr>
        <p:spPr bwMode="auto">
          <a:xfrm>
            <a:off x="10482263" y="5400675"/>
            <a:ext cx="3254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B9F2681-1E38-4243-B74E-1DEC7B334999}" type="datetime'''&gt;90%''''&#10;''''''''''t''''''ek''''''''''''''''''o''rt'">
              <a:rPr lang="nl-NL" altLang="en-US" sz="1000" smtClean="0">
                <a:solidFill>
                  <a:schemeClr val="tx1"/>
                </a:solidFill>
              </a:rPr>
              <a:pPr/>
              <a:t>&gt;90%
tekort</a:t>
            </a:fld>
            <a:endParaRPr lang="nl-NL" sz="1000" noProof="0" dirty="0">
              <a:solidFill>
                <a:schemeClr val="tx1"/>
              </a:solidFill>
              <a:latin typeface="+mn-lt"/>
            </a:endParaRPr>
          </a:p>
        </p:txBody>
      </p:sp>
      <p:sp>
        <p:nvSpPr>
          <p:cNvPr id="48" name="Content 1">
            <a:extLst>
              <a:ext uri="{FF2B5EF4-FFF2-40B4-BE49-F238E27FC236}">
                <a16:creationId xmlns:a16="http://schemas.microsoft.com/office/drawing/2014/main" id="{4B9982FA-94CE-476E-98B9-AED20350F85D}"/>
              </a:ext>
            </a:extLst>
          </p:cNvPr>
          <p:cNvSpPr>
            <a:spLocks noGrp="1"/>
          </p:cNvSpPr>
          <p:nvPr>
            <p:custDataLst>
              <p:tags r:id="rId37"/>
            </p:custDataLst>
          </p:nvPr>
        </p:nvSpPr>
        <p:spPr bwMode="gray">
          <a:xfrm>
            <a:off x="1787525" y="4953000"/>
            <a:ext cx="26987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AB7E63B-2E35-417A-93E4-96066E8704E7}" type="datetime'''4'''''''''''''''''''''''''''''''''''''''''''''''">
              <a:rPr lang="nl-NL" altLang="en-US" sz="1000" smtClean="0">
                <a:solidFill>
                  <a:schemeClr val="tx1"/>
                </a:solidFill>
              </a:rPr>
              <a:pPr/>
              <a:t>4</a:t>
            </a:fld>
            <a:br>
              <a:rPr lang="nl-NL" altLang="en-US" sz="1000" dirty="0">
                <a:solidFill>
                  <a:schemeClr val="tx1"/>
                </a:solidFill>
              </a:rPr>
            </a:br>
            <a:r>
              <a:rPr lang="nl-NL" altLang="en-US" sz="1000" dirty="0">
                <a:solidFill>
                  <a:schemeClr val="tx1"/>
                </a:solidFill>
              </a:rPr>
              <a:t>(1%)</a:t>
            </a:r>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C42EE471-2D10-43E9-9033-02B16FFE2ABC}"/>
              </a:ext>
            </a:extLst>
          </p:cNvPr>
          <p:cNvSpPr>
            <a:spLocks noGrp="1"/>
          </p:cNvSpPr>
          <p:nvPr>
            <p:custDataLst>
              <p:tags r:id="rId38"/>
            </p:custDataLst>
          </p:nvPr>
        </p:nvSpPr>
        <p:spPr bwMode="auto">
          <a:xfrm>
            <a:off x="8861425" y="5400675"/>
            <a:ext cx="3937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CCB030-DC1D-431C-878F-2111C939E8B5}" type="datetime'7''0''''''-''''8''''0''%&#10;''t''''e''''''''''''''''''''ko''rt'''">
              <a:rPr lang="nl-NL" altLang="en-US" sz="1000" smtClean="0">
                <a:solidFill>
                  <a:schemeClr val="tx1"/>
                </a:solidFill>
              </a:rPr>
              <a:pPr/>
              <a:t>70-80%
tekort</a:t>
            </a:fld>
            <a:endParaRPr lang="nl-NL" sz="1000" noProof="0" dirty="0">
              <a:solidFill>
                <a:schemeClr val="tx1"/>
              </a:solidFill>
              <a:latin typeface="+mn-lt"/>
            </a:endParaRPr>
          </a:p>
        </p:txBody>
      </p:sp>
      <p:sp>
        <p:nvSpPr>
          <p:cNvPr id="400" name="Rectangle 399" hidden="1">
            <a:extLst>
              <a:ext uri="{FF2B5EF4-FFF2-40B4-BE49-F238E27FC236}">
                <a16:creationId xmlns:a16="http://schemas.microsoft.com/office/drawing/2014/main" id="{8FD48711-69C1-47E6-B822-CA0F7CFAD18E}"/>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8" name="Rectangle 7" hidden="1">
            <a:extLst>
              <a:ext uri="{FF2B5EF4-FFF2-40B4-BE49-F238E27FC236}">
                <a16:creationId xmlns:a16="http://schemas.microsoft.com/office/drawing/2014/main" id="{6B09A0C4-795F-4330-8DE5-C80DFE3FC284}"/>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199" name="Rectangle 198" hidden="1">
            <a:extLst>
              <a:ext uri="{FF2B5EF4-FFF2-40B4-BE49-F238E27FC236}">
                <a16:creationId xmlns:a16="http://schemas.microsoft.com/office/drawing/2014/main" id="{6D0DE886-71F9-4D8D-9BEE-9914DDBFF5BA}"/>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240" name="Rectangle 239" hidden="1">
            <a:extLst>
              <a:ext uri="{FF2B5EF4-FFF2-40B4-BE49-F238E27FC236}">
                <a16:creationId xmlns:a16="http://schemas.microsoft.com/office/drawing/2014/main" id="{F968A17C-C93E-463C-8344-EAFFB5AC2284}"/>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endParaRPr>
          </a:p>
        </p:txBody>
      </p:sp>
      <p:sp>
        <p:nvSpPr>
          <p:cNvPr id="241" name="Rectangle 240" hidden="1">
            <a:extLst>
              <a:ext uri="{FF2B5EF4-FFF2-40B4-BE49-F238E27FC236}">
                <a16:creationId xmlns:a16="http://schemas.microsoft.com/office/drawing/2014/main" id="{2C154719-4EAC-4615-8C90-8766EF9CE68F}"/>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b="1" strike="noStrike" kern="1200" spc="0" normalizeH="0" noProof="0" dirty="0">
              <a:ln>
                <a:noFill/>
              </a:ln>
              <a:effectLst/>
              <a:uLnTx/>
              <a:uFillTx/>
            </a:endParaRPr>
          </a:p>
        </p:txBody>
      </p:sp>
      <p:sp>
        <p:nvSpPr>
          <p:cNvPr id="163" name="Rectangle 162">
            <a:extLst>
              <a:ext uri="{FF2B5EF4-FFF2-40B4-BE49-F238E27FC236}">
                <a16:creationId xmlns:a16="http://schemas.microsoft.com/office/drawing/2014/main" id="{ED91EC8A-C239-46A5-B058-D967449F52F1}"/>
              </a:ext>
            </a:extLst>
          </p:cNvPr>
          <p:cNvSpPr/>
          <p:nvPr/>
        </p:nvSpPr>
        <p:spPr>
          <a:xfrm flipH="1">
            <a:off x="719635" y="5863187"/>
            <a:ext cx="2335580" cy="439737"/>
          </a:xfrm>
          <a:prstGeom prst="rect">
            <a:avLst/>
          </a:prstGeom>
          <a:noFill/>
          <a:ln>
            <a:no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r" defTabSz="685800" rtl="0" eaLnBrk="1" fontAlgn="auto" latinLnBrk="0" hangingPunct="1">
              <a:lnSpc>
                <a:spcPct val="90000"/>
              </a:lnSpc>
              <a:spcBef>
                <a:spcPts val="750"/>
              </a:spcBef>
              <a:spcAft>
                <a:spcPts val="0"/>
              </a:spcAft>
              <a:buClr>
                <a:srgbClr val="FF0000"/>
              </a:buClr>
              <a:buSzTx/>
              <a:buFontTx/>
              <a:buNone/>
              <a:tabLst/>
            </a:pPr>
            <a:r>
              <a:rPr lang="nl-NL" sz="1000" dirty="0"/>
              <a:t>3% van gemeenten heeft overschot</a:t>
            </a:r>
            <a:endParaRPr kumimoji="0" lang="nl-NL" sz="1000" b="0" i="0" u="none" strike="noStrike" kern="1200" cap="none" spc="0" normalizeH="0" baseline="0" noProof="0" dirty="0">
              <a:ln>
                <a:noFill/>
              </a:ln>
              <a:solidFill>
                <a:srgbClr val="000000"/>
              </a:solidFill>
              <a:effectLst/>
              <a:uLnTx/>
              <a:uFillTx/>
            </a:endParaRPr>
          </a:p>
        </p:txBody>
      </p:sp>
      <p:cxnSp>
        <p:nvCxnSpPr>
          <p:cNvPr id="164" name="Straight Arrow Connector 163">
            <a:extLst>
              <a:ext uri="{FF2B5EF4-FFF2-40B4-BE49-F238E27FC236}">
                <a16:creationId xmlns:a16="http://schemas.microsoft.com/office/drawing/2014/main" id="{3A7AA5D2-1DB7-46C3-9FEE-0A8DEF908963}"/>
              </a:ext>
            </a:extLst>
          </p:cNvPr>
          <p:cNvCxnSpPr>
            <a:cxnSpLocks/>
          </p:cNvCxnSpPr>
          <p:nvPr/>
        </p:nvCxnSpPr>
        <p:spPr>
          <a:xfrm flipH="1">
            <a:off x="1522413" y="5863187"/>
            <a:ext cx="1539152" cy="0"/>
          </a:xfrm>
          <a:prstGeom prst="straightConnector1">
            <a:avLst/>
          </a:prstGeom>
          <a:noFill/>
          <a:ln w="9525" cap="flat" cmpd="sng" algn="ctr">
            <a:solidFill>
              <a:srgbClr val="6A6A6A"/>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FF5E7CE-CD99-4D37-A543-DFF44B651A1A}"/>
              </a:ext>
            </a:extLst>
          </p:cNvPr>
          <p:cNvCxnSpPr>
            <a:cxnSpLocks/>
            <a:endCxn id="17" idx="2"/>
          </p:cNvCxnSpPr>
          <p:nvPr/>
        </p:nvCxnSpPr>
        <p:spPr>
          <a:xfrm flipV="1">
            <a:off x="5506540" y="2715941"/>
            <a:ext cx="0" cy="2641871"/>
          </a:xfrm>
          <a:prstGeom prst="line">
            <a:avLst/>
          </a:prstGeom>
          <a:ln w="38100">
            <a:solidFill>
              <a:srgbClr val="FFBD42"/>
            </a:solidFill>
          </a:ln>
        </p:spPr>
        <p:style>
          <a:lnRef idx="1">
            <a:schemeClr val="accent1"/>
          </a:lnRef>
          <a:fillRef idx="0">
            <a:schemeClr val="accent1"/>
          </a:fillRef>
          <a:effectRef idx="0">
            <a:schemeClr val="accent1"/>
          </a:effectRef>
          <a:fontRef idx="minor">
            <a:schemeClr val="tx1"/>
          </a:fontRef>
        </p:style>
      </p:cxnSp>
      <p:sp>
        <p:nvSpPr>
          <p:cNvPr id="4" name="Rectangle 3" hidden="1">
            <a:extLst>
              <a:ext uri="{FF2B5EF4-FFF2-40B4-BE49-F238E27FC236}">
                <a16:creationId xmlns:a16="http://schemas.microsoft.com/office/drawing/2014/main" id="{85B36B72-BCF5-422C-91AA-30FF5317450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2800" b="1" strike="noStrike" kern="1200" spc="0" normalizeH="0" noProof="0" dirty="0">
              <a:ln>
                <a:noFill/>
              </a:ln>
              <a:effectLst/>
              <a:uLnTx/>
              <a:uFillTx/>
              <a:ea typeface="+mj-ea"/>
              <a:cs typeface="+mj-cs"/>
            </a:endParaRPr>
          </a:p>
        </p:txBody>
      </p:sp>
      <p:cxnSp>
        <p:nvCxnSpPr>
          <p:cNvPr id="14" name="Straight Connector 13">
            <a:extLst>
              <a:ext uri="{FF2B5EF4-FFF2-40B4-BE49-F238E27FC236}">
                <a16:creationId xmlns:a16="http://schemas.microsoft.com/office/drawing/2014/main" id="{10A7BEAB-38CF-4404-9981-84377E3EF793}"/>
              </a:ext>
            </a:extLst>
          </p:cNvPr>
          <p:cNvCxnSpPr>
            <a:cxnSpLocks/>
          </p:cNvCxnSpPr>
          <p:nvPr/>
        </p:nvCxnSpPr>
        <p:spPr>
          <a:xfrm flipV="1">
            <a:off x="3108397" y="2238103"/>
            <a:ext cx="0" cy="3930924"/>
          </a:xfrm>
          <a:prstGeom prst="line">
            <a:avLst/>
          </a:prstGeom>
          <a:ln w="9525">
            <a:solidFill>
              <a:srgbClr val="8C8C8C"/>
            </a:solidFill>
            <a:prstDash val="dash"/>
          </a:ln>
        </p:spPr>
        <p:style>
          <a:lnRef idx="1">
            <a:schemeClr val="accent1"/>
          </a:lnRef>
          <a:fillRef idx="0">
            <a:schemeClr val="accent1"/>
          </a:fillRef>
          <a:effectRef idx="0">
            <a:schemeClr val="accent1"/>
          </a:effectRef>
          <a:fontRef idx="minor">
            <a:schemeClr val="tx1"/>
          </a:fontRef>
        </p:style>
      </p:cxnSp>
      <p:sp>
        <p:nvSpPr>
          <p:cNvPr id="26" name="Speech Bubble: Rectangle 25">
            <a:extLst>
              <a:ext uri="{FF2B5EF4-FFF2-40B4-BE49-F238E27FC236}">
                <a16:creationId xmlns:a16="http://schemas.microsoft.com/office/drawing/2014/main" id="{365314C7-86A7-49D2-9679-C5651D59A304}"/>
              </a:ext>
            </a:extLst>
          </p:cNvPr>
          <p:cNvSpPr/>
          <p:nvPr/>
        </p:nvSpPr>
        <p:spPr>
          <a:xfrm>
            <a:off x="8246613" y="3883025"/>
            <a:ext cx="2794450" cy="559072"/>
          </a:xfrm>
          <a:prstGeom prst="wedgeRectCallout">
            <a:avLst>
              <a:gd name="adj1" fmla="val -41767"/>
              <a:gd name="adj2" fmla="val 81192"/>
            </a:avLst>
          </a:prstGeom>
          <a:solidFill>
            <a:schemeClr val="accent6"/>
          </a:solidFill>
          <a:ln>
            <a:solidFill>
              <a:srgbClr val="8C8C8C"/>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Leeswijzer: er zijn 17 gemeenten (ca. 5% van totaal aantal gemeenten) die ca. 60-70% tekort komen t.o.v. budget jeugd uit gemeentefonds</a:t>
            </a:r>
          </a:p>
        </p:txBody>
      </p:sp>
      <p:sp>
        <p:nvSpPr>
          <p:cNvPr id="82" name="TextBox 81">
            <a:extLst>
              <a:ext uri="{FF2B5EF4-FFF2-40B4-BE49-F238E27FC236}">
                <a16:creationId xmlns:a16="http://schemas.microsoft.com/office/drawing/2014/main" id="{BCE3789B-C5BF-4C28-8708-D307530EFBD2}"/>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Tekorten per gemeente</a:t>
            </a:r>
            <a:endParaRPr lang="nl-NL" b="1" noProof="0" dirty="0">
              <a:solidFill>
                <a:schemeClr val="tx2"/>
              </a:solidFill>
            </a:endParaRPr>
          </a:p>
        </p:txBody>
      </p:sp>
    </p:spTree>
    <p:extLst>
      <p:ext uri="{BB962C8B-B14F-4D97-AF65-F5344CB8AC3E}">
        <p14:creationId xmlns:p14="http://schemas.microsoft.com/office/powerpoint/2010/main" val="1936189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7149C8-5D42-4465-908E-9F5ADC32F7F4}"/>
              </a:ext>
            </a:extLst>
          </p:cNvPr>
          <p:cNvGraphicFramePr>
            <a:graphicFrameLocks noChangeAspect="1"/>
          </p:cNvGraphicFramePr>
          <p:nvPr>
            <p:custDataLst>
              <p:tags r:id="rId1"/>
            </p:custDataLst>
            <p:extLst>
              <p:ext uri="{D42A27DB-BD31-4B8C-83A1-F6EECF244321}">
                <p14:modId xmlns:p14="http://schemas.microsoft.com/office/powerpoint/2010/main" val="4121658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1" name="Object 10" hidden="1">
                        <a:extLst>
                          <a:ext uri="{FF2B5EF4-FFF2-40B4-BE49-F238E27FC236}">
                            <a16:creationId xmlns:a16="http://schemas.microsoft.com/office/drawing/2014/main" id="{667149C8-5D42-4465-908E-9F5ADC32F7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95DE0997-E52C-4153-9321-A8BD2CCB66F6}"/>
              </a:ext>
            </a:extLst>
          </p:cNvPr>
          <p:cNvSpPr>
            <a:spLocks noGrp="1"/>
          </p:cNvSpPr>
          <p:nvPr>
            <p:ph type="ftr" sz="quarter" idx="3"/>
          </p:nvPr>
        </p:nvSpPr>
        <p:spPr/>
        <p:txBody>
          <a:bodyPr/>
          <a:lstStyle/>
          <a:p>
            <a:r>
              <a:rPr lang="nl-NL" dirty="0"/>
              <a:t>Bron: Iv3-data; AEF; it’s public analyse</a:t>
            </a:r>
          </a:p>
        </p:txBody>
      </p:sp>
      <p:sp>
        <p:nvSpPr>
          <p:cNvPr id="7" name="Slide Number Placeholder 6">
            <a:extLst>
              <a:ext uri="{FF2B5EF4-FFF2-40B4-BE49-F238E27FC236}">
                <a16:creationId xmlns:a16="http://schemas.microsoft.com/office/drawing/2014/main" id="{33884614-2BB4-45EB-8209-11C41878B58D}"/>
              </a:ext>
            </a:extLst>
          </p:cNvPr>
          <p:cNvSpPr>
            <a:spLocks noGrp="1"/>
          </p:cNvSpPr>
          <p:nvPr>
            <p:ph type="sldNum" sz="quarter" idx="12"/>
          </p:nvPr>
        </p:nvSpPr>
        <p:spPr/>
        <p:txBody>
          <a:bodyPr/>
          <a:lstStyle/>
          <a:p>
            <a:fld id="{992CD0B2-8AB2-4C6C-8876-E15753662C9B}" type="slidenum">
              <a:rPr lang="nl-NL" noProof="0" smtClean="0"/>
              <a:pPr/>
              <a:t>7</a:t>
            </a:fld>
            <a:endParaRPr lang="nl-NL" noProof="0" dirty="0"/>
          </a:p>
        </p:txBody>
      </p:sp>
      <p:sp>
        <p:nvSpPr>
          <p:cNvPr id="22" name="Text Placeholder 21">
            <a:extLst>
              <a:ext uri="{FF2B5EF4-FFF2-40B4-BE49-F238E27FC236}">
                <a16:creationId xmlns:a16="http://schemas.microsoft.com/office/drawing/2014/main" id="{B6BB7467-E71C-4CE1-84C2-7DE406542BFE}"/>
              </a:ext>
            </a:extLst>
          </p:cNvPr>
          <p:cNvSpPr>
            <a:spLocks noGrp="1"/>
          </p:cNvSpPr>
          <p:nvPr>
            <p:ph type="body" sz="quarter" idx="14"/>
          </p:nvPr>
        </p:nvSpPr>
        <p:spPr/>
        <p:txBody>
          <a:bodyPr/>
          <a:lstStyle/>
          <a:p>
            <a:r>
              <a:rPr lang="nl-NL" dirty="0"/>
              <a:t>Tekort jeugdzorg per gemeente met enkele voorbeelden, Nederland, 2019</a:t>
            </a:r>
          </a:p>
          <a:p>
            <a:r>
              <a:rPr lang="nl-NL" b="0" dirty="0"/>
              <a:t>% van budget</a:t>
            </a:r>
          </a:p>
        </p:txBody>
      </p:sp>
      <p:sp>
        <p:nvSpPr>
          <p:cNvPr id="9" name="Title 8">
            <a:extLst>
              <a:ext uri="{FF2B5EF4-FFF2-40B4-BE49-F238E27FC236}">
                <a16:creationId xmlns:a16="http://schemas.microsoft.com/office/drawing/2014/main" id="{8840231E-1622-4AF9-A99C-67B61392516A}"/>
              </a:ext>
            </a:extLst>
          </p:cNvPr>
          <p:cNvSpPr>
            <a:spLocks noGrp="1"/>
          </p:cNvSpPr>
          <p:nvPr>
            <p:ph type="title"/>
          </p:nvPr>
        </p:nvSpPr>
        <p:spPr/>
        <p:txBody>
          <a:bodyPr vert="horz"/>
          <a:lstStyle/>
          <a:p>
            <a:r>
              <a:rPr lang="nl-NL" dirty="0"/>
              <a:t>Het tekort is verspreid door heel het land</a:t>
            </a:r>
          </a:p>
        </p:txBody>
      </p:sp>
      <p:sp>
        <p:nvSpPr>
          <p:cNvPr id="3" name="Rectangle 2">
            <a:extLst>
              <a:ext uri="{FF2B5EF4-FFF2-40B4-BE49-F238E27FC236}">
                <a16:creationId xmlns:a16="http://schemas.microsoft.com/office/drawing/2014/main" id="{D3AC541E-E760-495E-AE13-D1141ED9D38C}"/>
              </a:ext>
            </a:extLst>
          </p:cNvPr>
          <p:cNvSpPr/>
          <p:nvPr/>
        </p:nvSpPr>
        <p:spPr>
          <a:xfrm>
            <a:off x="9067858" y="2082307"/>
            <a:ext cx="404474" cy="175842"/>
          </a:xfrm>
          <a:prstGeom prst="rect">
            <a:avLst/>
          </a:prstGeom>
          <a:solidFill>
            <a:srgbClr val="17722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nvGrpSpPr>
          <p:cNvPr id="8" name="Group 7">
            <a:extLst>
              <a:ext uri="{FF2B5EF4-FFF2-40B4-BE49-F238E27FC236}">
                <a16:creationId xmlns:a16="http://schemas.microsoft.com/office/drawing/2014/main" id="{19267F52-58CA-4636-AC28-0654548A4A06}"/>
              </a:ext>
            </a:extLst>
          </p:cNvPr>
          <p:cNvGrpSpPr/>
          <p:nvPr/>
        </p:nvGrpSpPr>
        <p:grpSpPr>
          <a:xfrm>
            <a:off x="4055471" y="1971231"/>
            <a:ext cx="4059570" cy="4584901"/>
            <a:chOff x="4066215" y="1136549"/>
            <a:chExt cx="4059570" cy="4584901"/>
          </a:xfrm>
        </p:grpSpPr>
        <p:sp>
          <p:nvSpPr>
            <p:cNvPr id="387" name="Raalte">
              <a:extLst>
                <a:ext uri="{FF2B5EF4-FFF2-40B4-BE49-F238E27FC236}">
                  <a16:creationId xmlns:a16="http://schemas.microsoft.com/office/drawing/2014/main" id="{B95D616C-D565-4654-B750-648108C6E193}"/>
                </a:ext>
              </a:extLst>
            </p:cNvPr>
            <p:cNvSpPr/>
            <p:nvPr/>
          </p:nvSpPr>
          <p:spPr>
            <a:xfrm>
              <a:off x="7016905" y="2898184"/>
              <a:ext cx="279444" cy="288237"/>
            </a:xfrm>
            <a:custGeom>
              <a:avLst/>
              <a:gdLst/>
              <a:ahLst/>
              <a:cxnLst/>
              <a:rect l="l" t="t" r="r" b="b"/>
              <a:pathLst>
                <a:path w="398077" h="422910" extrusionOk="0">
                  <a:moveTo>
                    <a:pt x="31194" y="4114"/>
                  </a:moveTo>
                  <a:lnTo>
                    <a:pt x="44684" y="17281"/>
                  </a:lnTo>
                  <a:lnTo>
                    <a:pt x="49742" y="18927"/>
                  </a:lnTo>
                  <a:lnTo>
                    <a:pt x="54801" y="12344"/>
                  </a:lnTo>
                  <a:lnTo>
                    <a:pt x="68291" y="18927"/>
                  </a:lnTo>
                  <a:lnTo>
                    <a:pt x="91898" y="17281"/>
                  </a:lnTo>
                  <a:lnTo>
                    <a:pt x="108760" y="27156"/>
                  </a:lnTo>
                  <a:lnTo>
                    <a:pt x="142485" y="23865"/>
                  </a:lnTo>
                  <a:lnTo>
                    <a:pt x="169464" y="30448"/>
                  </a:lnTo>
                  <a:lnTo>
                    <a:pt x="206561" y="43615"/>
                  </a:lnTo>
                  <a:lnTo>
                    <a:pt x="206561" y="68303"/>
                  </a:lnTo>
                  <a:lnTo>
                    <a:pt x="225110" y="69949"/>
                  </a:lnTo>
                  <a:lnTo>
                    <a:pt x="226796" y="97928"/>
                  </a:lnTo>
                  <a:lnTo>
                    <a:pt x="241972" y="96283"/>
                  </a:lnTo>
                  <a:lnTo>
                    <a:pt x="243658" y="106158"/>
                  </a:lnTo>
                  <a:lnTo>
                    <a:pt x="262207" y="101220"/>
                  </a:lnTo>
                  <a:lnTo>
                    <a:pt x="268951" y="102866"/>
                  </a:lnTo>
                  <a:lnTo>
                    <a:pt x="292559" y="120971"/>
                  </a:lnTo>
                  <a:lnTo>
                    <a:pt x="295931" y="114387"/>
                  </a:lnTo>
                  <a:lnTo>
                    <a:pt x="306049" y="119325"/>
                  </a:lnTo>
                  <a:lnTo>
                    <a:pt x="314480" y="120971"/>
                  </a:lnTo>
                  <a:lnTo>
                    <a:pt x="316166" y="116033"/>
                  </a:lnTo>
                  <a:lnTo>
                    <a:pt x="324597" y="117679"/>
                  </a:lnTo>
                  <a:lnTo>
                    <a:pt x="324597" y="109449"/>
                  </a:lnTo>
                  <a:lnTo>
                    <a:pt x="343145" y="112741"/>
                  </a:lnTo>
                  <a:lnTo>
                    <a:pt x="361694" y="112741"/>
                  </a:lnTo>
                  <a:lnTo>
                    <a:pt x="361694" y="107803"/>
                  </a:lnTo>
                  <a:lnTo>
                    <a:pt x="376870" y="111095"/>
                  </a:lnTo>
                  <a:lnTo>
                    <a:pt x="400477" y="142367"/>
                  </a:lnTo>
                  <a:lnTo>
                    <a:pt x="375184" y="227952"/>
                  </a:lnTo>
                  <a:lnTo>
                    <a:pt x="366753" y="226306"/>
                  </a:lnTo>
                  <a:lnTo>
                    <a:pt x="327969" y="236181"/>
                  </a:lnTo>
                  <a:lnTo>
                    <a:pt x="307735" y="252639"/>
                  </a:lnTo>
                  <a:lnTo>
                    <a:pt x="292559" y="298724"/>
                  </a:lnTo>
                  <a:lnTo>
                    <a:pt x="307735" y="341516"/>
                  </a:lnTo>
                  <a:lnTo>
                    <a:pt x="327969" y="377725"/>
                  </a:lnTo>
                  <a:lnTo>
                    <a:pt x="284128" y="418872"/>
                  </a:lnTo>
                  <a:lnTo>
                    <a:pt x="252089" y="422163"/>
                  </a:lnTo>
                  <a:lnTo>
                    <a:pt x="194758" y="422163"/>
                  </a:lnTo>
                  <a:lnTo>
                    <a:pt x="145857" y="389246"/>
                  </a:lnTo>
                  <a:lnTo>
                    <a:pt x="145857" y="354683"/>
                  </a:lnTo>
                  <a:lnTo>
                    <a:pt x="140798" y="353037"/>
                  </a:lnTo>
                  <a:lnTo>
                    <a:pt x="139112" y="338225"/>
                  </a:lnTo>
                  <a:lnTo>
                    <a:pt x="145857" y="328349"/>
                  </a:lnTo>
                  <a:lnTo>
                    <a:pt x="125622" y="310245"/>
                  </a:lnTo>
                  <a:lnTo>
                    <a:pt x="86839" y="298724"/>
                  </a:lnTo>
                  <a:lnTo>
                    <a:pt x="83467" y="290494"/>
                  </a:lnTo>
                  <a:lnTo>
                    <a:pt x="85153" y="283911"/>
                  </a:lnTo>
                  <a:lnTo>
                    <a:pt x="81780" y="282265"/>
                  </a:lnTo>
                  <a:lnTo>
                    <a:pt x="73349" y="269098"/>
                  </a:lnTo>
                  <a:lnTo>
                    <a:pt x="75036" y="241118"/>
                  </a:lnTo>
                  <a:lnTo>
                    <a:pt x="83467" y="246056"/>
                  </a:lnTo>
                  <a:lnTo>
                    <a:pt x="85153" y="250994"/>
                  </a:lnTo>
                  <a:lnTo>
                    <a:pt x="91898" y="252639"/>
                  </a:lnTo>
                  <a:lnTo>
                    <a:pt x="91898" y="246056"/>
                  </a:lnTo>
                  <a:lnTo>
                    <a:pt x="90212" y="244410"/>
                  </a:lnTo>
                  <a:lnTo>
                    <a:pt x="95270" y="241118"/>
                  </a:lnTo>
                  <a:lnTo>
                    <a:pt x="95270" y="236181"/>
                  </a:lnTo>
                  <a:lnTo>
                    <a:pt x="88525" y="231243"/>
                  </a:lnTo>
                  <a:lnTo>
                    <a:pt x="91898" y="231243"/>
                  </a:lnTo>
                  <a:lnTo>
                    <a:pt x="91898" y="223014"/>
                  </a:lnTo>
                  <a:lnTo>
                    <a:pt x="102015" y="223014"/>
                  </a:lnTo>
                  <a:lnTo>
                    <a:pt x="100329" y="219722"/>
                  </a:lnTo>
                  <a:lnTo>
                    <a:pt x="93584" y="219722"/>
                  </a:lnTo>
                  <a:lnTo>
                    <a:pt x="96957" y="214785"/>
                  </a:lnTo>
                  <a:lnTo>
                    <a:pt x="115505" y="216431"/>
                  </a:lnTo>
                  <a:lnTo>
                    <a:pt x="118878" y="218076"/>
                  </a:lnTo>
                  <a:lnTo>
                    <a:pt x="135740" y="206555"/>
                  </a:lnTo>
                  <a:lnTo>
                    <a:pt x="139112" y="198326"/>
                  </a:lnTo>
                  <a:lnTo>
                    <a:pt x="135740" y="188451"/>
                  </a:lnTo>
                  <a:lnTo>
                    <a:pt x="137426" y="188451"/>
                  </a:lnTo>
                  <a:lnTo>
                    <a:pt x="122250" y="160471"/>
                  </a:lnTo>
                  <a:lnTo>
                    <a:pt x="135740" y="125908"/>
                  </a:lnTo>
                  <a:lnTo>
                    <a:pt x="100329" y="120971"/>
                  </a:lnTo>
                  <a:lnTo>
                    <a:pt x="102015" y="116033"/>
                  </a:lnTo>
                  <a:lnTo>
                    <a:pt x="98643" y="114387"/>
                  </a:lnTo>
                  <a:lnTo>
                    <a:pt x="83467" y="117679"/>
                  </a:lnTo>
                  <a:lnTo>
                    <a:pt x="78408" y="114387"/>
                  </a:lnTo>
                  <a:lnTo>
                    <a:pt x="78408" y="107803"/>
                  </a:lnTo>
                  <a:lnTo>
                    <a:pt x="75036" y="109449"/>
                  </a:lnTo>
                  <a:lnTo>
                    <a:pt x="75036" y="104512"/>
                  </a:lnTo>
                  <a:lnTo>
                    <a:pt x="54801" y="107803"/>
                  </a:lnTo>
                  <a:lnTo>
                    <a:pt x="24449" y="55136"/>
                  </a:lnTo>
                  <a:lnTo>
                    <a:pt x="19390" y="55136"/>
                  </a:lnTo>
                  <a:lnTo>
                    <a:pt x="16018" y="45261"/>
                  </a:lnTo>
                  <a:lnTo>
                    <a:pt x="16018" y="37031"/>
                  </a:lnTo>
                  <a:lnTo>
                    <a:pt x="4214" y="20573"/>
                  </a:lnTo>
                  <a:lnTo>
                    <a:pt x="14332" y="12344"/>
                  </a:lnTo>
                  <a:lnTo>
                    <a:pt x="31194"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88" name="Hilvarenbeek">
              <a:extLst>
                <a:ext uri="{FF2B5EF4-FFF2-40B4-BE49-F238E27FC236}">
                  <a16:creationId xmlns:a16="http://schemas.microsoft.com/office/drawing/2014/main" id="{7330BD52-91BA-4B90-AD5A-918A8F1A0DE1}"/>
                </a:ext>
              </a:extLst>
            </p:cNvPr>
            <p:cNvSpPr/>
            <p:nvPr/>
          </p:nvSpPr>
          <p:spPr>
            <a:xfrm>
              <a:off x="5875033" y="4412953"/>
              <a:ext cx="209799" cy="219933"/>
            </a:xfrm>
            <a:custGeom>
              <a:avLst/>
              <a:gdLst/>
              <a:ahLst/>
              <a:cxnLst/>
              <a:rect l="l" t="t" r="r" b="b"/>
              <a:pathLst>
                <a:path w="316120" h="285750" extrusionOk="0">
                  <a:moveTo>
                    <a:pt x="125622" y="33740"/>
                  </a:moveTo>
                  <a:lnTo>
                    <a:pt x="154288" y="63365"/>
                  </a:lnTo>
                  <a:lnTo>
                    <a:pt x="159347" y="58428"/>
                  </a:lnTo>
                  <a:lnTo>
                    <a:pt x="176209" y="74886"/>
                  </a:lnTo>
                  <a:lnTo>
                    <a:pt x="177895" y="73241"/>
                  </a:lnTo>
                  <a:lnTo>
                    <a:pt x="182954" y="79824"/>
                  </a:lnTo>
                  <a:lnTo>
                    <a:pt x="186326" y="79824"/>
                  </a:lnTo>
                  <a:lnTo>
                    <a:pt x="193071" y="89699"/>
                  </a:lnTo>
                  <a:lnTo>
                    <a:pt x="201503" y="88053"/>
                  </a:lnTo>
                  <a:lnTo>
                    <a:pt x="206561" y="94637"/>
                  </a:lnTo>
                  <a:lnTo>
                    <a:pt x="223423" y="97928"/>
                  </a:lnTo>
                  <a:lnTo>
                    <a:pt x="231855" y="92991"/>
                  </a:lnTo>
                  <a:lnTo>
                    <a:pt x="260520" y="88053"/>
                  </a:lnTo>
                  <a:lnTo>
                    <a:pt x="275696" y="74886"/>
                  </a:lnTo>
                  <a:lnTo>
                    <a:pt x="279069" y="97928"/>
                  </a:lnTo>
                  <a:lnTo>
                    <a:pt x="289186" y="94637"/>
                  </a:lnTo>
                  <a:lnTo>
                    <a:pt x="294245" y="83116"/>
                  </a:lnTo>
                  <a:lnTo>
                    <a:pt x="317852" y="92991"/>
                  </a:lnTo>
                  <a:lnTo>
                    <a:pt x="317852" y="101220"/>
                  </a:lnTo>
                  <a:lnTo>
                    <a:pt x="312793" y="101220"/>
                  </a:lnTo>
                  <a:lnTo>
                    <a:pt x="311107" y="119325"/>
                  </a:lnTo>
                  <a:lnTo>
                    <a:pt x="282441" y="119325"/>
                  </a:lnTo>
                  <a:lnTo>
                    <a:pt x="285814" y="137429"/>
                  </a:lnTo>
                  <a:lnTo>
                    <a:pt x="284128" y="140721"/>
                  </a:lnTo>
                  <a:lnTo>
                    <a:pt x="277382" y="142367"/>
                  </a:lnTo>
                  <a:lnTo>
                    <a:pt x="270638" y="181867"/>
                  </a:lnTo>
                  <a:lnTo>
                    <a:pt x="253776" y="198326"/>
                  </a:lnTo>
                  <a:lnTo>
                    <a:pt x="225109" y="283911"/>
                  </a:lnTo>
                  <a:lnTo>
                    <a:pt x="214992" y="287203"/>
                  </a:lnTo>
                  <a:lnTo>
                    <a:pt x="204875" y="283911"/>
                  </a:lnTo>
                  <a:lnTo>
                    <a:pt x="196444" y="288849"/>
                  </a:lnTo>
                  <a:lnTo>
                    <a:pt x="193071" y="285557"/>
                  </a:lnTo>
                  <a:lnTo>
                    <a:pt x="174523" y="278973"/>
                  </a:lnTo>
                  <a:lnTo>
                    <a:pt x="172837" y="287203"/>
                  </a:lnTo>
                  <a:lnTo>
                    <a:pt x="166092" y="288849"/>
                  </a:lnTo>
                  <a:lnTo>
                    <a:pt x="164405" y="287203"/>
                  </a:lnTo>
                  <a:lnTo>
                    <a:pt x="113819" y="288849"/>
                  </a:lnTo>
                  <a:lnTo>
                    <a:pt x="86839" y="287203"/>
                  </a:lnTo>
                  <a:lnTo>
                    <a:pt x="90212" y="280619"/>
                  </a:lnTo>
                  <a:lnTo>
                    <a:pt x="51428" y="185159"/>
                  </a:lnTo>
                  <a:lnTo>
                    <a:pt x="5900" y="185159"/>
                  </a:lnTo>
                  <a:lnTo>
                    <a:pt x="4214" y="183513"/>
                  </a:lnTo>
                  <a:lnTo>
                    <a:pt x="9273" y="145658"/>
                  </a:lnTo>
                  <a:lnTo>
                    <a:pt x="34566" y="150596"/>
                  </a:lnTo>
                  <a:lnTo>
                    <a:pt x="36253" y="147304"/>
                  </a:lnTo>
                  <a:lnTo>
                    <a:pt x="26135" y="132492"/>
                  </a:lnTo>
                  <a:lnTo>
                    <a:pt x="48056" y="112741"/>
                  </a:lnTo>
                  <a:lnTo>
                    <a:pt x="42997" y="107803"/>
                  </a:lnTo>
                  <a:lnTo>
                    <a:pt x="66605" y="88053"/>
                  </a:lnTo>
                  <a:lnTo>
                    <a:pt x="78408" y="91345"/>
                  </a:lnTo>
                  <a:lnTo>
                    <a:pt x="81780" y="78178"/>
                  </a:lnTo>
                  <a:lnTo>
                    <a:pt x="76722" y="73241"/>
                  </a:lnTo>
                  <a:lnTo>
                    <a:pt x="85153" y="66657"/>
                  </a:lnTo>
                  <a:lnTo>
                    <a:pt x="81780" y="61719"/>
                  </a:lnTo>
                  <a:lnTo>
                    <a:pt x="85153" y="60074"/>
                  </a:lnTo>
                  <a:lnTo>
                    <a:pt x="81780" y="55136"/>
                  </a:lnTo>
                  <a:lnTo>
                    <a:pt x="91898" y="46907"/>
                  </a:lnTo>
                  <a:lnTo>
                    <a:pt x="85153" y="40323"/>
                  </a:lnTo>
                  <a:lnTo>
                    <a:pt x="91898" y="33740"/>
                  </a:lnTo>
                  <a:lnTo>
                    <a:pt x="93584" y="35386"/>
                  </a:lnTo>
                  <a:lnTo>
                    <a:pt x="98643" y="27156"/>
                  </a:lnTo>
                  <a:lnTo>
                    <a:pt x="100329" y="20573"/>
                  </a:lnTo>
                  <a:lnTo>
                    <a:pt x="105388" y="17281"/>
                  </a:lnTo>
                  <a:lnTo>
                    <a:pt x="105388" y="13989"/>
                  </a:lnTo>
                  <a:lnTo>
                    <a:pt x="113819" y="4114"/>
                  </a:lnTo>
                  <a:lnTo>
                    <a:pt x="125622" y="3374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89" name="Eijsden-Margraten">
              <a:extLst>
                <a:ext uri="{FF2B5EF4-FFF2-40B4-BE49-F238E27FC236}">
                  <a16:creationId xmlns:a16="http://schemas.microsoft.com/office/drawing/2014/main" id="{E792DC42-4D0A-4F48-9C66-28815F81EAD0}"/>
                </a:ext>
              </a:extLst>
            </p:cNvPr>
            <p:cNvSpPr/>
            <p:nvPr/>
          </p:nvSpPr>
          <p:spPr>
            <a:xfrm>
              <a:off x="6542553" y="5554619"/>
              <a:ext cx="206768" cy="166831"/>
            </a:xfrm>
            <a:custGeom>
              <a:avLst/>
              <a:gdLst/>
              <a:ahLst/>
              <a:cxnLst/>
              <a:rect l="l" t="t" r="r" b="b"/>
              <a:pathLst>
                <a:path w="280996" h="240030" extrusionOk="0">
                  <a:moveTo>
                    <a:pt x="125622" y="4114"/>
                  </a:moveTo>
                  <a:lnTo>
                    <a:pt x="142485" y="10697"/>
                  </a:lnTo>
                  <a:lnTo>
                    <a:pt x="149230" y="9051"/>
                  </a:lnTo>
                  <a:lnTo>
                    <a:pt x="154288" y="10697"/>
                  </a:lnTo>
                  <a:lnTo>
                    <a:pt x="157661" y="17280"/>
                  </a:lnTo>
                  <a:lnTo>
                    <a:pt x="174523" y="17280"/>
                  </a:lnTo>
                  <a:lnTo>
                    <a:pt x="188013" y="20573"/>
                  </a:lnTo>
                  <a:lnTo>
                    <a:pt x="189699" y="17280"/>
                  </a:lnTo>
                  <a:lnTo>
                    <a:pt x="199816" y="37031"/>
                  </a:lnTo>
                  <a:lnTo>
                    <a:pt x="204875" y="40323"/>
                  </a:lnTo>
                  <a:lnTo>
                    <a:pt x="208247" y="37031"/>
                  </a:lnTo>
                  <a:lnTo>
                    <a:pt x="221737" y="43615"/>
                  </a:lnTo>
                  <a:lnTo>
                    <a:pt x="220051" y="60073"/>
                  </a:lnTo>
                  <a:lnTo>
                    <a:pt x="226796" y="65011"/>
                  </a:lnTo>
                  <a:lnTo>
                    <a:pt x="245344" y="65011"/>
                  </a:lnTo>
                  <a:lnTo>
                    <a:pt x="247030" y="61719"/>
                  </a:lnTo>
                  <a:lnTo>
                    <a:pt x="243658" y="50198"/>
                  </a:lnTo>
                  <a:lnTo>
                    <a:pt x="255462" y="56781"/>
                  </a:lnTo>
                  <a:lnTo>
                    <a:pt x="257148" y="55135"/>
                  </a:lnTo>
                  <a:lnTo>
                    <a:pt x="267265" y="60073"/>
                  </a:lnTo>
                  <a:lnTo>
                    <a:pt x="277383" y="60073"/>
                  </a:lnTo>
                  <a:lnTo>
                    <a:pt x="280755" y="55135"/>
                  </a:lnTo>
                  <a:lnTo>
                    <a:pt x="287500" y="79823"/>
                  </a:lnTo>
                  <a:lnTo>
                    <a:pt x="277383" y="88053"/>
                  </a:lnTo>
                  <a:lnTo>
                    <a:pt x="275697" y="84761"/>
                  </a:lnTo>
                  <a:lnTo>
                    <a:pt x="270638" y="86407"/>
                  </a:lnTo>
                  <a:lnTo>
                    <a:pt x="267265" y="89699"/>
                  </a:lnTo>
                  <a:lnTo>
                    <a:pt x="270638" y="92990"/>
                  </a:lnTo>
                  <a:lnTo>
                    <a:pt x="263893" y="101220"/>
                  </a:lnTo>
                  <a:lnTo>
                    <a:pt x="258834" y="99574"/>
                  </a:lnTo>
                  <a:lnTo>
                    <a:pt x="250403" y="119324"/>
                  </a:lnTo>
                  <a:lnTo>
                    <a:pt x="238599" y="116032"/>
                  </a:lnTo>
                  <a:lnTo>
                    <a:pt x="218365" y="124262"/>
                  </a:lnTo>
                  <a:lnTo>
                    <a:pt x="221737" y="132491"/>
                  </a:lnTo>
                  <a:lnTo>
                    <a:pt x="221737" y="145658"/>
                  </a:lnTo>
                  <a:lnTo>
                    <a:pt x="231855" y="160471"/>
                  </a:lnTo>
                  <a:lnTo>
                    <a:pt x="238599" y="163762"/>
                  </a:lnTo>
                  <a:lnTo>
                    <a:pt x="240286" y="168700"/>
                  </a:lnTo>
                  <a:lnTo>
                    <a:pt x="245344" y="168700"/>
                  </a:lnTo>
                  <a:lnTo>
                    <a:pt x="243658" y="173638"/>
                  </a:lnTo>
                  <a:lnTo>
                    <a:pt x="241972" y="175284"/>
                  </a:lnTo>
                  <a:lnTo>
                    <a:pt x="243658" y="180221"/>
                  </a:lnTo>
                  <a:lnTo>
                    <a:pt x="248717" y="181867"/>
                  </a:lnTo>
                  <a:lnTo>
                    <a:pt x="257148" y="196680"/>
                  </a:lnTo>
                  <a:lnTo>
                    <a:pt x="255462" y="199971"/>
                  </a:lnTo>
                  <a:lnTo>
                    <a:pt x="258834" y="208201"/>
                  </a:lnTo>
                  <a:lnTo>
                    <a:pt x="258834" y="219722"/>
                  </a:lnTo>
                  <a:lnTo>
                    <a:pt x="248717" y="224659"/>
                  </a:lnTo>
                  <a:lnTo>
                    <a:pt x="236913" y="237826"/>
                  </a:lnTo>
                  <a:lnTo>
                    <a:pt x="223424" y="236181"/>
                  </a:lnTo>
                  <a:lnTo>
                    <a:pt x="211620" y="242764"/>
                  </a:lnTo>
                  <a:lnTo>
                    <a:pt x="199816" y="242764"/>
                  </a:lnTo>
                  <a:lnTo>
                    <a:pt x="177895" y="209846"/>
                  </a:lnTo>
                  <a:lnTo>
                    <a:pt x="164406" y="216430"/>
                  </a:lnTo>
                  <a:lnTo>
                    <a:pt x="155974" y="199971"/>
                  </a:lnTo>
                  <a:lnTo>
                    <a:pt x="152602" y="178575"/>
                  </a:lnTo>
                  <a:lnTo>
                    <a:pt x="147543" y="178575"/>
                  </a:lnTo>
                  <a:lnTo>
                    <a:pt x="134053" y="180221"/>
                  </a:lnTo>
                  <a:lnTo>
                    <a:pt x="102015" y="213138"/>
                  </a:lnTo>
                  <a:lnTo>
                    <a:pt x="95270" y="226306"/>
                  </a:lnTo>
                  <a:lnTo>
                    <a:pt x="96957" y="231243"/>
                  </a:lnTo>
                  <a:lnTo>
                    <a:pt x="93584" y="241118"/>
                  </a:lnTo>
                  <a:lnTo>
                    <a:pt x="80094" y="241118"/>
                  </a:lnTo>
                  <a:lnTo>
                    <a:pt x="69977" y="232888"/>
                  </a:lnTo>
                  <a:lnTo>
                    <a:pt x="68291" y="224659"/>
                  </a:lnTo>
                  <a:lnTo>
                    <a:pt x="63232" y="223013"/>
                  </a:lnTo>
                  <a:lnTo>
                    <a:pt x="56487" y="234535"/>
                  </a:lnTo>
                  <a:lnTo>
                    <a:pt x="51428" y="232888"/>
                  </a:lnTo>
                  <a:lnTo>
                    <a:pt x="42997" y="239472"/>
                  </a:lnTo>
                  <a:lnTo>
                    <a:pt x="36252" y="237826"/>
                  </a:lnTo>
                  <a:lnTo>
                    <a:pt x="31194" y="246056"/>
                  </a:lnTo>
                  <a:lnTo>
                    <a:pt x="14332" y="244410"/>
                  </a:lnTo>
                  <a:lnTo>
                    <a:pt x="12645" y="239472"/>
                  </a:lnTo>
                  <a:lnTo>
                    <a:pt x="4214" y="239472"/>
                  </a:lnTo>
                  <a:lnTo>
                    <a:pt x="4214" y="229597"/>
                  </a:lnTo>
                  <a:lnTo>
                    <a:pt x="27821" y="203264"/>
                  </a:lnTo>
                  <a:lnTo>
                    <a:pt x="26135" y="195034"/>
                  </a:lnTo>
                  <a:lnTo>
                    <a:pt x="29507" y="195034"/>
                  </a:lnTo>
                  <a:lnTo>
                    <a:pt x="31194" y="186804"/>
                  </a:lnTo>
                  <a:lnTo>
                    <a:pt x="34566" y="181867"/>
                  </a:lnTo>
                  <a:lnTo>
                    <a:pt x="32880" y="173638"/>
                  </a:lnTo>
                  <a:lnTo>
                    <a:pt x="17704" y="148950"/>
                  </a:lnTo>
                  <a:lnTo>
                    <a:pt x="17704" y="142367"/>
                  </a:lnTo>
                  <a:lnTo>
                    <a:pt x="31194" y="125908"/>
                  </a:lnTo>
                  <a:lnTo>
                    <a:pt x="26135" y="117678"/>
                  </a:lnTo>
                  <a:lnTo>
                    <a:pt x="46370" y="117678"/>
                  </a:lnTo>
                  <a:lnTo>
                    <a:pt x="44684" y="125908"/>
                  </a:lnTo>
                  <a:lnTo>
                    <a:pt x="58173" y="129199"/>
                  </a:lnTo>
                  <a:lnTo>
                    <a:pt x="58173" y="102866"/>
                  </a:lnTo>
                  <a:lnTo>
                    <a:pt x="68291" y="102866"/>
                  </a:lnTo>
                  <a:lnTo>
                    <a:pt x="76722" y="94636"/>
                  </a:lnTo>
                  <a:lnTo>
                    <a:pt x="98643" y="86407"/>
                  </a:lnTo>
                  <a:lnTo>
                    <a:pt x="103701" y="65011"/>
                  </a:lnTo>
                  <a:lnTo>
                    <a:pt x="102015" y="51844"/>
                  </a:lnTo>
                  <a:lnTo>
                    <a:pt x="103701" y="51844"/>
                  </a:lnTo>
                  <a:lnTo>
                    <a:pt x="103701" y="46906"/>
                  </a:lnTo>
                  <a:lnTo>
                    <a:pt x="93584" y="45260"/>
                  </a:lnTo>
                  <a:lnTo>
                    <a:pt x="95270" y="43615"/>
                  </a:lnTo>
                  <a:lnTo>
                    <a:pt x="95270" y="40323"/>
                  </a:lnTo>
                  <a:lnTo>
                    <a:pt x="117191" y="37031"/>
                  </a:lnTo>
                  <a:lnTo>
                    <a:pt x="120564" y="28802"/>
                  </a:lnTo>
                  <a:lnTo>
                    <a:pt x="120564" y="4114"/>
                  </a:lnTo>
                  <a:lnTo>
                    <a:pt x="125622"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0" name="Laarbeek">
              <a:extLst>
                <a:ext uri="{FF2B5EF4-FFF2-40B4-BE49-F238E27FC236}">
                  <a16:creationId xmlns:a16="http://schemas.microsoft.com/office/drawing/2014/main" id="{D032B102-DA32-4660-B605-48496BC69E4C}"/>
                </a:ext>
              </a:extLst>
            </p:cNvPr>
            <p:cNvSpPr/>
            <p:nvPr/>
          </p:nvSpPr>
          <p:spPr>
            <a:xfrm>
              <a:off x="6387822" y="4381217"/>
              <a:ext cx="144656" cy="129027"/>
            </a:xfrm>
            <a:custGeom>
              <a:avLst/>
              <a:gdLst/>
              <a:ahLst/>
              <a:cxnLst/>
              <a:rect l="l" t="t" r="r" b="b"/>
              <a:pathLst>
                <a:path w="234163" h="182880" extrusionOk="0">
                  <a:moveTo>
                    <a:pt x="191385" y="13989"/>
                  </a:moveTo>
                  <a:lnTo>
                    <a:pt x="199816" y="46906"/>
                  </a:lnTo>
                  <a:lnTo>
                    <a:pt x="209934" y="73240"/>
                  </a:lnTo>
                  <a:lnTo>
                    <a:pt x="223423" y="92991"/>
                  </a:lnTo>
                  <a:lnTo>
                    <a:pt x="233541" y="104512"/>
                  </a:lnTo>
                  <a:lnTo>
                    <a:pt x="228482" y="102866"/>
                  </a:lnTo>
                  <a:lnTo>
                    <a:pt x="226796" y="106158"/>
                  </a:lnTo>
                  <a:lnTo>
                    <a:pt x="231854" y="107803"/>
                  </a:lnTo>
                  <a:lnTo>
                    <a:pt x="221737" y="109449"/>
                  </a:lnTo>
                  <a:lnTo>
                    <a:pt x="221737" y="111095"/>
                  </a:lnTo>
                  <a:lnTo>
                    <a:pt x="225109" y="112741"/>
                  </a:lnTo>
                  <a:lnTo>
                    <a:pt x="238599" y="132491"/>
                  </a:lnTo>
                  <a:lnTo>
                    <a:pt x="236913" y="139075"/>
                  </a:lnTo>
                  <a:lnTo>
                    <a:pt x="240286" y="140720"/>
                  </a:lnTo>
                  <a:lnTo>
                    <a:pt x="235227" y="160471"/>
                  </a:lnTo>
                  <a:lnTo>
                    <a:pt x="220051" y="158825"/>
                  </a:lnTo>
                  <a:lnTo>
                    <a:pt x="214992" y="162117"/>
                  </a:lnTo>
                  <a:lnTo>
                    <a:pt x="223423" y="173638"/>
                  </a:lnTo>
                  <a:lnTo>
                    <a:pt x="204875" y="165409"/>
                  </a:lnTo>
                  <a:lnTo>
                    <a:pt x="194757" y="153888"/>
                  </a:lnTo>
                  <a:lnTo>
                    <a:pt x="189699" y="162117"/>
                  </a:lnTo>
                  <a:lnTo>
                    <a:pt x="176209" y="167054"/>
                  </a:lnTo>
                  <a:lnTo>
                    <a:pt x="161033" y="183513"/>
                  </a:lnTo>
                  <a:lnTo>
                    <a:pt x="149229" y="181867"/>
                  </a:lnTo>
                  <a:lnTo>
                    <a:pt x="147543" y="175284"/>
                  </a:lnTo>
                  <a:lnTo>
                    <a:pt x="135740" y="175284"/>
                  </a:lnTo>
                  <a:lnTo>
                    <a:pt x="130681" y="170346"/>
                  </a:lnTo>
                  <a:lnTo>
                    <a:pt x="123936" y="160471"/>
                  </a:lnTo>
                  <a:lnTo>
                    <a:pt x="125622" y="152242"/>
                  </a:lnTo>
                  <a:lnTo>
                    <a:pt x="122250" y="148950"/>
                  </a:lnTo>
                  <a:lnTo>
                    <a:pt x="76722" y="175284"/>
                  </a:lnTo>
                  <a:lnTo>
                    <a:pt x="56487" y="168700"/>
                  </a:lnTo>
                  <a:lnTo>
                    <a:pt x="41311" y="148950"/>
                  </a:lnTo>
                  <a:lnTo>
                    <a:pt x="26135" y="79824"/>
                  </a:lnTo>
                  <a:lnTo>
                    <a:pt x="19390" y="74886"/>
                  </a:lnTo>
                  <a:lnTo>
                    <a:pt x="22763" y="71594"/>
                  </a:lnTo>
                  <a:lnTo>
                    <a:pt x="4214" y="32094"/>
                  </a:lnTo>
                  <a:lnTo>
                    <a:pt x="34566" y="30448"/>
                  </a:lnTo>
                  <a:lnTo>
                    <a:pt x="83467" y="20573"/>
                  </a:lnTo>
                  <a:lnTo>
                    <a:pt x="120563" y="27156"/>
                  </a:lnTo>
                  <a:lnTo>
                    <a:pt x="128995" y="40323"/>
                  </a:lnTo>
                  <a:lnTo>
                    <a:pt x="135740" y="37031"/>
                  </a:lnTo>
                  <a:lnTo>
                    <a:pt x="137426" y="41969"/>
                  </a:lnTo>
                  <a:lnTo>
                    <a:pt x="140798" y="43615"/>
                  </a:lnTo>
                  <a:lnTo>
                    <a:pt x="149229" y="38677"/>
                  </a:lnTo>
                  <a:lnTo>
                    <a:pt x="169464" y="15635"/>
                  </a:lnTo>
                  <a:lnTo>
                    <a:pt x="188013" y="4114"/>
                  </a:lnTo>
                  <a:lnTo>
                    <a:pt x="191385" y="13989"/>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1" name="Beuningen">
              <a:extLst>
                <a:ext uri="{FF2B5EF4-FFF2-40B4-BE49-F238E27FC236}">
                  <a16:creationId xmlns:a16="http://schemas.microsoft.com/office/drawing/2014/main" id="{FAA4AE27-EBF2-4A9E-8348-52AE33C3A576}"/>
                </a:ext>
              </a:extLst>
            </p:cNvPr>
            <p:cNvSpPr/>
            <p:nvPr/>
          </p:nvSpPr>
          <p:spPr>
            <a:xfrm>
              <a:off x="6525240" y="3866473"/>
              <a:ext cx="169796" cy="82991"/>
            </a:xfrm>
            <a:custGeom>
              <a:avLst/>
              <a:gdLst/>
              <a:ahLst/>
              <a:cxnLst/>
              <a:rect l="l" t="t" r="r" b="b"/>
              <a:pathLst>
                <a:path w="245871" h="160020" extrusionOk="0">
                  <a:moveTo>
                    <a:pt x="243658" y="94637"/>
                  </a:moveTo>
                  <a:lnTo>
                    <a:pt x="233541" y="114387"/>
                  </a:lnTo>
                  <a:lnTo>
                    <a:pt x="226796" y="114387"/>
                  </a:lnTo>
                  <a:lnTo>
                    <a:pt x="218365" y="109449"/>
                  </a:lnTo>
                  <a:lnTo>
                    <a:pt x="214992" y="114387"/>
                  </a:lnTo>
                  <a:lnTo>
                    <a:pt x="188013" y="135783"/>
                  </a:lnTo>
                  <a:lnTo>
                    <a:pt x="179582" y="132492"/>
                  </a:lnTo>
                  <a:lnTo>
                    <a:pt x="176209" y="127554"/>
                  </a:lnTo>
                  <a:lnTo>
                    <a:pt x="169464" y="127554"/>
                  </a:lnTo>
                  <a:lnTo>
                    <a:pt x="154288" y="157179"/>
                  </a:lnTo>
                  <a:lnTo>
                    <a:pt x="98643" y="142367"/>
                  </a:lnTo>
                  <a:lnTo>
                    <a:pt x="21076" y="130845"/>
                  </a:lnTo>
                  <a:lnTo>
                    <a:pt x="19390" y="124262"/>
                  </a:lnTo>
                  <a:lnTo>
                    <a:pt x="26135" y="124262"/>
                  </a:lnTo>
                  <a:lnTo>
                    <a:pt x="26135" y="117679"/>
                  </a:lnTo>
                  <a:lnTo>
                    <a:pt x="31194" y="117679"/>
                  </a:lnTo>
                  <a:lnTo>
                    <a:pt x="24449" y="106158"/>
                  </a:lnTo>
                  <a:lnTo>
                    <a:pt x="26135" y="97928"/>
                  </a:lnTo>
                  <a:lnTo>
                    <a:pt x="21076" y="94637"/>
                  </a:lnTo>
                  <a:lnTo>
                    <a:pt x="22763" y="89699"/>
                  </a:lnTo>
                  <a:lnTo>
                    <a:pt x="10959" y="86407"/>
                  </a:lnTo>
                  <a:lnTo>
                    <a:pt x="9273" y="79824"/>
                  </a:lnTo>
                  <a:lnTo>
                    <a:pt x="4214" y="76532"/>
                  </a:lnTo>
                  <a:lnTo>
                    <a:pt x="19390" y="45261"/>
                  </a:lnTo>
                  <a:lnTo>
                    <a:pt x="31194" y="4114"/>
                  </a:lnTo>
                  <a:lnTo>
                    <a:pt x="41311" y="4114"/>
                  </a:lnTo>
                  <a:lnTo>
                    <a:pt x="63232" y="10698"/>
                  </a:lnTo>
                  <a:lnTo>
                    <a:pt x="100329" y="27156"/>
                  </a:lnTo>
                  <a:lnTo>
                    <a:pt x="128995" y="32094"/>
                  </a:lnTo>
                  <a:lnTo>
                    <a:pt x="166092" y="45261"/>
                  </a:lnTo>
                  <a:lnTo>
                    <a:pt x="208247" y="51844"/>
                  </a:lnTo>
                  <a:lnTo>
                    <a:pt x="223424" y="58427"/>
                  </a:lnTo>
                  <a:lnTo>
                    <a:pt x="247031" y="74886"/>
                  </a:lnTo>
                  <a:lnTo>
                    <a:pt x="243658" y="79824"/>
                  </a:lnTo>
                  <a:lnTo>
                    <a:pt x="247031" y="86407"/>
                  </a:lnTo>
                  <a:lnTo>
                    <a:pt x="243658" y="9463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2" name="Reimerswaal">
              <a:extLst>
                <a:ext uri="{FF2B5EF4-FFF2-40B4-BE49-F238E27FC236}">
                  <a16:creationId xmlns:a16="http://schemas.microsoft.com/office/drawing/2014/main" id="{9A9BF198-F6EA-4C18-91BE-EDE7E3425B7B}"/>
                </a:ext>
              </a:extLst>
            </p:cNvPr>
            <p:cNvSpPr/>
            <p:nvPr/>
          </p:nvSpPr>
          <p:spPr>
            <a:xfrm>
              <a:off x="4754334" y="4451873"/>
              <a:ext cx="303803" cy="253868"/>
            </a:xfrm>
            <a:custGeom>
              <a:avLst/>
              <a:gdLst/>
              <a:ahLst/>
              <a:cxnLst/>
              <a:rect l="l" t="t" r="r" b="b"/>
              <a:pathLst>
                <a:path w="444910" h="354330" extrusionOk="0">
                  <a:moveTo>
                    <a:pt x="39625" y="4114"/>
                  </a:moveTo>
                  <a:lnTo>
                    <a:pt x="44684" y="7406"/>
                  </a:lnTo>
                  <a:lnTo>
                    <a:pt x="49742" y="22219"/>
                  </a:lnTo>
                  <a:lnTo>
                    <a:pt x="75036" y="38677"/>
                  </a:lnTo>
                  <a:lnTo>
                    <a:pt x="81781" y="46906"/>
                  </a:lnTo>
                  <a:lnTo>
                    <a:pt x="90212" y="48552"/>
                  </a:lnTo>
                  <a:lnTo>
                    <a:pt x="96957" y="45261"/>
                  </a:lnTo>
                  <a:lnTo>
                    <a:pt x="103701" y="53490"/>
                  </a:lnTo>
                  <a:lnTo>
                    <a:pt x="105388" y="56782"/>
                  </a:lnTo>
                  <a:lnTo>
                    <a:pt x="98643" y="48552"/>
                  </a:lnTo>
                  <a:lnTo>
                    <a:pt x="100329" y="56782"/>
                  </a:lnTo>
                  <a:lnTo>
                    <a:pt x="105388" y="60074"/>
                  </a:lnTo>
                  <a:lnTo>
                    <a:pt x="100329" y="58427"/>
                  </a:lnTo>
                  <a:lnTo>
                    <a:pt x="100329" y="61719"/>
                  </a:lnTo>
                  <a:lnTo>
                    <a:pt x="103701" y="61719"/>
                  </a:lnTo>
                  <a:lnTo>
                    <a:pt x="102015" y="63365"/>
                  </a:lnTo>
                  <a:lnTo>
                    <a:pt x="98643" y="61719"/>
                  </a:lnTo>
                  <a:lnTo>
                    <a:pt x="96957" y="63365"/>
                  </a:lnTo>
                  <a:lnTo>
                    <a:pt x="100329" y="63365"/>
                  </a:lnTo>
                  <a:lnTo>
                    <a:pt x="98643" y="63365"/>
                  </a:lnTo>
                  <a:lnTo>
                    <a:pt x="100329" y="69949"/>
                  </a:lnTo>
                  <a:lnTo>
                    <a:pt x="98643" y="71595"/>
                  </a:lnTo>
                  <a:lnTo>
                    <a:pt x="105388" y="83116"/>
                  </a:lnTo>
                  <a:lnTo>
                    <a:pt x="105388" y="91345"/>
                  </a:lnTo>
                  <a:lnTo>
                    <a:pt x="100329" y="97928"/>
                  </a:lnTo>
                  <a:lnTo>
                    <a:pt x="107074" y="112741"/>
                  </a:lnTo>
                  <a:lnTo>
                    <a:pt x="123936" y="132491"/>
                  </a:lnTo>
                  <a:lnTo>
                    <a:pt x="135740" y="153888"/>
                  </a:lnTo>
                  <a:lnTo>
                    <a:pt x="144171" y="155533"/>
                  </a:lnTo>
                  <a:lnTo>
                    <a:pt x="157661" y="183513"/>
                  </a:lnTo>
                  <a:lnTo>
                    <a:pt x="174523" y="190097"/>
                  </a:lnTo>
                  <a:lnTo>
                    <a:pt x="204875" y="209847"/>
                  </a:lnTo>
                  <a:lnTo>
                    <a:pt x="209934" y="208201"/>
                  </a:lnTo>
                  <a:lnTo>
                    <a:pt x="214992" y="211493"/>
                  </a:lnTo>
                  <a:lnTo>
                    <a:pt x="216679" y="209847"/>
                  </a:lnTo>
                  <a:lnTo>
                    <a:pt x="213306" y="209847"/>
                  </a:lnTo>
                  <a:lnTo>
                    <a:pt x="214992" y="208201"/>
                  </a:lnTo>
                  <a:lnTo>
                    <a:pt x="216679" y="209847"/>
                  </a:lnTo>
                  <a:lnTo>
                    <a:pt x="214992" y="213139"/>
                  </a:lnTo>
                  <a:lnTo>
                    <a:pt x="220051" y="221368"/>
                  </a:lnTo>
                  <a:lnTo>
                    <a:pt x="226796" y="223014"/>
                  </a:lnTo>
                  <a:lnTo>
                    <a:pt x="238599" y="219722"/>
                  </a:lnTo>
                  <a:lnTo>
                    <a:pt x="245344" y="221368"/>
                  </a:lnTo>
                  <a:lnTo>
                    <a:pt x="245344" y="223014"/>
                  </a:lnTo>
                  <a:lnTo>
                    <a:pt x="247031" y="218076"/>
                  </a:lnTo>
                  <a:lnTo>
                    <a:pt x="270638" y="206555"/>
                  </a:lnTo>
                  <a:lnTo>
                    <a:pt x="280755" y="199972"/>
                  </a:lnTo>
                  <a:lnTo>
                    <a:pt x="282441" y="196680"/>
                  </a:lnTo>
                  <a:lnTo>
                    <a:pt x="292559" y="193388"/>
                  </a:lnTo>
                  <a:lnTo>
                    <a:pt x="304362" y="195034"/>
                  </a:lnTo>
                  <a:lnTo>
                    <a:pt x="304362" y="204909"/>
                  </a:lnTo>
                  <a:lnTo>
                    <a:pt x="306048" y="193388"/>
                  </a:lnTo>
                  <a:lnTo>
                    <a:pt x="312793" y="199972"/>
                  </a:lnTo>
                  <a:lnTo>
                    <a:pt x="324597" y="199972"/>
                  </a:lnTo>
                  <a:lnTo>
                    <a:pt x="317852" y="206555"/>
                  </a:lnTo>
                  <a:lnTo>
                    <a:pt x="322911" y="203264"/>
                  </a:lnTo>
                  <a:lnTo>
                    <a:pt x="317852" y="213139"/>
                  </a:lnTo>
                  <a:lnTo>
                    <a:pt x="316166" y="213139"/>
                  </a:lnTo>
                  <a:lnTo>
                    <a:pt x="314480" y="209847"/>
                  </a:lnTo>
                  <a:lnTo>
                    <a:pt x="314480" y="214785"/>
                  </a:lnTo>
                  <a:lnTo>
                    <a:pt x="319538" y="213139"/>
                  </a:lnTo>
                  <a:lnTo>
                    <a:pt x="324597" y="203264"/>
                  </a:lnTo>
                  <a:lnTo>
                    <a:pt x="324597" y="206555"/>
                  </a:lnTo>
                  <a:lnTo>
                    <a:pt x="326283" y="199972"/>
                  </a:lnTo>
                  <a:lnTo>
                    <a:pt x="329656" y="206555"/>
                  </a:lnTo>
                  <a:lnTo>
                    <a:pt x="338087" y="208201"/>
                  </a:lnTo>
                  <a:lnTo>
                    <a:pt x="343145" y="204909"/>
                  </a:lnTo>
                  <a:lnTo>
                    <a:pt x="346518" y="216430"/>
                  </a:lnTo>
                  <a:lnTo>
                    <a:pt x="346518" y="209847"/>
                  </a:lnTo>
                  <a:lnTo>
                    <a:pt x="349890" y="213139"/>
                  </a:lnTo>
                  <a:lnTo>
                    <a:pt x="348204" y="209847"/>
                  </a:lnTo>
                  <a:lnTo>
                    <a:pt x="356635" y="209847"/>
                  </a:lnTo>
                  <a:lnTo>
                    <a:pt x="358321" y="204909"/>
                  </a:lnTo>
                  <a:lnTo>
                    <a:pt x="353263" y="162117"/>
                  </a:lnTo>
                  <a:lnTo>
                    <a:pt x="358321" y="145658"/>
                  </a:lnTo>
                  <a:lnTo>
                    <a:pt x="351577" y="88053"/>
                  </a:lnTo>
                  <a:lnTo>
                    <a:pt x="371811" y="84761"/>
                  </a:lnTo>
                  <a:lnTo>
                    <a:pt x="439260" y="239472"/>
                  </a:lnTo>
                  <a:lnTo>
                    <a:pt x="424084" y="252639"/>
                  </a:lnTo>
                  <a:lnTo>
                    <a:pt x="420712" y="260869"/>
                  </a:lnTo>
                  <a:lnTo>
                    <a:pt x="427457" y="298724"/>
                  </a:lnTo>
                  <a:lnTo>
                    <a:pt x="427457" y="328349"/>
                  </a:lnTo>
                  <a:lnTo>
                    <a:pt x="424084" y="333287"/>
                  </a:lnTo>
                  <a:lnTo>
                    <a:pt x="425770" y="339870"/>
                  </a:lnTo>
                  <a:lnTo>
                    <a:pt x="434201" y="341516"/>
                  </a:lnTo>
                  <a:lnTo>
                    <a:pt x="440946" y="357975"/>
                  </a:lnTo>
                  <a:lnTo>
                    <a:pt x="386987" y="361266"/>
                  </a:lnTo>
                  <a:lnTo>
                    <a:pt x="388673" y="351391"/>
                  </a:lnTo>
                  <a:lnTo>
                    <a:pt x="386987" y="338224"/>
                  </a:lnTo>
                  <a:lnTo>
                    <a:pt x="375184" y="318474"/>
                  </a:lnTo>
                  <a:lnTo>
                    <a:pt x="371811" y="320120"/>
                  </a:lnTo>
                  <a:lnTo>
                    <a:pt x="373497" y="316828"/>
                  </a:lnTo>
                  <a:lnTo>
                    <a:pt x="370125" y="316828"/>
                  </a:lnTo>
                  <a:lnTo>
                    <a:pt x="373497" y="315182"/>
                  </a:lnTo>
                  <a:lnTo>
                    <a:pt x="370125" y="311890"/>
                  </a:lnTo>
                  <a:lnTo>
                    <a:pt x="341459" y="298724"/>
                  </a:lnTo>
                  <a:lnTo>
                    <a:pt x="339773" y="300369"/>
                  </a:lnTo>
                  <a:lnTo>
                    <a:pt x="339773" y="298724"/>
                  </a:lnTo>
                  <a:lnTo>
                    <a:pt x="331342" y="300369"/>
                  </a:lnTo>
                  <a:lnTo>
                    <a:pt x="327969" y="290494"/>
                  </a:lnTo>
                  <a:lnTo>
                    <a:pt x="326283" y="292140"/>
                  </a:lnTo>
                  <a:lnTo>
                    <a:pt x="327969" y="290494"/>
                  </a:lnTo>
                  <a:lnTo>
                    <a:pt x="326283" y="288848"/>
                  </a:lnTo>
                  <a:lnTo>
                    <a:pt x="319538" y="282265"/>
                  </a:lnTo>
                  <a:lnTo>
                    <a:pt x="306048" y="283911"/>
                  </a:lnTo>
                  <a:lnTo>
                    <a:pt x="304362" y="288848"/>
                  </a:lnTo>
                  <a:lnTo>
                    <a:pt x="297617" y="288848"/>
                  </a:lnTo>
                  <a:lnTo>
                    <a:pt x="295931" y="290494"/>
                  </a:lnTo>
                  <a:lnTo>
                    <a:pt x="299304" y="298724"/>
                  </a:lnTo>
                  <a:lnTo>
                    <a:pt x="295931" y="290494"/>
                  </a:lnTo>
                  <a:lnTo>
                    <a:pt x="279069" y="292140"/>
                  </a:lnTo>
                  <a:lnTo>
                    <a:pt x="280755" y="295432"/>
                  </a:lnTo>
                  <a:lnTo>
                    <a:pt x="275696" y="295432"/>
                  </a:lnTo>
                  <a:lnTo>
                    <a:pt x="270638" y="300369"/>
                  </a:lnTo>
                  <a:lnTo>
                    <a:pt x="248717" y="311890"/>
                  </a:lnTo>
                  <a:lnTo>
                    <a:pt x="248717" y="308599"/>
                  </a:lnTo>
                  <a:lnTo>
                    <a:pt x="226796" y="305307"/>
                  </a:lnTo>
                  <a:lnTo>
                    <a:pt x="220051" y="298724"/>
                  </a:lnTo>
                  <a:lnTo>
                    <a:pt x="198130" y="295432"/>
                  </a:lnTo>
                  <a:lnTo>
                    <a:pt x="186327" y="290494"/>
                  </a:lnTo>
                  <a:lnTo>
                    <a:pt x="177895" y="290494"/>
                  </a:lnTo>
                  <a:lnTo>
                    <a:pt x="172837" y="303661"/>
                  </a:lnTo>
                  <a:lnTo>
                    <a:pt x="177895" y="290494"/>
                  </a:lnTo>
                  <a:lnTo>
                    <a:pt x="155974" y="282265"/>
                  </a:lnTo>
                  <a:lnTo>
                    <a:pt x="150916" y="292140"/>
                  </a:lnTo>
                  <a:lnTo>
                    <a:pt x="155974" y="282265"/>
                  </a:lnTo>
                  <a:lnTo>
                    <a:pt x="150916" y="278973"/>
                  </a:lnTo>
                  <a:lnTo>
                    <a:pt x="154288" y="278973"/>
                  </a:lnTo>
                  <a:lnTo>
                    <a:pt x="137426" y="275682"/>
                  </a:lnTo>
                  <a:lnTo>
                    <a:pt x="135740" y="278973"/>
                  </a:lnTo>
                  <a:lnTo>
                    <a:pt x="125622" y="267452"/>
                  </a:lnTo>
                  <a:lnTo>
                    <a:pt x="118877" y="264160"/>
                  </a:lnTo>
                  <a:lnTo>
                    <a:pt x="117191" y="267452"/>
                  </a:lnTo>
                  <a:lnTo>
                    <a:pt x="117191" y="264160"/>
                  </a:lnTo>
                  <a:lnTo>
                    <a:pt x="108760" y="262514"/>
                  </a:lnTo>
                  <a:lnTo>
                    <a:pt x="91898" y="246056"/>
                  </a:lnTo>
                  <a:lnTo>
                    <a:pt x="93584" y="241118"/>
                  </a:lnTo>
                  <a:lnTo>
                    <a:pt x="83467" y="231243"/>
                  </a:lnTo>
                  <a:lnTo>
                    <a:pt x="91898" y="223014"/>
                  </a:lnTo>
                  <a:lnTo>
                    <a:pt x="64918" y="216430"/>
                  </a:lnTo>
                  <a:lnTo>
                    <a:pt x="66605" y="209847"/>
                  </a:lnTo>
                  <a:lnTo>
                    <a:pt x="63232" y="204909"/>
                  </a:lnTo>
                  <a:lnTo>
                    <a:pt x="59860" y="206555"/>
                  </a:lnTo>
                  <a:lnTo>
                    <a:pt x="59860" y="214785"/>
                  </a:lnTo>
                  <a:lnTo>
                    <a:pt x="59860" y="208201"/>
                  </a:lnTo>
                  <a:lnTo>
                    <a:pt x="51428" y="203264"/>
                  </a:lnTo>
                  <a:lnTo>
                    <a:pt x="49742" y="204909"/>
                  </a:lnTo>
                  <a:lnTo>
                    <a:pt x="51428" y="203264"/>
                  </a:lnTo>
                  <a:lnTo>
                    <a:pt x="48056" y="201617"/>
                  </a:lnTo>
                  <a:lnTo>
                    <a:pt x="39625" y="198326"/>
                  </a:lnTo>
                  <a:lnTo>
                    <a:pt x="32880" y="199972"/>
                  </a:lnTo>
                  <a:lnTo>
                    <a:pt x="39625" y="188451"/>
                  </a:lnTo>
                  <a:lnTo>
                    <a:pt x="32880" y="162117"/>
                  </a:lnTo>
                  <a:lnTo>
                    <a:pt x="29508" y="162117"/>
                  </a:lnTo>
                  <a:lnTo>
                    <a:pt x="31194" y="175284"/>
                  </a:lnTo>
                  <a:lnTo>
                    <a:pt x="29508" y="196680"/>
                  </a:lnTo>
                  <a:lnTo>
                    <a:pt x="24449" y="196680"/>
                  </a:lnTo>
                  <a:lnTo>
                    <a:pt x="22763" y="186805"/>
                  </a:lnTo>
                  <a:lnTo>
                    <a:pt x="19390" y="188451"/>
                  </a:lnTo>
                  <a:lnTo>
                    <a:pt x="21076" y="188451"/>
                  </a:lnTo>
                  <a:lnTo>
                    <a:pt x="21076" y="193388"/>
                  </a:lnTo>
                  <a:lnTo>
                    <a:pt x="17704" y="183513"/>
                  </a:lnTo>
                  <a:lnTo>
                    <a:pt x="9273" y="175284"/>
                  </a:lnTo>
                  <a:lnTo>
                    <a:pt x="7587" y="176930"/>
                  </a:lnTo>
                  <a:lnTo>
                    <a:pt x="9273" y="175284"/>
                  </a:lnTo>
                  <a:lnTo>
                    <a:pt x="7587" y="176930"/>
                  </a:lnTo>
                  <a:lnTo>
                    <a:pt x="9273" y="175284"/>
                  </a:lnTo>
                  <a:lnTo>
                    <a:pt x="4214" y="168700"/>
                  </a:lnTo>
                  <a:lnTo>
                    <a:pt x="12645" y="157179"/>
                  </a:lnTo>
                  <a:lnTo>
                    <a:pt x="26135" y="152242"/>
                  </a:lnTo>
                  <a:lnTo>
                    <a:pt x="24449" y="40323"/>
                  </a:lnTo>
                  <a:lnTo>
                    <a:pt x="26135" y="40323"/>
                  </a:lnTo>
                  <a:lnTo>
                    <a:pt x="37939" y="33740"/>
                  </a:lnTo>
                  <a:lnTo>
                    <a:pt x="44684" y="22219"/>
                  </a:lnTo>
                  <a:lnTo>
                    <a:pt x="37939" y="10698"/>
                  </a:lnTo>
                  <a:lnTo>
                    <a:pt x="39625"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3" name="Rijswijk">
              <a:extLst>
                <a:ext uri="{FF2B5EF4-FFF2-40B4-BE49-F238E27FC236}">
                  <a16:creationId xmlns:a16="http://schemas.microsoft.com/office/drawing/2014/main" id="{37DDA422-2FA1-4789-A409-B16689DC2EB6}"/>
                </a:ext>
              </a:extLst>
            </p:cNvPr>
            <p:cNvSpPr/>
            <p:nvPr/>
          </p:nvSpPr>
          <p:spPr>
            <a:xfrm>
              <a:off x="5083641" y="3581998"/>
              <a:ext cx="58619" cy="79359"/>
            </a:xfrm>
            <a:custGeom>
              <a:avLst/>
              <a:gdLst/>
              <a:ahLst/>
              <a:cxnLst/>
              <a:rect l="l" t="t" r="r" b="b"/>
              <a:pathLst>
                <a:path w="105373" h="125730" extrusionOk="0">
                  <a:moveTo>
                    <a:pt x="90212" y="17281"/>
                  </a:moveTo>
                  <a:lnTo>
                    <a:pt x="85153" y="23864"/>
                  </a:lnTo>
                  <a:lnTo>
                    <a:pt x="98643" y="35385"/>
                  </a:lnTo>
                  <a:lnTo>
                    <a:pt x="88525" y="45261"/>
                  </a:lnTo>
                  <a:lnTo>
                    <a:pt x="88525" y="50198"/>
                  </a:lnTo>
                  <a:lnTo>
                    <a:pt x="93584" y="58427"/>
                  </a:lnTo>
                  <a:lnTo>
                    <a:pt x="98643" y="79824"/>
                  </a:lnTo>
                  <a:lnTo>
                    <a:pt x="105388" y="89699"/>
                  </a:lnTo>
                  <a:lnTo>
                    <a:pt x="56487" y="122616"/>
                  </a:lnTo>
                  <a:lnTo>
                    <a:pt x="46370" y="104512"/>
                  </a:lnTo>
                  <a:lnTo>
                    <a:pt x="31194" y="116033"/>
                  </a:lnTo>
                  <a:lnTo>
                    <a:pt x="14332" y="81470"/>
                  </a:lnTo>
                  <a:lnTo>
                    <a:pt x="4214" y="51844"/>
                  </a:lnTo>
                  <a:lnTo>
                    <a:pt x="14332" y="46906"/>
                  </a:lnTo>
                  <a:lnTo>
                    <a:pt x="14332" y="41969"/>
                  </a:lnTo>
                  <a:lnTo>
                    <a:pt x="48056" y="27156"/>
                  </a:lnTo>
                  <a:lnTo>
                    <a:pt x="51429" y="25510"/>
                  </a:lnTo>
                  <a:lnTo>
                    <a:pt x="49742" y="22219"/>
                  </a:lnTo>
                  <a:lnTo>
                    <a:pt x="61546" y="17281"/>
                  </a:lnTo>
                  <a:lnTo>
                    <a:pt x="80094" y="4114"/>
                  </a:lnTo>
                  <a:lnTo>
                    <a:pt x="90212" y="17281"/>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4" name="Woensdrecht">
              <a:extLst>
                <a:ext uri="{FF2B5EF4-FFF2-40B4-BE49-F238E27FC236}">
                  <a16:creationId xmlns:a16="http://schemas.microsoft.com/office/drawing/2014/main" id="{D95F8141-8173-471A-ACD1-D3C829C104A9}"/>
                </a:ext>
              </a:extLst>
            </p:cNvPr>
            <p:cNvSpPr/>
            <p:nvPr/>
          </p:nvSpPr>
          <p:spPr>
            <a:xfrm>
              <a:off x="5044451" y="4546047"/>
              <a:ext cx="173981" cy="197132"/>
            </a:xfrm>
            <a:custGeom>
              <a:avLst/>
              <a:gdLst/>
              <a:ahLst/>
              <a:cxnLst/>
              <a:rect l="l" t="t" r="r" b="b"/>
              <a:pathLst>
                <a:path w="257579" h="274320" extrusionOk="0">
                  <a:moveTo>
                    <a:pt x="61546" y="4114"/>
                  </a:moveTo>
                  <a:lnTo>
                    <a:pt x="73349" y="4114"/>
                  </a:lnTo>
                  <a:lnTo>
                    <a:pt x="78408" y="18926"/>
                  </a:lnTo>
                  <a:lnTo>
                    <a:pt x="96957" y="18926"/>
                  </a:lnTo>
                  <a:lnTo>
                    <a:pt x="105388" y="10697"/>
                  </a:lnTo>
                  <a:lnTo>
                    <a:pt x="118877" y="20573"/>
                  </a:lnTo>
                  <a:lnTo>
                    <a:pt x="123936" y="13989"/>
                  </a:lnTo>
                  <a:lnTo>
                    <a:pt x="130681" y="18926"/>
                  </a:lnTo>
                  <a:lnTo>
                    <a:pt x="164406" y="28802"/>
                  </a:lnTo>
                  <a:lnTo>
                    <a:pt x="189699" y="33739"/>
                  </a:lnTo>
                  <a:lnTo>
                    <a:pt x="201503" y="41969"/>
                  </a:lnTo>
                  <a:lnTo>
                    <a:pt x="193071" y="46906"/>
                  </a:lnTo>
                  <a:lnTo>
                    <a:pt x="189699" y="45260"/>
                  </a:lnTo>
                  <a:lnTo>
                    <a:pt x="184640" y="53490"/>
                  </a:lnTo>
                  <a:lnTo>
                    <a:pt x="194758" y="56781"/>
                  </a:lnTo>
                  <a:lnTo>
                    <a:pt x="203189" y="55136"/>
                  </a:lnTo>
                  <a:lnTo>
                    <a:pt x="211620" y="66657"/>
                  </a:lnTo>
                  <a:lnTo>
                    <a:pt x="208247" y="81470"/>
                  </a:lnTo>
                  <a:lnTo>
                    <a:pt x="213306" y="81470"/>
                  </a:lnTo>
                  <a:lnTo>
                    <a:pt x="211620" y="89699"/>
                  </a:lnTo>
                  <a:lnTo>
                    <a:pt x="203189" y="88053"/>
                  </a:lnTo>
                  <a:lnTo>
                    <a:pt x="203189" y="89699"/>
                  </a:lnTo>
                  <a:lnTo>
                    <a:pt x="206561" y="89699"/>
                  </a:lnTo>
                  <a:lnTo>
                    <a:pt x="208247" y="101220"/>
                  </a:lnTo>
                  <a:lnTo>
                    <a:pt x="201503" y="99574"/>
                  </a:lnTo>
                  <a:lnTo>
                    <a:pt x="199816" y="107803"/>
                  </a:lnTo>
                  <a:lnTo>
                    <a:pt x="189699" y="116033"/>
                  </a:lnTo>
                  <a:lnTo>
                    <a:pt x="201503" y="147304"/>
                  </a:lnTo>
                  <a:lnTo>
                    <a:pt x="262207" y="227951"/>
                  </a:lnTo>
                  <a:lnTo>
                    <a:pt x="252089" y="236181"/>
                  </a:lnTo>
                  <a:lnTo>
                    <a:pt x="258834" y="246056"/>
                  </a:lnTo>
                  <a:lnTo>
                    <a:pt x="262207" y="254285"/>
                  </a:lnTo>
                  <a:lnTo>
                    <a:pt x="247031" y="250993"/>
                  </a:lnTo>
                  <a:lnTo>
                    <a:pt x="211620" y="270744"/>
                  </a:lnTo>
                  <a:lnTo>
                    <a:pt x="188013" y="275681"/>
                  </a:lnTo>
                  <a:lnTo>
                    <a:pt x="188013" y="274035"/>
                  </a:lnTo>
                  <a:lnTo>
                    <a:pt x="179582" y="275681"/>
                  </a:lnTo>
                  <a:lnTo>
                    <a:pt x="166092" y="270744"/>
                  </a:lnTo>
                  <a:lnTo>
                    <a:pt x="164406" y="272390"/>
                  </a:lnTo>
                  <a:lnTo>
                    <a:pt x="161033" y="269098"/>
                  </a:lnTo>
                  <a:lnTo>
                    <a:pt x="137426" y="265806"/>
                  </a:lnTo>
                  <a:lnTo>
                    <a:pt x="122250" y="267452"/>
                  </a:lnTo>
                  <a:lnTo>
                    <a:pt x="112133" y="219722"/>
                  </a:lnTo>
                  <a:lnTo>
                    <a:pt x="24449" y="221368"/>
                  </a:lnTo>
                  <a:lnTo>
                    <a:pt x="17704" y="204909"/>
                  </a:lnTo>
                  <a:lnTo>
                    <a:pt x="9273" y="203264"/>
                  </a:lnTo>
                  <a:lnTo>
                    <a:pt x="7587" y="196680"/>
                  </a:lnTo>
                  <a:lnTo>
                    <a:pt x="10959" y="191742"/>
                  </a:lnTo>
                  <a:lnTo>
                    <a:pt x="10959" y="162117"/>
                  </a:lnTo>
                  <a:lnTo>
                    <a:pt x="4214" y="124262"/>
                  </a:lnTo>
                  <a:lnTo>
                    <a:pt x="7587" y="116033"/>
                  </a:lnTo>
                  <a:lnTo>
                    <a:pt x="22763" y="102866"/>
                  </a:lnTo>
                  <a:lnTo>
                    <a:pt x="7587" y="68302"/>
                  </a:lnTo>
                  <a:lnTo>
                    <a:pt x="34566" y="68302"/>
                  </a:lnTo>
                  <a:lnTo>
                    <a:pt x="41311" y="58427"/>
                  </a:lnTo>
                  <a:lnTo>
                    <a:pt x="51428" y="55136"/>
                  </a:lnTo>
                  <a:lnTo>
                    <a:pt x="53115" y="46906"/>
                  </a:lnTo>
                  <a:lnTo>
                    <a:pt x="58173" y="43615"/>
                  </a:lnTo>
                  <a:lnTo>
                    <a:pt x="58173" y="4114"/>
                  </a:lnTo>
                  <a:lnTo>
                    <a:pt x="6154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5" name="Almere">
              <a:extLst>
                <a:ext uri="{FF2B5EF4-FFF2-40B4-BE49-F238E27FC236}">
                  <a16:creationId xmlns:a16="http://schemas.microsoft.com/office/drawing/2014/main" id="{845B9ADA-510F-4972-9A5A-B985D1673C4A}"/>
                </a:ext>
              </a:extLst>
            </p:cNvPr>
            <p:cNvSpPr/>
            <p:nvPr/>
          </p:nvSpPr>
          <p:spPr>
            <a:xfrm>
              <a:off x="5961745" y="2968840"/>
              <a:ext cx="265388" cy="215947"/>
            </a:xfrm>
            <a:custGeom>
              <a:avLst/>
              <a:gdLst/>
              <a:ahLst/>
              <a:cxnLst/>
              <a:rect l="l" t="t" r="r" b="b"/>
              <a:pathLst>
                <a:path w="386369" h="320040" extrusionOk="0">
                  <a:moveTo>
                    <a:pt x="137426" y="254285"/>
                  </a:moveTo>
                  <a:lnTo>
                    <a:pt x="140798" y="255931"/>
                  </a:lnTo>
                  <a:lnTo>
                    <a:pt x="137426" y="254285"/>
                  </a:lnTo>
                  <a:lnTo>
                    <a:pt x="137426" y="254285"/>
                  </a:lnTo>
                  <a:close/>
                  <a:moveTo>
                    <a:pt x="230168" y="28802"/>
                  </a:moveTo>
                  <a:lnTo>
                    <a:pt x="241972" y="35385"/>
                  </a:lnTo>
                  <a:lnTo>
                    <a:pt x="324597" y="74886"/>
                  </a:lnTo>
                  <a:lnTo>
                    <a:pt x="339773" y="86407"/>
                  </a:lnTo>
                  <a:lnTo>
                    <a:pt x="349890" y="86407"/>
                  </a:lnTo>
                  <a:lnTo>
                    <a:pt x="351576" y="89699"/>
                  </a:lnTo>
                  <a:lnTo>
                    <a:pt x="344832" y="99574"/>
                  </a:lnTo>
                  <a:lnTo>
                    <a:pt x="333028" y="99574"/>
                  </a:lnTo>
                  <a:lnTo>
                    <a:pt x="275696" y="132491"/>
                  </a:lnTo>
                  <a:lnTo>
                    <a:pt x="393732" y="297078"/>
                  </a:lnTo>
                  <a:lnTo>
                    <a:pt x="348204" y="308599"/>
                  </a:lnTo>
                  <a:lnTo>
                    <a:pt x="324597" y="297078"/>
                  </a:lnTo>
                  <a:lnTo>
                    <a:pt x="299303" y="321765"/>
                  </a:lnTo>
                  <a:lnTo>
                    <a:pt x="265579" y="297078"/>
                  </a:lnTo>
                  <a:lnTo>
                    <a:pt x="233541" y="280619"/>
                  </a:lnTo>
                  <a:lnTo>
                    <a:pt x="176209" y="257577"/>
                  </a:lnTo>
                  <a:lnTo>
                    <a:pt x="157661" y="252639"/>
                  </a:lnTo>
                  <a:lnTo>
                    <a:pt x="154288" y="255931"/>
                  </a:lnTo>
                  <a:lnTo>
                    <a:pt x="152602" y="252639"/>
                  </a:lnTo>
                  <a:lnTo>
                    <a:pt x="155974" y="249348"/>
                  </a:lnTo>
                  <a:lnTo>
                    <a:pt x="152602" y="249348"/>
                  </a:lnTo>
                  <a:lnTo>
                    <a:pt x="150916" y="255931"/>
                  </a:lnTo>
                  <a:lnTo>
                    <a:pt x="150916" y="252639"/>
                  </a:lnTo>
                  <a:lnTo>
                    <a:pt x="145857" y="255931"/>
                  </a:lnTo>
                  <a:lnTo>
                    <a:pt x="147543" y="257577"/>
                  </a:lnTo>
                  <a:lnTo>
                    <a:pt x="152602" y="257577"/>
                  </a:lnTo>
                  <a:lnTo>
                    <a:pt x="147543" y="259223"/>
                  </a:lnTo>
                  <a:lnTo>
                    <a:pt x="140798" y="257577"/>
                  </a:lnTo>
                  <a:lnTo>
                    <a:pt x="140798" y="250993"/>
                  </a:lnTo>
                  <a:lnTo>
                    <a:pt x="137426" y="249348"/>
                  </a:lnTo>
                  <a:lnTo>
                    <a:pt x="135740" y="252639"/>
                  </a:lnTo>
                  <a:lnTo>
                    <a:pt x="128995" y="244410"/>
                  </a:lnTo>
                  <a:lnTo>
                    <a:pt x="107074" y="242764"/>
                  </a:lnTo>
                  <a:lnTo>
                    <a:pt x="56487" y="260869"/>
                  </a:lnTo>
                  <a:lnTo>
                    <a:pt x="51428" y="260869"/>
                  </a:lnTo>
                  <a:lnTo>
                    <a:pt x="48056" y="262514"/>
                  </a:lnTo>
                  <a:lnTo>
                    <a:pt x="48056" y="260869"/>
                  </a:lnTo>
                  <a:lnTo>
                    <a:pt x="44684" y="260869"/>
                  </a:lnTo>
                  <a:lnTo>
                    <a:pt x="37939" y="265806"/>
                  </a:lnTo>
                  <a:lnTo>
                    <a:pt x="37939" y="272390"/>
                  </a:lnTo>
                  <a:lnTo>
                    <a:pt x="31194" y="265806"/>
                  </a:lnTo>
                  <a:lnTo>
                    <a:pt x="29507" y="267452"/>
                  </a:lnTo>
                  <a:lnTo>
                    <a:pt x="31194" y="265806"/>
                  </a:lnTo>
                  <a:lnTo>
                    <a:pt x="26135" y="259223"/>
                  </a:lnTo>
                  <a:lnTo>
                    <a:pt x="29507" y="262514"/>
                  </a:lnTo>
                  <a:lnTo>
                    <a:pt x="32880" y="262514"/>
                  </a:lnTo>
                  <a:lnTo>
                    <a:pt x="39625" y="254285"/>
                  </a:lnTo>
                  <a:lnTo>
                    <a:pt x="22763" y="239472"/>
                  </a:lnTo>
                  <a:lnTo>
                    <a:pt x="26135" y="236181"/>
                  </a:lnTo>
                  <a:lnTo>
                    <a:pt x="19390" y="241118"/>
                  </a:lnTo>
                  <a:lnTo>
                    <a:pt x="17704" y="239472"/>
                  </a:lnTo>
                  <a:lnTo>
                    <a:pt x="22763" y="229597"/>
                  </a:lnTo>
                  <a:lnTo>
                    <a:pt x="19390" y="227951"/>
                  </a:lnTo>
                  <a:lnTo>
                    <a:pt x="16018" y="239472"/>
                  </a:lnTo>
                  <a:lnTo>
                    <a:pt x="14331" y="236181"/>
                  </a:lnTo>
                  <a:lnTo>
                    <a:pt x="17704" y="224660"/>
                  </a:lnTo>
                  <a:lnTo>
                    <a:pt x="22763" y="224660"/>
                  </a:lnTo>
                  <a:lnTo>
                    <a:pt x="22763" y="223014"/>
                  </a:lnTo>
                  <a:lnTo>
                    <a:pt x="19390" y="176930"/>
                  </a:lnTo>
                  <a:lnTo>
                    <a:pt x="5900" y="150596"/>
                  </a:lnTo>
                  <a:lnTo>
                    <a:pt x="5900" y="142367"/>
                  </a:lnTo>
                  <a:lnTo>
                    <a:pt x="14331" y="130845"/>
                  </a:lnTo>
                  <a:lnTo>
                    <a:pt x="12645" y="127554"/>
                  </a:lnTo>
                  <a:lnTo>
                    <a:pt x="16018" y="130845"/>
                  </a:lnTo>
                  <a:lnTo>
                    <a:pt x="32880" y="119324"/>
                  </a:lnTo>
                  <a:lnTo>
                    <a:pt x="31194" y="116033"/>
                  </a:lnTo>
                  <a:lnTo>
                    <a:pt x="34566" y="119324"/>
                  </a:lnTo>
                  <a:lnTo>
                    <a:pt x="56487" y="106157"/>
                  </a:lnTo>
                  <a:lnTo>
                    <a:pt x="64918" y="89699"/>
                  </a:lnTo>
                  <a:lnTo>
                    <a:pt x="4214" y="125908"/>
                  </a:lnTo>
                  <a:lnTo>
                    <a:pt x="162719" y="32094"/>
                  </a:lnTo>
                  <a:lnTo>
                    <a:pt x="135740" y="50198"/>
                  </a:lnTo>
                  <a:lnTo>
                    <a:pt x="149229" y="50198"/>
                  </a:lnTo>
                  <a:lnTo>
                    <a:pt x="154288" y="45260"/>
                  </a:lnTo>
                  <a:lnTo>
                    <a:pt x="157661" y="46906"/>
                  </a:lnTo>
                  <a:lnTo>
                    <a:pt x="155974" y="43615"/>
                  </a:lnTo>
                  <a:lnTo>
                    <a:pt x="159347" y="46906"/>
                  </a:lnTo>
                  <a:lnTo>
                    <a:pt x="159347" y="43615"/>
                  </a:lnTo>
                  <a:lnTo>
                    <a:pt x="166092" y="38677"/>
                  </a:lnTo>
                  <a:lnTo>
                    <a:pt x="172836" y="28802"/>
                  </a:lnTo>
                  <a:lnTo>
                    <a:pt x="167778" y="28802"/>
                  </a:lnTo>
                  <a:lnTo>
                    <a:pt x="211620" y="4114"/>
                  </a:lnTo>
                  <a:lnTo>
                    <a:pt x="230168" y="2880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6" name="Halderberge">
              <a:extLst>
                <a:ext uri="{FF2B5EF4-FFF2-40B4-BE49-F238E27FC236}">
                  <a16:creationId xmlns:a16="http://schemas.microsoft.com/office/drawing/2014/main" id="{B320DA74-C220-44AE-8799-F54ECCDCABA8}"/>
                </a:ext>
              </a:extLst>
            </p:cNvPr>
            <p:cNvSpPr/>
            <p:nvPr/>
          </p:nvSpPr>
          <p:spPr>
            <a:xfrm>
              <a:off x="5218714" y="4272346"/>
              <a:ext cx="199523" cy="140399"/>
            </a:xfrm>
            <a:custGeom>
              <a:avLst/>
              <a:gdLst/>
              <a:ahLst/>
              <a:cxnLst/>
              <a:rect l="l" t="t" r="r" b="b"/>
              <a:pathLst>
                <a:path w="292704" h="194310" extrusionOk="0">
                  <a:moveTo>
                    <a:pt x="263893" y="18927"/>
                  </a:moveTo>
                  <a:lnTo>
                    <a:pt x="274010" y="17281"/>
                  </a:lnTo>
                  <a:lnTo>
                    <a:pt x="277383" y="25510"/>
                  </a:lnTo>
                  <a:lnTo>
                    <a:pt x="277383" y="35385"/>
                  </a:lnTo>
                  <a:lnTo>
                    <a:pt x="285814" y="41969"/>
                  </a:lnTo>
                  <a:lnTo>
                    <a:pt x="287500" y="48552"/>
                  </a:lnTo>
                  <a:lnTo>
                    <a:pt x="287500" y="55136"/>
                  </a:lnTo>
                  <a:lnTo>
                    <a:pt x="292559" y="58427"/>
                  </a:lnTo>
                  <a:lnTo>
                    <a:pt x="287500" y="69949"/>
                  </a:lnTo>
                  <a:lnTo>
                    <a:pt x="265579" y="101220"/>
                  </a:lnTo>
                  <a:lnTo>
                    <a:pt x="268951" y="114387"/>
                  </a:lnTo>
                  <a:lnTo>
                    <a:pt x="262207" y="155533"/>
                  </a:lnTo>
                  <a:lnTo>
                    <a:pt x="262207" y="157179"/>
                  </a:lnTo>
                  <a:lnTo>
                    <a:pt x="255462" y="158825"/>
                  </a:lnTo>
                  <a:lnTo>
                    <a:pt x="257148" y="171992"/>
                  </a:lnTo>
                  <a:lnTo>
                    <a:pt x="247031" y="175284"/>
                  </a:lnTo>
                  <a:lnTo>
                    <a:pt x="241972" y="173638"/>
                  </a:lnTo>
                  <a:lnTo>
                    <a:pt x="241972" y="175284"/>
                  </a:lnTo>
                  <a:lnTo>
                    <a:pt x="189699" y="191742"/>
                  </a:lnTo>
                  <a:lnTo>
                    <a:pt x="186326" y="188451"/>
                  </a:lnTo>
                  <a:lnTo>
                    <a:pt x="184640" y="193388"/>
                  </a:lnTo>
                  <a:lnTo>
                    <a:pt x="162719" y="198326"/>
                  </a:lnTo>
                  <a:lnTo>
                    <a:pt x="159347" y="191742"/>
                  </a:lnTo>
                  <a:lnTo>
                    <a:pt x="159347" y="183513"/>
                  </a:lnTo>
                  <a:lnTo>
                    <a:pt x="172837" y="158825"/>
                  </a:lnTo>
                  <a:lnTo>
                    <a:pt x="130681" y="152242"/>
                  </a:lnTo>
                  <a:lnTo>
                    <a:pt x="128995" y="158825"/>
                  </a:lnTo>
                  <a:lnTo>
                    <a:pt x="123936" y="157179"/>
                  </a:lnTo>
                  <a:lnTo>
                    <a:pt x="122250" y="165409"/>
                  </a:lnTo>
                  <a:lnTo>
                    <a:pt x="118877" y="163763"/>
                  </a:lnTo>
                  <a:lnTo>
                    <a:pt x="115505" y="175284"/>
                  </a:lnTo>
                  <a:lnTo>
                    <a:pt x="95270" y="170346"/>
                  </a:lnTo>
                  <a:lnTo>
                    <a:pt x="75036" y="170346"/>
                  </a:lnTo>
                  <a:lnTo>
                    <a:pt x="75036" y="167054"/>
                  </a:lnTo>
                  <a:lnTo>
                    <a:pt x="69977" y="163763"/>
                  </a:lnTo>
                  <a:lnTo>
                    <a:pt x="63232" y="168700"/>
                  </a:lnTo>
                  <a:lnTo>
                    <a:pt x="49742" y="168700"/>
                  </a:lnTo>
                  <a:lnTo>
                    <a:pt x="48056" y="163763"/>
                  </a:lnTo>
                  <a:lnTo>
                    <a:pt x="42997" y="162117"/>
                  </a:lnTo>
                  <a:lnTo>
                    <a:pt x="44684" y="155533"/>
                  </a:lnTo>
                  <a:lnTo>
                    <a:pt x="36252" y="157179"/>
                  </a:lnTo>
                  <a:lnTo>
                    <a:pt x="29508" y="148950"/>
                  </a:lnTo>
                  <a:lnTo>
                    <a:pt x="12645" y="114387"/>
                  </a:lnTo>
                  <a:lnTo>
                    <a:pt x="9273" y="96282"/>
                  </a:lnTo>
                  <a:lnTo>
                    <a:pt x="4214" y="45261"/>
                  </a:lnTo>
                  <a:lnTo>
                    <a:pt x="12645" y="48552"/>
                  </a:lnTo>
                  <a:lnTo>
                    <a:pt x="16018" y="35385"/>
                  </a:lnTo>
                  <a:lnTo>
                    <a:pt x="17704" y="38677"/>
                  </a:lnTo>
                  <a:lnTo>
                    <a:pt x="21076" y="33740"/>
                  </a:lnTo>
                  <a:lnTo>
                    <a:pt x="31194" y="38677"/>
                  </a:lnTo>
                  <a:lnTo>
                    <a:pt x="58173" y="40323"/>
                  </a:lnTo>
                  <a:lnTo>
                    <a:pt x="73349" y="37031"/>
                  </a:lnTo>
                  <a:lnTo>
                    <a:pt x="86839" y="27156"/>
                  </a:lnTo>
                  <a:lnTo>
                    <a:pt x="96957" y="27156"/>
                  </a:lnTo>
                  <a:lnTo>
                    <a:pt x="105388" y="32094"/>
                  </a:lnTo>
                  <a:lnTo>
                    <a:pt x="118877" y="53490"/>
                  </a:lnTo>
                  <a:lnTo>
                    <a:pt x="128995" y="58427"/>
                  </a:lnTo>
                  <a:lnTo>
                    <a:pt x="139112" y="60074"/>
                  </a:lnTo>
                  <a:lnTo>
                    <a:pt x="147543" y="56782"/>
                  </a:lnTo>
                  <a:lnTo>
                    <a:pt x="164406" y="37031"/>
                  </a:lnTo>
                  <a:lnTo>
                    <a:pt x="184640" y="33740"/>
                  </a:lnTo>
                  <a:lnTo>
                    <a:pt x="191385" y="30448"/>
                  </a:lnTo>
                  <a:lnTo>
                    <a:pt x="199816" y="22219"/>
                  </a:lnTo>
                  <a:lnTo>
                    <a:pt x="206561" y="10698"/>
                  </a:lnTo>
                  <a:lnTo>
                    <a:pt x="216679" y="5760"/>
                  </a:lnTo>
                  <a:lnTo>
                    <a:pt x="235227" y="4114"/>
                  </a:lnTo>
                  <a:lnTo>
                    <a:pt x="263893" y="18927"/>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7" name="Weststellingwerf">
              <a:extLst>
                <a:ext uri="{FF2B5EF4-FFF2-40B4-BE49-F238E27FC236}">
                  <a16:creationId xmlns:a16="http://schemas.microsoft.com/office/drawing/2014/main" id="{F1D3A857-0F00-450D-B91D-6B3B0D417E2D}"/>
                </a:ext>
              </a:extLst>
            </p:cNvPr>
            <p:cNvSpPr/>
            <p:nvPr/>
          </p:nvSpPr>
          <p:spPr>
            <a:xfrm>
              <a:off x="6682147" y="2139792"/>
              <a:ext cx="441272" cy="234818"/>
            </a:xfrm>
            <a:custGeom>
              <a:avLst/>
              <a:gdLst/>
              <a:ahLst/>
              <a:cxnLst/>
              <a:rect l="l" t="t" r="r" b="b"/>
              <a:pathLst>
                <a:path w="643949" h="354330" extrusionOk="0">
                  <a:moveTo>
                    <a:pt x="623059" y="74886"/>
                  </a:moveTo>
                  <a:lnTo>
                    <a:pt x="585962" y="130846"/>
                  </a:lnTo>
                  <a:lnTo>
                    <a:pt x="525258" y="168701"/>
                  </a:lnTo>
                  <a:lnTo>
                    <a:pt x="457808" y="218076"/>
                  </a:lnTo>
                  <a:lnTo>
                    <a:pt x="407222" y="247702"/>
                  </a:lnTo>
                  <a:lnTo>
                    <a:pt x="400477" y="257577"/>
                  </a:lnTo>
                  <a:lnTo>
                    <a:pt x="368439" y="257577"/>
                  </a:lnTo>
                  <a:lnTo>
                    <a:pt x="356635" y="262515"/>
                  </a:lnTo>
                  <a:lnTo>
                    <a:pt x="360008" y="277327"/>
                  </a:lnTo>
                  <a:lnTo>
                    <a:pt x="366753" y="288848"/>
                  </a:lnTo>
                  <a:lnTo>
                    <a:pt x="324597" y="315182"/>
                  </a:lnTo>
                  <a:lnTo>
                    <a:pt x="314480" y="297078"/>
                  </a:lnTo>
                  <a:lnTo>
                    <a:pt x="289186" y="303661"/>
                  </a:lnTo>
                  <a:lnTo>
                    <a:pt x="272324" y="311891"/>
                  </a:lnTo>
                  <a:lnTo>
                    <a:pt x="263893" y="300370"/>
                  </a:lnTo>
                  <a:lnTo>
                    <a:pt x="257148" y="300370"/>
                  </a:lnTo>
                  <a:lnTo>
                    <a:pt x="250403" y="282265"/>
                  </a:lnTo>
                  <a:lnTo>
                    <a:pt x="241972" y="269098"/>
                  </a:lnTo>
                  <a:lnTo>
                    <a:pt x="236913" y="250994"/>
                  </a:lnTo>
                  <a:lnTo>
                    <a:pt x="214992" y="257577"/>
                  </a:lnTo>
                  <a:lnTo>
                    <a:pt x="211620" y="262515"/>
                  </a:lnTo>
                  <a:lnTo>
                    <a:pt x="211620" y="272390"/>
                  </a:lnTo>
                  <a:lnTo>
                    <a:pt x="196444" y="262515"/>
                  </a:lnTo>
                  <a:lnTo>
                    <a:pt x="188013" y="267452"/>
                  </a:lnTo>
                  <a:lnTo>
                    <a:pt x="174523" y="267452"/>
                  </a:lnTo>
                  <a:lnTo>
                    <a:pt x="167778" y="272390"/>
                  </a:lnTo>
                  <a:lnTo>
                    <a:pt x="167778" y="274036"/>
                  </a:lnTo>
                  <a:lnTo>
                    <a:pt x="172837" y="275682"/>
                  </a:lnTo>
                  <a:lnTo>
                    <a:pt x="161033" y="278973"/>
                  </a:lnTo>
                  <a:lnTo>
                    <a:pt x="162719" y="282265"/>
                  </a:lnTo>
                  <a:lnTo>
                    <a:pt x="167778" y="285557"/>
                  </a:lnTo>
                  <a:lnTo>
                    <a:pt x="161033" y="287203"/>
                  </a:lnTo>
                  <a:lnTo>
                    <a:pt x="164406" y="297078"/>
                  </a:lnTo>
                  <a:lnTo>
                    <a:pt x="149230" y="306953"/>
                  </a:lnTo>
                  <a:lnTo>
                    <a:pt x="142485" y="320120"/>
                  </a:lnTo>
                  <a:lnTo>
                    <a:pt x="128995" y="325057"/>
                  </a:lnTo>
                  <a:lnTo>
                    <a:pt x="123936" y="334933"/>
                  </a:lnTo>
                  <a:lnTo>
                    <a:pt x="102015" y="344808"/>
                  </a:lnTo>
                  <a:lnTo>
                    <a:pt x="95270" y="351391"/>
                  </a:lnTo>
                  <a:lnTo>
                    <a:pt x="80094" y="348100"/>
                  </a:lnTo>
                  <a:lnTo>
                    <a:pt x="76722" y="343162"/>
                  </a:lnTo>
                  <a:lnTo>
                    <a:pt x="66605" y="343162"/>
                  </a:lnTo>
                  <a:lnTo>
                    <a:pt x="63232" y="336579"/>
                  </a:lnTo>
                  <a:lnTo>
                    <a:pt x="59860" y="341516"/>
                  </a:lnTo>
                  <a:lnTo>
                    <a:pt x="53115" y="339870"/>
                  </a:lnTo>
                  <a:lnTo>
                    <a:pt x="42997" y="341516"/>
                  </a:lnTo>
                  <a:lnTo>
                    <a:pt x="41311" y="336579"/>
                  </a:lnTo>
                  <a:lnTo>
                    <a:pt x="32880" y="339870"/>
                  </a:lnTo>
                  <a:lnTo>
                    <a:pt x="34566" y="334933"/>
                  </a:lnTo>
                  <a:lnTo>
                    <a:pt x="27821" y="326703"/>
                  </a:lnTo>
                  <a:lnTo>
                    <a:pt x="21076" y="321766"/>
                  </a:lnTo>
                  <a:lnTo>
                    <a:pt x="14332" y="321766"/>
                  </a:lnTo>
                  <a:lnTo>
                    <a:pt x="7587" y="315182"/>
                  </a:lnTo>
                  <a:lnTo>
                    <a:pt x="4214" y="306953"/>
                  </a:lnTo>
                  <a:lnTo>
                    <a:pt x="5900" y="298724"/>
                  </a:lnTo>
                  <a:lnTo>
                    <a:pt x="19390" y="287203"/>
                  </a:lnTo>
                  <a:lnTo>
                    <a:pt x="16018" y="282265"/>
                  </a:lnTo>
                  <a:lnTo>
                    <a:pt x="21076" y="277327"/>
                  </a:lnTo>
                  <a:lnTo>
                    <a:pt x="31194" y="255931"/>
                  </a:lnTo>
                  <a:lnTo>
                    <a:pt x="37939" y="250994"/>
                  </a:lnTo>
                  <a:lnTo>
                    <a:pt x="37939" y="239473"/>
                  </a:lnTo>
                  <a:lnTo>
                    <a:pt x="42997" y="221368"/>
                  </a:lnTo>
                  <a:lnTo>
                    <a:pt x="59860" y="195034"/>
                  </a:lnTo>
                  <a:lnTo>
                    <a:pt x="61546" y="183513"/>
                  </a:lnTo>
                  <a:lnTo>
                    <a:pt x="80094" y="160471"/>
                  </a:lnTo>
                  <a:lnTo>
                    <a:pt x="96957" y="140721"/>
                  </a:lnTo>
                  <a:lnTo>
                    <a:pt x="103701" y="137429"/>
                  </a:lnTo>
                  <a:lnTo>
                    <a:pt x="105388" y="125908"/>
                  </a:lnTo>
                  <a:lnTo>
                    <a:pt x="142485" y="117679"/>
                  </a:lnTo>
                  <a:lnTo>
                    <a:pt x="174523" y="94637"/>
                  </a:lnTo>
                  <a:lnTo>
                    <a:pt x="204875" y="51844"/>
                  </a:lnTo>
                  <a:lnTo>
                    <a:pt x="213306" y="45261"/>
                  </a:lnTo>
                  <a:lnTo>
                    <a:pt x="228482" y="43615"/>
                  </a:lnTo>
                  <a:lnTo>
                    <a:pt x="245344" y="45261"/>
                  </a:lnTo>
                  <a:lnTo>
                    <a:pt x="279069" y="28802"/>
                  </a:lnTo>
                  <a:lnTo>
                    <a:pt x="331342" y="66657"/>
                  </a:lnTo>
                  <a:lnTo>
                    <a:pt x="336401" y="68303"/>
                  </a:lnTo>
                  <a:lnTo>
                    <a:pt x="392046" y="35386"/>
                  </a:lnTo>
                  <a:lnTo>
                    <a:pt x="403849" y="22219"/>
                  </a:lnTo>
                  <a:lnTo>
                    <a:pt x="440947" y="78178"/>
                  </a:lnTo>
                  <a:lnTo>
                    <a:pt x="451064" y="69949"/>
                  </a:lnTo>
                  <a:lnTo>
                    <a:pt x="461181" y="66657"/>
                  </a:lnTo>
                  <a:lnTo>
                    <a:pt x="483102" y="51844"/>
                  </a:lnTo>
                  <a:lnTo>
                    <a:pt x="491533" y="40323"/>
                  </a:lnTo>
                  <a:lnTo>
                    <a:pt x="510081" y="35386"/>
                  </a:lnTo>
                  <a:lnTo>
                    <a:pt x="574158" y="4114"/>
                  </a:lnTo>
                  <a:lnTo>
                    <a:pt x="577531" y="7406"/>
                  </a:lnTo>
                  <a:lnTo>
                    <a:pt x="575844" y="13989"/>
                  </a:lnTo>
                  <a:lnTo>
                    <a:pt x="587648" y="27156"/>
                  </a:lnTo>
                  <a:lnTo>
                    <a:pt x="594393" y="45261"/>
                  </a:lnTo>
                  <a:lnTo>
                    <a:pt x="644979" y="51844"/>
                  </a:lnTo>
                  <a:lnTo>
                    <a:pt x="641607" y="60073"/>
                  </a:lnTo>
                  <a:lnTo>
                    <a:pt x="623059" y="7488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8" name="Oldambt">
              <a:extLst>
                <a:ext uri="{FF2B5EF4-FFF2-40B4-BE49-F238E27FC236}">
                  <a16:creationId xmlns:a16="http://schemas.microsoft.com/office/drawing/2014/main" id="{FA1E9512-EF0A-4E33-BF92-9E87402895C1}"/>
                </a:ext>
              </a:extLst>
            </p:cNvPr>
            <p:cNvSpPr/>
            <p:nvPr/>
          </p:nvSpPr>
          <p:spPr>
            <a:xfrm>
              <a:off x="7770386" y="1487006"/>
              <a:ext cx="354457" cy="363845"/>
            </a:xfrm>
            <a:custGeom>
              <a:avLst/>
              <a:gdLst/>
              <a:ahLst/>
              <a:cxnLst/>
              <a:rect l="l" t="t" r="r" b="b"/>
              <a:pathLst>
                <a:path w="480034" h="537210" extrusionOk="0">
                  <a:moveTo>
                    <a:pt x="289186" y="17281"/>
                  </a:moveTo>
                  <a:lnTo>
                    <a:pt x="292559" y="15635"/>
                  </a:lnTo>
                  <a:lnTo>
                    <a:pt x="292559" y="13989"/>
                  </a:lnTo>
                  <a:lnTo>
                    <a:pt x="294244" y="15635"/>
                  </a:lnTo>
                  <a:lnTo>
                    <a:pt x="302676" y="12343"/>
                  </a:lnTo>
                  <a:lnTo>
                    <a:pt x="300989" y="10697"/>
                  </a:lnTo>
                  <a:lnTo>
                    <a:pt x="302676" y="12343"/>
                  </a:lnTo>
                  <a:lnTo>
                    <a:pt x="307735" y="12343"/>
                  </a:lnTo>
                  <a:lnTo>
                    <a:pt x="307735" y="9052"/>
                  </a:lnTo>
                  <a:lnTo>
                    <a:pt x="309420" y="10697"/>
                  </a:lnTo>
                  <a:lnTo>
                    <a:pt x="316166" y="9052"/>
                  </a:lnTo>
                  <a:lnTo>
                    <a:pt x="316166" y="10697"/>
                  </a:lnTo>
                  <a:lnTo>
                    <a:pt x="383614" y="4114"/>
                  </a:lnTo>
                  <a:lnTo>
                    <a:pt x="417339" y="7406"/>
                  </a:lnTo>
                  <a:lnTo>
                    <a:pt x="419025" y="10697"/>
                  </a:lnTo>
                  <a:lnTo>
                    <a:pt x="383614" y="5760"/>
                  </a:lnTo>
                  <a:lnTo>
                    <a:pt x="309420" y="10697"/>
                  </a:lnTo>
                  <a:lnTo>
                    <a:pt x="289186" y="17281"/>
                  </a:lnTo>
                  <a:close/>
                  <a:moveTo>
                    <a:pt x="311107" y="32094"/>
                  </a:moveTo>
                  <a:lnTo>
                    <a:pt x="289186" y="27156"/>
                  </a:lnTo>
                  <a:lnTo>
                    <a:pt x="289186" y="23864"/>
                  </a:lnTo>
                  <a:lnTo>
                    <a:pt x="289186" y="25510"/>
                  </a:lnTo>
                  <a:lnTo>
                    <a:pt x="300989" y="28802"/>
                  </a:lnTo>
                  <a:lnTo>
                    <a:pt x="300989" y="23864"/>
                  </a:lnTo>
                  <a:lnTo>
                    <a:pt x="300989" y="28802"/>
                  </a:lnTo>
                  <a:lnTo>
                    <a:pt x="311107" y="32094"/>
                  </a:lnTo>
                  <a:lnTo>
                    <a:pt x="314479" y="30448"/>
                  </a:lnTo>
                  <a:lnTo>
                    <a:pt x="312793" y="20573"/>
                  </a:lnTo>
                  <a:lnTo>
                    <a:pt x="289186" y="23864"/>
                  </a:lnTo>
                  <a:lnTo>
                    <a:pt x="349890" y="17281"/>
                  </a:lnTo>
                  <a:lnTo>
                    <a:pt x="349890" y="15635"/>
                  </a:lnTo>
                  <a:lnTo>
                    <a:pt x="349890" y="17281"/>
                  </a:lnTo>
                  <a:lnTo>
                    <a:pt x="361693" y="15635"/>
                  </a:lnTo>
                  <a:lnTo>
                    <a:pt x="361693" y="12343"/>
                  </a:lnTo>
                  <a:lnTo>
                    <a:pt x="363380" y="27156"/>
                  </a:lnTo>
                  <a:lnTo>
                    <a:pt x="375183" y="25510"/>
                  </a:lnTo>
                  <a:lnTo>
                    <a:pt x="376870" y="10697"/>
                  </a:lnTo>
                  <a:lnTo>
                    <a:pt x="376870" y="25510"/>
                  </a:lnTo>
                  <a:lnTo>
                    <a:pt x="385301" y="25510"/>
                  </a:lnTo>
                  <a:lnTo>
                    <a:pt x="319538" y="28802"/>
                  </a:lnTo>
                  <a:lnTo>
                    <a:pt x="311107" y="32094"/>
                  </a:lnTo>
                  <a:close/>
                  <a:moveTo>
                    <a:pt x="316166" y="30448"/>
                  </a:moveTo>
                  <a:lnTo>
                    <a:pt x="324597" y="28802"/>
                  </a:lnTo>
                  <a:lnTo>
                    <a:pt x="324597" y="20573"/>
                  </a:lnTo>
                  <a:lnTo>
                    <a:pt x="312793" y="20573"/>
                  </a:lnTo>
                  <a:lnTo>
                    <a:pt x="316166" y="30448"/>
                  </a:lnTo>
                  <a:close/>
                  <a:moveTo>
                    <a:pt x="324597" y="28802"/>
                  </a:moveTo>
                  <a:lnTo>
                    <a:pt x="338086" y="28802"/>
                  </a:lnTo>
                  <a:lnTo>
                    <a:pt x="338086" y="18927"/>
                  </a:lnTo>
                  <a:lnTo>
                    <a:pt x="326283" y="20573"/>
                  </a:lnTo>
                  <a:lnTo>
                    <a:pt x="324597" y="28802"/>
                  </a:lnTo>
                  <a:close/>
                  <a:moveTo>
                    <a:pt x="338086" y="28802"/>
                  </a:moveTo>
                  <a:lnTo>
                    <a:pt x="349890" y="27156"/>
                  </a:lnTo>
                  <a:lnTo>
                    <a:pt x="349890" y="17281"/>
                  </a:lnTo>
                  <a:lnTo>
                    <a:pt x="338086" y="18927"/>
                  </a:lnTo>
                  <a:lnTo>
                    <a:pt x="338086" y="28802"/>
                  </a:lnTo>
                  <a:close/>
                  <a:moveTo>
                    <a:pt x="349890" y="27156"/>
                  </a:moveTo>
                  <a:lnTo>
                    <a:pt x="363380" y="27156"/>
                  </a:lnTo>
                  <a:lnTo>
                    <a:pt x="361693" y="15635"/>
                  </a:lnTo>
                  <a:lnTo>
                    <a:pt x="349890" y="17281"/>
                  </a:lnTo>
                  <a:lnTo>
                    <a:pt x="349890" y="27156"/>
                  </a:lnTo>
                  <a:close/>
                  <a:moveTo>
                    <a:pt x="451063" y="226306"/>
                  </a:moveTo>
                  <a:lnTo>
                    <a:pt x="449378" y="223014"/>
                  </a:lnTo>
                  <a:lnTo>
                    <a:pt x="451063" y="223014"/>
                  </a:lnTo>
                  <a:lnTo>
                    <a:pt x="451063" y="218076"/>
                  </a:lnTo>
                  <a:lnTo>
                    <a:pt x="454436" y="214785"/>
                  </a:lnTo>
                  <a:lnTo>
                    <a:pt x="456122" y="223014"/>
                  </a:lnTo>
                  <a:lnTo>
                    <a:pt x="451063" y="226306"/>
                  </a:lnTo>
                  <a:close/>
                  <a:moveTo>
                    <a:pt x="100328" y="542311"/>
                  </a:moveTo>
                  <a:lnTo>
                    <a:pt x="91897" y="507748"/>
                  </a:lnTo>
                  <a:lnTo>
                    <a:pt x="81780" y="479769"/>
                  </a:lnTo>
                  <a:lnTo>
                    <a:pt x="81780" y="464956"/>
                  </a:lnTo>
                  <a:lnTo>
                    <a:pt x="75036" y="425455"/>
                  </a:lnTo>
                  <a:lnTo>
                    <a:pt x="64918" y="425455"/>
                  </a:lnTo>
                  <a:lnTo>
                    <a:pt x="63232" y="407351"/>
                  </a:lnTo>
                  <a:lnTo>
                    <a:pt x="44683" y="410642"/>
                  </a:lnTo>
                  <a:lnTo>
                    <a:pt x="42997" y="402413"/>
                  </a:lnTo>
                  <a:lnTo>
                    <a:pt x="4214" y="408996"/>
                  </a:lnTo>
                  <a:lnTo>
                    <a:pt x="17704" y="395830"/>
                  </a:lnTo>
                  <a:lnTo>
                    <a:pt x="10959" y="394184"/>
                  </a:lnTo>
                  <a:lnTo>
                    <a:pt x="10959" y="390892"/>
                  </a:lnTo>
                  <a:lnTo>
                    <a:pt x="17704" y="387600"/>
                  </a:lnTo>
                  <a:lnTo>
                    <a:pt x="16017" y="372787"/>
                  </a:lnTo>
                  <a:lnTo>
                    <a:pt x="19390" y="369496"/>
                  </a:lnTo>
                  <a:lnTo>
                    <a:pt x="22763" y="356329"/>
                  </a:lnTo>
                  <a:lnTo>
                    <a:pt x="26135" y="348099"/>
                  </a:lnTo>
                  <a:lnTo>
                    <a:pt x="32880" y="349745"/>
                  </a:lnTo>
                  <a:lnTo>
                    <a:pt x="34566" y="348099"/>
                  </a:lnTo>
                  <a:lnTo>
                    <a:pt x="36252" y="341516"/>
                  </a:lnTo>
                  <a:lnTo>
                    <a:pt x="22763" y="338224"/>
                  </a:lnTo>
                  <a:lnTo>
                    <a:pt x="34566" y="315182"/>
                  </a:lnTo>
                  <a:lnTo>
                    <a:pt x="27821" y="310245"/>
                  </a:lnTo>
                  <a:lnTo>
                    <a:pt x="41311" y="297078"/>
                  </a:lnTo>
                  <a:lnTo>
                    <a:pt x="31194" y="277327"/>
                  </a:lnTo>
                  <a:lnTo>
                    <a:pt x="34566" y="275681"/>
                  </a:lnTo>
                  <a:lnTo>
                    <a:pt x="26135" y="262515"/>
                  </a:lnTo>
                  <a:lnTo>
                    <a:pt x="16017" y="267452"/>
                  </a:lnTo>
                  <a:lnTo>
                    <a:pt x="9273" y="246056"/>
                  </a:lnTo>
                  <a:lnTo>
                    <a:pt x="12645" y="224660"/>
                  </a:lnTo>
                  <a:lnTo>
                    <a:pt x="19390" y="223014"/>
                  </a:lnTo>
                  <a:lnTo>
                    <a:pt x="27821" y="232889"/>
                  </a:lnTo>
                  <a:lnTo>
                    <a:pt x="31194" y="232889"/>
                  </a:lnTo>
                  <a:lnTo>
                    <a:pt x="37939" y="237827"/>
                  </a:lnTo>
                  <a:lnTo>
                    <a:pt x="51428" y="221368"/>
                  </a:lnTo>
                  <a:lnTo>
                    <a:pt x="58173" y="226306"/>
                  </a:lnTo>
                  <a:lnTo>
                    <a:pt x="61546" y="221368"/>
                  </a:lnTo>
                  <a:lnTo>
                    <a:pt x="63232" y="209847"/>
                  </a:lnTo>
                  <a:lnTo>
                    <a:pt x="71663" y="190097"/>
                  </a:lnTo>
                  <a:lnTo>
                    <a:pt x="139112" y="163763"/>
                  </a:lnTo>
                  <a:lnTo>
                    <a:pt x="162719" y="163763"/>
                  </a:lnTo>
                  <a:lnTo>
                    <a:pt x="161033" y="178576"/>
                  </a:lnTo>
                  <a:lnTo>
                    <a:pt x="176209" y="196680"/>
                  </a:lnTo>
                  <a:lnTo>
                    <a:pt x="189698" y="188451"/>
                  </a:lnTo>
                  <a:lnTo>
                    <a:pt x="194757" y="181867"/>
                  </a:lnTo>
                  <a:lnTo>
                    <a:pt x="198130" y="180221"/>
                  </a:lnTo>
                  <a:lnTo>
                    <a:pt x="199816" y="181867"/>
                  </a:lnTo>
                  <a:lnTo>
                    <a:pt x="203189" y="180221"/>
                  </a:lnTo>
                  <a:lnTo>
                    <a:pt x="228482" y="209847"/>
                  </a:lnTo>
                  <a:lnTo>
                    <a:pt x="231855" y="206555"/>
                  </a:lnTo>
                  <a:lnTo>
                    <a:pt x="243658" y="221368"/>
                  </a:lnTo>
                  <a:lnTo>
                    <a:pt x="262206" y="206555"/>
                  </a:lnTo>
                  <a:lnTo>
                    <a:pt x="257147" y="203264"/>
                  </a:lnTo>
                  <a:lnTo>
                    <a:pt x="268951" y="190097"/>
                  </a:lnTo>
                  <a:lnTo>
                    <a:pt x="279069" y="185159"/>
                  </a:lnTo>
                  <a:lnTo>
                    <a:pt x="284128" y="188451"/>
                  </a:lnTo>
                  <a:lnTo>
                    <a:pt x="287500" y="186805"/>
                  </a:lnTo>
                  <a:lnTo>
                    <a:pt x="295931" y="193388"/>
                  </a:lnTo>
                  <a:lnTo>
                    <a:pt x="292559" y="203264"/>
                  </a:lnTo>
                  <a:lnTo>
                    <a:pt x="297617" y="195034"/>
                  </a:lnTo>
                  <a:lnTo>
                    <a:pt x="302676" y="196680"/>
                  </a:lnTo>
                  <a:lnTo>
                    <a:pt x="304362" y="193388"/>
                  </a:lnTo>
                  <a:lnTo>
                    <a:pt x="306048" y="196680"/>
                  </a:lnTo>
                  <a:lnTo>
                    <a:pt x="309420" y="199972"/>
                  </a:lnTo>
                  <a:lnTo>
                    <a:pt x="314479" y="195034"/>
                  </a:lnTo>
                  <a:lnTo>
                    <a:pt x="316166" y="199972"/>
                  </a:lnTo>
                  <a:lnTo>
                    <a:pt x="321224" y="198326"/>
                  </a:lnTo>
                  <a:lnTo>
                    <a:pt x="322910" y="199972"/>
                  </a:lnTo>
                  <a:lnTo>
                    <a:pt x="329655" y="199972"/>
                  </a:lnTo>
                  <a:lnTo>
                    <a:pt x="331341" y="213139"/>
                  </a:lnTo>
                  <a:lnTo>
                    <a:pt x="331341" y="199972"/>
                  </a:lnTo>
                  <a:lnTo>
                    <a:pt x="336401" y="199972"/>
                  </a:lnTo>
                  <a:lnTo>
                    <a:pt x="339773" y="219722"/>
                  </a:lnTo>
                  <a:lnTo>
                    <a:pt x="336401" y="201618"/>
                  </a:lnTo>
                  <a:lnTo>
                    <a:pt x="343145" y="199972"/>
                  </a:lnTo>
                  <a:lnTo>
                    <a:pt x="346517" y="204909"/>
                  </a:lnTo>
                  <a:lnTo>
                    <a:pt x="349890" y="221368"/>
                  </a:lnTo>
                  <a:lnTo>
                    <a:pt x="346517" y="204909"/>
                  </a:lnTo>
                  <a:lnTo>
                    <a:pt x="356635" y="209847"/>
                  </a:lnTo>
                  <a:lnTo>
                    <a:pt x="358321" y="226306"/>
                  </a:lnTo>
                  <a:lnTo>
                    <a:pt x="358321" y="209847"/>
                  </a:lnTo>
                  <a:lnTo>
                    <a:pt x="361693" y="208201"/>
                  </a:lnTo>
                  <a:lnTo>
                    <a:pt x="365066" y="211493"/>
                  </a:lnTo>
                  <a:lnTo>
                    <a:pt x="368439" y="223014"/>
                  </a:lnTo>
                  <a:lnTo>
                    <a:pt x="366752" y="211493"/>
                  </a:lnTo>
                  <a:lnTo>
                    <a:pt x="375183" y="216430"/>
                  </a:lnTo>
                  <a:lnTo>
                    <a:pt x="375183" y="211493"/>
                  </a:lnTo>
                  <a:lnTo>
                    <a:pt x="378556" y="211493"/>
                  </a:lnTo>
                  <a:lnTo>
                    <a:pt x="380242" y="208201"/>
                  </a:lnTo>
                  <a:lnTo>
                    <a:pt x="385301" y="209847"/>
                  </a:lnTo>
                  <a:lnTo>
                    <a:pt x="392046" y="214785"/>
                  </a:lnTo>
                  <a:lnTo>
                    <a:pt x="395418" y="224660"/>
                  </a:lnTo>
                  <a:lnTo>
                    <a:pt x="393732" y="216430"/>
                  </a:lnTo>
                  <a:lnTo>
                    <a:pt x="397105" y="216430"/>
                  </a:lnTo>
                  <a:lnTo>
                    <a:pt x="400477" y="221368"/>
                  </a:lnTo>
                  <a:lnTo>
                    <a:pt x="402163" y="229597"/>
                  </a:lnTo>
                  <a:lnTo>
                    <a:pt x="398790" y="237827"/>
                  </a:lnTo>
                  <a:lnTo>
                    <a:pt x="402163" y="231243"/>
                  </a:lnTo>
                  <a:lnTo>
                    <a:pt x="402163" y="218076"/>
                  </a:lnTo>
                  <a:lnTo>
                    <a:pt x="403849" y="221368"/>
                  </a:lnTo>
                  <a:lnTo>
                    <a:pt x="403849" y="219722"/>
                  </a:lnTo>
                  <a:lnTo>
                    <a:pt x="415653" y="224660"/>
                  </a:lnTo>
                  <a:lnTo>
                    <a:pt x="417339" y="231243"/>
                  </a:lnTo>
                  <a:lnTo>
                    <a:pt x="417339" y="223014"/>
                  </a:lnTo>
                  <a:lnTo>
                    <a:pt x="420712" y="226306"/>
                  </a:lnTo>
                  <a:lnTo>
                    <a:pt x="424084" y="226306"/>
                  </a:lnTo>
                  <a:lnTo>
                    <a:pt x="427456" y="236181"/>
                  </a:lnTo>
                  <a:lnTo>
                    <a:pt x="425770" y="226306"/>
                  </a:lnTo>
                  <a:lnTo>
                    <a:pt x="434201" y="227951"/>
                  </a:lnTo>
                  <a:lnTo>
                    <a:pt x="435887" y="231243"/>
                  </a:lnTo>
                  <a:lnTo>
                    <a:pt x="435887" y="227951"/>
                  </a:lnTo>
                  <a:lnTo>
                    <a:pt x="444319" y="229597"/>
                  </a:lnTo>
                  <a:lnTo>
                    <a:pt x="444319" y="231243"/>
                  </a:lnTo>
                  <a:lnTo>
                    <a:pt x="447691" y="229597"/>
                  </a:lnTo>
                  <a:lnTo>
                    <a:pt x="452750" y="239472"/>
                  </a:lnTo>
                  <a:lnTo>
                    <a:pt x="454436" y="241118"/>
                  </a:lnTo>
                  <a:lnTo>
                    <a:pt x="451063" y="229597"/>
                  </a:lnTo>
                  <a:lnTo>
                    <a:pt x="456122" y="223014"/>
                  </a:lnTo>
                  <a:lnTo>
                    <a:pt x="461181" y="249348"/>
                  </a:lnTo>
                  <a:lnTo>
                    <a:pt x="457808" y="249348"/>
                  </a:lnTo>
                  <a:lnTo>
                    <a:pt x="467926" y="282265"/>
                  </a:lnTo>
                  <a:lnTo>
                    <a:pt x="469612" y="323412"/>
                  </a:lnTo>
                  <a:lnTo>
                    <a:pt x="456122" y="346454"/>
                  </a:lnTo>
                  <a:lnTo>
                    <a:pt x="484788" y="364558"/>
                  </a:lnTo>
                  <a:lnTo>
                    <a:pt x="462867" y="374433"/>
                  </a:lnTo>
                  <a:lnTo>
                    <a:pt x="451063" y="374433"/>
                  </a:lnTo>
                  <a:lnTo>
                    <a:pt x="432515" y="410642"/>
                  </a:lnTo>
                  <a:lnTo>
                    <a:pt x="430829" y="427101"/>
                  </a:lnTo>
                  <a:lnTo>
                    <a:pt x="420712" y="428747"/>
                  </a:lnTo>
                  <a:lnTo>
                    <a:pt x="412280" y="433684"/>
                  </a:lnTo>
                  <a:lnTo>
                    <a:pt x="407222" y="445205"/>
                  </a:lnTo>
                  <a:lnTo>
                    <a:pt x="365066" y="415580"/>
                  </a:lnTo>
                  <a:lnTo>
                    <a:pt x="356635" y="430393"/>
                  </a:lnTo>
                  <a:lnTo>
                    <a:pt x="336401" y="438622"/>
                  </a:lnTo>
                  <a:lnTo>
                    <a:pt x="306048" y="456727"/>
                  </a:lnTo>
                  <a:lnTo>
                    <a:pt x="297617" y="458372"/>
                  </a:lnTo>
                  <a:lnTo>
                    <a:pt x="280755" y="455081"/>
                  </a:lnTo>
                  <a:lnTo>
                    <a:pt x="270637" y="458372"/>
                  </a:lnTo>
                  <a:lnTo>
                    <a:pt x="226796" y="492935"/>
                  </a:lnTo>
                  <a:lnTo>
                    <a:pt x="203189" y="517623"/>
                  </a:lnTo>
                  <a:lnTo>
                    <a:pt x="199816" y="529144"/>
                  </a:lnTo>
                  <a:lnTo>
                    <a:pt x="193071" y="527499"/>
                  </a:lnTo>
                  <a:lnTo>
                    <a:pt x="132367" y="529144"/>
                  </a:lnTo>
                  <a:lnTo>
                    <a:pt x="125622" y="520915"/>
                  </a:lnTo>
                  <a:lnTo>
                    <a:pt x="123936" y="522561"/>
                  </a:lnTo>
                  <a:lnTo>
                    <a:pt x="120563" y="520915"/>
                  </a:lnTo>
                  <a:lnTo>
                    <a:pt x="100328" y="54231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399" name="Opsterland">
              <a:extLst>
                <a:ext uri="{FF2B5EF4-FFF2-40B4-BE49-F238E27FC236}">
                  <a16:creationId xmlns:a16="http://schemas.microsoft.com/office/drawing/2014/main" id="{71893E4A-35F2-46DB-A984-072C56974825}"/>
                </a:ext>
              </a:extLst>
            </p:cNvPr>
            <p:cNvSpPr/>
            <p:nvPr/>
          </p:nvSpPr>
          <p:spPr>
            <a:xfrm>
              <a:off x="6779755" y="1830275"/>
              <a:ext cx="427161" cy="269305"/>
            </a:xfrm>
            <a:custGeom>
              <a:avLst/>
              <a:gdLst/>
              <a:ahLst/>
              <a:cxnLst/>
              <a:rect l="l" t="t" r="r" b="b"/>
              <a:pathLst>
                <a:path w="608824" h="400050" extrusionOk="0">
                  <a:moveTo>
                    <a:pt x="386987" y="4114"/>
                  </a:moveTo>
                  <a:lnTo>
                    <a:pt x="415653" y="37031"/>
                  </a:lnTo>
                  <a:lnTo>
                    <a:pt x="462867" y="41969"/>
                  </a:lnTo>
                  <a:lnTo>
                    <a:pt x="499964" y="38677"/>
                  </a:lnTo>
                  <a:lnTo>
                    <a:pt x="518512" y="46907"/>
                  </a:lnTo>
                  <a:lnTo>
                    <a:pt x="532002" y="56782"/>
                  </a:lnTo>
                  <a:lnTo>
                    <a:pt x="543806" y="73240"/>
                  </a:lnTo>
                  <a:lnTo>
                    <a:pt x="580903" y="86407"/>
                  </a:lnTo>
                  <a:lnTo>
                    <a:pt x="565727" y="117679"/>
                  </a:lnTo>
                  <a:lnTo>
                    <a:pt x="606196" y="132491"/>
                  </a:lnTo>
                  <a:lnTo>
                    <a:pt x="532002" y="160471"/>
                  </a:lnTo>
                  <a:lnTo>
                    <a:pt x="530316" y="173638"/>
                  </a:lnTo>
                  <a:lnTo>
                    <a:pt x="446005" y="221368"/>
                  </a:lnTo>
                  <a:lnTo>
                    <a:pt x="434201" y="223014"/>
                  </a:lnTo>
                  <a:lnTo>
                    <a:pt x="430829" y="227951"/>
                  </a:lnTo>
                  <a:lnTo>
                    <a:pt x="419025" y="224660"/>
                  </a:lnTo>
                  <a:lnTo>
                    <a:pt x="412280" y="227951"/>
                  </a:lnTo>
                  <a:lnTo>
                    <a:pt x="410594" y="232889"/>
                  </a:lnTo>
                  <a:lnTo>
                    <a:pt x="397104" y="249348"/>
                  </a:lnTo>
                  <a:lnTo>
                    <a:pt x="373497" y="267452"/>
                  </a:lnTo>
                  <a:lnTo>
                    <a:pt x="349890" y="275682"/>
                  </a:lnTo>
                  <a:lnTo>
                    <a:pt x="339773" y="277327"/>
                  </a:lnTo>
                  <a:lnTo>
                    <a:pt x="309421" y="288848"/>
                  </a:lnTo>
                  <a:lnTo>
                    <a:pt x="306048" y="292140"/>
                  </a:lnTo>
                  <a:lnTo>
                    <a:pt x="307734" y="295432"/>
                  </a:lnTo>
                  <a:lnTo>
                    <a:pt x="274010" y="318474"/>
                  </a:lnTo>
                  <a:lnTo>
                    <a:pt x="257148" y="334933"/>
                  </a:lnTo>
                  <a:lnTo>
                    <a:pt x="262206" y="343162"/>
                  </a:lnTo>
                  <a:lnTo>
                    <a:pt x="260520" y="343162"/>
                  </a:lnTo>
                  <a:lnTo>
                    <a:pt x="257148" y="346453"/>
                  </a:lnTo>
                  <a:lnTo>
                    <a:pt x="258834" y="349745"/>
                  </a:lnTo>
                  <a:lnTo>
                    <a:pt x="253775" y="354683"/>
                  </a:lnTo>
                  <a:lnTo>
                    <a:pt x="240286" y="357975"/>
                  </a:lnTo>
                  <a:lnTo>
                    <a:pt x="218365" y="381017"/>
                  </a:lnTo>
                  <a:lnTo>
                    <a:pt x="196443" y="392538"/>
                  </a:lnTo>
                  <a:lnTo>
                    <a:pt x="181268" y="399121"/>
                  </a:lnTo>
                  <a:lnTo>
                    <a:pt x="154288" y="404059"/>
                  </a:lnTo>
                  <a:lnTo>
                    <a:pt x="145857" y="400767"/>
                  </a:lnTo>
                  <a:lnTo>
                    <a:pt x="51428" y="384308"/>
                  </a:lnTo>
                  <a:lnTo>
                    <a:pt x="61546" y="369496"/>
                  </a:lnTo>
                  <a:lnTo>
                    <a:pt x="58173" y="364558"/>
                  </a:lnTo>
                  <a:lnTo>
                    <a:pt x="78408" y="336578"/>
                  </a:lnTo>
                  <a:lnTo>
                    <a:pt x="75036" y="333287"/>
                  </a:lnTo>
                  <a:lnTo>
                    <a:pt x="83467" y="325057"/>
                  </a:lnTo>
                  <a:lnTo>
                    <a:pt x="75036" y="310244"/>
                  </a:lnTo>
                  <a:lnTo>
                    <a:pt x="71663" y="295432"/>
                  </a:lnTo>
                  <a:lnTo>
                    <a:pt x="78408" y="295432"/>
                  </a:lnTo>
                  <a:lnTo>
                    <a:pt x="90211" y="257577"/>
                  </a:lnTo>
                  <a:lnTo>
                    <a:pt x="78408" y="246056"/>
                  </a:lnTo>
                  <a:lnTo>
                    <a:pt x="41311" y="229597"/>
                  </a:lnTo>
                  <a:lnTo>
                    <a:pt x="42997" y="226306"/>
                  </a:lnTo>
                  <a:lnTo>
                    <a:pt x="22763" y="218076"/>
                  </a:lnTo>
                  <a:lnTo>
                    <a:pt x="19390" y="213139"/>
                  </a:lnTo>
                  <a:lnTo>
                    <a:pt x="29507" y="213139"/>
                  </a:lnTo>
                  <a:lnTo>
                    <a:pt x="29507" y="201618"/>
                  </a:lnTo>
                  <a:lnTo>
                    <a:pt x="41311" y="198326"/>
                  </a:lnTo>
                  <a:lnTo>
                    <a:pt x="42997" y="193388"/>
                  </a:lnTo>
                  <a:lnTo>
                    <a:pt x="46370" y="193388"/>
                  </a:lnTo>
                  <a:lnTo>
                    <a:pt x="49742" y="190097"/>
                  </a:lnTo>
                  <a:lnTo>
                    <a:pt x="26135" y="190097"/>
                  </a:lnTo>
                  <a:lnTo>
                    <a:pt x="32880" y="168700"/>
                  </a:lnTo>
                  <a:lnTo>
                    <a:pt x="29507" y="162117"/>
                  </a:lnTo>
                  <a:lnTo>
                    <a:pt x="24449" y="165409"/>
                  </a:lnTo>
                  <a:lnTo>
                    <a:pt x="19390" y="162117"/>
                  </a:lnTo>
                  <a:lnTo>
                    <a:pt x="9273" y="148950"/>
                  </a:lnTo>
                  <a:lnTo>
                    <a:pt x="10959" y="142367"/>
                  </a:lnTo>
                  <a:lnTo>
                    <a:pt x="16018" y="140721"/>
                  </a:lnTo>
                  <a:lnTo>
                    <a:pt x="12645" y="135783"/>
                  </a:lnTo>
                  <a:lnTo>
                    <a:pt x="12645" y="130845"/>
                  </a:lnTo>
                  <a:lnTo>
                    <a:pt x="4214" y="130845"/>
                  </a:lnTo>
                  <a:lnTo>
                    <a:pt x="7586" y="124262"/>
                  </a:lnTo>
                  <a:lnTo>
                    <a:pt x="86839" y="132491"/>
                  </a:lnTo>
                  <a:lnTo>
                    <a:pt x="93584" y="124262"/>
                  </a:lnTo>
                  <a:lnTo>
                    <a:pt x="110446" y="124262"/>
                  </a:lnTo>
                  <a:lnTo>
                    <a:pt x="137426" y="134137"/>
                  </a:lnTo>
                  <a:lnTo>
                    <a:pt x="140798" y="132491"/>
                  </a:lnTo>
                  <a:lnTo>
                    <a:pt x="147543" y="140721"/>
                  </a:lnTo>
                  <a:lnTo>
                    <a:pt x="159347" y="140721"/>
                  </a:lnTo>
                  <a:lnTo>
                    <a:pt x="243658" y="147304"/>
                  </a:lnTo>
                  <a:lnTo>
                    <a:pt x="268951" y="129200"/>
                  </a:lnTo>
                  <a:lnTo>
                    <a:pt x="280755" y="111095"/>
                  </a:lnTo>
                  <a:lnTo>
                    <a:pt x="297617" y="73240"/>
                  </a:lnTo>
                  <a:lnTo>
                    <a:pt x="326283" y="55136"/>
                  </a:lnTo>
                  <a:lnTo>
                    <a:pt x="354949" y="25510"/>
                  </a:lnTo>
                  <a:lnTo>
                    <a:pt x="368438" y="18927"/>
                  </a:lnTo>
                  <a:lnTo>
                    <a:pt x="368438" y="15635"/>
                  </a:lnTo>
                  <a:lnTo>
                    <a:pt x="386987"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0" name="Vaals">
              <a:extLst>
                <a:ext uri="{FF2B5EF4-FFF2-40B4-BE49-F238E27FC236}">
                  <a16:creationId xmlns:a16="http://schemas.microsoft.com/office/drawing/2014/main" id="{7D885BEA-26C8-4FEA-BAA6-24B0E40DEF72}"/>
                </a:ext>
              </a:extLst>
            </p:cNvPr>
            <p:cNvSpPr/>
            <p:nvPr/>
          </p:nvSpPr>
          <p:spPr>
            <a:xfrm>
              <a:off x="6810005" y="5647703"/>
              <a:ext cx="123733" cy="72173"/>
            </a:xfrm>
            <a:custGeom>
              <a:avLst/>
              <a:gdLst/>
              <a:ahLst/>
              <a:cxnLst/>
              <a:rect l="l" t="t" r="r" b="b"/>
              <a:pathLst>
                <a:path w="175622" h="125730" extrusionOk="0">
                  <a:moveTo>
                    <a:pt x="90211" y="5760"/>
                  </a:moveTo>
                  <a:lnTo>
                    <a:pt x="90211" y="17280"/>
                  </a:lnTo>
                  <a:lnTo>
                    <a:pt x="96957" y="23864"/>
                  </a:lnTo>
                  <a:lnTo>
                    <a:pt x="110446" y="25510"/>
                  </a:lnTo>
                  <a:lnTo>
                    <a:pt x="122250" y="35385"/>
                  </a:lnTo>
                  <a:lnTo>
                    <a:pt x="122250" y="41969"/>
                  </a:lnTo>
                  <a:lnTo>
                    <a:pt x="137426" y="51844"/>
                  </a:lnTo>
                  <a:lnTo>
                    <a:pt x="139112" y="55135"/>
                  </a:lnTo>
                  <a:lnTo>
                    <a:pt x="155974" y="63365"/>
                  </a:lnTo>
                  <a:lnTo>
                    <a:pt x="161033" y="68302"/>
                  </a:lnTo>
                  <a:lnTo>
                    <a:pt x="171150" y="69948"/>
                  </a:lnTo>
                  <a:lnTo>
                    <a:pt x="172836" y="73240"/>
                  </a:lnTo>
                  <a:lnTo>
                    <a:pt x="159347" y="99574"/>
                  </a:lnTo>
                  <a:lnTo>
                    <a:pt x="162719" y="120970"/>
                  </a:lnTo>
                  <a:lnTo>
                    <a:pt x="150916" y="119324"/>
                  </a:lnTo>
                  <a:lnTo>
                    <a:pt x="128995" y="124262"/>
                  </a:lnTo>
                  <a:lnTo>
                    <a:pt x="125622" y="122616"/>
                  </a:lnTo>
                  <a:lnTo>
                    <a:pt x="118877" y="125908"/>
                  </a:lnTo>
                  <a:lnTo>
                    <a:pt x="103701" y="125908"/>
                  </a:lnTo>
                  <a:lnTo>
                    <a:pt x="96957" y="120970"/>
                  </a:lnTo>
                  <a:lnTo>
                    <a:pt x="90211" y="119324"/>
                  </a:lnTo>
                  <a:lnTo>
                    <a:pt x="90211" y="114387"/>
                  </a:lnTo>
                  <a:lnTo>
                    <a:pt x="86839" y="109449"/>
                  </a:lnTo>
                  <a:lnTo>
                    <a:pt x="68291" y="104512"/>
                  </a:lnTo>
                  <a:lnTo>
                    <a:pt x="68291" y="102866"/>
                  </a:lnTo>
                  <a:lnTo>
                    <a:pt x="29507" y="116032"/>
                  </a:lnTo>
                  <a:lnTo>
                    <a:pt x="27821" y="112741"/>
                  </a:lnTo>
                  <a:lnTo>
                    <a:pt x="19390" y="111095"/>
                  </a:lnTo>
                  <a:lnTo>
                    <a:pt x="22763" y="107803"/>
                  </a:lnTo>
                  <a:lnTo>
                    <a:pt x="19390" y="102866"/>
                  </a:lnTo>
                  <a:lnTo>
                    <a:pt x="12645" y="99574"/>
                  </a:lnTo>
                  <a:lnTo>
                    <a:pt x="12645" y="94637"/>
                  </a:lnTo>
                  <a:lnTo>
                    <a:pt x="4214" y="86407"/>
                  </a:lnTo>
                  <a:lnTo>
                    <a:pt x="9273" y="71595"/>
                  </a:lnTo>
                  <a:lnTo>
                    <a:pt x="21076" y="73240"/>
                  </a:lnTo>
                  <a:lnTo>
                    <a:pt x="29507" y="81470"/>
                  </a:lnTo>
                  <a:lnTo>
                    <a:pt x="41311" y="76532"/>
                  </a:lnTo>
                  <a:lnTo>
                    <a:pt x="42997" y="56782"/>
                  </a:lnTo>
                  <a:lnTo>
                    <a:pt x="37938" y="35385"/>
                  </a:lnTo>
                  <a:lnTo>
                    <a:pt x="42997" y="22218"/>
                  </a:lnTo>
                  <a:lnTo>
                    <a:pt x="53115" y="27156"/>
                  </a:lnTo>
                  <a:lnTo>
                    <a:pt x="73349" y="5760"/>
                  </a:lnTo>
                  <a:lnTo>
                    <a:pt x="80094" y="9051"/>
                  </a:lnTo>
                  <a:lnTo>
                    <a:pt x="91897" y="4114"/>
                  </a:lnTo>
                  <a:lnTo>
                    <a:pt x="90211" y="5760"/>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1" name="Zwolle">
              <a:extLst>
                <a:ext uri="{FF2B5EF4-FFF2-40B4-BE49-F238E27FC236}">
                  <a16:creationId xmlns:a16="http://schemas.microsoft.com/office/drawing/2014/main" id="{308E550F-1801-4135-95CE-29342C0A5B27}"/>
                </a:ext>
              </a:extLst>
            </p:cNvPr>
            <p:cNvSpPr/>
            <p:nvPr/>
          </p:nvSpPr>
          <p:spPr>
            <a:xfrm>
              <a:off x="6878294" y="2719746"/>
              <a:ext cx="213955" cy="242871"/>
            </a:xfrm>
            <a:custGeom>
              <a:avLst/>
              <a:gdLst/>
              <a:ahLst/>
              <a:cxnLst/>
              <a:rect l="l" t="t" r="r" b="b"/>
              <a:pathLst>
                <a:path w="316120" h="354330" extrusionOk="0">
                  <a:moveTo>
                    <a:pt x="290872" y="13989"/>
                  </a:moveTo>
                  <a:lnTo>
                    <a:pt x="302676" y="10698"/>
                  </a:lnTo>
                  <a:lnTo>
                    <a:pt x="307735" y="35386"/>
                  </a:lnTo>
                  <a:lnTo>
                    <a:pt x="316166" y="53490"/>
                  </a:lnTo>
                  <a:lnTo>
                    <a:pt x="284127" y="129200"/>
                  </a:lnTo>
                  <a:lnTo>
                    <a:pt x="289186" y="139075"/>
                  </a:lnTo>
                  <a:lnTo>
                    <a:pt x="280755" y="157179"/>
                  </a:lnTo>
                  <a:lnTo>
                    <a:pt x="282441" y="160471"/>
                  </a:lnTo>
                  <a:lnTo>
                    <a:pt x="275696" y="167054"/>
                  </a:lnTo>
                  <a:lnTo>
                    <a:pt x="275696" y="170346"/>
                  </a:lnTo>
                  <a:lnTo>
                    <a:pt x="260520" y="171992"/>
                  </a:lnTo>
                  <a:lnTo>
                    <a:pt x="277382" y="198326"/>
                  </a:lnTo>
                  <a:lnTo>
                    <a:pt x="277382" y="203264"/>
                  </a:lnTo>
                  <a:lnTo>
                    <a:pt x="282441" y="218076"/>
                  </a:lnTo>
                  <a:lnTo>
                    <a:pt x="295931" y="227951"/>
                  </a:lnTo>
                  <a:lnTo>
                    <a:pt x="300989" y="227951"/>
                  </a:lnTo>
                  <a:lnTo>
                    <a:pt x="299303" y="234535"/>
                  </a:lnTo>
                  <a:lnTo>
                    <a:pt x="302676" y="237827"/>
                  </a:lnTo>
                  <a:lnTo>
                    <a:pt x="295931" y="241118"/>
                  </a:lnTo>
                  <a:lnTo>
                    <a:pt x="290872" y="250994"/>
                  </a:lnTo>
                  <a:lnTo>
                    <a:pt x="292559" y="257577"/>
                  </a:lnTo>
                  <a:lnTo>
                    <a:pt x="290872" y="260869"/>
                  </a:lnTo>
                  <a:lnTo>
                    <a:pt x="284127" y="264161"/>
                  </a:lnTo>
                  <a:lnTo>
                    <a:pt x="275696" y="262515"/>
                  </a:lnTo>
                  <a:lnTo>
                    <a:pt x="274010" y="267452"/>
                  </a:lnTo>
                  <a:lnTo>
                    <a:pt x="267265" y="265806"/>
                  </a:lnTo>
                  <a:lnTo>
                    <a:pt x="267265" y="270744"/>
                  </a:lnTo>
                  <a:lnTo>
                    <a:pt x="263893" y="269098"/>
                  </a:lnTo>
                  <a:lnTo>
                    <a:pt x="262207" y="272390"/>
                  </a:lnTo>
                  <a:lnTo>
                    <a:pt x="258834" y="272390"/>
                  </a:lnTo>
                  <a:lnTo>
                    <a:pt x="257148" y="275681"/>
                  </a:lnTo>
                  <a:lnTo>
                    <a:pt x="252089" y="275681"/>
                  </a:lnTo>
                  <a:lnTo>
                    <a:pt x="228482" y="287203"/>
                  </a:lnTo>
                  <a:lnTo>
                    <a:pt x="218365" y="295432"/>
                  </a:lnTo>
                  <a:lnTo>
                    <a:pt x="230168" y="311891"/>
                  </a:lnTo>
                  <a:lnTo>
                    <a:pt x="230168" y="320120"/>
                  </a:lnTo>
                  <a:lnTo>
                    <a:pt x="235227" y="328349"/>
                  </a:lnTo>
                  <a:lnTo>
                    <a:pt x="223423" y="351392"/>
                  </a:lnTo>
                  <a:lnTo>
                    <a:pt x="214992" y="353037"/>
                  </a:lnTo>
                  <a:lnTo>
                    <a:pt x="213306" y="351392"/>
                  </a:lnTo>
                  <a:lnTo>
                    <a:pt x="211620" y="357975"/>
                  </a:lnTo>
                  <a:lnTo>
                    <a:pt x="208247" y="361266"/>
                  </a:lnTo>
                  <a:lnTo>
                    <a:pt x="206561" y="357975"/>
                  </a:lnTo>
                  <a:lnTo>
                    <a:pt x="182954" y="356329"/>
                  </a:lnTo>
                  <a:lnTo>
                    <a:pt x="166092" y="361266"/>
                  </a:lnTo>
                  <a:lnTo>
                    <a:pt x="159347" y="356329"/>
                  </a:lnTo>
                  <a:lnTo>
                    <a:pt x="154288" y="349745"/>
                  </a:lnTo>
                  <a:lnTo>
                    <a:pt x="155974" y="328349"/>
                  </a:lnTo>
                  <a:lnTo>
                    <a:pt x="154288" y="300370"/>
                  </a:lnTo>
                  <a:lnTo>
                    <a:pt x="147543" y="287203"/>
                  </a:lnTo>
                  <a:lnTo>
                    <a:pt x="134053" y="274036"/>
                  </a:lnTo>
                  <a:lnTo>
                    <a:pt x="113819" y="265806"/>
                  </a:lnTo>
                  <a:lnTo>
                    <a:pt x="103701" y="257577"/>
                  </a:lnTo>
                  <a:lnTo>
                    <a:pt x="80094" y="218076"/>
                  </a:lnTo>
                  <a:lnTo>
                    <a:pt x="63232" y="204909"/>
                  </a:lnTo>
                  <a:lnTo>
                    <a:pt x="36252" y="193388"/>
                  </a:lnTo>
                  <a:lnTo>
                    <a:pt x="24449" y="181867"/>
                  </a:lnTo>
                  <a:lnTo>
                    <a:pt x="21076" y="171992"/>
                  </a:lnTo>
                  <a:lnTo>
                    <a:pt x="24449" y="160471"/>
                  </a:lnTo>
                  <a:lnTo>
                    <a:pt x="34566" y="153888"/>
                  </a:lnTo>
                  <a:lnTo>
                    <a:pt x="36252" y="155534"/>
                  </a:lnTo>
                  <a:lnTo>
                    <a:pt x="44684" y="153888"/>
                  </a:lnTo>
                  <a:lnTo>
                    <a:pt x="44684" y="127554"/>
                  </a:lnTo>
                  <a:lnTo>
                    <a:pt x="9273" y="111095"/>
                  </a:lnTo>
                  <a:lnTo>
                    <a:pt x="4214" y="97928"/>
                  </a:lnTo>
                  <a:lnTo>
                    <a:pt x="93584" y="56782"/>
                  </a:lnTo>
                  <a:lnTo>
                    <a:pt x="103701" y="78178"/>
                  </a:lnTo>
                  <a:lnTo>
                    <a:pt x="108760" y="74886"/>
                  </a:lnTo>
                  <a:lnTo>
                    <a:pt x="112132" y="81470"/>
                  </a:lnTo>
                  <a:lnTo>
                    <a:pt x="110446" y="83116"/>
                  </a:lnTo>
                  <a:lnTo>
                    <a:pt x="132367" y="92991"/>
                  </a:lnTo>
                  <a:lnTo>
                    <a:pt x="145857" y="76532"/>
                  </a:lnTo>
                  <a:lnTo>
                    <a:pt x="154288" y="55136"/>
                  </a:lnTo>
                  <a:lnTo>
                    <a:pt x="161033" y="55136"/>
                  </a:lnTo>
                  <a:lnTo>
                    <a:pt x="164405" y="55136"/>
                  </a:lnTo>
                  <a:lnTo>
                    <a:pt x="164405" y="69949"/>
                  </a:lnTo>
                  <a:lnTo>
                    <a:pt x="171150" y="71595"/>
                  </a:lnTo>
                  <a:lnTo>
                    <a:pt x="176209" y="79824"/>
                  </a:lnTo>
                  <a:lnTo>
                    <a:pt x="191385" y="81470"/>
                  </a:lnTo>
                  <a:lnTo>
                    <a:pt x="209934" y="91345"/>
                  </a:lnTo>
                  <a:lnTo>
                    <a:pt x="248716" y="60074"/>
                  </a:lnTo>
                  <a:lnTo>
                    <a:pt x="236913" y="35386"/>
                  </a:lnTo>
                  <a:lnTo>
                    <a:pt x="235227" y="22219"/>
                  </a:lnTo>
                  <a:lnTo>
                    <a:pt x="231854" y="17281"/>
                  </a:lnTo>
                  <a:lnTo>
                    <a:pt x="220051" y="15635"/>
                  </a:lnTo>
                  <a:lnTo>
                    <a:pt x="220051" y="12343"/>
                  </a:lnTo>
                  <a:lnTo>
                    <a:pt x="268951" y="4114"/>
                  </a:lnTo>
                  <a:lnTo>
                    <a:pt x="290872" y="1398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2" name="Moerdijk">
              <a:extLst>
                <a:ext uri="{FF2B5EF4-FFF2-40B4-BE49-F238E27FC236}">
                  <a16:creationId xmlns:a16="http://schemas.microsoft.com/office/drawing/2014/main" id="{050A48BB-6D5E-4BC9-B383-E1AA00A8CBFA}"/>
                </a:ext>
              </a:extLst>
            </p:cNvPr>
            <p:cNvSpPr/>
            <p:nvPr/>
          </p:nvSpPr>
          <p:spPr>
            <a:xfrm>
              <a:off x="5142846" y="4130379"/>
              <a:ext cx="389900" cy="193322"/>
            </a:xfrm>
            <a:custGeom>
              <a:avLst/>
              <a:gdLst/>
              <a:ahLst/>
              <a:cxnLst/>
              <a:rect l="l" t="t" r="r" b="b"/>
              <a:pathLst>
                <a:path w="526867" h="274320" extrusionOk="0">
                  <a:moveTo>
                    <a:pt x="22763" y="96282"/>
                  </a:moveTo>
                  <a:lnTo>
                    <a:pt x="24449" y="99574"/>
                  </a:lnTo>
                  <a:lnTo>
                    <a:pt x="22763" y="97928"/>
                  </a:lnTo>
                  <a:lnTo>
                    <a:pt x="22763" y="96282"/>
                  </a:lnTo>
                  <a:close/>
                  <a:moveTo>
                    <a:pt x="27821" y="91345"/>
                  </a:moveTo>
                  <a:lnTo>
                    <a:pt x="24449" y="92991"/>
                  </a:lnTo>
                  <a:lnTo>
                    <a:pt x="21076" y="97928"/>
                  </a:lnTo>
                  <a:lnTo>
                    <a:pt x="24449" y="102866"/>
                  </a:lnTo>
                  <a:lnTo>
                    <a:pt x="24449" y="94637"/>
                  </a:lnTo>
                  <a:lnTo>
                    <a:pt x="27821" y="94637"/>
                  </a:lnTo>
                  <a:lnTo>
                    <a:pt x="26135" y="92991"/>
                  </a:lnTo>
                  <a:lnTo>
                    <a:pt x="27821" y="92991"/>
                  </a:lnTo>
                  <a:lnTo>
                    <a:pt x="19390" y="111095"/>
                  </a:lnTo>
                  <a:lnTo>
                    <a:pt x="24449" y="102866"/>
                  </a:lnTo>
                  <a:lnTo>
                    <a:pt x="21076" y="96282"/>
                  </a:lnTo>
                  <a:lnTo>
                    <a:pt x="24449" y="92991"/>
                  </a:lnTo>
                  <a:lnTo>
                    <a:pt x="27821" y="91345"/>
                  </a:lnTo>
                  <a:close/>
                  <a:moveTo>
                    <a:pt x="69977" y="68303"/>
                  </a:moveTo>
                  <a:lnTo>
                    <a:pt x="63232" y="73240"/>
                  </a:lnTo>
                  <a:lnTo>
                    <a:pt x="69977" y="66657"/>
                  </a:lnTo>
                  <a:lnTo>
                    <a:pt x="69977" y="68303"/>
                  </a:lnTo>
                  <a:close/>
                  <a:moveTo>
                    <a:pt x="69977" y="66657"/>
                  </a:moveTo>
                  <a:lnTo>
                    <a:pt x="59860" y="73240"/>
                  </a:lnTo>
                  <a:lnTo>
                    <a:pt x="68291" y="65011"/>
                  </a:lnTo>
                  <a:lnTo>
                    <a:pt x="69977" y="66657"/>
                  </a:lnTo>
                  <a:close/>
                  <a:moveTo>
                    <a:pt x="58173" y="58427"/>
                  </a:moveTo>
                  <a:lnTo>
                    <a:pt x="53115" y="65011"/>
                  </a:lnTo>
                  <a:lnTo>
                    <a:pt x="44684" y="69949"/>
                  </a:lnTo>
                  <a:lnTo>
                    <a:pt x="39625" y="68303"/>
                  </a:lnTo>
                  <a:lnTo>
                    <a:pt x="51428" y="65011"/>
                  </a:lnTo>
                  <a:lnTo>
                    <a:pt x="63232" y="53490"/>
                  </a:lnTo>
                  <a:lnTo>
                    <a:pt x="63232" y="50198"/>
                  </a:lnTo>
                  <a:lnTo>
                    <a:pt x="58173" y="58427"/>
                  </a:lnTo>
                  <a:close/>
                  <a:moveTo>
                    <a:pt x="58173" y="50198"/>
                  </a:moveTo>
                  <a:lnTo>
                    <a:pt x="53115" y="55136"/>
                  </a:lnTo>
                  <a:lnTo>
                    <a:pt x="54801" y="58427"/>
                  </a:lnTo>
                  <a:lnTo>
                    <a:pt x="51428" y="61719"/>
                  </a:lnTo>
                  <a:lnTo>
                    <a:pt x="48056" y="60074"/>
                  </a:lnTo>
                  <a:lnTo>
                    <a:pt x="41311" y="65011"/>
                  </a:lnTo>
                  <a:lnTo>
                    <a:pt x="42997" y="61719"/>
                  </a:lnTo>
                  <a:lnTo>
                    <a:pt x="58173" y="50198"/>
                  </a:lnTo>
                  <a:close/>
                  <a:moveTo>
                    <a:pt x="88525" y="46906"/>
                  </a:moveTo>
                  <a:lnTo>
                    <a:pt x="36252" y="91345"/>
                  </a:lnTo>
                  <a:lnTo>
                    <a:pt x="39625" y="84761"/>
                  </a:lnTo>
                  <a:lnTo>
                    <a:pt x="54801" y="73240"/>
                  </a:lnTo>
                  <a:lnTo>
                    <a:pt x="58173" y="65011"/>
                  </a:lnTo>
                  <a:lnTo>
                    <a:pt x="71663" y="58427"/>
                  </a:lnTo>
                  <a:lnTo>
                    <a:pt x="86839" y="46906"/>
                  </a:lnTo>
                  <a:lnTo>
                    <a:pt x="96957" y="45261"/>
                  </a:lnTo>
                  <a:lnTo>
                    <a:pt x="88525" y="46906"/>
                  </a:lnTo>
                  <a:close/>
                  <a:moveTo>
                    <a:pt x="353263" y="46906"/>
                  </a:moveTo>
                  <a:lnTo>
                    <a:pt x="289186" y="66657"/>
                  </a:lnTo>
                  <a:lnTo>
                    <a:pt x="275696" y="65011"/>
                  </a:lnTo>
                  <a:lnTo>
                    <a:pt x="275696" y="68303"/>
                  </a:lnTo>
                  <a:lnTo>
                    <a:pt x="272324" y="66657"/>
                  </a:lnTo>
                  <a:lnTo>
                    <a:pt x="274010" y="60074"/>
                  </a:lnTo>
                  <a:lnTo>
                    <a:pt x="317852" y="50198"/>
                  </a:lnTo>
                  <a:lnTo>
                    <a:pt x="327969" y="50198"/>
                  </a:lnTo>
                  <a:lnTo>
                    <a:pt x="341459" y="45261"/>
                  </a:lnTo>
                  <a:lnTo>
                    <a:pt x="360008" y="41969"/>
                  </a:lnTo>
                  <a:lnTo>
                    <a:pt x="353263" y="46906"/>
                  </a:lnTo>
                  <a:close/>
                  <a:moveTo>
                    <a:pt x="434201" y="17281"/>
                  </a:moveTo>
                  <a:lnTo>
                    <a:pt x="437574" y="27156"/>
                  </a:lnTo>
                  <a:lnTo>
                    <a:pt x="446005" y="33740"/>
                  </a:lnTo>
                  <a:lnTo>
                    <a:pt x="451064" y="58427"/>
                  </a:lnTo>
                  <a:lnTo>
                    <a:pt x="462867" y="83116"/>
                  </a:lnTo>
                  <a:lnTo>
                    <a:pt x="471298" y="78178"/>
                  </a:lnTo>
                  <a:lnTo>
                    <a:pt x="481416" y="84761"/>
                  </a:lnTo>
                  <a:lnTo>
                    <a:pt x="484788" y="79824"/>
                  </a:lnTo>
                  <a:lnTo>
                    <a:pt x="501650" y="96282"/>
                  </a:lnTo>
                  <a:lnTo>
                    <a:pt x="508395" y="81470"/>
                  </a:lnTo>
                  <a:lnTo>
                    <a:pt x="520199" y="97928"/>
                  </a:lnTo>
                  <a:lnTo>
                    <a:pt x="516826" y="99574"/>
                  </a:lnTo>
                  <a:lnTo>
                    <a:pt x="520199" y="109449"/>
                  </a:lnTo>
                  <a:lnTo>
                    <a:pt x="523571" y="107803"/>
                  </a:lnTo>
                  <a:lnTo>
                    <a:pt x="528630" y="116033"/>
                  </a:lnTo>
                  <a:lnTo>
                    <a:pt x="489847" y="132491"/>
                  </a:lnTo>
                  <a:lnTo>
                    <a:pt x="505023" y="152242"/>
                  </a:lnTo>
                  <a:lnTo>
                    <a:pt x="506709" y="160471"/>
                  </a:lnTo>
                  <a:lnTo>
                    <a:pt x="494905" y="167055"/>
                  </a:lnTo>
                  <a:lnTo>
                    <a:pt x="499964" y="178575"/>
                  </a:lnTo>
                  <a:lnTo>
                    <a:pt x="506709" y="178575"/>
                  </a:lnTo>
                  <a:lnTo>
                    <a:pt x="505023" y="188451"/>
                  </a:lnTo>
                  <a:lnTo>
                    <a:pt x="510081" y="201618"/>
                  </a:lnTo>
                  <a:lnTo>
                    <a:pt x="498278" y="203264"/>
                  </a:lnTo>
                  <a:lnTo>
                    <a:pt x="481416" y="213139"/>
                  </a:lnTo>
                  <a:lnTo>
                    <a:pt x="471298" y="214785"/>
                  </a:lnTo>
                  <a:lnTo>
                    <a:pt x="452750" y="208201"/>
                  </a:lnTo>
                  <a:lnTo>
                    <a:pt x="430829" y="213139"/>
                  </a:lnTo>
                  <a:lnTo>
                    <a:pt x="417339" y="219722"/>
                  </a:lnTo>
                  <a:lnTo>
                    <a:pt x="410594" y="231243"/>
                  </a:lnTo>
                  <a:lnTo>
                    <a:pt x="400477" y="234535"/>
                  </a:lnTo>
                  <a:lnTo>
                    <a:pt x="376870" y="223014"/>
                  </a:lnTo>
                  <a:lnTo>
                    <a:pt x="370125" y="223014"/>
                  </a:lnTo>
                  <a:lnTo>
                    <a:pt x="349890" y="232889"/>
                  </a:lnTo>
                  <a:lnTo>
                    <a:pt x="321224" y="218076"/>
                  </a:lnTo>
                  <a:lnTo>
                    <a:pt x="302676" y="219722"/>
                  </a:lnTo>
                  <a:lnTo>
                    <a:pt x="292559" y="224660"/>
                  </a:lnTo>
                  <a:lnTo>
                    <a:pt x="285814" y="236181"/>
                  </a:lnTo>
                  <a:lnTo>
                    <a:pt x="277383" y="244410"/>
                  </a:lnTo>
                  <a:lnTo>
                    <a:pt x="270638" y="247702"/>
                  </a:lnTo>
                  <a:lnTo>
                    <a:pt x="252089" y="250994"/>
                  </a:lnTo>
                  <a:lnTo>
                    <a:pt x="231854" y="270744"/>
                  </a:lnTo>
                  <a:lnTo>
                    <a:pt x="218365" y="274036"/>
                  </a:lnTo>
                  <a:lnTo>
                    <a:pt x="204875" y="267452"/>
                  </a:lnTo>
                  <a:lnTo>
                    <a:pt x="191385" y="246056"/>
                  </a:lnTo>
                  <a:lnTo>
                    <a:pt x="182954" y="241118"/>
                  </a:lnTo>
                  <a:lnTo>
                    <a:pt x="172837" y="241118"/>
                  </a:lnTo>
                  <a:lnTo>
                    <a:pt x="159347" y="250994"/>
                  </a:lnTo>
                  <a:lnTo>
                    <a:pt x="144171" y="254285"/>
                  </a:lnTo>
                  <a:lnTo>
                    <a:pt x="120564" y="252639"/>
                  </a:lnTo>
                  <a:lnTo>
                    <a:pt x="112133" y="249348"/>
                  </a:lnTo>
                  <a:lnTo>
                    <a:pt x="95270" y="234535"/>
                  </a:lnTo>
                  <a:lnTo>
                    <a:pt x="86839" y="214785"/>
                  </a:lnTo>
                  <a:lnTo>
                    <a:pt x="69977" y="213139"/>
                  </a:lnTo>
                  <a:lnTo>
                    <a:pt x="64918" y="208201"/>
                  </a:lnTo>
                  <a:lnTo>
                    <a:pt x="49742" y="193388"/>
                  </a:lnTo>
                  <a:lnTo>
                    <a:pt x="44684" y="181867"/>
                  </a:lnTo>
                  <a:lnTo>
                    <a:pt x="31194" y="176930"/>
                  </a:lnTo>
                  <a:lnTo>
                    <a:pt x="21076" y="165409"/>
                  </a:lnTo>
                  <a:lnTo>
                    <a:pt x="14331" y="162117"/>
                  </a:lnTo>
                  <a:lnTo>
                    <a:pt x="12645" y="157179"/>
                  </a:lnTo>
                  <a:lnTo>
                    <a:pt x="17704" y="158825"/>
                  </a:lnTo>
                  <a:lnTo>
                    <a:pt x="9273" y="150596"/>
                  </a:lnTo>
                  <a:lnTo>
                    <a:pt x="16018" y="144013"/>
                  </a:lnTo>
                  <a:lnTo>
                    <a:pt x="12645" y="140721"/>
                  </a:lnTo>
                  <a:lnTo>
                    <a:pt x="4214" y="144013"/>
                  </a:lnTo>
                  <a:lnTo>
                    <a:pt x="17704" y="139075"/>
                  </a:lnTo>
                  <a:lnTo>
                    <a:pt x="21076" y="135783"/>
                  </a:lnTo>
                  <a:lnTo>
                    <a:pt x="19390" y="134137"/>
                  </a:lnTo>
                  <a:lnTo>
                    <a:pt x="21076" y="135783"/>
                  </a:lnTo>
                  <a:lnTo>
                    <a:pt x="29508" y="122616"/>
                  </a:lnTo>
                  <a:lnTo>
                    <a:pt x="32880" y="120971"/>
                  </a:lnTo>
                  <a:lnTo>
                    <a:pt x="41311" y="99574"/>
                  </a:lnTo>
                  <a:lnTo>
                    <a:pt x="39625" y="94637"/>
                  </a:lnTo>
                  <a:lnTo>
                    <a:pt x="56487" y="83116"/>
                  </a:lnTo>
                  <a:lnTo>
                    <a:pt x="71663" y="68303"/>
                  </a:lnTo>
                  <a:lnTo>
                    <a:pt x="91898" y="53490"/>
                  </a:lnTo>
                  <a:lnTo>
                    <a:pt x="100329" y="55136"/>
                  </a:lnTo>
                  <a:lnTo>
                    <a:pt x="108760" y="53490"/>
                  </a:lnTo>
                  <a:lnTo>
                    <a:pt x="105388" y="55136"/>
                  </a:lnTo>
                  <a:lnTo>
                    <a:pt x="108760" y="56782"/>
                  </a:lnTo>
                  <a:lnTo>
                    <a:pt x="112133" y="55136"/>
                  </a:lnTo>
                  <a:lnTo>
                    <a:pt x="118877" y="56782"/>
                  </a:lnTo>
                  <a:lnTo>
                    <a:pt x="113819" y="60074"/>
                  </a:lnTo>
                  <a:lnTo>
                    <a:pt x="115505" y="61719"/>
                  </a:lnTo>
                  <a:lnTo>
                    <a:pt x="115505" y="58427"/>
                  </a:lnTo>
                  <a:lnTo>
                    <a:pt x="118877" y="60074"/>
                  </a:lnTo>
                  <a:lnTo>
                    <a:pt x="117191" y="69949"/>
                  </a:lnTo>
                  <a:lnTo>
                    <a:pt x="120564" y="66657"/>
                  </a:lnTo>
                  <a:lnTo>
                    <a:pt x="117191" y="65011"/>
                  </a:lnTo>
                  <a:lnTo>
                    <a:pt x="118877" y="60074"/>
                  </a:lnTo>
                  <a:lnTo>
                    <a:pt x="117191" y="58427"/>
                  </a:lnTo>
                  <a:lnTo>
                    <a:pt x="118877" y="56782"/>
                  </a:lnTo>
                  <a:lnTo>
                    <a:pt x="130681" y="66657"/>
                  </a:lnTo>
                  <a:lnTo>
                    <a:pt x="149229" y="74886"/>
                  </a:lnTo>
                  <a:lnTo>
                    <a:pt x="149229" y="76532"/>
                  </a:lnTo>
                  <a:lnTo>
                    <a:pt x="193071" y="88053"/>
                  </a:lnTo>
                  <a:lnTo>
                    <a:pt x="193071" y="97928"/>
                  </a:lnTo>
                  <a:lnTo>
                    <a:pt x="194758" y="88053"/>
                  </a:lnTo>
                  <a:lnTo>
                    <a:pt x="209934" y="91345"/>
                  </a:lnTo>
                  <a:lnTo>
                    <a:pt x="236913" y="88053"/>
                  </a:lnTo>
                  <a:lnTo>
                    <a:pt x="245344" y="84761"/>
                  </a:lnTo>
                  <a:lnTo>
                    <a:pt x="245344" y="79824"/>
                  </a:lnTo>
                  <a:lnTo>
                    <a:pt x="247031" y="89699"/>
                  </a:lnTo>
                  <a:lnTo>
                    <a:pt x="245344" y="96282"/>
                  </a:lnTo>
                  <a:lnTo>
                    <a:pt x="247031" y="84761"/>
                  </a:lnTo>
                  <a:lnTo>
                    <a:pt x="252089" y="84761"/>
                  </a:lnTo>
                  <a:lnTo>
                    <a:pt x="248717" y="84761"/>
                  </a:lnTo>
                  <a:lnTo>
                    <a:pt x="252089" y="83116"/>
                  </a:lnTo>
                  <a:lnTo>
                    <a:pt x="247031" y="81470"/>
                  </a:lnTo>
                  <a:lnTo>
                    <a:pt x="247031" y="84761"/>
                  </a:lnTo>
                  <a:lnTo>
                    <a:pt x="247031" y="79824"/>
                  </a:lnTo>
                  <a:lnTo>
                    <a:pt x="255462" y="83116"/>
                  </a:lnTo>
                  <a:lnTo>
                    <a:pt x="258834" y="86407"/>
                  </a:lnTo>
                  <a:lnTo>
                    <a:pt x="262207" y="84761"/>
                  </a:lnTo>
                  <a:lnTo>
                    <a:pt x="263893" y="79824"/>
                  </a:lnTo>
                  <a:lnTo>
                    <a:pt x="280755" y="76532"/>
                  </a:lnTo>
                  <a:lnTo>
                    <a:pt x="282441" y="78178"/>
                  </a:lnTo>
                  <a:lnTo>
                    <a:pt x="282441" y="76532"/>
                  </a:lnTo>
                  <a:lnTo>
                    <a:pt x="294245" y="73240"/>
                  </a:lnTo>
                  <a:lnTo>
                    <a:pt x="297617" y="74886"/>
                  </a:lnTo>
                  <a:lnTo>
                    <a:pt x="295931" y="73240"/>
                  </a:lnTo>
                  <a:lnTo>
                    <a:pt x="300990" y="71595"/>
                  </a:lnTo>
                  <a:lnTo>
                    <a:pt x="299303" y="69949"/>
                  </a:lnTo>
                  <a:lnTo>
                    <a:pt x="302676" y="68303"/>
                  </a:lnTo>
                  <a:lnTo>
                    <a:pt x="302676" y="71595"/>
                  </a:lnTo>
                  <a:lnTo>
                    <a:pt x="304362" y="69949"/>
                  </a:lnTo>
                  <a:lnTo>
                    <a:pt x="314479" y="68303"/>
                  </a:lnTo>
                  <a:lnTo>
                    <a:pt x="314479" y="69949"/>
                  </a:lnTo>
                  <a:lnTo>
                    <a:pt x="361694" y="56782"/>
                  </a:lnTo>
                  <a:lnTo>
                    <a:pt x="383615" y="43615"/>
                  </a:lnTo>
                  <a:lnTo>
                    <a:pt x="388673" y="35385"/>
                  </a:lnTo>
                  <a:lnTo>
                    <a:pt x="395418" y="40323"/>
                  </a:lnTo>
                  <a:lnTo>
                    <a:pt x="388673" y="35385"/>
                  </a:lnTo>
                  <a:lnTo>
                    <a:pt x="400477" y="30448"/>
                  </a:lnTo>
                  <a:lnTo>
                    <a:pt x="400477" y="27156"/>
                  </a:lnTo>
                  <a:lnTo>
                    <a:pt x="400477" y="28802"/>
                  </a:lnTo>
                  <a:lnTo>
                    <a:pt x="407222" y="25510"/>
                  </a:lnTo>
                  <a:lnTo>
                    <a:pt x="405536" y="23864"/>
                  </a:lnTo>
                  <a:lnTo>
                    <a:pt x="410594" y="23864"/>
                  </a:lnTo>
                  <a:lnTo>
                    <a:pt x="420712" y="18927"/>
                  </a:lnTo>
                  <a:lnTo>
                    <a:pt x="432515" y="18927"/>
                  </a:lnTo>
                  <a:lnTo>
                    <a:pt x="427457" y="5760"/>
                  </a:lnTo>
                  <a:lnTo>
                    <a:pt x="429143" y="4114"/>
                  </a:lnTo>
                  <a:lnTo>
                    <a:pt x="434201" y="1728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3" name="Landsmeer">
              <a:extLst>
                <a:ext uri="{FF2B5EF4-FFF2-40B4-BE49-F238E27FC236}">
                  <a16:creationId xmlns:a16="http://schemas.microsoft.com/office/drawing/2014/main" id="{539DDBA2-E7F7-47E0-B8BD-69833E1FFCB2}"/>
                </a:ext>
              </a:extLst>
            </p:cNvPr>
            <p:cNvSpPr/>
            <p:nvPr/>
          </p:nvSpPr>
          <p:spPr>
            <a:xfrm>
              <a:off x="5723045" y="2879132"/>
              <a:ext cx="65863" cy="123253"/>
            </a:xfrm>
            <a:custGeom>
              <a:avLst/>
              <a:gdLst/>
              <a:ahLst/>
              <a:cxnLst/>
              <a:rect l="l" t="t" r="r" b="b"/>
              <a:pathLst>
                <a:path w="93665" h="194310" extrusionOk="0">
                  <a:moveTo>
                    <a:pt x="46370" y="4114"/>
                  </a:moveTo>
                  <a:lnTo>
                    <a:pt x="59859" y="7406"/>
                  </a:lnTo>
                  <a:lnTo>
                    <a:pt x="59859" y="10697"/>
                  </a:lnTo>
                  <a:lnTo>
                    <a:pt x="76722" y="15635"/>
                  </a:lnTo>
                  <a:lnTo>
                    <a:pt x="80094" y="10697"/>
                  </a:lnTo>
                  <a:lnTo>
                    <a:pt x="88525" y="13989"/>
                  </a:lnTo>
                  <a:lnTo>
                    <a:pt x="85153" y="56782"/>
                  </a:lnTo>
                  <a:lnTo>
                    <a:pt x="90212" y="81470"/>
                  </a:lnTo>
                  <a:lnTo>
                    <a:pt x="86839" y="96282"/>
                  </a:lnTo>
                  <a:lnTo>
                    <a:pt x="90212" y="132491"/>
                  </a:lnTo>
                  <a:lnTo>
                    <a:pt x="90212" y="165408"/>
                  </a:lnTo>
                  <a:lnTo>
                    <a:pt x="85153" y="170346"/>
                  </a:lnTo>
                  <a:lnTo>
                    <a:pt x="80094" y="188451"/>
                  </a:lnTo>
                  <a:lnTo>
                    <a:pt x="59859" y="195034"/>
                  </a:lnTo>
                  <a:lnTo>
                    <a:pt x="36253" y="176930"/>
                  </a:lnTo>
                  <a:lnTo>
                    <a:pt x="10959" y="162117"/>
                  </a:lnTo>
                  <a:lnTo>
                    <a:pt x="12645" y="142366"/>
                  </a:lnTo>
                  <a:lnTo>
                    <a:pt x="5900" y="132491"/>
                  </a:lnTo>
                  <a:lnTo>
                    <a:pt x="9273" y="125908"/>
                  </a:lnTo>
                  <a:lnTo>
                    <a:pt x="7587" y="111095"/>
                  </a:lnTo>
                  <a:lnTo>
                    <a:pt x="4214" y="84761"/>
                  </a:lnTo>
                  <a:lnTo>
                    <a:pt x="19390" y="45261"/>
                  </a:lnTo>
                  <a:lnTo>
                    <a:pt x="26135" y="22218"/>
                  </a:lnTo>
                  <a:lnTo>
                    <a:pt x="37939" y="13989"/>
                  </a:lnTo>
                  <a:lnTo>
                    <a:pt x="46370"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4" name="Ooststellingwerf">
              <a:extLst>
                <a:ext uri="{FF2B5EF4-FFF2-40B4-BE49-F238E27FC236}">
                  <a16:creationId xmlns:a16="http://schemas.microsoft.com/office/drawing/2014/main" id="{9DB70CA9-5026-455D-9CF5-2DFA0BD9E879}"/>
                </a:ext>
              </a:extLst>
            </p:cNvPr>
            <p:cNvSpPr/>
            <p:nvPr/>
          </p:nvSpPr>
          <p:spPr>
            <a:xfrm>
              <a:off x="6961155" y="1915629"/>
              <a:ext cx="344152" cy="280242"/>
            </a:xfrm>
            <a:custGeom>
              <a:avLst/>
              <a:gdLst/>
              <a:ahLst/>
              <a:cxnLst/>
              <a:rect l="l" t="t" r="r" b="b"/>
              <a:pathLst>
                <a:path w="515159" h="411480" extrusionOk="0">
                  <a:moveTo>
                    <a:pt x="419026" y="60073"/>
                  </a:moveTo>
                  <a:lnTo>
                    <a:pt x="415653" y="102866"/>
                  </a:lnTo>
                  <a:lnTo>
                    <a:pt x="515140" y="250994"/>
                  </a:lnTo>
                  <a:lnTo>
                    <a:pt x="464553" y="346454"/>
                  </a:lnTo>
                  <a:lnTo>
                    <a:pt x="376870" y="410642"/>
                  </a:lnTo>
                  <a:lnTo>
                    <a:pt x="329655" y="367850"/>
                  </a:lnTo>
                  <a:lnTo>
                    <a:pt x="260520" y="361266"/>
                  </a:lnTo>
                  <a:lnTo>
                    <a:pt x="247030" y="372787"/>
                  </a:lnTo>
                  <a:lnTo>
                    <a:pt x="196444" y="366204"/>
                  </a:lnTo>
                  <a:lnTo>
                    <a:pt x="189699" y="348099"/>
                  </a:lnTo>
                  <a:lnTo>
                    <a:pt x="177895" y="334932"/>
                  </a:lnTo>
                  <a:lnTo>
                    <a:pt x="179582" y="328349"/>
                  </a:lnTo>
                  <a:lnTo>
                    <a:pt x="176209" y="325057"/>
                  </a:lnTo>
                  <a:lnTo>
                    <a:pt x="112132" y="356329"/>
                  </a:lnTo>
                  <a:lnTo>
                    <a:pt x="93584" y="361266"/>
                  </a:lnTo>
                  <a:lnTo>
                    <a:pt x="85153" y="372787"/>
                  </a:lnTo>
                  <a:lnTo>
                    <a:pt x="63232" y="387600"/>
                  </a:lnTo>
                  <a:lnTo>
                    <a:pt x="53115" y="390892"/>
                  </a:lnTo>
                  <a:lnTo>
                    <a:pt x="42997" y="399121"/>
                  </a:lnTo>
                  <a:lnTo>
                    <a:pt x="5900" y="343162"/>
                  </a:lnTo>
                  <a:lnTo>
                    <a:pt x="4214" y="343162"/>
                  </a:lnTo>
                  <a:lnTo>
                    <a:pt x="16018" y="329995"/>
                  </a:lnTo>
                  <a:lnTo>
                    <a:pt x="44684" y="308599"/>
                  </a:lnTo>
                  <a:lnTo>
                    <a:pt x="66604" y="302015"/>
                  </a:lnTo>
                  <a:lnTo>
                    <a:pt x="91898" y="264160"/>
                  </a:lnTo>
                  <a:lnTo>
                    <a:pt x="110446" y="247702"/>
                  </a:lnTo>
                  <a:lnTo>
                    <a:pt x="176209" y="214785"/>
                  </a:lnTo>
                  <a:lnTo>
                    <a:pt x="177895" y="211493"/>
                  </a:lnTo>
                  <a:lnTo>
                    <a:pt x="181268" y="96282"/>
                  </a:lnTo>
                  <a:lnTo>
                    <a:pt x="193071" y="99574"/>
                  </a:lnTo>
                  <a:lnTo>
                    <a:pt x="196444" y="94636"/>
                  </a:lnTo>
                  <a:lnTo>
                    <a:pt x="206561" y="92991"/>
                  </a:lnTo>
                  <a:lnTo>
                    <a:pt x="292559" y="45261"/>
                  </a:lnTo>
                  <a:lnTo>
                    <a:pt x="294245" y="32094"/>
                  </a:lnTo>
                  <a:lnTo>
                    <a:pt x="368439" y="4114"/>
                  </a:lnTo>
                  <a:lnTo>
                    <a:pt x="422398" y="22219"/>
                  </a:lnTo>
                  <a:lnTo>
                    <a:pt x="419026" y="6007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5" name="Alblasserdam">
              <a:extLst>
                <a:ext uri="{FF2B5EF4-FFF2-40B4-BE49-F238E27FC236}">
                  <a16:creationId xmlns:a16="http://schemas.microsoft.com/office/drawing/2014/main" id="{2E9367C6-276A-488C-8AB3-48EB9010B454}"/>
                </a:ext>
              </a:extLst>
            </p:cNvPr>
            <p:cNvSpPr/>
            <p:nvPr/>
          </p:nvSpPr>
          <p:spPr>
            <a:xfrm>
              <a:off x="5427967" y="3870831"/>
              <a:ext cx="85664" cy="75667"/>
            </a:xfrm>
            <a:custGeom>
              <a:avLst/>
              <a:gdLst/>
              <a:ahLst/>
              <a:cxnLst/>
              <a:rect l="l" t="t" r="r" b="b"/>
              <a:pathLst>
                <a:path w="117081" h="102870" extrusionOk="0">
                  <a:moveTo>
                    <a:pt x="7587" y="4114"/>
                  </a:moveTo>
                  <a:lnTo>
                    <a:pt x="19390" y="17281"/>
                  </a:lnTo>
                  <a:lnTo>
                    <a:pt x="27821" y="7406"/>
                  </a:lnTo>
                  <a:lnTo>
                    <a:pt x="61546" y="20573"/>
                  </a:lnTo>
                  <a:lnTo>
                    <a:pt x="80094" y="20573"/>
                  </a:lnTo>
                  <a:lnTo>
                    <a:pt x="96956" y="12343"/>
                  </a:lnTo>
                  <a:lnTo>
                    <a:pt x="117191" y="9052"/>
                  </a:lnTo>
                  <a:lnTo>
                    <a:pt x="102015" y="40323"/>
                  </a:lnTo>
                  <a:lnTo>
                    <a:pt x="95270" y="41969"/>
                  </a:lnTo>
                  <a:lnTo>
                    <a:pt x="86839" y="56782"/>
                  </a:lnTo>
                  <a:lnTo>
                    <a:pt x="90212" y="84761"/>
                  </a:lnTo>
                  <a:lnTo>
                    <a:pt x="86839" y="84761"/>
                  </a:lnTo>
                  <a:lnTo>
                    <a:pt x="85153" y="94637"/>
                  </a:lnTo>
                  <a:lnTo>
                    <a:pt x="73349" y="107803"/>
                  </a:lnTo>
                  <a:lnTo>
                    <a:pt x="37939" y="51844"/>
                  </a:lnTo>
                  <a:lnTo>
                    <a:pt x="16018" y="30448"/>
                  </a:lnTo>
                  <a:lnTo>
                    <a:pt x="4214" y="5760"/>
                  </a:lnTo>
                  <a:lnTo>
                    <a:pt x="7587"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6" name="Brummen">
              <a:extLst>
                <a:ext uri="{FF2B5EF4-FFF2-40B4-BE49-F238E27FC236}">
                  <a16:creationId xmlns:a16="http://schemas.microsoft.com/office/drawing/2014/main" id="{0DC70EA8-2EAC-499E-8A18-638A39D6D865}"/>
                </a:ext>
              </a:extLst>
            </p:cNvPr>
            <p:cNvSpPr/>
            <p:nvPr/>
          </p:nvSpPr>
          <p:spPr>
            <a:xfrm>
              <a:off x="6885601" y="3406827"/>
              <a:ext cx="216235" cy="174392"/>
            </a:xfrm>
            <a:custGeom>
              <a:avLst/>
              <a:gdLst/>
              <a:ahLst/>
              <a:cxnLst/>
              <a:rect l="l" t="t" r="r" b="b"/>
              <a:pathLst>
                <a:path w="327828" h="251460" extrusionOk="0">
                  <a:moveTo>
                    <a:pt x="255462" y="4114"/>
                  </a:moveTo>
                  <a:lnTo>
                    <a:pt x="274010" y="4114"/>
                  </a:lnTo>
                  <a:lnTo>
                    <a:pt x="268951" y="25510"/>
                  </a:lnTo>
                  <a:lnTo>
                    <a:pt x="257148" y="25510"/>
                  </a:lnTo>
                  <a:lnTo>
                    <a:pt x="235227" y="13989"/>
                  </a:lnTo>
                  <a:lnTo>
                    <a:pt x="216678" y="12344"/>
                  </a:lnTo>
                  <a:lnTo>
                    <a:pt x="208247" y="22219"/>
                  </a:lnTo>
                  <a:lnTo>
                    <a:pt x="206561" y="38678"/>
                  </a:lnTo>
                  <a:lnTo>
                    <a:pt x="209934" y="41969"/>
                  </a:lnTo>
                  <a:lnTo>
                    <a:pt x="221737" y="46907"/>
                  </a:lnTo>
                  <a:lnTo>
                    <a:pt x="241972" y="40323"/>
                  </a:lnTo>
                  <a:lnTo>
                    <a:pt x="257148" y="43615"/>
                  </a:lnTo>
                  <a:lnTo>
                    <a:pt x="255462" y="48552"/>
                  </a:lnTo>
                  <a:lnTo>
                    <a:pt x="258834" y="51844"/>
                  </a:lnTo>
                  <a:lnTo>
                    <a:pt x="258834" y="56782"/>
                  </a:lnTo>
                  <a:lnTo>
                    <a:pt x="265579" y="60074"/>
                  </a:lnTo>
                  <a:lnTo>
                    <a:pt x="263893" y="63365"/>
                  </a:lnTo>
                  <a:lnTo>
                    <a:pt x="272324" y="69949"/>
                  </a:lnTo>
                  <a:lnTo>
                    <a:pt x="270638" y="89699"/>
                  </a:lnTo>
                  <a:lnTo>
                    <a:pt x="277382" y="92991"/>
                  </a:lnTo>
                  <a:lnTo>
                    <a:pt x="275696" y="104512"/>
                  </a:lnTo>
                  <a:lnTo>
                    <a:pt x="279069" y="112741"/>
                  </a:lnTo>
                  <a:lnTo>
                    <a:pt x="285814" y="117679"/>
                  </a:lnTo>
                  <a:lnTo>
                    <a:pt x="312793" y="120971"/>
                  </a:lnTo>
                  <a:lnTo>
                    <a:pt x="321224" y="130845"/>
                  </a:lnTo>
                  <a:lnTo>
                    <a:pt x="326283" y="153888"/>
                  </a:lnTo>
                  <a:lnTo>
                    <a:pt x="319538" y="167055"/>
                  </a:lnTo>
                  <a:lnTo>
                    <a:pt x="311107" y="170346"/>
                  </a:lnTo>
                  <a:lnTo>
                    <a:pt x="299303" y="167055"/>
                  </a:lnTo>
                  <a:lnTo>
                    <a:pt x="284128" y="173638"/>
                  </a:lnTo>
                  <a:lnTo>
                    <a:pt x="263893" y="175284"/>
                  </a:lnTo>
                  <a:lnTo>
                    <a:pt x="258834" y="180221"/>
                  </a:lnTo>
                  <a:lnTo>
                    <a:pt x="255462" y="199972"/>
                  </a:lnTo>
                  <a:lnTo>
                    <a:pt x="250403" y="209847"/>
                  </a:lnTo>
                  <a:lnTo>
                    <a:pt x="238599" y="218076"/>
                  </a:lnTo>
                  <a:lnTo>
                    <a:pt x="220051" y="237827"/>
                  </a:lnTo>
                  <a:lnTo>
                    <a:pt x="208247" y="246056"/>
                  </a:lnTo>
                  <a:lnTo>
                    <a:pt x="204875" y="250994"/>
                  </a:lnTo>
                  <a:lnTo>
                    <a:pt x="201503" y="250994"/>
                  </a:lnTo>
                  <a:lnTo>
                    <a:pt x="201503" y="244410"/>
                  </a:lnTo>
                  <a:lnTo>
                    <a:pt x="191385" y="242764"/>
                  </a:lnTo>
                  <a:lnTo>
                    <a:pt x="191385" y="239473"/>
                  </a:lnTo>
                  <a:lnTo>
                    <a:pt x="181268" y="242764"/>
                  </a:lnTo>
                  <a:lnTo>
                    <a:pt x="177895" y="232889"/>
                  </a:lnTo>
                  <a:lnTo>
                    <a:pt x="179582" y="229597"/>
                  </a:lnTo>
                  <a:lnTo>
                    <a:pt x="171151" y="229597"/>
                  </a:lnTo>
                  <a:lnTo>
                    <a:pt x="167778" y="221368"/>
                  </a:lnTo>
                  <a:lnTo>
                    <a:pt x="152602" y="206555"/>
                  </a:lnTo>
                  <a:lnTo>
                    <a:pt x="118878" y="196680"/>
                  </a:lnTo>
                  <a:lnTo>
                    <a:pt x="117191" y="193389"/>
                  </a:lnTo>
                  <a:lnTo>
                    <a:pt x="112133" y="193389"/>
                  </a:lnTo>
                  <a:lnTo>
                    <a:pt x="110446" y="183513"/>
                  </a:lnTo>
                  <a:lnTo>
                    <a:pt x="98643" y="181867"/>
                  </a:lnTo>
                  <a:lnTo>
                    <a:pt x="63232" y="203264"/>
                  </a:lnTo>
                  <a:lnTo>
                    <a:pt x="31194" y="232889"/>
                  </a:lnTo>
                  <a:lnTo>
                    <a:pt x="4214" y="236181"/>
                  </a:lnTo>
                  <a:lnTo>
                    <a:pt x="7587" y="218076"/>
                  </a:lnTo>
                  <a:lnTo>
                    <a:pt x="21076" y="195034"/>
                  </a:lnTo>
                  <a:lnTo>
                    <a:pt x="42997" y="165409"/>
                  </a:lnTo>
                  <a:lnTo>
                    <a:pt x="46370" y="165409"/>
                  </a:lnTo>
                  <a:lnTo>
                    <a:pt x="42997" y="150596"/>
                  </a:lnTo>
                  <a:lnTo>
                    <a:pt x="46370" y="147304"/>
                  </a:lnTo>
                  <a:lnTo>
                    <a:pt x="46370" y="140721"/>
                  </a:lnTo>
                  <a:lnTo>
                    <a:pt x="48056" y="132492"/>
                  </a:lnTo>
                  <a:lnTo>
                    <a:pt x="56487" y="124262"/>
                  </a:lnTo>
                  <a:lnTo>
                    <a:pt x="54801" y="119325"/>
                  </a:lnTo>
                  <a:lnTo>
                    <a:pt x="66605" y="107804"/>
                  </a:lnTo>
                  <a:lnTo>
                    <a:pt x="71663" y="96283"/>
                  </a:lnTo>
                  <a:lnTo>
                    <a:pt x="98643" y="78178"/>
                  </a:lnTo>
                  <a:lnTo>
                    <a:pt x="102015" y="69949"/>
                  </a:lnTo>
                  <a:lnTo>
                    <a:pt x="112133" y="60074"/>
                  </a:lnTo>
                  <a:lnTo>
                    <a:pt x="108760" y="48552"/>
                  </a:lnTo>
                  <a:lnTo>
                    <a:pt x="144171" y="32094"/>
                  </a:lnTo>
                  <a:lnTo>
                    <a:pt x="198130" y="13989"/>
                  </a:lnTo>
                  <a:lnTo>
                    <a:pt x="226796" y="9052"/>
                  </a:lnTo>
                  <a:lnTo>
                    <a:pt x="236913" y="4114"/>
                  </a:lnTo>
                  <a:lnTo>
                    <a:pt x="255462"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7" name="Den Bosch">
              <a:extLst>
                <a:ext uri="{FF2B5EF4-FFF2-40B4-BE49-F238E27FC236}">
                  <a16:creationId xmlns:a16="http://schemas.microsoft.com/office/drawing/2014/main" id="{0D898C9E-094C-4DE6-BBC4-FD2F80FFBCAF}"/>
                </a:ext>
              </a:extLst>
            </p:cNvPr>
            <p:cNvSpPr/>
            <p:nvPr/>
          </p:nvSpPr>
          <p:spPr>
            <a:xfrm>
              <a:off x="6038060" y="4068321"/>
              <a:ext cx="324152" cy="166771"/>
            </a:xfrm>
            <a:custGeom>
              <a:avLst/>
              <a:gdLst/>
              <a:ahLst/>
              <a:cxnLst/>
              <a:rect l="l" t="t" r="r" b="b"/>
              <a:pathLst>
                <a:path w="456618" h="251460" extrusionOk="0">
                  <a:moveTo>
                    <a:pt x="360008" y="4114"/>
                  </a:moveTo>
                  <a:lnTo>
                    <a:pt x="368439" y="33739"/>
                  </a:lnTo>
                  <a:lnTo>
                    <a:pt x="368439" y="38677"/>
                  </a:lnTo>
                  <a:lnTo>
                    <a:pt x="383615" y="76532"/>
                  </a:lnTo>
                  <a:lnTo>
                    <a:pt x="380242" y="79823"/>
                  </a:lnTo>
                  <a:lnTo>
                    <a:pt x="381928" y="83115"/>
                  </a:lnTo>
                  <a:lnTo>
                    <a:pt x="385301" y="83115"/>
                  </a:lnTo>
                  <a:lnTo>
                    <a:pt x="390360" y="89699"/>
                  </a:lnTo>
                  <a:lnTo>
                    <a:pt x="393732" y="88053"/>
                  </a:lnTo>
                  <a:lnTo>
                    <a:pt x="398791" y="99574"/>
                  </a:lnTo>
                  <a:lnTo>
                    <a:pt x="415653" y="91345"/>
                  </a:lnTo>
                  <a:lnTo>
                    <a:pt x="424084" y="102866"/>
                  </a:lnTo>
                  <a:lnTo>
                    <a:pt x="422398" y="104512"/>
                  </a:lnTo>
                  <a:lnTo>
                    <a:pt x="430829" y="129199"/>
                  </a:lnTo>
                  <a:lnTo>
                    <a:pt x="435888" y="130845"/>
                  </a:lnTo>
                  <a:lnTo>
                    <a:pt x="435888" y="132491"/>
                  </a:lnTo>
                  <a:lnTo>
                    <a:pt x="451064" y="134137"/>
                  </a:lnTo>
                  <a:lnTo>
                    <a:pt x="452750" y="139075"/>
                  </a:lnTo>
                  <a:lnTo>
                    <a:pt x="454436" y="139075"/>
                  </a:lnTo>
                  <a:lnTo>
                    <a:pt x="452750" y="144012"/>
                  </a:lnTo>
                  <a:lnTo>
                    <a:pt x="442633" y="147304"/>
                  </a:lnTo>
                  <a:lnTo>
                    <a:pt x="429143" y="158825"/>
                  </a:lnTo>
                  <a:lnTo>
                    <a:pt x="420712" y="158825"/>
                  </a:lnTo>
                  <a:lnTo>
                    <a:pt x="410594" y="183513"/>
                  </a:lnTo>
                  <a:lnTo>
                    <a:pt x="407222" y="183513"/>
                  </a:lnTo>
                  <a:lnTo>
                    <a:pt x="408908" y="188451"/>
                  </a:lnTo>
                  <a:lnTo>
                    <a:pt x="393732" y="186805"/>
                  </a:lnTo>
                  <a:lnTo>
                    <a:pt x="392046" y="180221"/>
                  </a:lnTo>
                  <a:lnTo>
                    <a:pt x="388673" y="191742"/>
                  </a:lnTo>
                  <a:lnTo>
                    <a:pt x="381928" y="190096"/>
                  </a:lnTo>
                  <a:lnTo>
                    <a:pt x="380242" y="193388"/>
                  </a:lnTo>
                  <a:lnTo>
                    <a:pt x="370125" y="190096"/>
                  </a:lnTo>
                  <a:lnTo>
                    <a:pt x="373497" y="173638"/>
                  </a:lnTo>
                  <a:lnTo>
                    <a:pt x="365066" y="175284"/>
                  </a:lnTo>
                  <a:lnTo>
                    <a:pt x="368439" y="167054"/>
                  </a:lnTo>
                  <a:lnTo>
                    <a:pt x="361694" y="165409"/>
                  </a:lnTo>
                  <a:lnTo>
                    <a:pt x="361694" y="160471"/>
                  </a:lnTo>
                  <a:lnTo>
                    <a:pt x="348204" y="158825"/>
                  </a:lnTo>
                  <a:lnTo>
                    <a:pt x="297617" y="165409"/>
                  </a:lnTo>
                  <a:lnTo>
                    <a:pt x="279069" y="158825"/>
                  </a:lnTo>
                  <a:lnTo>
                    <a:pt x="272324" y="160471"/>
                  </a:lnTo>
                  <a:lnTo>
                    <a:pt x="260520" y="162117"/>
                  </a:lnTo>
                  <a:lnTo>
                    <a:pt x="257148" y="167054"/>
                  </a:lnTo>
                  <a:lnTo>
                    <a:pt x="250403" y="168700"/>
                  </a:lnTo>
                  <a:lnTo>
                    <a:pt x="238599" y="165409"/>
                  </a:lnTo>
                  <a:lnTo>
                    <a:pt x="248717" y="190096"/>
                  </a:lnTo>
                  <a:lnTo>
                    <a:pt x="265579" y="213138"/>
                  </a:lnTo>
                  <a:lnTo>
                    <a:pt x="235227" y="204909"/>
                  </a:lnTo>
                  <a:lnTo>
                    <a:pt x="235227" y="208201"/>
                  </a:lnTo>
                  <a:lnTo>
                    <a:pt x="228482" y="206555"/>
                  </a:lnTo>
                  <a:lnTo>
                    <a:pt x="225109" y="216430"/>
                  </a:lnTo>
                  <a:lnTo>
                    <a:pt x="233541" y="224660"/>
                  </a:lnTo>
                  <a:lnTo>
                    <a:pt x="230168" y="226306"/>
                  </a:lnTo>
                  <a:lnTo>
                    <a:pt x="230168" y="231243"/>
                  </a:lnTo>
                  <a:lnTo>
                    <a:pt x="214992" y="241118"/>
                  </a:lnTo>
                  <a:lnTo>
                    <a:pt x="206561" y="249348"/>
                  </a:lnTo>
                  <a:lnTo>
                    <a:pt x="189699" y="226306"/>
                  </a:lnTo>
                  <a:lnTo>
                    <a:pt x="176209" y="232889"/>
                  </a:lnTo>
                  <a:lnTo>
                    <a:pt x="162719" y="236181"/>
                  </a:lnTo>
                  <a:lnTo>
                    <a:pt x="152602" y="241118"/>
                  </a:lnTo>
                  <a:lnTo>
                    <a:pt x="147543" y="237826"/>
                  </a:lnTo>
                  <a:lnTo>
                    <a:pt x="145857" y="241118"/>
                  </a:lnTo>
                  <a:lnTo>
                    <a:pt x="135740" y="224660"/>
                  </a:lnTo>
                  <a:lnTo>
                    <a:pt x="117191" y="206555"/>
                  </a:lnTo>
                  <a:lnTo>
                    <a:pt x="95270" y="198326"/>
                  </a:lnTo>
                  <a:lnTo>
                    <a:pt x="64918" y="201617"/>
                  </a:lnTo>
                  <a:lnTo>
                    <a:pt x="46370" y="196680"/>
                  </a:lnTo>
                  <a:lnTo>
                    <a:pt x="42997" y="186805"/>
                  </a:lnTo>
                  <a:lnTo>
                    <a:pt x="32880" y="185159"/>
                  </a:lnTo>
                  <a:lnTo>
                    <a:pt x="37939" y="181867"/>
                  </a:lnTo>
                  <a:lnTo>
                    <a:pt x="66605" y="175284"/>
                  </a:lnTo>
                  <a:lnTo>
                    <a:pt x="73349" y="162117"/>
                  </a:lnTo>
                  <a:lnTo>
                    <a:pt x="66605" y="155533"/>
                  </a:lnTo>
                  <a:lnTo>
                    <a:pt x="56487" y="158825"/>
                  </a:lnTo>
                  <a:lnTo>
                    <a:pt x="51428" y="150596"/>
                  </a:lnTo>
                  <a:lnTo>
                    <a:pt x="48056" y="150596"/>
                  </a:lnTo>
                  <a:lnTo>
                    <a:pt x="56487" y="127554"/>
                  </a:lnTo>
                  <a:lnTo>
                    <a:pt x="39625" y="135783"/>
                  </a:lnTo>
                  <a:lnTo>
                    <a:pt x="37939" y="125908"/>
                  </a:lnTo>
                  <a:lnTo>
                    <a:pt x="41311" y="102866"/>
                  </a:lnTo>
                  <a:lnTo>
                    <a:pt x="36253" y="96282"/>
                  </a:lnTo>
                  <a:lnTo>
                    <a:pt x="31194" y="97928"/>
                  </a:lnTo>
                  <a:lnTo>
                    <a:pt x="27821" y="91345"/>
                  </a:lnTo>
                  <a:lnTo>
                    <a:pt x="22763" y="92991"/>
                  </a:lnTo>
                  <a:lnTo>
                    <a:pt x="9273" y="79823"/>
                  </a:lnTo>
                  <a:lnTo>
                    <a:pt x="9273" y="69949"/>
                  </a:lnTo>
                  <a:lnTo>
                    <a:pt x="4214" y="61719"/>
                  </a:lnTo>
                  <a:lnTo>
                    <a:pt x="19390" y="56781"/>
                  </a:lnTo>
                  <a:lnTo>
                    <a:pt x="32880" y="58427"/>
                  </a:lnTo>
                  <a:lnTo>
                    <a:pt x="42997" y="63365"/>
                  </a:lnTo>
                  <a:lnTo>
                    <a:pt x="61546" y="78178"/>
                  </a:lnTo>
                  <a:lnTo>
                    <a:pt x="68291" y="79823"/>
                  </a:lnTo>
                  <a:lnTo>
                    <a:pt x="78408" y="76532"/>
                  </a:lnTo>
                  <a:lnTo>
                    <a:pt x="91898" y="68303"/>
                  </a:lnTo>
                  <a:lnTo>
                    <a:pt x="105388" y="65011"/>
                  </a:lnTo>
                  <a:lnTo>
                    <a:pt x="120564" y="65011"/>
                  </a:lnTo>
                  <a:lnTo>
                    <a:pt x="134053" y="71594"/>
                  </a:lnTo>
                  <a:lnTo>
                    <a:pt x="144171" y="73240"/>
                  </a:lnTo>
                  <a:lnTo>
                    <a:pt x="152602" y="69949"/>
                  </a:lnTo>
                  <a:lnTo>
                    <a:pt x="181268" y="50198"/>
                  </a:lnTo>
                  <a:lnTo>
                    <a:pt x="230168" y="27156"/>
                  </a:lnTo>
                  <a:lnTo>
                    <a:pt x="233541" y="37031"/>
                  </a:lnTo>
                  <a:lnTo>
                    <a:pt x="245344" y="37031"/>
                  </a:lnTo>
                  <a:lnTo>
                    <a:pt x="262207" y="33739"/>
                  </a:lnTo>
                  <a:lnTo>
                    <a:pt x="287500" y="17281"/>
                  </a:lnTo>
                  <a:lnTo>
                    <a:pt x="360008"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8" name="Ermelo">
              <a:extLst>
                <a:ext uri="{FF2B5EF4-FFF2-40B4-BE49-F238E27FC236}">
                  <a16:creationId xmlns:a16="http://schemas.microsoft.com/office/drawing/2014/main" id="{07574A22-DD62-4169-BDCC-1CD596F5F0D7}"/>
                </a:ext>
              </a:extLst>
            </p:cNvPr>
            <p:cNvSpPr/>
            <p:nvPr/>
          </p:nvSpPr>
          <p:spPr>
            <a:xfrm>
              <a:off x="6398584" y="3142923"/>
              <a:ext cx="210520" cy="156990"/>
            </a:xfrm>
            <a:custGeom>
              <a:avLst/>
              <a:gdLst/>
              <a:ahLst/>
              <a:cxnLst/>
              <a:rect l="l" t="t" r="r" b="b"/>
              <a:pathLst>
                <a:path w="327828" h="217170" extrusionOk="0">
                  <a:moveTo>
                    <a:pt x="307734" y="55136"/>
                  </a:moveTo>
                  <a:lnTo>
                    <a:pt x="300989" y="78178"/>
                  </a:lnTo>
                  <a:lnTo>
                    <a:pt x="302676" y="101220"/>
                  </a:lnTo>
                  <a:lnTo>
                    <a:pt x="317852" y="114387"/>
                  </a:lnTo>
                  <a:lnTo>
                    <a:pt x="319538" y="125908"/>
                  </a:lnTo>
                  <a:lnTo>
                    <a:pt x="306048" y="142367"/>
                  </a:lnTo>
                  <a:lnTo>
                    <a:pt x="327969" y="198326"/>
                  </a:lnTo>
                  <a:lnTo>
                    <a:pt x="250403" y="219722"/>
                  </a:lnTo>
                  <a:lnTo>
                    <a:pt x="209934" y="216430"/>
                  </a:lnTo>
                  <a:lnTo>
                    <a:pt x="206561" y="214785"/>
                  </a:lnTo>
                  <a:lnTo>
                    <a:pt x="199816" y="195034"/>
                  </a:lnTo>
                  <a:lnTo>
                    <a:pt x="194757" y="188451"/>
                  </a:lnTo>
                  <a:lnTo>
                    <a:pt x="177895" y="175284"/>
                  </a:lnTo>
                  <a:lnTo>
                    <a:pt x="169464" y="165409"/>
                  </a:lnTo>
                  <a:lnTo>
                    <a:pt x="142484" y="140720"/>
                  </a:lnTo>
                  <a:lnTo>
                    <a:pt x="115505" y="132491"/>
                  </a:lnTo>
                  <a:lnTo>
                    <a:pt x="102015" y="132491"/>
                  </a:lnTo>
                  <a:lnTo>
                    <a:pt x="98643" y="129199"/>
                  </a:lnTo>
                  <a:lnTo>
                    <a:pt x="88525" y="125908"/>
                  </a:lnTo>
                  <a:lnTo>
                    <a:pt x="64918" y="124262"/>
                  </a:lnTo>
                  <a:lnTo>
                    <a:pt x="32880" y="109449"/>
                  </a:lnTo>
                  <a:lnTo>
                    <a:pt x="16018" y="106157"/>
                  </a:lnTo>
                  <a:lnTo>
                    <a:pt x="4214" y="91345"/>
                  </a:lnTo>
                  <a:lnTo>
                    <a:pt x="10959" y="76532"/>
                  </a:lnTo>
                  <a:lnTo>
                    <a:pt x="9273" y="73240"/>
                  </a:lnTo>
                  <a:lnTo>
                    <a:pt x="14332" y="60073"/>
                  </a:lnTo>
                  <a:lnTo>
                    <a:pt x="22763" y="45260"/>
                  </a:lnTo>
                  <a:lnTo>
                    <a:pt x="19390" y="38677"/>
                  </a:lnTo>
                  <a:lnTo>
                    <a:pt x="22763" y="37031"/>
                  </a:lnTo>
                  <a:lnTo>
                    <a:pt x="21076" y="32094"/>
                  </a:lnTo>
                  <a:lnTo>
                    <a:pt x="24449" y="30448"/>
                  </a:lnTo>
                  <a:lnTo>
                    <a:pt x="22763" y="35385"/>
                  </a:lnTo>
                  <a:lnTo>
                    <a:pt x="27821" y="37031"/>
                  </a:lnTo>
                  <a:lnTo>
                    <a:pt x="29507" y="32094"/>
                  </a:lnTo>
                  <a:lnTo>
                    <a:pt x="24449" y="30448"/>
                  </a:lnTo>
                  <a:lnTo>
                    <a:pt x="31194" y="30448"/>
                  </a:lnTo>
                  <a:lnTo>
                    <a:pt x="32880" y="28802"/>
                  </a:lnTo>
                  <a:lnTo>
                    <a:pt x="26135" y="30448"/>
                  </a:lnTo>
                  <a:lnTo>
                    <a:pt x="27821" y="27156"/>
                  </a:lnTo>
                  <a:lnTo>
                    <a:pt x="34566" y="27156"/>
                  </a:lnTo>
                  <a:lnTo>
                    <a:pt x="36252" y="20573"/>
                  </a:lnTo>
                  <a:lnTo>
                    <a:pt x="46370" y="9052"/>
                  </a:lnTo>
                  <a:lnTo>
                    <a:pt x="56487" y="20573"/>
                  </a:lnTo>
                  <a:lnTo>
                    <a:pt x="86839" y="30448"/>
                  </a:lnTo>
                  <a:lnTo>
                    <a:pt x="85153" y="25510"/>
                  </a:lnTo>
                  <a:lnTo>
                    <a:pt x="95270" y="27156"/>
                  </a:lnTo>
                  <a:lnTo>
                    <a:pt x="117191" y="7406"/>
                  </a:lnTo>
                  <a:lnTo>
                    <a:pt x="118877" y="9052"/>
                  </a:lnTo>
                  <a:lnTo>
                    <a:pt x="128995" y="9052"/>
                  </a:lnTo>
                  <a:lnTo>
                    <a:pt x="171150" y="48552"/>
                  </a:lnTo>
                  <a:lnTo>
                    <a:pt x="189699" y="63365"/>
                  </a:lnTo>
                  <a:lnTo>
                    <a:pt x="201502" y="69949"/>
                  </a:lnTo>
                  <a:lnTo>
                    <a:pt x="213306" y="41969"/>
                  </a:lnTo>
                  <a:lnTo>
                    <a:pt x="243658" y="4114"/>
                  </a:lnTo>
                  <a:lnTo>
                    <a:pt x="311107" y="32094"/>
                  </a:lnTo>
                  <a:lnTo>
                    <a:pt x="307734" y="5513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09" name="Alphen aan den Rijn">
              <a:extLst>
                <a:ext uri="{FF2B5EF4-FFF2-40B4-BE49-F238E27FC236}">
                  <a16:creationId xmlns:a16="http://schemas.microsoft.com/office/drawing/2014/main" id="{E1765AEE-901A-4650-8EEF-BD64CB5F9494}"/>
                </a:ext>
              </a:extLst>
            </p:cNvPr>
            <p:cNvSpPr/>
            <p:nvPr/>
          </p:nvSpPr>
          <p:spPr>
            <a:xfrm>
              <a:off x="5333500" y="3401928"/>
              <a:ext cx="245211" cy="185763"/>
            </a:xfrm>
            <a:custGeom>
              <a:avLst/>
              <a:gdLst/>
              <a:ahLst/>
              <a:cxnLst/>
              <a:rect l="l" t="t" r="r" b="b"/>
              <a:pathLst>
                <a:path w="351245" h="262890" extrusionOk="0">
                  <a:moveTo>
                    <a:pt x="255462" y="20573"/>
                  </a:moveTo>
                  <a:lnTo>
                    <a:pt x="272324" y="41969"/>
                  </a:lnTo>
                  <a:lnTo>
                    <a:pt x="270638" y="60074"/>
                  </a:lnTo>
                  <a:lnTo>
                    <a:pt x="304362" y="32094"/>
                  </a:lnTo>
                  <a:lnTo>
                    <a:pt x="306048" y="25510"/>
                  </a:lnTo>
                  <a:lnTo>
                    <a:pt x="327969" y="15635"/>
                  </a:lnTo>
                  <a:lnTo>
                    <a:pt x="353263" y="83116"/>
                  </a:lnTo>
                  <a:lnTo>
                    <a:pt x="354949" y="92991"/>
                  </a:lnTo>
                  <a:lnTo>
                    <a:pt x="344832" y="120971"/>
                  </a:lnTo>
                  <a:lnTo>
                    <a:pt x="322911" y="152242"/>
                  </a:lnTo>
                  <a:lnTo>
                    <a:pt x="324597" y="157179"/>
                  </a:lnTo>
                  <a:lnTo>
                    <a:pt x="314480" y="162117"/>
                  </a:lnTo>
                  <a:lnTo>
                    <a:pt x="316166" y="163763"/>
                  </a:lnTo>
                  <a:lnTo>
                    <a:pt x="270638" y="178576"/>
                  </a:lnTo>
                  <a:lnTo>
                    <a:pt x="274010" y="183513"/>
                  </a:lnTo>
                  <a:lnTo>
                    <a:pt x="275696" y="181867"/>
                  </a:lnTo>
                  <a:lnTo>
                    <a:pt x="285814" y="213138"/>
                  </a:lnTo>
                  <a:lnTo>
                    <a:pt x="282441" y="223014"/>
                  </a:lnTo>
                  <a:lnTo>
                    <a:pt x="270638" y="223014"/>
                  </a:lnTo>
                  <a:lnTo>
                    <a:pt x="257148" y="227951"/>
                  </a:lnTo>
                  <a:lnTo>
                    <a:pt x="253775" y="244410"/>
                  </a:lnTo>
                  <a:lnTo>
                    <a:pt x="240286" y="241118"/>
                  </a:lnTo>
                  <a:lnTo>
                    <a:pt x="235227" y="265806"/>
                  </a:lnTo>
                  <a:lnTo>
                    <a:pt x="230168" y="265806"/>
                  </a:lnTo>
                  <a:lnTo>
                    <a:pt x="226796" y="249348"/>
                  </a:lnTo>
                  <a:lnTo>
                    <a:pt x="209934" y="249348"/>
                  </a:lnTo>
                  <a:lnTo>
                    <a:pt x="209934" y="254285"/>
                  </a:lnTo>
                  <a:lnTo>
                    <a:pt x="167778" y="250993"/>
                  </a:lnTo>
                  <a:lnTo>
                    <a:pt x="166092" y="229597"/>
                  </a:lnTo>
                  <a:lnTo>
                    <a:pt x="149230" y="227951"/>
                  </a:lnTo>
                  <a:lnTo>
                    <a:pt x="149230" y="223014"/>
                  </a:lnTo>
                  <a:lnTo>
                    <a:pt x="120564" y="221368"/>
                  </a:lnTo>
                  <a:lnTo>
                    <a:pt x="120564" y="249348"/>
                  </a:lnTo>
                  <a:lnTo>
                    <a:pt x="56487" y="265806"/>
                  </a:lnTo>
                  <a:lnTo>
                    <a:pt x="44684" y="259223"/>
                  </a:lnTo>
                  <a:lnTo>
                    <a:pt x="9273" y="229597"/>
                  </a:lnTo>
                  <a:lnTo>
                    <a:pt x="12645" y="219722"/>
                  </a:lnTo>
                  <a:lnTo>
                    <a:pt x="4214" y="213138"/>
                  </a:lnTo>
                  <a:lnTo>
                    <a:pt x="10959" y="204910"/>
                  </a:lnTo>
                  <a:lnTo>
                    <a:pt x="14332" y="203264"/>
                  </a:lnTo>
                  <a:lnTo>
                    <a:pt x="12645" y="116033"/>
                  </a:lnTo>
                  <a:lnTo>
                    <a:pt x="22763" y="119324"/>
                  </a:lnTo>
                  <a:lnTo>
                    <a:pt x="24449" y="112741"/>
                  </a:lnTo>
                  <a:lnTo>
                    <a:pt x="21076" y="112741"/>
                  </a:lnTo>
                  <a:lnTo>
                    <a:pt x="31194" y="86407"/>
                  </a:lnTo>
                  <a:lnTo>
                    <a:pt x="29508" y="83116"/>
                  </a:lnTo>
                  <a:lnTo>
                    <a:pt x="36252" y="76532"/>
                  </a:lnTo>
                  <a:lnTo>
                    <a:pt x="34566" y="73240"/>
                  </a:lnTo>
                  <a:lnTo>
                    <a:pt x="37939" y="73240"/>
                  </a:lnTo>
                  <a:lnTo>
                    <a:pt x="51428" y="88053"/>
                  </a:lnTo>
                  <a:lnTo>
                    <a:pt x="59860" y="79824"/>
                  </a:lnTo>
                  <a:lnTo>
                    <a:pt x="66604" y="61719"/>
                  </a:lnTo>
                  <a:lnTo>
                    <a:pt x="68291" y="37031"/>
                  </a:lnTo>
                  <a:lnTo>
                    <a:pt x="69977" y="38677"/>
                  </a:lnTo>
                  <a:lnTo>
                    <a:pt x="177895" y="17281"/>
                  </a:lnTo>
                  <a:lnTo>
                    <a:pt x="233541" y="15635"/>
                  </a:lnTo>
                  <a:lnTo>
                    <a:pt x="236913" y="4114"/>
                  </a:lnTo>
                  <a:lnTo>
                    <a:pt x="255462" y="2057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0" name="Bladel">
              <a:extLst>
                <a:ext uri="{FF2B5EF4-FFF2-40B4-BE49-F238E27FC236}">
                  <a16:creationId xmlns:a16="http://schemas.microsoft.com/office/drawing/2014/main" id="{6218A9D9-F96F-4BC6-B4B5-07069FF6839C}"/>
                </a:ext>
              </a:extLst>
            </p:cNvPr>
            <p:cNvSpPr/>
            <p:nvPr/>
          </p:nvSpPr>
          <p:spPr>
            <a:xfrm>
              <a:off x="6020467" y="4592480"/>
              <a:ext cx="132131" cy="219757"/>
            </a:xfrm>
            <a:custGeom>
              <a:avLst/>
              <a:gdLst/>
              <a:ahLst/>
              <a:cxnLst/>
              <a:rect l="l" t="t" r="r" b="b"/>
              <a:pathLst>
                <a:path w="210747" h="320040" extrusionOk="0">
                  <a:moveTo>
                    <a:pt x="44684" y="4114"/>
                  </a:moveTo>
                  <a:lnTo>
                    <a:pt x="46370" y="10697"/>
                  </a:lnTo>
                  <a:lnTo>
                    <a:pt x="54801" y="10697"/>
                  </a:lnTo>
                  <a:lnTo>
                    <a:pt x="58173" y="18926"/>
                  </a:lnTo>
                  <a:lnTo>
                    <a:pt x="66605" y="25510"/>
                  </a:lnTo>
                  <a:lnTo>
                    <a:pt x="66605" y="32094"/>
                  </a:lnTo>
                  <a:lnTo>
                    <a:pt x="76722" y="30448"/>
                  </a:lnTo>
                  <a:lnTo>
                    <a:pt x="88526" y="23864"/>
                  </a:lnTo>
                  <a:lnTo>
                    <a:pt x="96957" y="30448"/>
                  </a:lnTo>
                  <a:lnTo>
                    <a:pt x="100329" y="28802"/>
                  </a:lnTo>
                  <a:lnTo>
                    <a:pt x="105388" y="38677"/>
                  </a:lnTo>
                  <a:lnTo>
                    <a:pt x="144171" y="69949"/>
                  </a:lnTo>
                  <a:lnTo>
                    <a:pt x="152602" y="71594"/>
                  </a:lnTo>
                  <a:lnTo>
                    <a:pt x="157661" y="81470"/>
                  </a:lnTo>
                  <a:lnTo>
                    <a:pt x="169464" y="83115"/>
                  </a:lnTo>
                  <a:lnTo>
                    <a:pt x="179582" y="73240"/>
                  </a:lnTo>
                  <a:lnTo>
                    <a:pt x="189699" y="74886"/>
                  </a:lnTo>
                  <a:lnTo>
                    <a:pt x="196444" y="78178"/>
                  </a:lnTo>
                  <a:lnTo>
                    <a:pt x="206561" y="94636"/>
                  </a:lnTo>
                  <a:lnTo>
                    <a:pt x="201503" y="102866"/>
                  </a:lnTo>
                  <a:lnTo>
                    <a:pt x="201503" y="114387"/>
                  </a:lnTo>
                  <a:lnTo>
                    <a:pt x="167778" y="119324"/>
                  </a:lnTo>
                  <a:lnTo>
                    <a:pt x="171151" y="125908"/>
                  </a:lnTo>
                  <a:lnTo>
                    <a:pt x="162719" y="130845"/>
                  </a:lnTo>
                  <a:lnTo>
                    <a:pt x="154288" y="152242"/>
                  </a:lnTo>
                  <a:lnTo>
                    <a:pt x="147543" y="181867"/>
                  </a:lnTo>
                  <a:lnTo>
                    <a:pt x="162719" y="246056"/>
                  </a:lnTo>
                  <a:lnTo>
                    <a:pt x="125622" y="292140"/>
                  </a:lnTo>
                  <a:lnTo>
                    <a:pt x="122250" y="306953"/>
                  </a:lnTo>
                  <a:lnTo>
                    <a:pt x="98643" y="311890"/>
                  </a:lnTo>
                  <a:lnTo>
                    <a:pt x="93584" y="320120"/>
                  </a:lnTo>
                  <a:lnTo>
                    <a:pt x="31194" y="278973"/>
                  </a:lnTo>
                  <a:lnTo>
                    <a:pt x="37939" y="272390"/>
                  </a:lnTo>
                  <a:lnTo>
                    <a:pt x="21076" y="224660"/>
                  </a:lnTo>
                  <a:lnTo>
                    <a:pt x="24449" y="213138"/>
                  </a:lnTo>
                  <a:lnTo>
                    <a:pt x="21076" y="209847"/>
                  </a:lnTo>
                  <a:lnTo>
                    <a:pt x="17704" y="211493"/>
                  </a:lnTo>
                  <a:lnTo>
                    <a:pt x="17704" y="199971"/>
                  </a:lnTo>
                  <a:lnTo>
                    <a:pt x="17704" y="185159"/>
                  </a:lnTo>
                  <a:lnTo>
                    <a:pt x="24449" y="185159"/>
                  </a:lnTo>
                  <a:lnTo>
                    <a:pt x="22763" y="183513"/>
                  </a:lnTo>
                  <a:lnTo>
                    <a:pt x="26135" y="181867"/>
                  </a:lnTo>
                  <a:lnTo>
                    <a:pt x="16018" y="173638"/>
                  </a:lnTo>
                  <a:lnTo>
                    <a:pt x="17704" y="171992"/>
                  </a:lnTo>
                  <a:lnTo>
                    <a:pt x="16018" y="160471"/>
                  </a:lnTo>
                  <a:lnTo>
                    <a:pt x="4214" y="150596"/>
                  </a:lnTo>
                  <a:lnTo>
                    <a:pt x="10959" y="153887"/>
                  </a:lnTo>
                  <a:lnTo>
                    <a:pt x="12645" y="147304"/>
                  </a:lnTo>
                  <a:lnTo>
                    <a:pt x="26135" y="142367"/>
                  </a:lnTo>
                  <a:lnTo>
                    <a:pt x="24449" y="140720"/>
                  </a:lnTo>
                  <a:lnTo>
                    <a:pt x="29508" y="135783"/>
                  </a:lnTo>
                  <a:lnTo>
                    <a:pt x="26135" y="130845"/>
                  </a:lnTo>
                  <a:lnTo>
                    <a:pt x="31194" y="116033"/>
                  </a:lnTo>
                  <a:lnTo>
                    <a:pt x="22763" y="92991"/>
                  </a:lnTo>
                  <a:lnTo>
                    <a:pt x="16018" y="48552"/>
                  </a:lnTo>
                  <a:lnTo>
                    <a:pt x="16018" y="20573"/>
                  </a:lnTo>
                  <a:lnTo>
                    <a:pt x="41311" y="9052"/>
                  </a:lnTo>
                  <a:lnTo>
                    <a:pt x="44684"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1" name="West Maas en Waal">
              <a:extLst>
                <a:ext uri="{FF2B5EF4-FFF2-40B4-BE49-F238E27FC236}">
                  <a16:creationId xmlns:a16="http://schemas.microsoft.com/office/drawing/2014/main" id="{51AA7C0C-6B71-4F7C-8131-DBF4BEF90131}"/>
                </a:ext>
              </a:extLst>
            </p:cNvPr>
            <p:cNvSpPr/>
            <p:nvPr/>
          </p:nvSpPr>
          <p:spPr>
            <a:xfrm>
              <a:off x="6246596" y="3870557"/>
              <a:ext cx="210520" cy="113235"/>
            </a:xfrm>
            <a:custGeom>
              <a:avLst/>
              <a:gdLst/>
              <a:ahLst/>
              <a:cxnLst/>
              <a:rect l="l" t="t" r="r" b="b"/>
              <a:pathLst>
                <a:path w="327828" h="205740" extrusionOk="0">
                  <a:moveTo>
                    <a:pt x="203189" y="4114"/>
                  </a:moveTo>
                  <a:lnTo>
                    <a:pt x="203189" y="12343"/>
                  </a:lnTo>
                  <a:lnTo>
                    <a:pt x="214992" y="10698"/>
                  </a:lnTo>
                  <a:lnTo>
                    <a:pt x="218365" y="17281"/>
                  </a:lnTo>
                  <a:lnTo>
                    <a:pt x="225109" y="20573"/>
                  </a:lnTo>
                  <a:lnTo>
                    <a:pt x="240286" y="18927"/>
                  </a:lnTo>
                  <a:lnTo>
                    <a:pt x="274010" y="9052"/>
                  </a:lnTo>
                  <a:lnTo>
                    <a:pt x="265579" y="30448"/>
                  </a:lnTo>
                  <a:lnTo>
                    <a:pt x="262207" y="27156"/>
                  </a:lnTo>
                  <a:lnTo>
                    <a:pt x="257148" y="30448"/>
                  </a:lnTo>
                  <a:lnTo>
                    <a:pt x="258834" y="37031"/>
                  </a:lnTo>
                  <a:lnTo>
                    <a:pt x="262207" y="40323"/>
                  </a:lnTo>
                  <a:lnTo>
                    <a:pt x="260520" y="48552"/>
                  </a:lnTo>
                  <a:lnTo>
                    <a:pt x="247030" y="51844"/>
                  </a:lnTo>
                  <a:lnTo>
                    <a:pt x="247030" y="61719"/>
                  </a:lnTo>
                  <a:lnTo>
                    <a:pt x="238599" y="63365"/>
                  </a:lnTo>
                  <a:lnTo>
                    <a:pt x="236913" y="81470"/>
                  </a:lnTo>
                  <a:lnTo>
                    <a:pt x="274010" y="76532"/>
                  </a:lnTo>
                  <a:lnTo>
                    <a:pt x="275696" y="89699"/>
                  </a:lnTo>
                  <a:lnTo>
                    <a:pt x="285814" y="94637"/>
                  </a:lnTo>
                  <a:lnTo>
                    <a:pt x="279069" y="109449"/>
                  </a:lnTo>
                  <a:lnTo>
                    <a:pt x="285814" y="137429"/>
                  </a:lnTo>
                  <a:lnTo>
                    <a:pt x="306048" y="137429"/>
                  </a:lnTo>
                  <a:lnTo>
                    <a:pt x="306048" y="140721"/>
                  </a:lnTo>
                  <a:lnTo>
                    <a:pt x="324597" y="144013"/>
                  </a:lnTo>
                  <a:lnTo>
                    <a:pt x="319538" y="145658"/>
                  </a:lnTo>
                  <a:lnTo>
                    <a:pt x="324597" y="150596"/>
                  </a:lnTo>
                  <a:lnTo>
                    <a:pt x="321224" y="152242"/>
                  </a:lnTo>
                  <a:lnTo>
                    <a:pt x="322911" y="157179"/>
                  </a:lnTo>
                  <a:lnTo>
                    <a:pt x="312793" y="163763"/>
                  </a:lnTo>
                  <a:lnTo>
                    <a:pt x="289186" y="160471"/>
                  </a:lnTo>
                  <a:lnTo>
                    <a:pt x="268951" y="165409"/>
                  </a:lnTo>
                  <a:lnTo>
                    <a:pt x="245344" y="167055"/>
                  </a:lnTo>
                  <a:lnTo>
                    <a:pt x="235227" y="171992"/>
                  </a:lnTo>
                  <a:lnTo>
                    <a:pt x="226796" y="188451"/>
                  </a:lnTo>
                  <a:lnTo>
                    <a:pt x="216678" y="193388"/>
                  </a:lnTo>
                  <a:lnTo>
                    <a:pt x="182954" y="186805"/>
                  </a:lnTo>
                  <a:lnTo>
                    <a:pt x="161033" y="163763"/>
                  </a:lnTo>
                  <a:lnTo>
                    <a:pt x="142484" y="158825"/>
                  </a:lnTo>
                  <a:lnTo>
                    <a:pt x="128995" y="165409"/>
                  </a:lnTo>
                  <a:lnTo>
                    <a:pt x="123936" y="173638"/>
                  </a:lnTo>
                  <a:lnTo>
                    <a:pt x="118877" y="193388"/>
                  </a:lnTo>
                  <a:lnTo>
                    <a:pt x="105388" y="204910"/>
                  </a:lnTo>
                  <a:lnTo>
                    <a:pt x="83467" y="209847"/>
                  </a:lnTo>
                  <a:lnTo>
                    <a:pt x="63232" y="209847"/>
                  </a:lnTo>
                  <a:lnTo>
                    <a:pt x="41311" y="201618"/>
                  </a:lnTo>
                  <a:lnTo>
                    <a:pt x="26135" y="181867"/>
                  </a:lnTo>
                  <a:lnTo>
                    <a:pt x="27821" y="178576"/>
                  </a:lnTo>
                  <a:lnTo>
                    <a:pt x="26135" y="171992"/>
                  </a:lnTo>
                  <a:lnTo>
                    <a:pt x="14332" y="160471"/>
                  </a:lnTo>
                  <a:lnTo>
                    <a:pt x="10959" y="148950"/>
                  </a:lnTo>
                  <a:lnTo>
                    <a:pt x="4214" y="142367"/>
                  </a:lnTo>
                  <a:lnTo>
                    <a:pt x="22763" y="116033"/>
                  </a:lnTo>
                  <a:lnTo>
                    <a:pt x="34566" y="79824"/>
                  </a:lnTo>
                  <a:lnTo>
                    <a:pt x="54801" y="45261"/>
                  </a:lnTo>
                  <a:lnTo>
                    <a:pt x="75036" y="27156"/>
                  </a:lnTo>
                  <a:lnTo>
                    <a:pt x="86839" y="20573"/>
                  </a:lnTo>
                  <a:lnTo>
                    <a:pt x="115505" y="17281"/>
                  </a:lnTo>
                  <a:lnTo>
                    <a:pt x="167778" y="15635"/>
                  </a:lnTo>
                  <a:lnTo>
                    <a:pt x="203189"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2" name="Oudewater">
              <a:extLst>
                <a:ext uri="{FF2B5EF4-FFF2-40B4-BE49-F238E27FC236}">
                  <a16:creationId xmlns:a16="http://schemas.microsoft.com/office/drawing/2014/main" id="{7CE69A57-CF57-4654-8A9B-EA3317F77367}"/>
                </a:ext>
              </a:extLst>
            </p:cNvPr>
            <p:cNvSpPr/>
            <p:nvPr/>
          </p:nvSpPr>
          <p:spPr>
            <a:xfrm>
              <a:off x="5617512" y="3581454"/>
              <a:ext cx="132102" cy="109976"/>
            </a:xfrm>
            <a:custGeom>
              <a:avLst/>
              <a:gdLst/>
              <a:ahLst/>
              <a:cxnLst/>
              <a:rect l="l" t="t" r="r" b="b"/>
              <a:pathLst>
                <a:path w="199038" h="182880" extrusionOk="0">
                  <a:moveTo>
                    <a:pt x="110446" y="4114"/>
                  </a:moveTo>
                  <a:lnTo>
                    <a:pt x="115505" y="13989"/>
                  </a:lnTo>
                  <a:lnTo>
                    <a:pt x="122250" y="9052"/>
                  </a:lnTo>
                  <a:lnTo>
                    <a:pt x="152602" y="40323"/>
                  </a:lnTo>
                  <a:lnTo>
                    <a:pt x="152602" y="35386"/>
                  </a:lnTo>
                  <a:lnTo>
                    <a:pt x="169464" y="28802"/>
                  </a:lnTo>
                  <a:lnTo>
                    <a:pt x="184640" y="51844"/>
                  </a:lnTo>
                  <a:lnTo>
                    <a:pt x="176209" y="60074"/>
                  </a:lnTo>
                  <a:lnTo>
                    <a:pt x="199816" y="84761"/>
                  </a:lnTo>
                  <a:lnTo>
                    <a:pt x="198130" y="89699"/>
                  </a:lnTo>
                  <a:lnTo>
                    <a:pt x="189699" y="96282"/>
                  </a:lnTo>
                  <a:lnTo>
                    <a:pt x="177895" y="96282"/>
                  </a:lnTo>
                  <a:lnTo>
                    <a:pt x="166092" y="92991"/>
                  </a:lnTo>
                  <a:lnTo>
                    <a:pt x="188013" y="134137"/>
                  </a:lnTo>
                  <a:lnTo>
                    <a:pt x="171150" y="130845"/>
                  </a:lnTo>
                  <a:lnTo>
                    <a:pt x="58173" y="190097"/>
                  </a:lnTo>
                  <a:lnTo>
                    <a:pt x="32880" y="157179"/>
                  </a:lnTo>
                  <a:lnTo>
                    <a:pt x="91898" y="142367"/>
                  </a:lnTo>
                  <a:lnTo>
                    <a:pt x="78408" y="114387"/>
                  </a:lnTo>
                  <a:lnTo>
                    <a:pt x="56487" y="117679"/>
                  </a:lnTo>
                  <a:lnTo>
                    <a:pt x="44684" y="114387"/>
                  </a:lnTo>
                  <a:lnTo>
                    <a:pt x="29508" y="122616"/>
                  </a:lnTo>
                  <a:lnTo>
                    <a:pt x="10959" y="122616"/>
                  </a:lnTo>
                  <a:lnTo>
                    <a:pt x="4214" y="102866"/>
                  </a:lnTo>
                  <a:lnTo>
                    <a:pt x="21076" y="91345"/>
                  </a:lnTo>
                  <a:lnTo>
                    <a:pt x="16018" y="76532"/>
                  </a:lnTo>
                  <a:lnTo>
                    <a:pt x="24449" y="74886"/>
                  </a:lnTo>
                  <a:lnTo>
                    <a:pt x="32880" y="68303"/>
                  </a:lnTo>
                  <a:lnTo>
                    <a:pt x="51429" y="37031"/>
                  </a:lnTo>
                  <a:lnTo>
                    <a:pt x="80094" y="17281"/>
                  </a:lnTo>
                  <a:lnTo>
                    <a:pt x="91898" y="13989"/>
                  </a:lnTo>
                  <a:lnTo>
                    <a:pt x="11044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3" name="Oost Gelre">
              <a:extLst>
                <a:ext uri="{FF2B5EF4-FFF2-40B4-BE49-F238E27FC236}">
                  <a16:creationId xmlns:a16="http://schemas.microsoft.com/office/drawing/2014/main" id="{0CB8DFAC-8D31-496E-81B3-1C3E192BAA80}"/>
                </a:ext>
              </a:extLst>
            </p:cNvPr>
            <p:cNvSpPr/>
            <p:nvPr/>
          </p:nvSpPr>
          <p:spPr>
            <a:xfrm>
              <a:off x="7351850" y="3562402"/>
              <a:ext cx="238862" cy="166771"/>
            </a:xfrm>
            <a:custGeom>
              <a:avLst/>
              <a:gdLst/>
              <a:ahLst/>
              <a:cxnLst/>
              <a:rect l="l" t="t" r="r" b="b"/>
              <a:pathLst>
                <a:path w="351245" h="251460" extrusionOk="0">
                  <a:moveTo>
                    <a:pt x="252089" y="13989"/>
                  </a:moveTo>
                  <a:lnTo>
                    <a:pt x="263893" y="12343"/>
                  </a:lnTo>
                  <a:lnTo>
                    <a:pt x="258834" y="27156"/>
                  </a:lnTo>
                  <a:lnTo>
                    <a:pt x="270638" y="33740"/>
                  </a:lnTo>
                  <a:lnTo>
                    <a:pt x="275697" y="20573"/>
                  </a:lnTo>
                  <a:lnTo>
                    <a:pt x="282441" y="22219"/>
                  </a:lnTo>
                  <a:lnTo>
                    <a:pt x="287500" y="9052"/>
                  </a:lnTo>
                  <a:lnTo>
                    <a:pt x="294245" y="12343"/>
                  </a:lnTo>
                  <a:lnTo>
                    <a:pt x="306049" y="13989"/>
                  </a:lnTo>
                  <a:lnTo>
                    <a:pt x="314480" y="27156"/>
                  </a:lnTo>
                  <a:lnTo>
                    <a:pt x="314480" y="35385"/>
                  </a:lnTo>
                  <a:lnTo>
                    <a:pt x="311107" y="41969"/>
                  </a:lnTo>
                  <a:lnTo>
                    <a:pt x="351576" y="58428"/>
                  </a:lnTo>
                  <a:lnTo>
                    <a:pt x="344832" y="97928"/>
                  </a:lnTo>
                  <a:lnTo>
                    <a:pt x="336401" y="97928"/>
                  </a:lnTo>
                  <a:lnTo>
                    <a:pt x="327969" y="111095"/>
                  </a:lnTo>
                  <a:lnTo>
                    <a:pt x="312793" y="124262"/>
                  </a:lnTo>
                  <a:lnTo>
                    <a:pt x="312793" y="129200"/>
                  </a:lnTo>
                  <a:lnTo>
                    <a:pt x="302676" y="132492"/>
                  </a:lnTo>
                  <a:lnTo>
                    <a:pt x="307735" y="139075"/>
                  </a:lnTo>
                  <a:lnTo>
                    <a:pt x="299303" y="171992"/>
                  </a:lnTo>
                  <a:lnTo>
                    <a:pt x="304362" y="216431"/>
                  </a:lnTo>
                  <a:lnTo>
                    <a:pt x="307735" y="221368"/>
                  </a:lnTo>
                  <a:lnTo>
                    <a:pt x="302676" y="224660"/>
                  </a:lnTo>
                  <a:lnTo>
                    <a:pt x="306049" y="226306"/>
                  </a:lnTo>
                  <a:lnTo>
                    <a:pt x="304362" y="227951"/>
                  </a:lnTo>
                  <a:lnTo>
                    <a:pt x="290872" y="237827"/>
                  </a:lnTo>
                  <a:lnTo>
                    <a:pt x="285814" y="249348"/>
                  </a:lnTo>
                  <a:lnTo>
                    <a:pt x="277383" y="250993"/>
                  </a:lnTo>
                  <a:lnTo>
                    <a:pt x="280755" y="257577"/>
                  </a:lnTo>
                  <a:lnTo>
                    <a:pt x="263893" y="246056"/>
                  </a:lnTo>
                  <a:lnTo>
                    <a:pt x="218365" y="237827"/>
                  </a:lnTo>
                  <a:lnTo>
                    <a:pt x="208247" y="237827"/>
                  </a:lnTo>
                  <a:lnTo>
                    <a:pt x="208247" y="234535"/>
                  </a:lnTo>
                  <a:lnTo>
                    <a:pt x="182954" y="232889"/>
                  </a:lnTo>
                  <a:lnTo>
                    <a:pt x="174523" y="236181"/>
                  </a:lnTo>
                  <a:lnTo>
                    <a:pt x="157661" y="231243"/>
                  </a:lnTo>
                  <a:lnTo>
                    <a:pt x="139112" y="234535"/>
                  </a:lnTo>
                  <a:lnTo>
                    <a:pt x="108760" y="250993"/>
                  </a:lnTo>
                  <a:lnTo>
                    <a:pt x="105388" y="247702"/>
                  </a:lnTo>
                  <a:lnTo>
                    <a:pt x="59860" y="241118"/>
                  </a:lnTo>
                  <a:lnTo>
                    <a:pt x="42997" y="232889"/>
                  </a:lnTo>
                  <a:lnTo>
                    <a:pt x="39625" y="234535"/>
                  </a:lnTo>
                  <a:lnTo>
                    <a:pt x="26135" y="227951"/>
                  </a:lnTo>
                  <a:lnTo>
                    <a:pt x="16018" y="223014"/>
                  </a:lnTo>
                  <a:lnTo>
                    <a:pt x="29508" y="199972"/>
                  </a:lnTo>
                  <a:lnTo>
                    <a:pt x="5900" y="183513"/>
                  </a:lnTo>
                  <a:lnTo>
                    <a:pt x="4214" y="176930"/>
                  </a:lnTo>
                  <a:lnTo>
                    <a:pt x="16018" y="168700"/>
                  </a:lnTo>
                  <a:lnTo>
                    <a:pt x="5900" y="155534"/>
                  </a:lnTo>
                  <a:lnTo>
                    <a:pt x="14332" y="152242"/>
                  </a:lnTo>
                  <a:lnTo>
                    <a:pt x="7587" y="142367"/>
                  </a:lnTo>
                  <a:lnTo>
                    <a:pt x="9273" y="139075"/>
                  </a:lnTo>
                  <a:lnTo>
                    <a:pt x="5900" y="135783"/>
                  </a:lnTo>
                  <a:lnTo>
                    <a:pt x="7587" y="130845"/>
                  </a:lnTo>
                  <a:lnTo>
                    <a:pt x="4214" y="125908"/>
                  </a:lnTo>
                  <a:lnTo>
                    <a:pt x="7587" y="119324"/>
                  </a:lnTo>
                  <a:lnTo>
                    <a:pt x="12645" y="120971"/>
                  </a:lnTo>
                  <a:lnTo>
                    <a:pt x="34566" y="91345"/>
                  </a:lnTo>
                  <a:lnTo>
                    <a:pt x="39625" y="94637"/>
                  </a:lnTo>
                  <a:lnTo>
                    <a:pt x="44684" y="88053"/>
                  </a:lnTo>
                  <a:lnTo>
                    <a:pt x="46370" y="92991"/>
                  </a:lnTo>
                  <a:lnTo>
                    <a:pt x="56487" y="79824"/>
                  </a:lnTo>
                  <a:lnTo>
                    <a:pt x="64918" y="83116"/>
                  </a:lnTo>
                  <a:lnTo>
                    <a:pt x="78408" y="63365"/>
                  </a:lnTo>
                  <a:lnTo>
                    <a:pt x="86839" y="71595"/>
                  </a:lnTo>
                  <a:lnTo>
                    <a:pt x="91898" y="68303"/>
                  </a:lnTo>
                  <a:lnTo>
                    <a:pt x="125622" y="107803"/>
                  </a:lnTo>
                  <a:lnTo>
                    <a:pt x="171151" y="94637"/>
                  </a:lnTo>
                  <a:lnTo>
                    <a:pt x="174523" y="94637"/>
                  </a:lnTo>
                  <a:lnTo>
                    <a:pt x="174523" y="92991"/>
                  </a:lnTo>
                  <a:lnTo>
                    <a:pt x="201503" y="73240"/>
                  </a:lnTo>
                  <a:lnTo>
                    <a:pt x="203189" y="68303"/>
                  </a:lnTo>
                  <a:lnTo>
                    <a:pt x="211620" y="65011"/>
                  </a:lnTo>
                  <a:lnTo>
                    <a:pt x="211620" y="53490"/>
                  </a:lnTo>
                  <a:lnTo>
                    <a:pt x="225110" y="41969"/>
                  </a:lnTo>
                  <a:lnTo>
                    <a:pt x="223424" y="33740"/>
                  </a:lnTo>
                  <a:lnTo>
                    <a:pt x="226796" y="22219"/>
                  </a:lnTo>
                  <a:lnTo>
                    <a:pt x="225110" y="10698"/>
                  </a:lnTo>
                  <a:lnTo>
                    <a:pt x="236913" y="4114"/>
                  </a:lnTo>
                  <a:lnTo>
                    <a:pt x="248717" y="9052"/>
                  </a:lnTo>
                  <a:lnTo>
                    <a:pt x="252089" y="1398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4" name="Barneveld">
              <a:extLst>
                <a:ext uri="{FF2B5EF4-FFF2-40B4-BE49-F238E27FC236}">
                  <a16:creationId xmlns:a16="http://schemas.microsoft.com/office/drawing/2014/main" id="{82942864-74EC-46FF-9743-5C62E4603EC3}"/>
                </a:ext>
              </a:extLst>
            </p:cNvPr>
            <p:cNvSpPr/>
            <p:nvPr/>
          </p:nvSpPr>
          <p:spPr>
            <a:xfrm>
              <a:off x="6321438" y="3295343"/>
              <a:ext cx="361297" cy="216262"/>
            </a:xfrm>
            <a:custGeom>
              <a:avLst/>
              <a:gdLst/>
              <a:ahLst/>
              <a:cxnLst/>
              <a:rect l="l" t="t" r="r" b="b"/>
              <a:pathLst>
                <a:path w="515159" h="342900" extrusionOk="0">
                  <a:moveTo>
                    <a:pt x="388673" y="4114"/>
                  </a:moveTo>
                  <a:lnTo>
                    <a:pt x="393732" y="12343"/>
                  </a:lnTo>
                  <a:lnTo>
                    <a:pt x="395418" y="30448"/>
                  </a:lnTo>
                  <a:lnTo>
                    <a:pt x="407222" y="30448"/>
                  </a:lnTo>
                  <a:lnTo>
                    <a:pt x="413966" y="50198"/>
                  </a:lnTo>
                  <a:lnTo>
                    <a:pt x="412280" y="58427"/>
                  </a:lnTo>
                  <a:lnTo>
                    <a:pt x="390359" y="60073"/>
                  </a:lnTo>
                  <a:lnTo>
                    <a:pt x="395418" y="86407"/>
                  </a:lnTo>
                  <a:lnTo>
                    <a:pt x="425770" y="122616"/>
                  </a:lnTo>
                  <a:lnTo>
                    <a:pt x="488160" y="114387"/>
                  </a:lnTo>
                  <a:lnTo>
                    <a:pt x="499964" y="119324"/>
                  </a:lnTo>
                  <a:lnTo>
                    <a:pt x="518512" y="142367"/>
                  </a:lnTo>
                  <a:lnTo>
                    <a:pt x="503337" y="160471"/>
                  </a:lnTo>
                  <a:lnTo>
                    <a:pt x="515140" y="186805"/>
                  </a:lnTo>
                  <a:lnTo>
                    <a:pt x="516826" y="223014"/>
                  </a:lnTo>
                  <a:lnTo>
                    <a:pt x="479729" y="224660"/>
                  </a:lnTo>
                  <a:lnTo>
                    <a:pt x="462867" y="221368"/>
                  </a:lnTo>
                  <a:lnTo>
                    <a:pt x="444319" y="232889"/>
                  </a:lnTo>
                  <a:lnTo>
                    <a:pt x="415653" y="231243"/>
                  </a:lnTo>
                  <a:lnTo>
                    <a:pt x="380242" y="236181"/>
                  </a:lnTo>
                  <a:lnTo>
                    <a:pt x="381928" y="241118"/>
                  </a:lnTo>
                  <a:lnTo>
                    <a:pt x="383614" y="255931"/>
                  </a:lnTo>
                  <a:lnTo>
                    <a:pt x="375184" y="257577"/>
                  </a:lnTo>
                  <a:lnTo>
                    <a:pt x="375184" y="260869"/>
                  </a:lnTo>
                  <a:lnTo>
                    <a:pt x="351576" y="262514"/>
                  </a:lnTo>
                  <a:lnTo>
                    <a:pt x="338086" y="259223"/>
                  </a:lnTo>
                  <a:lnTo>
                    <a:pt x="333028" y="259223"/>
                  </a:lnTo>
                  <a:lnTo>
                    <a:pt x="324597" y="270744"/>
                  </a:lnTo>
                  <a:lnTo>
                    <a:pt x="319538" y="272390"/>
                  </a:lnTo>
                  <a:lnTo>
                    <a:pt x="302676" y="265806"/>
                  </a:lnTo>
                  <a:lnTo>
                    <a:pt x="297617" y="269098"/>
                  </a:lnTo>
                  <a:lnTo>
                    <a:pt x="290872" y="272390"/>
                  </a:lnTo>
                  <a:lnTo>
                    <a:pt x="284127" y="270744"/>
                  </a:lnTo>
                  <a:lnTo>
                    <a:pt x="268951" y="275682"/>
                  </a:lnTo>
                  <a:lnTo>
                    <a:pt x="255461" y="274035"/>
                  </a:lnTo>
                  <a:lnTo>
                    <a:pt x="231854" y="282265"/>
                  </a:lnTo>
                  <a:lnTo>
                    <a:pt x="221737" y="282265"/>
                  </a:lnTo>
                  <a:lnTo>
                    <a:pt x="208247" y="288848"/>
                  </a:lnTo>
                  <a:lnTo>
                    <a:pt x="199816" y="287203"/>
                  </a:lnTo>
                  <a:lnTo>
                    <a:pt x="193071" y="290494"/>
                  </a:lnTo>
                  <a:lnTo>
                    <a:pt x="184640" y="290494"/>
                  </a:lnTo>
                  <a:lnTo>
                    <a:pt x="164405" y="298724"/>
                  </a:lnTo>
                  <a:lnTo>
                    <a:pt x="150915" y="295432"/>
                  </a:lnTo>
                  <a:lnTo>
                    <a:pt x="149229" y="305307"/>
                  </a:lnTo>
                  <a:lnTo>
                    <a:pt x="144170" y="297078"/>
                  </a:lnTo>
                  <a:lnTo>
                    <a:pt x="139112" y="297078"/>
                  </a:lnTo>
                  <a:lnTo>
                    <a:pt x="127309" y="316828"/>
                  </a:lnTo>
                  <a:lnTo>
                    <a:pt x="122249" y="320120"/>
                  </a:lnTo>
                  <a:lnTo>
                    <a:pt x="115505" y="321765"/>
                  </a:lnTo>
                  <a:lnTo>
                    <a:pt x="122249" y="336579"/>
                  </a:lnTo>
                  <a:lnTo>
                    <a:pt x="113819" y="338224"/>
                  </a:lnTo>
                  <a:lnTo>
                    <a:pt x="115505" y="343162"/>
                  </a:lnTo>
                  <a:lnTo>
                    <a:pt x="112132" y="344807"/>
                  </a:lnTo>
                  <a:lnTo>
                    <a:pt x="108760" y="339870"/>
                  </a:lnTo>
                  <a:lnTo>
                    <a:pt x="83467" y="348099"/>
                  </a:lnTo>
                  <a:lnTo>
                    <a:pt x="80094" y="339870"/>
                  </a:lnTo>
                  <a:lnTo>
                    <a:pt x="75036" y="348099"/>
                  </a:lnTo>
                  <a:lnTo>
                    <a:pt x="71663" y="348099"/>
                  </a:lnTo>
                  <a:lnTo>
                    <a:pt x="61546" y="329995"/>
                  </a:lnTo>
                  <a:lnTo>
                    <a:pt x="56487" y="329995"/>
                  </a:lnTo>
                  <a:lnTo>
                    <a:pt x="46370" y="323411"/>
                  </a:lnTo>
                  <a:lnTo>
                    <a:pt x="36252" y="323411"/>
                  </a:lnTo>
                  <a:lnTo>
                    <a:pt x="32880" y="315182"/>
                  </a:lnTo>
                  <a:lnTo>
                    <a:pt x="24449" y="311890"/>
                  </a:lnTo>
                  <a:lnTo>
                    <a:pt x="42997" y="310245"/>
                  </a:lnTo>
                  <a:lnTo>
                    <a:pt x="51428" y="316828"/>
                  </a:lnTo>
                  <a:lnTo>
                    <a:pt x="56487" y="316828"/>
                  </a:lnTo>
                  <a:lnTo>
                    <a:pt x="56487" y="311890"/>
                  </a:lnTo>
                  <a:lnTo>
                    <a:pt x="51428" y="310245"/>
                  </a:lnTo>
                  <a:lnTo>
                    <a:pt x="53115" y="302015"/>
                  </a:lnTo>
                  <a:lnTo>
                    <a:pt x="39625" y="302015"/>
                  </a:lnTo>
                  <a:lnTo>
                    <a:pt x="36252" y="290494"/>
                  </a:lnTo>
                  <a:lnTo>
                    <a:pt x="39625" y="290494"/>
                  </a:lnTo>
                  <a:lnTo>
                    <a:pt x="41311" y="275682"/>
                  </a:lnTo>
                  <a:lnTo>
                    <a:pt x="46370" y="277327"/>
                  </a:lnTo>
                  <a:lnTo>
                    <a:pt x="63232" y="272390"/>
                  </a:lnTo>
                  <a:lnTo>
                    <a:pt x="63232" y="267452"/>
                  </a:lnTo>
                  <a:lnTo>
                    <a:pt x="66604" y="262514"/>
                  </a:lnTo>
                  <a:lnTo>
                    <a:pt x="59859" y="257577"/>
                  </a:lnTo>
                  <a:lnTo>
                    <a:pt x="41311" y="249348"/>
                  </a:lnTo>
                  <a:lnTo>
                    <a:pt x="42997" y="234535"/>
                  </a:lnTo>
                  <a:lnTo>
                    <a:pt x="29507" y="232889"/>
                  </a:lnTo>
                  <a:lnTo>
                    <a:pt x="16018" y="227951"/>
                  </a:lnTo>
                  <a:lnTo>
                    <a:pt x="21076" y="209847"/>
                  </a:lnTo>
                  <a:lnTo>
                    <a:pt x="16018" y="208201"/>
                  </a:lnTo>
                  <a:lnTo>
                    <a:pt x="17704" y="204909"/>
                  </a:lnTo>
                  <a:lnTo>
                    <a:pt x="10959" y="199972"/>
                  </a:lnTo>
                  <a:lnTo>
                    <a:pt x="4214" y="199972"/>
                  </a:lnTo>
                  <a:lnTo>
                    <a:pt x="4214" y="195034"/>
                  </a:lnTo>
                  <a:lnTo>
                    <a:pt x="12645" y="193388"/>
                  </a:lnTo>
                  <a:lnTo>
                    <a:pt x="22763" y="176930"/>
                  </a:lnTo>
                  <a:lnTo>
                    <a:pt x="22763" y="150596"/>
                  </a:lnTo>
                  <a:lnTo>
                    <a:pt x="46370" y="135783"/>
                  </a:lnTo>
                  <a:lnTo>
                    <a:pt x="63232" y="135783"/>
                  </a:lnTo>
                  <a:lnTo>
                    <a:pt x="76722" y="127554"/>
                  </a:lnTo>
                  <a:lnTo>
                    <a:pt x="91897" y="129199"/>
                  </a:lnTo>
                  <a:lnTo>
                    <a:pt x="96956" y="142367"/>
                  </a:lnTo>
                  <a:lnTo>
                    <a:pt x="110446" y="162117"/>
                  </a:lnTo>
                  <a:lnTo>
                    <a:pt x="118877" y="167054"/>
                  </a:lnTo>
                  <a:lnTo>
                    <a:pt x="149229" y="162117"/>
                  </a:lnTo>
                  <a:lnTo>
                    <a:pt x="149229" y="157179"/>
                  </a:lnTo>
                  <a:lnTo>
                    <a:pt x="144170" y="153888"/>
                  </a:lnTo>
                  <a:lnTo>
                    <a:pt x="142484" y="144012"/>
                  </a:lnTo>
                  <a:lnTo>
                    <a:pt x="145857" y="140720"/>
                  </a:lnTo>
                  <a:lnTo>
                    <a:pt x="155974" y="142367"/>
                  </a:lnTo>
                  <a:lnTo>
                    <a:pt x="159347" y="139075"/>
                  </a:lnTo>
                  <a:lnTo>
                    <a:pt x="162719" y="140720"/>
                  </a:lnTo>
                  <a:lnTo>
                    <a:pt x="161033" y="127554"/>
                  </a:lnTo>
                  <a:lnTo>
                    <a:pt x="159347" y="125908"/>
                  </a:lnTo>
                  <a:lnTo>
                    <a:pt x="162719" y="120970"/>
                  </a:lnTo>
                  <a:lnTo>
                    <a:pt x="179582" y="120970"/>
                  </a:lnTo>
                  <a:lnTo>
                    <a:pt x="196443" y="112741"/>
                  </a:lnTo>
                  <a:lnTo>
                    <a:pt x="208247" y="119324"/>
                  </a:lnTo>
                  <a:lnTo>
                    <a:pt x="208247" y="122616"/>
                  </a:lnTo>
                  <a:lnTo>
                    <a:pt x="223423" y="120970"/>
                  </a:lnTo>
                  <a:lnTo>
                    <a:pt x="223423" y="129199"/>
                  </a:lnTo>
                  <a:lnTo>
                    <a:pt x="226795" y="124262"/>
                  </a:lnTo>
                  <a:lnTo>
                    <a:pt x="235227" y="125908"/>
                  </a:lnTo>
                  <a:lnTo>
                    <a:pt x="250403" y="97928"/>
                  </a:lnTo>
                  <a:lnTo>
                    <a:pt x="247030" y="88053"/>
                  </a:lnTo>
                  <a:lnTo>
                    <a:pt x="295931" y="53490"/>
                  </a:lnTo>
                  <a:lnTo>
                    <a:pt x="319538" y="46906"/>
                  </a:lnTo>
                  <a:lnTo>
                    <a:pt x="322911" y="9052"/>
                  </a:lnTo>
                  <a:lnTo>
                    <a:pt x="363380" y="12343"/>
                  </a:lnTo>
                  <a:lnTo>
                    <a:pt x="388673"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5" name="Vlaardingen">
              <a:extLst>
                <a:ext uri="{FF2B5EF4-FFF2-40B4-BE49-F238E27FC236}">
                  <a16:creationId xmlns:a16="http://schemas.microsoft.com/office/drawing/2014/main" id="{D23763C6-39D4-4516-8AC0-2B139FDB1C28}"/>
                </a:ext>
              </a:extLst>
            </p:cNvPr>
            <p:cNvSpPr/>
            <p:nvPr/>
          </p:nvSpPr>
          <p:spPr>
            <a:xfrm>
              <a:off x="5066286" y="3762614"/>
              <a:ext cx="113832" cy="79300"/>
            </a:xfrm>
            <a:custGeom>
              <a:avLst/>
              <a:gdLst/>
              <a:ahLst/>
              <a:cxnLst/>
              <a:rect l="l" t="t" r="r" b="b"/>
              <a:pathLst>
                <a:path w="163914" h="137160" extrusionOk="0">
                  <a:moveTo>
                    <a:pt x="134054" y="4114"/>
                  </a:moveTo>
                  <a:lnTo>
                    <a:pt x="150916" y="45261"/>
                  </a:lnTo>
                  <a:lnTo>
                    <a:pt x="152602" y="61720"/>
                  </a:lnTo>
                  <a:lnTo>
                    <a:pt x="149230" y="65011"/>
                  </a:lnTo>
                  <a:lnTo>
                    <a:pt x="150916" y="69949"/>
                  </a:lnTo>
                  <a:lnTo>
                    <a:pt x="155974" y="76532"/>
                  </a:lnTo>
                  <a:lnTo>
                    <a:pt x="162719" y="130846"/>
                  </a:lnTo>
                  <a:lnTo>
                    <a:pt x="144171" y="130846"/>
                  </a:lnTo>
                  <a:lnTo>
                    <a:pt x="112133" y="140721"/>
                  </a:lnTo>
                  <a:lnTo>
                    <a:pt x="90212" y="142367"/>
                  </a:lnTo>
                  <a:lnTo>
                    <a:pt x="39625" y="132492"/>
                  </a:lnTo>
                  <a:lnTo>
                    <a:pt x="4214" y="114387"/>
                  </a:lnTo>
                  <a:lnTo>
                    <a:pt x="76722" y="43615"/>
                  </a:lnTo>
                  <a:lnTo>
                    <a:pt x="90212" y="25510"/>
                  </a:lnTo>
                  <a:lnTo>
                    <a:pt x="91898" y="27156"/>
                  </a:lnTo>
                  <a:lnTo>
                    <a:pt x="95270" y="25510"/>
                  </a:lnTo>
                  <a:lnTo>
                    <a:pt x="112133" y="15635"/>
                  </a:lnTo>
                  <a:lnTo>
                    <a:pt x="112133" y="13989"/>
                  </a:lnTo>
                  <a:lnTo>
                    <a:pt x="134054"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6" name="Baarle-Nassau">
              <a:extLst>
                <a:ext uri="{FF2B5EF4-FFF2-40B4-BE49-F238E27FC236}">
                  <a16:creationId xmlns:a16="http://schemas.microsoft.com/office/drawing/2014/main" id="{D8012D30-1109-4DEF-9E52-0320C8D1A224}"/>
                </a:ext>
              </a:extLst>
            </p:cNvPr>
            <p:cNvSpPr/>
            <p:nvPr/>
          </p:nvSpPr>
          <p:spPr>
            <a:xfrm>
              <a:off x="5580624" y="4524817"/>
              <a:ext cx="246309" cy="147898"/>
            </a:xfrm>
            <a:custGeom>
              <a:avLst/>
              <a:gdLst/>
              <a:ahLst/>
              <a:cxnLst/>
              <a:rect l="l" t="t" r="r" b="b"/>
              <a:pathLst>
                <a:path w="374661" h="217170" extrusionOk="0">
                  <a:moveTo>
                    <a:pt x="275696" y="84761"/>
                  </a:moveTo>
                  <a:lnTo>
                    <a:pt x="275696" y="81470"/>
                  </a:lnTo>
                  <a:lnTo>
                    <a:pt x="277383" y="81470"/>
                  </a:lnTo>
                  <a:lnTo>
                    <a:pt x="275696" y="84761"/>
                  </a:lnTo>
                  <a:close/>
                  <a:moveTo>
                    <a:pt x="258834" y="107803"/>
                  </a:moveTo>
                  <a:lnTo>
                    <a:pt x="258834" y="104512"/>
                  </a:lnTo>
                  <a:lnTo>
                    <a:pt x="260520" y="104512"/>
                  </a:lnTo>
                  <a:lnTo>
                    <a:pt x="258834" y="107803"/>
                  </a:lnTo>
                  <a:close/>
                  <a:moveTo>
                    <a:pt x="247031" y="109449"/>
                  </a:moveTo>
                  <a:lnTo>
                    <a:pt x="243658" y="106157"/>
                  </a:lnTo>
                  <a:lnTo>
                    <a:pt x="248717" y="99574"/>
                  </a:lnTo>
                  <a:lnTo>
                    <a:pt x="247031" y="109449"/>
                  </a:lnTo>
                  <a:close/>
                  <a:moveTo>
                    <a:pt x="258834" y="112741"/>
                  </a:moveTo>
                  <a:lnTo>
                    <a:pt x="258834" y="111095"/>
                  </a:lnTo>
                  <a:lnTo>
                    <a:pt x="260520" y="111095"/>
                  </a:lnTo>
                  <a:lnTo>
                    <a:pt x="258834" y="112741"/>
                  </a:lnTo>
                  <a:close/>
                  <a:moveTo>
                    <a:pt x="265579" y="112741"/>
                  </a:moveTo>
                  <a:lnTo>
                    <a:pt x="267265" y="111095"/>
                  </a:lnTo>
                  <a:lnTo>
                    <a:pt x="267265" y="112741"/>
                  </a:lnTo>
                  <a:lnTo>
                    <a:pt x="265579" y="112741"/>
                  </a:lnTo>
                  <a:close/>
                  <a:moveTo>
                    <a:pt x="262207" y="117679"/>
                  </a:moveTo>
                  <a:lnTo>
                    <a:pt x="260520" y="116033"/>
                  </a:lnTo>
                  <a:lnTo>
                    <a:pt x="258834" y="117679"/>
                  </a:lnTo>
                  <a:lnTo>
                    <a:pt x="258834" y="112741"/>
                  </a:lnTo>
                  <a:lnTo>
                    <a:pt x="262207" y="112741"/>
                  </a:lnTo>
                  <a:lnTo>
                    <a:pt x="262207" y="117679"/>
                  </a:lnTo>
                  <a:close/>
                  <a:moveTo>
                    <a:pt x="263893" y="124262"/>
                  </a:moveTo>
                  <a:lnTo>
                    <a:pt x="263893" y="120970"/>
                  </a:lnTo>
                  <a:lnTo>
                    <a:pt x="265579" y="119324"/>
                  </a:lnTo>
                  <a:lnTo>
                    <a:pt x="263893" y="124262"/>
                  </a:lnTo>
                  <a:close/>
                  <a:moveTo>
                    <a:pt x="164406" y="173638"/>
                  </a:moveTo>
                  <a:lnTo>
                    <a:pt x="164406" y="168700"/>
                  </a:lnTo>
                  <a:lnTo>
                    <a:pt x="169464" y="170346"/>
                  </a:lnTo>
                  <a:lnTo>
                    <a:pt x="164406" y="173638"/>
                  </a:lnTo>
                  <a:close/>
                  <a:moveTo>
                    <a:pt x="241972" y="216430"/>
                  </a:moveTo>
                  <a:lnTo>
                    <a:pt x="231854" y="213138"/>
                  </a:lnTo>
                  <a:lnTo>
                    <a:pt x="238600" y="208201"/>
                  </a:lnTo>
                  <a:lnTo>
                    <a:pt x="248717" y="208201"/>
                  </a:lnTo>
                  <a:lnTo>
                    <a:pt x="248717" y="206555"/>
                  </a:lnTo>
                  <a:lnTo>
                    <a:pt x="247031" y="204909"/>
                  </a:lnTo>
                  <a:lnTo>
                    <a:pt x="238600" y="206555"/>
                  </a:lnTo>
                  <a:lnTo>
                    <a:pt x="235227" y="203264"/>
                  </a:lnTo>
                  <a:lnTo>
                    <a:pt x="238600" y="199972"/>
                  </a:lnTo>
                  <a:lnTo>
                    <a:pt x="226796" y="195034"/>
                  </a:lnTo>
                  <a:lnTo>
                    <a:pt x="223423" y="190096"/>
                  </a:lnTo>
                  <a:lnTo>
                    <a:pt x="225110" y="183513"/>
                  </a:lnTo>
                  <a:lnTo>
                    <a:pt x="216679" y="176930"/>
                  </a:lnTo>
                  <a:lnTo>
                    <a:pt x="218365" y="171992"/>
                  </a:lnTo>
                  <a:lnTo>
                    <a:pt x="216679" y="170346"/>
                  </a:lnTo>
                  <a:lnTo>
                    <a:pt x="214992" y="175284"/>
                  </a:lnTo>
                  <a:lnTo>
                    <a:pt x="209934" y="175284"/>
                  </a:lnTo>
                  <a:lnTo>
                    <a:pt x="211620" y="170346"/>
                  </a:lnTo>
                  <a:lnTo>
                    <a:pt x="214992" y="170346"/>
                  </a:lnTo>
                  <a:lnTo>
                    <a:pt x="214992" y="167054"/>
                  </a:lnTo>
                  <a:lnTo>
                    <a:pt x="211620" y="168700"/>
                  </a:lnTo>
                  <a:lnTo>
                    <a:pt x="209934" y="165409"/>
                  </a:lnTo>
                  <a:lnTo>
                    <a:pt x="206561" y="168700"/>
                  </a:lnTo>
                  <a:lnTo>
                    <a:pt x="208247" y="171992"/>
                  </a:lnTo>
                  <a:lnTo>
                    <a:pt x="206561" y="171992"/>
                  </a:lnTo>
                  <a:lnTo>
                    <a:pt x="196444" y="163763"/>
                  </a:lnTo>
                  <a:lnTo>
                    <a:pt x="189699" y="163763"/>
                  </a:lnTo>
                  <a:lnTo>
                    <a:pt x="189699" y="160471"/>
                  </a:lnTo>
                  <a:lnTo>
                    <a:pt x="184640" y="160471"/>
                  </a:lnTo>
                  <a:lnTo>
                    <a:pt x="184640" y="163763"/>
                  </a:lnTo>
                  <a:lnTo>
                    <a:pt x="179582" y="165409"/>
                  </a:lnTo>
                  <a:lnTo>
                    <a:pt x="172837" y="163763"/>
                  </a:lnTo>
                  <a:lnTo>
                    <a:pt x="162719" y="168700"/>
                  </a:lnTo>
                  <a:lnTo>
                    <a:pt x="157661" y="171992"/>
                  </a:lnTo>
                  <a:lnTo>
                    <a:pt x="161033" y="175284"/>
                  </a:lnTo>
                  <a:lnTo>
                    <a:pt x="159347" y="178575"/>
                  </a:lnTo>
                  <a:lnTo>
                    <a:pt x="149229" y="175284"/>
                  </a:lnTo>
                  <a:lnTo>
                    <a:pt x="149229" y="168700"/>
                  </a:lnTo>
                  <a:lnTo>
                    <a:pt x="144171" y="168700"/>
                  </a:lnTo>
                  <a:lnTo>
                    <a:pt x="132367" y="165409"/>
                  </a:lnTo>
                  <a:lnTo>
                    <a:pt x="130681" y="168700"/>
                  </a:lnTo>
                  <a:lnTo>
                    <a:pt x="127309" y="168700"/>
                  </a:lnTo>
                  <a:lnTo>
                    <a:pt x="117191" y="165409"/>
                  </a:lnTo>
                  <a:lnTo>
                    <a:pt x="36252" y="176930"/>
                  </a:lnTo>
                  <a:lnTo>
                    <a:pt x="21076" y="165409"/>
                  </a:lnTo>
                  <a:lnTo>
                    <a:pt x="14332" y="167054"/>
                  </a:lnTo>
                  <a:lnTo>
                    <a:pt x="10959" y="163763"/>
                  </a:lnTo>
                  <a:lnTo>
                    <a:pt x="12645" y="158825"/>
                  </a:lnTo>
                  <a:lnTo>
                    <a:pt x="7587" y="150596"/>
                  </a:lnTo>
                  <a:lnTo>
                    <a:pt x="10959" y="142367"/>
                  </a:lnTo>
                  <a:lnTo>
                    <a:pt x="9273" y="142367"/>
                  </a:lnTo>
                  <a:lnTo>
                    <a:pt x="10959" y="134137"/>
                  </a:lnTo>
                  <a:lnTo>
                    <a:pt x="4214" y="125908"/>
                  </a:lnTo>
                  <a:lnTo>
                    <a:pt x="9273" y="125908"/>
                  </a:lnTo>
                  <a:lnTo>
                    <a:pt x="16018" y="122616"/>
                  </a:lnTo>
                  <a:lnTo>
                    <a:pt x="36252" y="120970"/>
                  </a:lnTo>
                  <a:lnTo>
                    <a:pt x="39625" y="127554"/>
                  </a:lnTo>
                  <a:lnTo>
                    <a:pt x="42997" y="127554"/>
                  </a:lnTo>
                  <a:lnTo>
                    <a:pt x="44684" y="130845"/>
                  </a:lnTo>
                  <a:lnTo>
                    <a:pt x="56487" y="129199"/>
                  </a:lnTo>
                  <a:lnTo>
                    <a:pt x="63232" y="132491"/>
                  </a:lnTo>
                  <a:lnTo>
                    <a:pt x="64918" y="130845"/>
                  </a:lnTo>
                  <a:lnTo>
                    <a:pt x="69977" y="135783"/>
                  </a:lnTo>
                  <a:lnTo>
                    <a:pt x="81780" y="137429"/>
                  </a:lnTo>
                  <a:lnTo>
                    <a:pt x="90212" y="145658"/>
                  </a:lnTo>
                  <a:lnTo>
                    <a:pt x="96957" y="144012"/>
                  </a:lnTo>
                  <a:lnTo>
                    <a:pt x="96957" y="148950"/>
                  </a:lnTo>
                  <a:lnTo>
                    <a:pt x="108760" y="152242"/>
                  </a:lnTo>
                  <a:lnTo>
                    <a:pt x="110446" y="155533"/>
                  </a:lnTo>
                  <a:lnTo>
                    <a:pt x="113819" y="153888"/>
                  </a:lnTo>
                  <a:lnTo>
                    <a:pt x="112133" y="158825"/>
                  </a:lnTo>
                  <a:lnTo>
                    <a:pt x="120564" y="145658"/>
                  </a:lnTo>
                  <a:lnTo>
                    <a:pt x="107074" y="150596"/>
                  </a:lnTo>
                  <a:lnTo>
                    <a:pt x="100329" y="145658"/>
                  </a:lnTo>
                  <a:lnTo>
                    <a:pt x="93584" y="83115"/>
                  </a:lnTo>
                  <a:lnTo>
                    <a:pt x="100329" y="76532"/>
                  </a:lnTo>
                  <a:lnTo>
                    <a:pt x="112133" y="58427"/>
                  </a:lnTo>
                  <a:lnTo>
                    <a:pt x="117191" y="65011"/>
                  </a:lnTo>
                  <a:lnTo>
                    <a:pt x="125622" y="56782"/>
                  </a:lnTo>
                  <a:lnTo>
                    <a:pt x="115505" y="51844"/>
                  </a:lnTo>
                  <a:lnTo>
                    <a:pt x="112133" y="51844"/>
                  </a:lnTo>
                  <a:lnTo>
                    <a:pt x="113819" y="35385"/>
                  </a:lnTo>
                  <a:lnTo>
                    <a:pt x="122250" y="5760"/>
                  </a:lnTo>
                  <a:lnTo>
                    <a:pt x="127309" y="4114"/>
                  </a:lnTo>
                  <a:lnTo>
                    <a:pt x="140798" y="10698"/>
                  </a:lnTo>
                  <a:lnTo>
                    <a:pt x="152602" y="12343"/>
                  </a:lnTo>
                  <a:lnTo>
                    <a:pt x="167778" y="7406"/>
                  </a:lnTo>
                  <a:lnTo>
                    <a:pt x="184640" y="10698"/>
                  </a:lnTo>
                  <a:lnTo>
                    <a:pt x="186327" y="13989"/>
                  </a:lnTo>
                  <a:lnTo>
                    <a:pt x="198130" y="12343"/>
                  </a:lnTo>
                  <a:lnTo>
                    <a:pt x="238600" y="37031"/>
                  </a:lnTo>
                  <a:lnTo>
                    <a:pt x="260520" y="58427"/>
                  </a:lnTo>
                  <a:lnTo>
                    <a:pt x="275696" y="63365"/>
                  </a:lnTo>
                  <a:lnTo>
                    <a:pt x="280755" y="63365"/>
                  </a:lnTo>
                  <a:lnTo>
                    <a:pt x="284127" y="60073"/>
                  </a:lnTo>
                  <a:lnTo>
                    <a:pt x="299304" y="56782"/>
                  </a:lnTo>
                  <a:lnTo>
                    <a:pt x="302676" y="60073"/>
                  </a:lnTo>
                  <a:lnTo>
                    <a:pt x="302676" y="58427"/>
                  </a:lnTo>
                  <a:lnTo>
                    <a:pt x="314479" y="56782"/>
                  </a:lnTo>
                  <a:lnTo>
                    <a:pt x="319538" y="60073"/>
                  </a:lnTo>
                  <a:lnTo>
                    <a:pt x="329656" y="53490"/>
                  </a:lnTo>
                  <a:lnTo>
                    <a:pt x="381929" y="61719"/>
                  </a:lnTo>
                  <a:lnTo>
                    <a:pt x="381929" y="73240"/>
                  </a:lnTo>
                  <a:lnTo>
                    <a:pt x="373498" y="81470"/>
                  </a:lnTo>
                  <a:lnTo>
                    <a:pt x="373498" y="94636"/>
                  </a:lnTo>
                  <a:lnTo>
                    <a:pt x="309421" y="147304"/>
                  </a:lnTo>
                  <a:lnTo>
                    <a:pt x="255462" y="209847"/>
                  </a:lnTo>
                  <a:lnTo>
                    <a:pt x="253775" y="201617"/>
                  </a:lnTo>
                  <a:lnTo>
                    <a:pt x="248717" y="203264"/>
                  </a:lnTo>
                  <a:lnTo>
                    <a:pt x="248717" y="208201"/>
                  </a:lnTo>
                  <a:lnTo>
                    <a:pt x="253775" y="211493"/>
                  </a:lnTo>
                  <a:lnTo>
                    <a:pt x="241972" y="216430"/>
                  </a:lnTo>
                  <a:close/>
                  <a:moveTo>
                    <a:pt x="255462" y="188451"/>
                  </a:moveTo>
                  <a:lnTo>
                    <a:pt x="267265" y="188451"/>
                  </a:lnTo>
                  <a:lnTo>
                    <a:pt x="265579" y="178575"/>
                  </a:lnTo>
                  <a:lnTo>
                    <a:pt x="260520" y="181867"/>
                  </a:lnTo>
                  <a:lnTo>
                    <a:pt x="252089" y="180221"/>
                  </a:lnTo>
                  <a:lnTo>
                    <a:pt x="260520" y="185159"/>
                  </a:lnTo>
                  <a:lnTo>
                    <a:pt x="255462" y="188451"/>
                  </a:lnTo>
                  <a:close/>
                  <a:moveTo>
                    <a:pt x="159347" y="168700"/>
                  </a:moveTo>
                  <a:lnTo>
                    <a:pt x="161033" y="168700"/>
                  </a:lnTo>
                  <a:lnTo>
                    <a:pt x="159347" y="165409"/>
                  </a:lnTo>
                  <a:lnTo>
                    <a:pt x="157661" y="165409"/>
                  </a:lnTo>
                  <a:lnTo>
                    <a:pt x="159347" y="168700"/>
                  </a:lnTo>
                  <a:close/>
                  <a:moveTo>
                    <a:pt x="169464" y="163763"/>
                  </a:moveTo>
                  <a:lnTo>
                    <a:pt x="172837" y="162117"/>
                  </a:lnTo>
                  <a:lnTo>
                    <a:pt x="171150" y="160471"/>
                  </a:lnTo>
                  <a:lnTo>
                    <a:pt x="169464" y="163763"/>
                  </a:lnTo>
                  <a:close/>
                  <a:moveTo>
                    <a:pt x="118877" y="157179"/>
                  </a:moveTo>
                  <a:lnTo>
                    <a:pt x="118877" y="153888"/>
                  </a:lnTo>
                  <a:lnTo>
                    <a:pt x="115505" y="155533"/>
                  </a:lnTo>
                  <a:lnTo>
                    <a:pt x="118877" y="157179"/>
                  </a:lnTo>
                  <a:close/>
                  <a:moveTo>
                    <a:pt x="198130" y="144012"/>
                  </a:moveTo>
                  <a:lnTo>
                    <a:pt x="198130" y="140721"/>
                  </a:lnTo>
                  <a:lnTo>
                    <a:pt x="193071" y="140721"/>
                  </a:lnTo>
                  <a:lnTo>
                    <a:pt x="198130" y="144012"/>
                  </a:lnTo>
                  <a:close/>
                  <a:moveTo>
                    <a:pt x="267265" y="129199"/>
                  </a:moveTo>
                  <a:lnTo>
                    <a:pt x="272324" y="124262"/>
                  </a:lnTo>
                  <a:lnTo>
                    <a:pt x="272324" y="119324"/>
                  </a:lnTo>
                  <a:lnTo>
                    <a:pt x="267265" y="117679"/>
                  </a:lnTo>
                  <a:lnTo>
                    <a:pt x="270638" y="114387"/>
                  </a:lnTo>
                  <a:lnTo>
                    <a:pt x="272324" y="114387"/>
                  </a:lnTo>
                  <a:lnTo>
                    <a:pt x="274010" y="117679"/>
                  </a:lnTo>
                  <a:lnTo>
                    <a:pt x="277383" y="116033"/>
                  </a:lnTo>
                  <a:lnTo>
                    <a:pt x="275696" y="112741"/>
                  </a:lnTo>
                  <a:lnTo>
                    <a:pt x="272324" y="114387"/>
                  </a:lnTo>
                  <a:lnTo>
                    <a:pt x="272324" y="106157"/>
                  </a:lnTo>
                  <a:lnTo>
                    <a:pt x="270638" y="109449"/>
                  </a:lnTo>
                  <a:lnTo>
                    <a:pt x="263893" y="107803"/>
                  </a:lnTo>
                  <a:lnTo>
                    <a:pt x="267265" y="104512"/>
                  </a:lnTo>
                  <a:lnTo>
                    <a:pt x="265579" y="106157"/>
                  </a:lnTo>
                  <a:lnTo>
                    <a:pt x="263893" y="99574"/>
                  </a:lnTo>
                  <a:lnTo>
                    <a:pt x="270638" y="99574"/>
                  </a:lnTo>
                  <a:lnTo>
                    <a:pt x="270638" y="96282"/>
                  </a:lnTo>
                  <a:lnTo>
                    <a:pt x="272324" y="99574"/>
                  </a:lnTo>
                  <a:lnTo>
                    <a:pt x="270638" y="92991"/>
                  </a:lnTo>
                  <a:lnTo>
                    <a:pt x="265579" y="94636"/>
                  </a:lnTo>
                  <a:lnTo>
                    <a:pt x="265579" y="89699"/>
                  </a:lnTo>
                  <a:lnTo>
                    <a:pt x="263893" y="96282"/>
                  </a:lnTo>
                  <a:lnTo>
                    <a:pt x="255462" y="101220"/>
                  </a:lnTo>
                  <a:lnTo>
                    <a:pt x="257148" y="104512"/>
                  </a:lnTo>
                  <a:lnTo>
                    <a:pt x="255462" y="107803"/>
                  </a:lnTo>
                  <a:lnTo>
                    <a:pt x="250403" y="97928"/>
                  </a:lnTo>
                  <a:lnTo>
                    <a:pt x="253775" y="96282"/>
                  </a:lnTo>
                  <a:lnTo>
                    <a:pt x="250403" y="92991"/>
                  </a:lnTo>
                  <a:lnTo>
                    <a:pt x="248717" y="94636"/>
                  </a:lnTo>
                  <a:lnTo>
                    <a:pt x="247031" y="92991"/>
                  </a:lnTo>
                  <a:lnTo>
                    <a:pt x="248717" y="92991"/>
                  </a:lnTo>
                  <a:lnTo>
                    <a:pt x="245344" y="89699"/>
                  </a:lnTo>
                  <a:lnTo>
                    <a:pt x="248717" y="89699"/>
                  </a:lnTo>
                  <a:lnTo>
                    <a:pt x="247031" y="86407"/>
                  </a:lnTo>
                  <a:lnTo>
                    <a:pt x="243658" y="89699"/>
                  </a:lnTo>
                  <a:lnTo>
                    <a:pt x="241972" y="88053"/>
                  </a:lnTo>
                  <a:lnTo>
                    <a:pt x="240286" y="89699"/>
                  </a:lnTo>
                  <a:lnTo>
                    <a:pt x="243658" y="91345"/>
                  </a:lnTo>
                  <a:lnTo>
                    <a:pt x="245344" y="97928"/>
                  </a:lnTo>
                  <a:lnTo>
                    <a:pt x="240286" y="102866"/>
                  </a:lnTo>
                  <a:lnTo>
                    <a:pt x="243658" y="102866"/>
                  </a:lnTo>
                  <a:lnTo>
                    <a:pt x="241972" y="109449"/>
                  </a:lnTo>
                  <a:lnTo>
                    <a:pt x="243658" y="111095"/>
                  </a:lnTo>
                  <a:lnTo>
                    <a:pt x="238600" y="116033"/>
                  </a:lnTo>
                  <a:lnTo>
                    <a:pt x="233541" y="116033"/>
                  </a:lnTo>
                  <a:lnTo>
                    <a:pt x="250403" y="119324"/>
                  </a:lnTo>
                  <a:lnTo>
                    <a:pt x="255462" y="127554"/>
                  </a:lnTo>
                  <a:lnTo>
                    <a:pt x="258834" y="129199"/>
                  </a:lnTo>
                  <a:lnTo>
                    <a:pt x="262207" y="125908"/>
                  </a:lnTo>
                  <a:lnTo>
                    <a:pt x="267265" y="129199"/>
                  </a:lnTo>
                  <a:close/>
                  <a:moveTo>
                    <a:pt x="275696" y="109449"/>
                  </a:moveTo>
                  <a:lnTo>
                    <a:pt x="277383" y="104512"/>
                  </a:lnTo>
                  <a:lnTo>
                    <a:pt x="274010" y="106157"/>
                  </a:lnTo>
                  <a:lnTo>
                    <a:pt x="275696" y="109449"/>
                  </a:lnTo>
                  <a:close/>
                  <a:moveTo>
                    <a:pt x="272324" y="106157"/>
                  </a:moveTo>
                  <a:lnTo>
                    <a:pt x="275696" y="104512"/>
                  </a:lnTo>
                  <a:lnTo>
                    <a:pt x="272324" y="104512"/>
                  </a:lnTo>
                  <a:lnTo>
                    <a:pt x="272324" y="106157"/>
                  </a:lnTo>
                  <a:close/>
                  <a:moveTo>
                    <a:pt x="274010" y="99574"/>
                  </a:moveTo>
                  <a:lnTo>
                    <a:pt x="272324" y="94636"/>
                  </a:lnTo>
                  <a:lnTo>
                    <a:pt x="272324" y="96282"/>
                  </a:lnTo>
                  <a:lnTo>
                    <a:pt x="274010" y="99574"/>
                  </a:lnTo>
                  <a:close/>
                  <a:moveTo>
                    <a:pt x="287500" y="96282"/>
                  </a:moveTo>
                  <a:lnTo>
                    <a:pt x="287500" y="91345"/>
                  </a:lnTo>
                  <a:lnTo>
                    <a:pt x="285814" y="91345"/>
                  </a:lnTo>
                  <a:lnTo>
                    <a:pt x="279069" y="94636"/>
                  </a:lnTo>
                  <a:lnTo>
                    <a:pt x="287500" y="96282"/>
                  </a:lnTo>
                  <a:close/>
                  <a:moveTo>
                    <a:pt x="275696" y="92991"/>
                  </a:moveTo>
                  <a:lnTo>
                    <a:pt x="277383" y="91345"/>
                  </a:lnTo>
                  <a:lnTo>
                    <a:pt x="275696" y="91345"/>
                  </a:lnTo>
                  <a:lnTo>
                    <a:pt x="275696" y="92991"/>
                  </a:lnTo>
                  <a:close/>
                  <a:moveTo>
                    <a:pt x="274010" y="91345"/>
                  </a:moveTo>
                  <a:lnTo>
                    <a:pt x="272324" y="88053"/>
                  </a:lnTo>
                  <a:lnTo>
                    <a:pt x="279069" y="86407"/>
                  </a:lnTo>
                  <a:lnTo>
                    <a:pt x="279069" y="83115"/>
                  </a:lnTo>
                  <a:lnTo>
                    <a:pt x="282441" y="83115"/>
                  </a:lnTo>
                  <a:lnTo>
                    <a:pt x="280755" y="86407"/>
                  </a:lnTo>
                  <a:lnTo>
                    <a:pt x="285814" y="86407"/>
                  </a:lnTo>
                  <a:lnTo>
                    <a:pt x="285814" y="83115"/>
                  </a:lnTo>
                  <a:lnTo>
                    <a:pt x="292559" y="79824"/>
                  </a:lnTo>
                  <a:lnTo>
                    <a:pt x="290873" y="71594"/>
                  </a:lnTo>
                  <a:lnTo>
                    <a:pt x="287500" y="71594"/>
                  </a:lnTo>
                  <a:lnTo>
                    <a:pt x="289186" y="76532"/>
                  </a:lnTo>
                  <a:lnTo>
                    <a:pt x="284127" y="78178"/>
                  </a:lnTo>
                  <a:lnTo>
                    <a:pt x="274010" y="78178"/>
                  </a:lnTo>
                  <a:lnTo>
                    <a:pt x="262207" y="81470"/>
                  </a:lnTo>
                  <a:lnTo>
                    <a:pt x="265579" y="86407"/>
                  </a:lnTo>
                  <a:lnTo>
                    <a:pt x="270638" y="86407"/>
                  </a:lnTo>
                  <a:lnTo>
                    <a:pt x="274010" y="91345"/>
                  </a:lnTo>
                  <a:close/>
                  <a:moveTo>
                    <a:pt x="250403" y="92991"/>
                  </a:moveTo>
                  <a:lnTo>
                    <a:pt x="252089" y="91345"/>
                  </a:lnTo>
                  <a:lnTo>
                    <a:pt x="250403" y="88053"/>
                  </a:lnTo>
                  <a:lnTo>
                    <a:pt x="248717" y="89699"/>
                  </a:lnTo>
                  <a:lnTo>
                    <a:pt x="250403" y="92991"/>
                  </a:lnTo>
                  <a:close/>
                  <a:moveTo>
                    <a:pt x="260520" y="88053"/>
                  </a:moveTo>
                  <a:lnTo>
                    <a:pt x="263893" y="86407"/>
                  </a:lnTo>
                  <a:lnTo>
                    <a:pt x="262207" y="84761"/>
                  </a:lnTo>
                  <a:lnTo>
                    <a:pt x="260520" y="88053"/>
                  </a:lnTo>
                  <a:close/>
                  <a:moveTo>
                    <a:pt x="238600" y="96282"/>
                  </a:moveTo>
                  <a:lnTo>
                    <a:pt x="240286" y="94636"/>
                  </a:lnTo>
                  <a:lnTo>
                    <a:pt x="238600" y="94636"/>
                  </a:lnTo>
                  <a:lnTo>
                    <a:pt x="238600" y="96282"/>
                  </a:lnTo>
                  <a:close/>
                  <a:moveTo>
                    <a:pt x="255462" y="84761"/>
                  </a:moveTo>
                  <a:lnTo>
                    <a:pt x="255462" y="83115"/>
                  </a:lnTo>
                  <a:lnTo>
                    <a:pt x="253775" y="83115"/>
                  </a:lnTo>
                  <a:lnTo>
                    <a:pt x="255462" y="84761"/>
                  </a:lnTo>
                  <a:close/>
                  <a:moveTo>
                    <a:pt x="258834" y="83115"/>
                  </a:moveTo>
                  <a:lnTo>
                    <a:pt x="260520" y="81470"/>
                  </a:lnTo>
                  <a:lnTo>
                    <a:pt x="258834" y="79824"/>
                  </a:lnTo>
                  <a:lnTo>
                    <a:pt x="258834" y="83115"/>
                  </a:lnTo>
                  <a:close/>
                  <a:moveTo>
                    <a:pt x="112133" y="83115"/>
                  </a:moveTo>
                  <a:lnTo>
                    <a:pt x="112133" y="81470"/>
                  </a:lnTo>
                  <a:lnTo>
                    <a:pt x="112133" y="83115"/>
                  </a:lnTo>
                  <a:lnTo>
                    <a:pt x="112133" y="83115"/>
                  </a:lnTo>
                  <a:close/>
                  <a:moveTo>
                    <a:pt x="277383" y="73240"/>
                  </a:moveTo>
                  <a:lnTo>
                    <a:pt x="280755" y="71594"/>
                  </a:lnTo>
                  <a:lnTo>
                    <a:pt x="277383" y="71594"/>
                  </a:lnTo>
                  <a:lnTo>
                    <a:pt x="277383" y="73240"/>
                  </a:lnTo>
                  <a:close/>
                  <a:moveTo>
                    <a:pt x="287500" y="71594"/>
                  </a:moveTo>
                  <a:lnTo>
                    <a:pt x="287500" y="68302"/>
                  </a:lnTo>
                  <a:lnTo>
                    <a:pt x="287500" y="71594"/>
                  </a:lnTo>
                  <a:close/>
                  <a:moveTo>
                    <a:pt x="275696" y="68302"/>
                  </a:moveTo>
                  <a:lnTo>
                    <a:pt x="274010" y="66657"/>
                  </a:lnTo>
                  <a:lnTo>
                    <a:pt x="275696" y="68302"/>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7" name="Roermond">
              <a:extLst>
                <a:ext uri="{FF2B5EF4-FFF2-40B4-BE49-F238E27FC236}">
                  <a16:creationId xmlns:a16="http://schemas.microsoft.com/office/drawing/2014/main" id="{55128FDB-113F-4C87-8DC9-4D33B1A37193}"/>
                </a:ext>
              </a:extLst>
            </p:cNvPr>
            <p:cNvSpPr/>
            <p:nvPr/>
          </p:nvSpPr>
          <p:spPr>
            <a:xfrm>
              <a:off x="6796230" y="4888226"/>
              <a:ext cx="191500" cy="166830"/>
            </a:xfrm>
            <a:custGeom>
              <a:avLst/>
              <a:gdLst/>
              <a:ahLst/>
              <a:cxnLst/>
              <a:rect l="l" t="t" r="r" b="b"/>
              <a:pathLst>
                <a:path w="269287" h="240030" extrusionOk="0">
                  <a:moveTo>
                    <a:pt x="157661" y="22219"/>
                  </a:moveTo>
                  <a:lnTo>
                    <a:pt x="162719" y="22219"/>
                  </a:lnTo>
                  <a:lnTo>
                    <a:pt x="162719" y="25510"/>
                  </a:lnTo>
                  <a:lnTo>
                    <a:pt x="174523" y="35385"/>
                  </a:lnTo>
                  <a:lnTo>
                    <a:pt x="181268" y="32094"/>
                  </a:lnTo>
                  <a:lnTo>
                    <a:pt x="191385" y="33740"/>
                  </a:lnTo>
                  <a:lnTo>
                    <a:pt x="198130" y="32094"/>
                  </a:lnTo>
                  <a:lnTo>
                    <a:pt x="211620" y="17281"/>
                  </a:lnTo>
                  <a:lnTo>
                    <a:pt x="214992" y="18927"/>
                  </a:lnTo>
                  <a:lnTo>
                    <a:pt x="228482" y="32094"/>
                  </a:lnTo>
                  <a:lnTo>
                    <a:pt x="243658" y="41969"/>
                  </a:lnTo>
                  <a:lnTo>
                    <a:pt x="265579" y="89700"/>
                  </a:lnTo>
                  <a:lnTo>
                    <a:pt x="245344" y="89700"/>
                  </a:lnTo>
                  <a:lnTo>
                    <a:pt x="236913" y="94637"/>
                  </a:lnTo>
                  <a:lnTo>
                    <a:pt x="247030" y="185159"/>
                  </a:lnTo>
                  <a:lnTo>
                    <a:pt x="218365" y="181867"/>
                  </a:lnTo>
                  <a:lnTo>
                    <a:pt x="218365" y="193389"/>
                  </a:lnTo>
                  <a:lnTo>
                    <a:pt x="221737" y="203264"/>
                  </a:lnTo>
                  <a:lnTo>
                    <a:pt x="208247" y="204909"/>
                  </a:lnTo>
                  <a:lnTo>
                    <a:pt x="211620" y="211493"/>
                  </a:lnTo>
                  <a:lnTo>
                    <a:pt x="226795" y="214785"/>
                  </a:lnTo>
                  <a:lnTo>
                    <a:pt x="231855" y="227951"/>
                  </a:lnTo>
                  <a:lnTo>
                    <a:pt x="220051" y="232889"/>
                  </a:lnTo>
                  <a:lnTo>
                    <a:pt x="220051" y="236181"/>
                  </a:lnTo>
                  <a:lnTo>
                    <a:pt x="196443" y="239473"/>
                  </a:lnTo>
                  <a:lnTo>
                    <a:pt x="194757" y="237827"/>
                  </a:lnTo>
                  <a:lnTo>
                    <a:pt x="179582" y="239473"/>
                  </a:lnTo>
                  <a:lnTo>
                    <a:pt x="174523" y="231243"/>
                  </a:lnTo>
                  <a:lnTo>
                    <a:pt x="162719" y="231243"/>
                  </a:lnTo>
                  <a:lnTo>
                    <a:pt x="154288" y="226306"/>
                  </a:lnTo>
                  <a:lnTo>
                    <a:pt x="142484" y="234535"/>
                  </a:lnTo>
                  <a:lnTo>
                    <a:pt x="132367" y="236181"/>
                  </a:lnTo>
                  <a:lnTo>
                    <a:pt x="130681" y="223014"/>
                  </a:lnTo>
                  <a:lnTo>
                    <a:pt x="125622" y="221368"/>
                  </a:lnTo>
                  <a:lnTo>
                    <a:pt x="123936" y="227951"/>
                  </a:lnTo>
                  <a:lnTo>
                    <a:pt x="118877" y="223014"/>
                  </a:lnTo>
                  <a:lnTo>
                    <a:pt x="120563" y="216431"/>
                  </a:lnTo>
                  <a:lnTo>
                    <a:pt x="112132" y="219722"/>
                  </a:lnTo>
                  <a:lnTo>
                    <a:pt x="115505" y="209847"/>
                  </a:lnTo>
                  <a:lnTo>
                    <a:pt x="113819" y="204909"/>
                  </a:lnTo>
                  <a:lnTo>
                    <a:pt x="108760" y="206556"/>
                  </a:lnTo>
                  <a:lnTo>
                    <a:pt x="107074" y="203264"/>
                  </a:lnTo>
                  <a:lnTo>
                    <a:pt x="61546" y="246056"/>
                  </a:lnTo>
                  <a:lnTo>
                    <a:pt x="51428" y="241118"/>
                  </a:lnTo>
                  <a:lnTo>
                    <a:pt x="41311" y="241118"/>
                  </a:lnTo>
                  <a:lnTo>
                    <a:pt x="21076" y="221368"/>
                  </a:lnTo>
                  <a:lnTo>
                    <a:pt x="12645" y="219722"/>
                  </a:lnTo>
                  <a:lnTo>
                    <a:pt x="4214" y="221368"/>
                  </a:lnTo>
                  <a:lnTo>
                    <a:pt x="10959" y="216431"/>
                  </a:lnTo>
                  <a:lnTo>
                    <a:pt x="17704" y="199972"/>
                  </a:lnTo>
                  <a:lnTo>
                    <a:pt x="10959" y="196681"/>
                  </a:lnTo>
                  <a:lnTo>
                    <a:pt x="24449" y="173639"/>
                  </a:lnTo>
                  <a:lnTo>
                    <a:pt x="81780" y="120971"/>
                  </a:lnTo>
                  <a:lnTo>
                    <a:pt x="107074" y="81470"/>
                  </a:lnTo>
                  <a:lnTo>
                    <a:pt x="125622" y="73240"/>
                  </a:lnTo>
                  <a:lnTo>
                    <a:pt x="135740" y="61720"/>
                  </a:lnTo>
                  <a:lnTo>
                    <a:pt x="140798" y="51844"/>
                  </a:lnTo>
                  <a:lnTo>
                    <a:pt x="145857" y="25510"/>
                  </a:lnTo>
                  <a:lnTo>
                    <a:pt x="140798" y="4114"/>
                  </a:lnTo>
                  <a:lnTo>
                    <a:pt x="154288" y="12343"/>
                  </a:lnTo>
                  <a:lnTo>
                    <a:pt x="157661" y="22219"/>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8" name="Reusel-De Mierden">
              <a:extLst>
                <a:ext uri="{FF2B5EF4-FFF2-40B4-BE49-F238E27FC236}">
                  <a16:creationId xmlns:a16="http://schemas.microsoft.com/office/drawing/2014/main" id="{F05743A8-37C6-4989-B97A-C4FAB36FF3CD}"/>
                </a:ext>
              </a:extLst>
            </p:cNvPr>
            <p:cNvSpPr/>
            <p:nvPr/>
          </p:nvSpPr>
          <p:spPr>
            <a:xfrm>
              <a:off x="5894252" y="4612346"/>
              <a:ext cx="142637" cy="204635"/>
            </a:xfrm>
            <a:custGeom>
              <a:avLst/>
              <a:gdLst/>
              <a:ahLst/>
              <a:cxnLst/>
              <a:rect l="l" t="t" r="r" b="b"/>
              <a:pathLst>
                <a:path w="210747" h="297180" extrusionOk="0">
                  <a:moveTo>
                    <a:pt x="159347" y="10698"/>
                  </a:moveTo>
                  <a:lnTo>
                    <a:pt x="162719" y="13989"/>
                  </a:lnTo>
                  <a:lnTo>
                    <a:pt x="171150" y="9052"/>
                  </a:lnTo>
                  <a:lnTo>
                    <a:pt x="181268" y="12343"/>
                  </a:lnTo>
                  <a:lnTo>
                    <a:pt x="189699" y="9052"/>
                  </a:lnTo>
                  <a:lnTo>
                    <a:pt x="189699" y="38677"/>
                  </a:lnTo>
                  <a:lnTo>
                    <a:pt x="196444" y="83116"/>
                  </a:lnTo>
                  <a:lnTo>
                    <a:pt x="204875" y="106158"/>
                  </a:lnTo>
                  <a:lnTo>
                    <a:pt x="199816" y="120970"/>
                  </a:lnTo>
                  <a:lnTo>
                    <a:pt x="203189" y="125908"/>
                  </a:lnTo>
                  <a:lnTo>
                    <a:pt x="198130" y="130845"/>
                  </a:lnTo>
                  <a:lnTo>
                    <a:pt x="199816" y="132492"/>
                  </a:lnTo>
                  <a:lnTo>
                    <a:pt x="186326" y="137429"/>
                  </a:lnTo>
                  <a:lnTo>
                    <a:pt x="184640" y="144012"/>
                  </a:lnTo>
                  <a:lnTo>
                    <a:pt x="177895" y="140721"/>
                  </a:lnTo>
                  <a:lnTo>
                    <a:pt x="189699" y="150596"/>
                  </a:lnTo>
                  <a:lnTo>
                    <a:pt x="191385" y="162117"/>
                  </a:lnTo>
                  <a:lnTo>
                    <a:pt x="189699" y="163763"/>
                  </a:lnTo>
                  <a:lnTo>
                    <a:pt x="199816" y="171992"/>
                  </a:lnTo>
                  <a:lnTo>
                    <a:pt x="196444" y="173638"/>
                  </a:lnTo>
                  <a:lnTo>
                    <a:pt x="198130" y="175284"/>
                  </a:lnTo>
                  <a:lnTo>
                    <a:pt x="191385" y="175284"/>
                  </a:lnTo>
                  <a:lnTo>
                    <a:pt x="191385" y="201618"/>
                  </a:lnTo>
                  <a:lnTo>
                    <a:pt x="194757" y="199972"/>
                  </a:lnTo>
                  <a:lnTo>
                    <a:pt x="198130" y="203264"/>
                  </a:lnTo>
                  <a:lnTo>
                    <a:pt x="194757" y="214785"/>
                  </a:lnTo>
                  <a:lnTo>
                    <a:pt x="211620" y="262515"/>
                  </a:lnTo>
                  <a:lnTo>
                    <a:pt x="198130" y="274035"/>
                  </a:lnTo>
                  <a:lnTo>
                    <a:pt x="189699" y="275682"/>
                  </a:lnTo>
                  <a:lnTo>
                    <a:pt x="162719" y="285557"/>
                  </a:lnTo>
                  <a:lnTo>
                    <a:pt x="145857" y="298724"/>
                  </a:lnTo>
                  <a:lnTo>
                    <a:pt x="102015" y="285557"/>
                  </a:lnTo>
                  <a:lnTo>
                    <a:pt x="98643" y="209847"/>
                  </a:lnTo>
                  <a:lnTo>
                    <a:pt x="78408" y="188451"/>
                  </a:lnTo>
                  <a:lnTo>
                    <a:pt x="75036" y="175284"/>
                  </a:lnTo>
                  <a:lnTo>
                    <a:pt x="4214" y="97928"/>
                  </a:lnTo>
                  <a:lnTo>
                    <a:pt x="53115" y="12343"/>
                  </a:lnTo>
                  <a:lnTo>
                    <a:pt x="80094" y="13989"/>
                  </a:lnTo>
                  <a:lnTo>
                    <a:pt x="130681" y="12343"/>
                  </a:lnTo>
                  <a:lnTo>
                    <a:pt x="132367" y="13989"/>
                  </a:lnTo>
                  <a:lnTo>
                    <a:pt x="139112" y="12343"/>
                  </a:lnTo>
                  <a:lnTo>
                    <a:pt x="140798" y="4114"/>
                  </a:lnTo>
                  <a:lnTo>
                    <a:pt x="159347" y="1069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19" name="Dalfsen">
              <a:extLst>
                <a:ext uri="{FF2B5EF4-FFF2-40B4-BE49-F238E27FC236}">
                  <a16:creationId xmlns:a16="http://schemas.microsoft.com/office/drawing/2014/main" id="{93562F83-7B23-4B23-BD48-A818922537CC}"/>
                </a:ext>
              </a:extLst>
            </p:cNvPr>
            <p:cNvSpPr/>
            <p:nvPr/>
          </p:nvSpPr>
          <p:spPr>
            <a:xfrm>
              <a:off x="7029613" y="2696338"/>
              <a:ext cx="237564" cy="288236"/>
            </a:xfrm>
            <a:custGeom>
              <a:avLst/>
              <a:gdLst/>
              <a:ahLst/>
              <a:cxnLst/>
              <a:rect l="l" t="t" r="r" b="b"/>
              <a:pathLst>
                <a:path w="339536" h="422910" extrusionOk="0">
                  <a:moveTo>
                    <a:pt x="236913" y="4114"/>
                  </a:moveTo>
                  <a:lnTo>
                    <a:pt x="302676" y="183513"/>
                  </a:lnTo>
                  <a:lnTo>
                    <a:pt x="290872" y="188451"/>
                  </a:lnTo>
                  <a:lnTo>
                    <a:pt x="287500" y="186805"/>
                  </a:lnTo>
                  <a:lnTo>
                    <a:pt x="275696" y="196680"/>
                  </a:lnTo>
                  <a:lnTo>
                    <a:pt x="268951" y="191742"/>
                  </a:lnTo>
                  <a:lnTo>
                    <a:pt x="257148" y="190097"/>
                  </a:lnTo>
                  <a:lnTo>
                    <a:pt x="260520" y="206555"/>
                  </a:lnTo>
                  <a:lnTo>
                    <a:pt x="258834" y="213139"/>
                  </a:lnTo>
                  <a:lnTo>
                    <a:pt x="263893" y="218076"/>
                  </a:lnTo>
                  <a:lnTo>
                    <a:pt x="265579" y="224660"/>
                  </a:lnTo>
                  <a:lnTo>
                    <a:pt x="262207" y="226306"/>
                  </a:lnTo>
                  <a:lnTo>
                    <a:pt x="277382" y="287203"/>
                  </a:lnTo>
                  <a:lnTo>
                    <a:pt x="277382" y="348100"/>
                  </a:lnTo>
                  <a:lnTo>
                    <a:pt x="331342" y="348100"/>
                  </a:lnTo>
                  <a:lnTo>
                    <a:pt x="319538" y="364558"/>
                  </a:lnTo>
                  <a:lnTo>
                    <a:pt x="322911" y="371142"/>
                  </a:lnTo>
                  <a:lnTo>
                    <a:pt x="327969" y="369496"/>
                  </a:lnTo>
                  <a:lnTo>
                    <a:pt x="334714" y="387600"/>
                  </a:lnTo>
                  <a:lnTo>
                    <a:pt x="339773" y="389246"/>
                  </a:lnTo>
                  <a:lnTo>
                    <a:pt x="334714" y="417226"/>
                  </a:lnTo>
                  <a:lnTo>
                    <a:pt x="316166" y="417226"/>
                  </a:lnTo>
                  <a:lnTo>
                    <a:pt x="297617" y="413934"/>
                  </a:lnTo>
                  <a:lnTo>
                    <a:pt x="297617" y="422163"/>
                  </a:lnTo>
                  <a:lnTo>
                    <a:pt x="289186" y="420518"/>
                  </a:lnTo>
                  <a:lnTo>
                    <a:pt x="287500" y="425455"/>
                  </a:lnTo>
                  <a:lnTo>
                    <a:pt x="279069" y="423809"/>
                  </a:lnTo>
                  <a:lnTo>
                    <a:pt x="268951" y="418872"/>
                  </a:lnTo>
                  <a:lnTo>
                    <a:pt x="265579" y="425455"/>
                  </a:lnTo>
                  <a:lnTo>
                    <a:pt x="241972" y="407350"/>
                  </a:lnTo>
                  <a:lnTo>
                    <a:pt x="235227" y="405705"/>
                  </a:lnTo>
                  <a:lnTo>
                    <a:pt x="216678" y="410642"/>
                  </a:lnTo>
                  <a:lnTo>
                    <a:pt x="214992" y="400767"/>
                  </a:lnTo>
                  <a:lnTo>
                    <a:pt x="199816" y="402413"/>
                  </a:lnTo>
                  <a:lnTo>
                    <a:pt x="198130" y="374433"/>
                  </a:lnTo>
                  <a:lnTo>
                    <a:pt x="179582" y="372787"/>
                  </a:lnTo>
                  <a:lnTo>
                    <a:pt x="179582" y="348100"/>
                  </a:lnTo>
                  <a:lnTo>
                    <a:pt x="142484" y="334933"/>
                  </a:lnTo>
                  <a:lnTo>
                    <a:pt x="134053" y="333287"/>
                  </a:lnTo>
                  <a:lnTo>
                    <a:pt x="120564" y="328349"/>
                  </a:lnTo>
                  <a:lnTo>
                    <a:pt x="81780" y="331641"/>
                  </a:lnTo>
                  <a:lnTo>
                    <a:pt x="64918" y="321766"/>
                  </a:lnTo>
                  <a:lnTo>
                    <a:pt x="41311" y="323411"/>
                  </a:lnTo>
                  <a:lnTo>
                    <a:pt x="27821" y="316828"/>
                  </a:lnTo>
                  <a:lnTo>
                    <a:pt x="22763" y="323411"/>
                  </a:lnTo>
                  <a:lnTo>
                    <a:pt x="17704" y="321766"/>
                  </a:lnTo>
                  <a:lnTo>
                    <a:pt x="4214" y="308599"/>
                  </a:lnTo>
                  <a:lnTo>
                    <a:pt x="16018" y="305307"/>
                  </a:lnTo>
                  <a:lnTo>
                    <a:pt x="17704" y="302015"/>
                  </a:lnTo>
                  <a:lnTo>
                    <a:pt x="21076" y="302015"/>
                  </a:lnTo>
                  <a:lnTo>
                    <a:pt x="22763" y="298724"/>
                  </a:lnTo>
                  <a:lnTo>
                    <a:pt x="26135" y="300369"/>
                  </a:lnTo>
                  <a:lnTo>
                    <a:pt x="26135" y="295432"/>
                  </a:lnTo>
                  <a:lnTo>
                    <a:pt x="32880" y="297078"/>
                  </a:lnTo>
                  <a:lnTo>
                    <a:pt x="34566" y="292140"/>
                  </a:lnTo>
                  <a:lnTo>
                    <a:pt x="42997" y="293786"/>
                  </a:lnTo>
                  <a:lnTo>
                    <a:pt x="49742" y="290494"/>
                  </a:lnTo>
                  <a:lnTo>
                    <a:pt x="51428" y="287203"/>
                  </a:lnTo>
                  <a:lnTo>
                    <a:pt x="49742" y="280619"/>
                  </a:lnTo>
                  <a:lnTo>
                    <a:pt x="54801" y="270744"/>
                  </a:lnTo>
                  <a:lnTo>
                    <a:pt x="61546" y="267452"/>
                  </a:lnTo>
                  <a:lnTo>
                    <a:pt x="58173" y="264160"/>
                  </a:lnTo>
                  <a:lnTo>
                    <a:pt x="59859" y="257577"/>
                  </a:lnTo>
                  <a:lnTo>
                    <a:pt x="54801" y="257577"/>
                  </a:lnTo>
                  <a:lnTo>
                    <a:pt x="41311" y="247702"/>
                  </a:lnTo>
                  <a:lnTo>
                    <a:pt x="36252" y="232889"/>
                  </a:lnTo>
                  <a:lnTo>
                    <a:pt x="36252" y="227951"/>
                  </a:lnTo>
                  <a:lnTo>
                    <a:pt x="19390" y="201618"/>
                  </a:lnTo>
                  <a:lnTo>
                    <a:pt x="34566" y="199972"/>
                  </a:lnTo>
                  <a:lnTo>
                    <a:pt x="34566" y="196680"/>
                  </a:lnTo>
                  <a:lnTo>
                    <a:pt x="41311" y="190097"/>
                  </a:lnTo>
                  <a:lnTo>
                    <a:pt x="39625" y="186805"/>
                  </a:lnTo>
                  <a:lnTo>
                    <a:pt x="48056" y="168700"/>
                  </a:lnTo>
                  <a:lnTo>
                    <a:pt x="42997" y="158825"/>
                  </a:lnTo>
                  <a:lnTo>
                    <a:pt x="75036" y="83116"/>
                  </a:lnTo>
                  <a:lnTo>
                    <a:pt x="66605" y="65011"/>
                  </a:lnTo>
                  <a:lnTo>
                    <a:pt x="61546" y="40323"/>
                  </a:lnTo>
                  <a:lnTo>
                    <a:pt x="128995" y="27156"/>
                  </a:lnTo>
                  <a:lnTo>
                    <a:pt x="145857" y="23864"/>
                  </a:lnTo>
                  <a:lnTo>
                    <a:pt x="145857" y="18927"/>
                  </a:lnTo>
                  <a:lnTo>
                    <a:pt x="164405" y="15635"/>
                  </a:lnTo>
                  <a:lnTo>
                    <a:pt x="169464" y="15635"/>
                  </a:lnTo>
                  <a:lnTo>
                    <a:pt x="169464" y="18927"/>
                  </a:lnTo>
                  <a:lnTo>
                    <a:pt x="182954" y="15635"/>
                  </a:lnTo>
                  <a:lnTo>
                    <a:pt x="182954" y="13989"/>
                  </a:lnTo>
                  <a:lnTo>
                    <a:pt x="188013" y="12343"/>
                  </a:lnTo>
                  <a:lnTo>
                    <a:pt x="188013" y="15635"/>
                  </a:lnTo>
                  <a:lnTo>
                    <a:pt x="236913"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0" name="Leiderdorp">
              <a:extLst>
                <a:ext uri="{FF2B5EF4-FFF2-40B4-BE49-F238E27FC236}">
                  <a16:creationId xmlns:a16="http://schemas.microsoft.com/office/drawing/2014/main" id="{4B31C4A8-560E-41CD-B9AD-2E03CE6F2274}"/>
                </a:ext>
              </a:extLst>
            </p:cNvPr>
            <p:cNvSpPr/>
            <p:nvPr/>
          </p:nvSpPr>
          <p:spPr>
            <a:xfrm>
              <a:off x="5331867" y="3380696"/>
              <a:ext cx="49353" cy="83169"/>
            </a:xfrm>
            <a:custGeom>
              <a:avLst/>
              <a:gdLst/>
              <a:ahLst/>
              <a:cxnLst/>
              <a:rect l="l" t="t" r="r" b="b"/>
              <a:pathLst>
                <a:path w="93665" h="125730" extrusionOk="0">
                  <a:moveTo>
                    <a:pt x="10959" y="4114"/>
                  </a:moveTo>
                  <a:lnTo>
                    <a:pt x="26135" y="9052"/>
                  </a:lnTo>
                  <a:lnTo>
                    <a:pt x="41311" y="9052"/>
                  </a:lnTo>
                  <a:lnTo>
                    <a:pt x="46370" y="27156"/>
                  </a:lnTo>
                  <a:lnTo>
                    <a:pt x="59860" y="50198"/>
                  </a:lnTo>
                  <a:lnTo>
                    <a:pt x="75036" y="41969"/>
                  </a:lnTo>
                  <a:lnTo>
                    <a:pt x="76722" y="43615"/>
                  </a:lnTo>
                  <a:lnTo>
                    <a:pt x="75036" y="48552"/>
                  </a:lnTo>
                  <a:lnTo>
                    <a:pt x="76722" y="55136"/>
                  </a:lnTo>
                  <a:lnTo>
                    <a:pt x="76722" y="56782"/>
                  </a:lnTo>
                  <a:lnTo>
                    <a:pt x="90212" y="74886"/>
                  </a:lnTo>
                  <a:lnTo>
                    <a:pt x="88525" y="99574"/>
                  </a:lnTo>
                  <a:lnTo>
                    <a:pt x="81780" y="117679"/>
                  </a:lnTo>
                  <a:lnTo>
                    <a:pt x="75036" y="124262"/>
                  </a:lnTo>
                  <a:lnTo>
                    <a:pt x="73349" y="125908"/>
                  </a:lnTo>
                  <a:lnTo>
                    <a:pt x="53115" y="106158"/>
                  </a:lnTo>
                  <a:lnTo>
                    <a:pt x="29507" y="101220"/>
                  </a:lnTo>
                  <a:lnTo>
                    <a:pt x="21076" y="92991"/>
                  </a:lnTo>
                  <a:lnTo>
                    <a:pt x="14331" y="65011"/>
                  </a:lnTo>
                  <a:lnTo>
                    <a:pt x="4214" y="55136"/>
                  </a:lnTo>
                  <a:lnTo>
                    <a:pt x="7587" y="43615"/>
                  </a:lnTo>
                  <a:lnTo>
                    <a:pt x="5900" y="30448"/>
                  </a:lnTo>
                  <a:lnTo>
                    <a:pt x="10959" y="22219"/>
                  </a:lnTo>
                  <a:lnTo>
                    <a:pt x="10959"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1" name="Stadskanaal">
              <a:extLst>
                <a:ext uri="{FF2B5EF4-FFF2-40B4-BE49-F238E27FC236}">
                  <a16:creationId xmlns:a16="http://schemas.microsoft.com/office/drawing/2014/main" id="{A8330BDE-6D9B-49E7-9701-631F7D550084}"/>
                </a:ext>
              </a:extLst>
            </p:cNvPr>
            <p:cNvSpPr/>
            <p:nvPr/>
          </p:nvSpPr>
          <p:spPr>
            <a:xfrm>
              <a:off x="7732388" y="1919165"/>
              <a:ext cx="285938" cy="251845"/>
            </a:xfrm>
            <a:custGeom>
              <a:avLst/>
              <a:gdLst/>
              <a:ahLst/>
              <a:cxnLst/>
              <a:rect l="l" t="t" r="r" b="b"/>
              <a:pathLst>
                <a:path w="362953" h="377190" extrusionOk="0">
                  <a:moveTo>
                    <a:pt x="223424" y="4114"/>
                  </a:moveTo>
                  <a:lnTo>
                    <a:pt x="228482" y="13989"/>
                  </a:lnTo>
                  <a:lnTo>
                    <a:pt x="231855" y="9052"/>
                  </a:lnTo>
                  <a:lnTo>
                    <a:pt x="236913" y="9052"/>
                  </a:lnTo>
                  <a:lnTo>
                    <a:pt x="253776" y="20573"/>
                  </a:lnTo>
                  <a:lnTo>
                    <a:pt x="258835" y="20573"/>
                  </a:lnTo>
                  <a:lnTo>
                    <a:pt x="260520" y="25510"/>
                  </a:lnTo>
                  <a:lnTo>
                    <a:pt x="299304" y="20573"/>
                  </a:lnTo>
                  <a:lnTo>
                    <a:pt x="299304" y="22218"/>
                  </a:lnTo>
                  <a:lnTo>
                    <a:pt x="307735" y="18927"/>
                  </a:lnTo>
                  <a:lnTo>
                    <a:pt x="324597" y="27156"/>
                  </a:lnTo>
                  <a:lnTo>
                    <a:pt x="329656" y="37031"/>
                  </a:lnTo>
                  <a:lnTo>
                    <a:pt x="324597" y="56782"/>
                  </a:lnTo>
                  <a:lnTo>
                    <a:pt x="321224" y="60073"/>
                  </a:lnTo>
                  <a:lnTo>
                    <a:pt x="312793" y="58427"/>
                  </a:lnTo>
                  <a:lnTo>
                    <a:pt x="314480" y="60073"/>
                  </a:lnTo>
                  <a:lnTo>
                    <a:pt x="312793" y="66657"/>
                  </a:lnTo>
                  <a:lnTo>
                    <a:pt x="311108" y="65011"/>
                  </a:lnTo>
                  <a:lnTo>
                    <a:pt x="314480" y="71594"/>
                  </a:lnTo>
                  <a:lnTo>
                    <a:pt x="311108" y="71594"/>
                  </a:lnTo>
                  <a:lnTo>
                    <a:pt x="312793" y="74886"/>
                  </a:lnTo>
                  <a:lnTo>
                    <a:pt x="314480" y="76532"/>
                  </a:lnTo>
                  <a:lnTo>
                    <a:pt x="316166" y="74886"/>
                  </a:lnTo>
                  <a:lnTo>
                    <a:pt x="333028" y="73240"/>
                  </a:lnTo>
                  <a:lnTo>
                    <a:pt x="339774" y="78178"/>
                  </a:lnTo>
                  <a:lnTo>
                    <a:pt x="339774" y="83115"/>
                  </a:lnTo>
                  <a:lnTo>
                    <a:pt x="334715" y="84761"/>
                  </a:lnTo>
                  <a:lnTo>
                    <a:pt x="333028" y="112741"/>
                  </a:lnTo>
                  <a:lnTo>
                    <a:pt x="334715" y="119324"/>
                  </a:lnTo>
                  <a:lnTo>
                    <a:pt x="343146" y="116033"/>
                  </a:lnTo>
                  <a:lnTo>
                    <a:pt x="349890" y="124262"/>
                  </a:lnTo>
                  <a:lnTo>
                    <a:pt x="358322" y="127554"/>
                  </a:lnTo>
                  <a:lnTo>
                    <a:pt x="361694" y="139075"/>
                  </a:lnTo>
                  <a:lnTo>
                    <a:pt x="321224" y="171992"/>
                  </a:lnTo>
                  <a:lnTo>
                    <a:pt x="319539" y="293786"/>
                  </a:lnTo>
                  <a:lnTo>
                    <a:pt x="312793" y="298723"/>
                  </a:lnTo>
                  <a:lnTo>
                    <a:pt x="312793" y="348099"/>
                  </a:lnTo>
                  <a:lnTo>
                    <a:pt x="270638" y="353037"/>
                  </a:lnTo>
                  <a:lnTo>
                    <a:pt x="262207" y="366204"/>
                  </a:lnTo>
                  <a:lnTo>
                    <a:pt x="257148" y="377725"/>
                  </a:lnTo>
                  <a:lnTo>
                    <a:pt x="241972" y="364558"/>
                  </a:lnTo>
                  <a:lnTo>
                    <a:pt x="118878" y="201617"/>
                  </a:lnTo>
                  <a:lnTo>
                    <a:pt x="4214" y="88053"/>
                  </a:lnTo>
                  <a:lnTo>
                    <a:pt x="9273" y="83115"/>
                  </a:lnTo>
                  <a:lnTo>
                    <a:pt x="14332" y="88053"/>
                  </a:lnTo>
                  <a:lnTo>
                    <a:pt x="34566" y="74886"/>
                  </a:lnTo>
                  <a:lnTo>
                    <a:pt x="59860" y="107803"/>
                  </a:lnTo>
                  <a:lnTo>
                    <a:pt x="66605" y="102866"/>
                  </a:lnTo>
                  <a:lnTo>
                    <a:pt x="64919" y="99574"/>
                  </a:lnTo>
                  <a:lnTo>
                    <a:pt x="73350" y="91345"/>
                  </a:lnTo>
                  <a:lnTo>
                    <a:pt x="80094" y="101220"/>
                  </a:lnTo>
                  <a:lnTo>
                    <a:pt x="117192" y="137429"/>
                  </a:lnTo>
                  <a:lnTo>
                    <a:pt x="145858" y="150596"/>
                  </a:lnTo>
                  <a:lnTo>
                    <a:pt x="193071" y="65011"/>
                  </a:lnTo>
                  <a:lnTo>
                    <a:pt x="196444" y="50198"/>
                  </a:lnTo>
                  <a:lnTo>
                    <a:pt x="201503" y="48552"/>
                  </a:lnTo>
                  <a:lnTo>
                    <a:pt x="223424"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2" name="Ede">
              <a:extLst>
                <a:ext uri="{FF2B5EF4-FFF2-40B4-BE49-F238E27FC236}">
                  <a16:creationId xmlns:a16="http://schemas.microsoft.com/office/drawing/2014/main" id="{8B18CCD6-690F-4190-A432-C0B590E48376}"/>
                </a:ext>
              </a:extLst>
            </p:cNvPr>
            <p:cNvSpPr/>
            <p:nvPr/>
          </p:nvSpPr>
          <p:spPr>
            <a:xfrm>
              <a:off x="6397433" y="3439487"/>
              <a:ext cx="421472" cy="248409"/>
            </a:xfrm>
            <a:custGeom>
              <a:avLst/>
              <a:gdLst/>
              <a:ahLst/>
              <a:cxnLst/>
              <a:rect l="l" t="t" r="r" b="b"/>
              <a:pathLst>
                <a:path w="620532" h="388620" extrusionOk="0">
                  <a:moveTo>
                    <a:pt x="351577" y="4114"/>
                  </a:moveTo>
                  <a:lnTo>
                    <a:pt x="368439" y="7405"/>
                  </a:lnTo>
                  <a:lnTo>
                    <a:pt x="459495" y="5760"/>
                  </a:lnTo>
                  <a:lnTo>
                    <a:pt x="481416" y="12343"/>
                  </a:lnTo>
                  <a:lnTo>
                    <a:pt x="489847" y="68302"/>
                  </a:lnTo>
                  <a:lnTo>
                    <a:pt x="518513" y="114387"/>
                  </a:lnTo>
                  <a:lnTo>
                    <a:pt x="543806" y="120970"/>
                  </a:lnTo>
                  <a:lnTo>
                    <a:pt x="560668" y="129199"/>
                  </a:lnTo>
                  <a:lnTo>
                    <a:pt x="621373" y="129199"/>
                  </a:lnTo>
                  <a:lnTo>
                    <a:pt x="614627" y="183513"/>
                  </a:lnTo>
                  <a:lnTo>
                    <a:pt x="558982" y="221368"/>
                  </a:lnTo>
                  <a:lnTo>
                    <a:pt x="540434" y="218076"/>
                  </a:lnTo>
                  <a:lnTo>
                    <a:pt x="543806" y="250993"/>
                  </a:lnTo>
                  <a:lnTo>
                    <a:pt x="516827" y="252639"/>
                  </a:lnTo>
                  <a:lnTo>
                    <a:pt x="483102" y="246056"/>
                  </a:lnTo>
                  <a:lnTo>
                    <a:pt x="467926" y="247702"/>
                  </a:lnTo>
                  <a:lnTo>
                    <a:pt x="449378" y="259223"/>
                  </a:lnTo>
                  <a:lnTo>
                    <a:pt x="412281" y="313536"/>
                  </a:lnTo>
                  <a:lnTo>
                    <a:pt x="395418" y="318474"/>
                  </a:lnTo>
                  <a:lnTo>
                    <a:pt x="397105" y="321765"/>
                  </a:lnTo>
                  <a:lnTo>
                    <a:pt x="388674" y="318474"/>
                  </a:lnTo>
                  <a:lnTo>
                    <a:pt x="366753" y="318474"/>
                  </a:lnTo>
                  <a:lnTo>
                    <a:pt x="321225" y="321765"/>
                  </a:lnTo>
                  <a:lnTo>
                    <a:pt x="307735" y="325057"/>
                  </a:lnTo>
                  <a:lnTo>
                    <a:pt x="297617" y="343162"/>
                  </a:lnTo>
                  <a:lnTo>
                    <a:pt x="299304" y="353037"/>
                  </a:lnTo>
                  <a:lnTo>
                    <a:pt x="290872" y="357975"/>
                  </a:lnTo>
                  <a:lnTo>
                    <a:pt x="294245" y="366204"/>
                  </a:lnTo>
                  <a:lnTo>
                    <a:pt x="289186" y="371141"/>
                  </a:lnTo>
                  <a:lnTo>
                    <a:pt x="277383" y="371141"/>
                  </a:lnTo>
                  <a:lnTo>
                    <a:pt x="223424" y="384308"/>
                  </a:lnTo>
                  <a:lnTo>
                    <a:pt x="213306" y="387600"/>
                  </a:lnTo>
                  <a:lnTo>
                    <a:pt x="213306" y="390892"/>
                  </a:lnTo>
                  <a:lnTo>
                    <a:pt x="201503" y="394183"/>
                  </a:lnTo>
                  <a:lnTo>
                    <a:pt x="193072" y="385954"/>
                  </a:lnTo>
                  <a:lnTo>
                    <a:pt x="184640" y="389246"/>
                  </a:lnTo>
                  <a:lnTo>
                    <a:pt x="182954" y="385954"/>
                  </a:lnTo>
                  <a:lnTo>
                    <a:pt x="171151" y="389246"/>
                  </a:lnTo>
                  <a:lnTo>
                    <a:pt x="169464" y="384308"/>
                  </a:lnTo>
                  <a:lnTo>
                    <a:pt x="144171" y="392538"/>
                  </a:lnTo>
                  <a:lnTo>
                    <a:pt x="137426" y="384308"/>
                  </a:lnTo>
                  <a:lnTo>
                    <a:pt x="128995" y="390892"/>
                  </a:lnTo>
                  <a:lnTo>
                    <a:pt x="125622" y="384308"/>
                  </a:lnTo>
                  <a:lnTo>
                    <a:pt x="117191" y="390892"/>
                  </a:lnTo>
                  <a:lnTo>
                    <a:pt x="108760" y="374433"/>
                  </a:lnTo>
                  <a:lnTo>
                    <a:pt x="96957" y="379371"/>
                  </a:lnTo>
                  <a:lnTo>
                    <a:pt x="96957" y="387600"/>
                  </a:lnTo>
                  <a:lnTo>
                    <a:pt x="93584" y="387600"/>
                  </a:lnTo>
                  <a:lnTo>
                    <a:pt x="75036" y="369496"/>
                  </a:lnTo>
                  <a:lnTo>
                    <a:pt x="73349" y="356328"/>
                  </a:lnTo>
                  <a:lnTo>
                    <a:pt x="64918" y="344807"/>
                  </a:lnTo>
                  <a:lnTo>
                    <a:pt x="66605" y="334932"/>
                  </a:lnTo>
                  <a:lnTo>
                    <a:pt x="71663" y="336578"/>
                  </a:lnTo>
                  <a:lnTo>
                    <a:pt x="71663" y="325057"/>
                  </a:lnTo>
                  <a:lnTo>
                    <a:pt x="66605" y="323411"/>
                  </a:lnTo>
                  <a:lnTo>
                    <a:pt x="66605" y="303661"/>
                  </a:lnTo>
                  <a:lnTo>
                    <a:pt x="66605" y="298723"/>
                  </a:lnTo>
                  <a:lnTo>
                    <a:pt x="69977" y="298723"/>
                  </a:lnTo>
                  <a:lnTo>
                    <a:pt x="71663" y="290494"/>
                  </a:lnTo>
                  <a:lnTo>
                    <a:pt x="36253" y="275681"/>
                  </a:lnTo>
                  <a:lnTo>
                    <a:pt x="41311" y="269098"/>
                  </a:lnTo>
                  <a:lnTo>
                    <a:pt x="41311" y="257577"/>
                  </a:lnTo>
                  <a:lnTo>
                    <a:pt x="22763" y="255931"/>
                  </a:lnTo>
                  <a:lnTo>
                    <a:pt x="26135" y="209847"/>
                  </a:lnTo>
                  <a:lnTo>
                    <a:pt x="24449" y="201617"/>
                  </a:lnTo>
                  <a:lnTo>
                    <a:pt x="27822" y="196680"/>
                  </a:lnTo>
                  <a:lnTo>
                    <a:pt x="29508" y="181867"/>
                  </a:lnTo>
                  <a:lnTo>
                    <a:pt x="26135" y="170346"/>
                  </a:lnTo>
                  <a:lnTo>
                    <a:pt x="21076" y="167054"/>
                  </a:lnTo>
                  <a:lnTo>
                    <a:pt x="21076" y="163763"/>
                  </a:lnTo>
                  <a:lnTo>
                    <a:pt x="17704" y="165409"/>
                  </a:lnTo>
                  <a:lnTo>
                    <a:pt x="19390" y="152242"/>
                  </a:lnTo>
                  <a:lnTo>
                    <a:pt x="16018" y="144012"/>
                  </a:lnTo>
                  <a:lnTo>
                    <a:pt x="10959" y="140720"/>
                  </a:lnTo>
                  <a:lnTo>
                    <a:pt x="16018" y="132491"/>
                  </a:lnTo>
                  <a:lnTo>
                    <a:pt x="4214" y="104511"/>
                  </a:lnTo>
                  <a:lnTo>
                    <a:pt x="10959" y="102866"/>
                  </a:lnTo>
                  <a:lnTo>
                    <a:pt x="16018" y="99574"/>
                  </a:lnTo>
                  <a:lnTo>
                    <a:pt x="27822" y="79823"/>
                  </a:lnTo>
                  <a:lnTo>
                    <a:pt x="32880" y="79823"/>
                  </a:lnTo>
                  <a:lnTo>
                    <a:pt x="37939" y="88053"/>
                  </a:lnTo>
                  <a:lnTo>
                    <a:pt x="39625" y="78178"/>
                  </a:lnTo>
                  <a:lnTo>
                    <a:pt x="53115" y="81470"/>
                  </a:lnTo>
                  <a:lnTo>
                    <a:pt x="73349" y="73240"/>
                  </a:lnTo>
                  <a:lnTo>
                    <a:pt x="81781" y="73240"/>
                  </a:lnTo>
                  <a:lnTo>
                    <a:pt x="88526" y="69949"/>
                  </a:lnTo>
                  <a:lnTo>
                    <a:pt x="96957" y="71594"/>
                  </a:lnTo>
                  <a:lnTo>
                    <a:pt x="110447" y="65011"/>
                  </a:lnTo>
                  <a:lnTo>
                    <a:pt x="120564" y="65011"/>
                  </a:lnTo>
                  <a:lnTo>
                    <a:pt x="144171" y="56781"/>
                  </a:lnTo>
                  <a:lnTo>
                    <a:pt x="157661" y="58427"/>
                  </a:lnTo>
                  <a:lnTo>
                    <a:pt x="172837" y="53490"/>
                  </a:lnTo>
                  <a:lnTo>
                    <a:pt x="179582" y="55136"/>
                  </a:lnTo>
                  <a:lnTo>
                    <a:pt x="186326" y="51844"/>
                  </a:lnTo>
                  <a:lnTo>
                    <a:pt x="191385" y="48552"/>
                  </a:lnTo>
                  <a:lnTo>
                    <a:pt x="208247" y="55136"/>
                  </a:lnTo>
                  <a:lnTo>
                    <a:pt x="213306" y="53490"/>
                  </a:lnTo>
                  <a:lnTo>
                    <a:pt x="221737" y="41969"/>
                  </a:lnTo>
                  <a:lnTo>
                    <a:pt x="226796" y="41969"/>
                  </a:lnTo>
                  <a:lnTo>
                    <a:pt x="240286" y="45260"/>
                  </a:lnTo>
                  <a:lnTo>
                    <a:pt x="263893" y="43615"/>
                  </a:lnTo>
                  <a:lnTo>
                    <a:pt x="263893" y="40323"/>
                  </a:lnTo>
                  <a:lnTo>
                    <a:pt x="272324" y="38677"/>
                  </a:lnTo>
                  <a:lnTo>
                    <a:pt x="270638" y="23864"/>
                  </a:lnTo>
                  <a:lnTo>
                    <a:pt x="268952" y="18926"/>
                  </a:lnTo>
                  <a:lnTo>
                    <a:pt x="304362" y="13989"/>
                  </a:lnTo>
                  <a:lnTo>
                    <a:pt x="333028" y="15635"/>
                  </a:lnTo>
                  <a:lnTo>
                    <a:pt x="35157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3" name="Zutphen">
              <a:extLst>
                <a:ext uri="{FF2B5EF4-FFF2-40B4-BE49-F238E27FC236}">
                  <a16:creationId xmlns:a16="http://schemas.microsoft.com/office/drawing/2014/main" id="{9F5EBFB8-AF15-48DC-A755-C120A1DD1E15}"/>
                </a:ext>
              </a:extLst>
            </p:cNvPr>
            <p:cNvSpPr/>
            <p:nvPr/>
          </p:nvSpPr>
          <p:spPr>
            <a:xfrm>
              <a:off x="7018056" y="3405192"/>
              <a:ext cx="197965" cy="142304"/>
            </a:xfrm>
            <a:custGeom>
              <a:avLst/>
              <a:gdLst/>
              <a:ahLst/>
              <a:cxnLst/>
              <a:rect l="l" t="t" r="r" b="b"/>
              <a:pathLst>
                <a:path w="292704" h="194310" extrusionOk="0">
                  <a:moveTo>
                    <a:pt x="90212" y="17281"/>
                  </a:moveTo>
                  <a:lnTo>
                    <a:pt x="91898" y="20573"/>
                  </a:lnTo>
                  <a:lnTo>
                    <a:pt x="95270" y="15635"/>
                  </a:lnTo>
                  <a:lnTo>
                    <a:pt x="105388" y="10698"/>
                  </a:lnTo>
                  <a:lnTo>
                    <a:pt x="113819" y="20573"/>
                  </a:lnTo>
                  <a:lnTo>
                    <a:pt x="120564" y="22219"/>
                  </a:lnTo>
                  <a:lnTo>
                    <a:pt x="122250" y="27156"/>
                  </a:lnTo>
                  <a:lnTo>
                    <a:pt x="118878" y="30448"/>
                  </a:lnTo>
                  <a:lnTo>
                    <a:pt x="123936" y="30448"/>
                  </a:lnTo>
                  <a:lnTo>
                    <a:pt x="123936" y="35386"/>
                  </a:lnTo>
                  <a:lnTo>
                    <a:pt x="130681" y="37031"/>
                  </a:lnTo>
                  <a:lnTo>
                    <a:pt x="130681" y="41969"/>
                  </a:lnTo>
                  <a:lnTo>
                    <a:pt x="142485" y="37031"/>
                  </a:lnTo>
                  <a:lnTo>
                    <a:pt x="149230" y="37031"/>
                  </a:lnTo>
                  <a:lnTo>
                    <a:pt x="152602" y="60074"/>
                  </a:lnTo>
                  <a:lnTo>
                    <a:pt x="169464" y="56782"/>
                  </a:lnTo>
                  <a:lnTo>
                    <a:pt x="172837" y="58428"/>
                  </a:lnTo>
                  <a:lnTo>
                    <a:pt x="193072" y="56782"/>
                  </a:lnTo>
                  <a:lnTo>
                    <a:pt x="201503" y="50199"/>
                  </a:lnTo>
                  <a:lnTo>
                    <a:pt x="208247" y="51844"/>
                  </a:lnTo>
                  <a:lnTo>
                    <a:pt x="216679" y="50199"/>
                  </a:lnTo>
                  <a:lnTo>
                    <a:pt x="221737" y="53490"/>
                  </a:lnTo>
                  <a:lnTo>
                    <a:pt x="231855" y="50199"/>
                  </a:lnTo>
                  <a:lnTo>
                    <a:pt x="240286" y="51844"/>
                  </a:lnTo>
                  <a:lnTo>
                    <a:pt x="243658" y="50199"/>
                  </a:lnTo>
                  <a:lnTo>
                    <a:pt x="248717" y="51844"/>
                  </a:lnTo>
                  <a:lnTo>
                    <a:pt x="255462" y="46907"/>
                  </a:lnTo>
                  <a:lnTo>
                    <a:pt x="284128" y="41969"/>
                  </a:lnTo>
                  <a:lnTo>
                    <a:pt x="290872" y="78178"/>
                  </a:lnTo>
                  <a:lnTo>
                    <a:pt x="258834" y="96283"/>
                  </a:lnTo>
                  <a:lnTo>
                    <a:pt x="238599" y="102866"/>
                  </a:lnTo>
                  <a:lnTo>
                    <a:pt x="233541" y="106158"/>
                  </a:lnTo>
                  <a:lnTo>
                    <a:pt x="235227" y="109449"/>
                  </a:lnTo>
                  <a:lnTo>
                    <a:pt x="230168" y="107803"/>
                  </a:lnTo>
                  <a:lnTo>
                    <a:pt x="213306" y="117679"/>
                  </a:lnTo>
                  <a:lnTo>
                    <a:pt x="203189" y="142367"/>
                  </a:lnTo>
                  <a:lnTo>
                    <a:pt x="184640" y="145658"/>
                  </a:lnTo>
                  <a:lnTo>
                    <a:pt x="150916" y="137429"/>
                  </a:lnTo>
                  <a:lnTo>
                    <a:pt x="147543" y="139075"/>
                  </a:lnTo>
                  <a:lnTo>
                    <a:pt x="145857" y="145658"/>
                  </a:lnTo>
                  <a:lnTo>
                    <a:pt x="137426" y="148950"/>
                  </a:lnTo>
                  <a:lnTo>
                    <a:pt x="135740" y="155534"/>
                  </a:lnTo>
                  <a:lnTo>
                    <a:pt x="130681" y="155534"/>
                  </a:lnTo>
                  <a:lnTo>
                    <a:pt x="134054" y="170346"/>
                  </a:lnTo>
                  <a:lnTo>
                    <a:pt x="127309" y="170346"/>
                  </a:lnTo>
                  <a:lnTo>
                    <a:pt x="125622" y="190097"/>
                  </a:lnTo>
                  <a:lnTo>
                    <a:pt x="128995" y="198326"/>
                  </a:lnTo>
                  <a:lnTo>
                    <a:pt x="127309" y="196680"/>
                  </a:lnTo>
                  <a:lnTo>
                    <a:pt x="125622" y="198326"/>
                  </a:lnTo>
                  <a:lnTo>
                    <a:pt x="123936" y="196680"/>
                  </a:lnTo>
                  <a:lnTo>
                    <a:pt x="125622" y="190097"/>
                  </a:lnTo>
                  <a:lnTo>
                    <a:pt x="122250" y="188451"/>
                  </a:lnTo>
                  <a:lnTo>
                    <a:pt x="125622" y="180221"/>
                  </a:lnTo>
                  <a:lnTo>
                    <a:pt x="118878" y="150596"/>
                  </a:lnTo>
                  <a:lnTo>
                    <a:pt x="110447" y="140721"/>
                  </a:lnTo>
                  <a:lnTo>
                    <a:pt x="83467" y="137429"/>
                  </a:lnTo>
                  <a:lnTo>
                    <a:pt x="76722" y="132492"/>
                  </a:lnTo>
                  <a:lnTo>
                    <a:pt x="73349" y="124262"/>
                  </a:lnTo>
                  <a:lnTo>
                    <a:pt x="75036" y="112741"/>
                  </a:lnTo>
                  <a:lnTo>
                    <a:pt x="68291" y="109449"/>
                  </a:lnTo>
                  <a:lnTo>
                    <a:pt x="69977" y="89699"/>
                  </a:lnTo>
                  <a:lnTo>
                    <a:pt x="61546" y="83116"/>
                  </a:lnTo>
                  <a:lnTo>
                    <a:pt x="63232" y="79824"/>
                  </a:lnTo>
                  <a:lnTo>
                    <a:pt x="56487" y="76532"/>
                  </a:lnTo>
                  <a:lnTo>
                    <a:pt x="56487" y="71595"/>
                  </a:lnTo>
                  <a:lnTo>
                    <a:pt x="53115" y="68303"/>
                  </a:lnTo>
                  <a:lnTo>
                    <a:pt x="54801" y="63365"/>
                  </a:lnTo>
                  <a:lnTo>
                    <a:pt x="39625" y="60074"/>
                  </a:lnTo>
                  <a:lnTo>
                    <a:pt x="17704" y="66657"/>
                  </a:lnTo>
                  <a:lnTo>
                    <a:pt x="7587" y="61719"/>
                  </a:lnTo>
                  <a:lnTo>
                    <a:pt x="4214" y="56782"/>
                  </a:lnTo>
                  <a:lnTo>
                    <a:pt x="5901" y="41969"/>
                  </a:lnTo>
                  <a:lnTo>
                    <a:pt x="12645" y="33740"/>
                  </a:lnTo>
                  <a:lnTo>
                    <a:pt x="32880" y="33740"/>
                  </a:lnTo>
                  <a:lnTo>
                    <a:pt x="51429" y="45261"/>
                  </a:lnTo>
                  <a:lnTo>
                    <a:pt x="63232" y="45261"/>
                  </a:lnTo>
                  <a:lnTo>
                    <a:pt x="66605" y="45261"/>
                  </a:lnTo>
                  <a:lnTo>
                    <a:pt x="71663" y="20573"/>
                  </a:lnTo>
                  <a:lnTo>
                    <a:pt x="83467" y="4114"/>
                  </a:lnTo>
                  <a:lnTo>
                    <a:pt x="90212" y="1728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4" name="Harderwijk">
              <a:extLst>
                <a:ext uri="{FF2B5EF4-FFF2-40B4-BE49-F238E27FC236}">
                  <a16:creationId xmlns:a16="http://schemas.microsoft.com/office/drawing/2014/main" id="{9F388792-9B00-4DE6-9587-9EECC2444BF9}"/>
                </a:ext>
              </a:extLst>
            </p:cNvPr>
            <p:cNvSpPr/>
            <p:nvPr/>
          </p:nvSpPr>
          <p:spPr>
            <a:xfrm>
              <a:off x="6427370" y="3061925"/>
              <a:ext cx="143907" cy="125159"/>
            </a:xfrm>
            <a:custGeom>
              <a:avLst/>
              <a:gdLst/>
              <a:ahLst/>
              <a:cxnLst/>
              <a:rect l="l" t="t" r="r" b="b"/>
              <a:pathLst>
                <a:path w="210747" h="194310" extrusionOk="0">
                  <a:moveTo>
                    <a:pt x="32880" y="46906"/>
                  </a:moveTo>
                  <a:lnTo>
                    <a:pt x="39625" y="48552"/>
                  </a:lnTo>
                  <a:lnTo>
                    <a:pt x="34566" y="50198"/>
                  </a:lnTo>
                  <a:lnTo>
                    <a:pt x="32880" y="46906"/>
                  </a:lnTo>
                  <a:close/>
                  <a:moveTo>
                    <a:pt x="27821" y="48552"/>
                  </a:moveTo>
                  <a:lnTo>
                    <a:pt x="31194" y="51844"/>
                  </a:lnTo>
                  <a:lnTo>
                    <a:pt x="41311" y="50198"/>
                  </a:lnTo>
                  <a:lnTo>
                    <a:pt x="31194" y="53490"/>
                  </a:lnTo>
                  <a:lnTo>
                    <a:pt x="27821" y="50198"/>
                  </a:lnTo>
                  <a:lnTo>
                    <a:pt x="29507" y="46906"/>
                  </a:lnTo>
                  <a:lnTo>
                    <a:pt x="27821" y="48552"/>
                  </a:lnTo>
                  <a:close/>
                  <a:moveTo>
                    <a:pt x="68291" y="46906"/>
                  </a:moveTo>
                  <a:lnTo>
                    <a:pt x="66605" y="48552"/>
                  </a:lnTo>
                  <a:lnTo>
                    <a:pt x="61546" y="45261"/>
                  </a:lnTo>
                  <a:lnTo>
                    <a:pt x="68291" y="46906"/>
                  </a:lnTo>
                  <a:close/>
                  <a:moveTo>
                    <a:pt x="80094" y="43615"/>
                  </a:moveTo>
                  <a:lnTo>
                    <a:pt x="73349" y="48552"/>
                  </a:lnTo>
                  <a:lnTo>
                    <a:pt x="75036" y="43615"/>
                  </a:lnTo>
                  <a:lnTo>
                    <a:pt x="80094" y="43615"/>
                  </a:lnTo>
                  <a:close/>
                  <a:moveTo>
                    <a:pt x="49742" y="43615"/>
                  </a:moveTo>
                  <a:lnTo>
                    <a:pt x="58173" y="53490"/>
                  </a:lnTo>
                  <a:lnTo>
                    <a:pt x="49742" y="43615"/>
                  </a:lnTo>
                  <a:lnTo>
                    <a:pt x="41311" y="48552"/>
                  </a:lnTo>
                  <a:lnTo>
                    <a:pt x="42997" y="46906"/>
                  </a:lnTo>
                  <a:lnTo>
                    <a:pt x="29507" y="46906"/>
                  </a:lnTo>
                  <a:lnTo>
                    <a:pt x="34566" y="41969"/>
                  </a:lnTo>
                  <a:lnTo>
                    <a:pt x="49742" y="43615"/>
                  </a:lnTo>
                  <a:close/>
                  <a:moveTo>
                    <a:pt x="176209" y="35385"/>
                  </a:moveTo>
                  <a:lnTo>
                    <a:pt x="193071" y="55136"/>
                  </a:lnTo>
                  <a:lnTo>
                    <a:pt x="189699" y="58427"/>
                  </a:lnTo>
                  <a:lnTo>
                    <a:pt x="189699" y="66657"/>
                  </a:lnTo>
                  <a:lnTo>
                    <a:pt x="198130" y="83116"/>
                  </a:lnTo>
                  <a:lnTo>
                    <a:pt x="199816" y="97928"/>
                  </a:lnTo>
                  <a:lnTo>
                    <a:pt x="208247" y="101220"/>
                  </a:lnTo>
                  <a:lnTo>
                    <a:pt x="211620" y="112741"/>
                  </a:lnTo>
                  <a:lnTo>
                    <a:pt x="211620" y="117678"/>
                  </a:lnTo>
                  <a:lnTo>
                    <a:pt x="201502" y="125908"/>
                  </a:lnTo>
                  <a:lnTo>
                    <a:pt x="171150" y="163763"/>
                  </a:lnTo>
                  <a:lnTo>
                    <a:pt x="159347" y="191742"/>
                  </a:lnTo>
                  <a:lnTo>
                    <a:pt x="147543" y="185159"/>
                  </a:lnTo>
                  <a:lnTo>
                    <a:pt x="128995" y="170346"/>
                  </a:lnTo>
                  <a:lnTo>
                    <a:pt x="86839" y="130845"/>
                  </a:lnTo>
                  <a:lnTo>
                    <a:pt x="76722" y="130845"/>
                  </a:lnTo>
                  <a:lnTo>
                    <a:pt x="75036" y="129200"/>
                  </a:lnTo>
                  <a:lnTo>
                    <a:pt x="53115" y="148950"/>
                  </a:lnTo>
                  <a:lnTo>
                    <a:pt x="42997" y="147304"/>
                  </a:lnTo>
                  <a:lnTo>
                    <a:pt x="44684" y="152242"/>
                  </a:lnTo>
                  <a:lnTo>
                    <a:pt x="14332" y="142367"/>
                  </a:lnTo>
                  <a:lnTo>
                    <a:pt x="4214" y="130845"/>
                  </a:lnTo>
                  <a:lnTo>
                    <a:pt x="14332" y="120970"/>
                  </a:lnTo>
                  <a:lnTo>
                    <a:pt x="31194" y="114387"/>
                  </a:lnTo>
                  <a:lnTo>
                    <a:pt x="58173" y="86407"/>
                  </a:lnTo>
                  <a:lnTo>
                    <a:pt x="61546" y="73240"/>
                  </a:lnTo>
                  <a:lnTo>
                    <a:pt x="59859" y="69949"/>
                  </a:lnTo>
                  <a:lnTo>
                    <a:pt x="63232" y="66657"/>
                  </a:lnTo>
                  <a:lnTo>
                    <a:pt x="59859" y="55136"/>
                  </a:lnTo>
                  <a:lnTo>
                    <a:pt x="69977" y="63365"/>
                  </a:lnTo>
                  <a:lnTo>
                    <a:pt x="68291" y="68303"/>
                  </a:lnTo>
                  <a:lnTo>
                    <a:pt x="71663" y="65011"/>
                  </a:lnTo>
                  <a:lnTo>
                    <a:pt x="76722" y="73240"/>
                  </a:lnTo>
                  <a:lnTo>
                    <a:pt x="69977" y="61719"/>
                  </a:lnTo>
                  <a:lnTo>
                    <a:pt x="75036" y="61719"/>
                  </a:lnTo>
                  <a:lnTo>
                    <a:pt x="81780" y="66657"/>
                  </a:lnTo>
                  <a:lnTo>
                    <a:pt x="76722" y="60074"/>
                  </a:lnTo>
                  <a:lnTo>
                    <a:pt x="69977" y="61719"/>
                  </a:lnTo>
                  <a:lnTo>
                    <a:pt x="66605" y="58427"/>
                  </a:lnTo>
                  <a:lnTo>
                    <a:pt x="68291" y="56782"/>
                  </a:lnTo>
                  <a:lnTo>
                    <a:pt x="66605" y="53490"/>
                  </a:lnTo>
                  <a:lnTo>
                    <a:pt x="68291" y="51844"/>
                  </a:lnTo>
                  <a:lnTo>
                    <a:pt x="69977" y="55136"/>
                  </a:lnTo>
                  <a:lnTo>
                    <a:pt x="75036" y="56782"/>
                  </a:lnTo>
                  <a:lnTo>
                    <a:pt x="68291" y="50198"/>
                  </a:lnTo>
                  <a:lnTo>
                    <a:pt x="69977" y="48552"/>
                  </a:lnTo>
                  <a:lnTo>
                    <a:pt x="81780" y="58427"/>
                  </a:lnTo>
                  <a:lnTo>
                    <a:pt x="85153" y="53490"/>
                  </a:lnTo>
                  <a:lnTo>
                    <a:pt x="83467" y="48552"/>
                  </a:lnTo>
                  <a:lnTo>
                    <a:pt x="88525" y="43615"/>
                  </a:lnTo>
                  <a:lnTo>
                    <a:pt x="85153" y="40323"/>
                  </a:lnTo>
                  <a:lnTo>
                    <a:pt x="90211" y="46906"/>
                  </a:lnTo>
                  <a:lnTo>
                    <a:pt x="98643" y="45261"/>
                  </a:lnTo>
                  <a:lnTo>
                    <a:pt x="102015" y="41969"/>
                  </a:lnTo>
                  <a:lnTo>
                    <a:pt x="100329" y="40323"/>
                  </a:lnTo>
                  <a:lnTo>
                    <a:pt x="91898" y="43615"/>
                  </a:lnTo>
                  <a:lnTo>
                    <a:pt x="86839" y="38677"/>
                  </a:lnTo>
                  <a:lnTo>
                    <a:pt x="91898" y="41969"/>
                  </a:lnTo>
                  <a:lnTo>
                    <a:pt x="96957" y="41969"/>
                  </a:lnTo>
                  <a:lnTo>
                    <a:pt x="98643" y="38677"/>
                  </a:lnTo>
                  <a:lnTo>
                    <a:pt x="96957" y="37031"/>
                  </a:lnTo>
                  <a:lnTo>
                    <a:pt x="100329" y="38677"/>
                  </a:lnTo>
                  <a:lnTo>
                    <a:pt x="96957" y="33740"/>
                  </a:lnTo>
                  <a:lnTo>
                    <a:pt x="95270" y="35385"/>
                  </a:lnTo>
                  <a:lnTo>
                    <a:pt x="96957" y="33740"/>
                  </a:lnTo>
                  <a:lnTo>
                    <a:pt x="102015" y="37031"/>
                  </a:lnTo>
                  <a:lnTo>
                    <a:pt x="107074" y="32094"/>
                  </a:lnTo>
                  <a:lnTo>
                    <a:pt x="113819" y="32094"/>
                  </a:lnTo>
                  <a:lnTo>
                    <a:pt x="122250" y="38677"/>
                  </a:lnTo>
                  <a:lnTo>
                    <a:pt x="140798" y="20573"/>
                  </a:lnTo>
                  <a:lnTo>
                    <a:pt x="152602" y="13989"/>
                  </a:lnTo>
                  <a:lnTo>
                    <a:pt x="159347" y="4114"/>
                  </a:lnTo>
                  <a:lnTo>
                    <a:pt x="161033" y="12343"/>
                  </a:lnTo>
                  <a:lnTo>
                    <a:pt x="176209" y="3538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5" name="Woudenberg">
              <a:extLst>
                <a:ext uri="{FF2B5EF4-FFF2-40B4-BE49-F238E27FC236}">
                  <a16:creationId xmlns:a16="http://schemas.microsoft.com/office/drawing/2014/main" id="{C8892105-481A-4A0C-AC28-BDF6A7FE5723}"/>
                </a:ext>
              </a:extLst>
            </p:cNvPr>
            <p:cNvSpPr/>
            <p:nvPr/>
          </p:nvSpPr>
          <p:spPr>
            <a:xfrm>
              <a:off x="6150943" y="3492724"/>
              <a:ext cx="198341" cy="130498"/>
            </a:xfrm>
            <a:custGeom>
              <a:avLst/>
              <a:gdLst/>
              <a:ahLst/>
              <a:cxnLst/>
              <a:rect l="l" t="t" r="r" b="b"/>
              <a:pathLst>
                <a:path w="304412" h="182880" extrusionOk="0">
                  <a:moveTo>
                    <a:pt x="294245" y="10698"/>
                  </a:moveTo>
                  <a:lnTo>
                    <a:pt x="299303" y="12343"/>
                  </a:lnTo>
                  <a:lnTo>
                    <a:pt x="302676" y="20573"/>
                  </a:lnTo>
                  <a:lnTo>
                    <a:pt x="287500" y="33740"/>
                  </a:lnTo>
                  <a:lnTo>
                    <a:pt x="290872" y="61719"/>
                  </a:lnTo>
                  <a:lnTo>
                    <a:pt x="268951" y="73240"/>
                  </a:lnTo>
                  <a:lnTo>
                    <a:pt x="257148" y="88053"/>
                  </a:lnTo>
                  <a:lnTo>
                    <a:pt x="250403" y="89699"/>
                  </a:lnTo>
                  <a:lnTo>
                    <a:pt x="248717" y="94636"/>
                  </a:lnTo>
                  <a:lnTo>
                    <a:pt x="258834" y="99574"/>
                  </a:lnTo>
                  <a:lnTo>
                    <a:pt x="260520" y="106157"/>
                  </a:lnTo>
                  <a:lnTo>
                    <a:pt x="287500" y="119324"/>
                  </a:lnTo>
                  <a:lnTo>
                    <a:pt x="306048" y="114387"/>
                  </a:lnTo>
                  <a:lnTo>
                    <a:pt x="307735" y="150596"/>
                  </a:lnTo>
                  <a:lnTo>
                    <a:pt x="299303" y="150596"/>
                  </a:lnTo>
                  <a:lnTo>
                    <a:pt x="287500" y="153888"/>
                  </a:lnTo>
                  <a:lnTo>
                    <a:pt x="277383" y="160471"/>
                  </a:lnTo>
                  <a:lnTo>
                    <a:pt x="258834" y="165409"/>
                  </a:lnTo>
                  <a:lnTo>
                    <a:pt x="252089" y="170346"/>
                  </a:lnTo>
                  <a:lnTo>
                    <a:pt x="252089" y="173638"/>
                  </a:lnTo>
                  <a:lnTo>
                    <a:pt x="240286" y="167054"/>
                  </a:lnTo>
                  <a:lnTo>
                    <a:pt x="233541" y="183513"/>
                  </a:lnTo>
                  <a:lnTo>
                    <a:pt x="228482" y="178575"/>
                  </a:lnTo>
                  <a:lnTo>
                    <a:pt x="213306" y="171992"/>
                  </a:lnTo>
                  <a:lnTo>
                    <a:pt x="203189" y="155533"/>
                  </a:lnTo>
                  <a:lnTo>
                    <a:pt x="204875" y="145658"/>
                  </a:lnTo>
                  <a:lnTo>
                    <a:pt x="213306" y="144012"/>
                  </a:lnTo>
                  <a:lnTo>
                    <a:pt x="214992" y="139075"/>
                  </a:lnTo>
                  <a:lnTo>
                    <a:pt x="218365" y="117678"/>
                  </a:lnTo>
                  <a:lnTo>
                    <a:pt x="213306" y="112741"/>
                  </a:lnTo>
                  <a:lnTo>
                    <a:pt x="198130" y="114387"/>
                  </a:lnTo>
                  <a:lnTo>
                    <a:pt x="193071" y="112741"/>
                  </a:lnTo>
                  <a:lnTo>
                    <a:pt x="174523" y="120970"/>
                  </a:lnTo>
                  <a:lnTo>
                    <a:pt x="162719" y="132491"/>
                  </a:lnTo>
                  <a:lnTo>
                    <a:pt x="157661" y="127554"/>
                  </a:lnTo>
                  <a:lnTo>
                    <a:pt x="161033" y="124262"/>
                  </a:lnTo>
                  <a:lnTo>
                    <a:pt x="159347" y="120970"/>
                  </a:lnTo>
                  <a:lnTo>
                    <a:pt x="169464" y="112741"/>
                  </a:lnTo>
                  <a:lnTo>
                    <a:pt x="167778" y="106157"/>
                  </a:lnTo>
                  <a:lnTo>
                    <a:pt x="145857" y="107803"/>
                  </a:lnTo>
                  <a:lnTo>
                    <a:pt x="144171" y="106157"/>
                  </a:lnTo>
                  <a:lnTo>
                    <a:pt x="140798" y="107803"/>
                  </a:lnTo>
                  <a:lnTo>
                    <a:pt x="135740" y="99574"/>
                  </a:lnTo>
                  <a:lnTo>
                    <a:pt x="56487" y="84761"/>
                  </a:lnTo>
                  <a:lnTo>
                    <a:pt x="4214" y="55136"/>
                  </a:lnTo>
                  <a:lnTo>
                    <a:pt x="41311" y="41969"/>
                  </a:lnTo>
                  <a:lnTo>
                    <a:pt x="59860" y="55136"/>
                  </a:lnTo>
                  <a:lnTo>
                    <a:pt x="68291" y="58427"/>
                  </a:lnTo>
                  <a:lnTo>
                    <a:pt x="125622" y="69949"/>
                  </a:lnTo>
                  <a:lnTo>
                    <a:pt x="161033" y="73240"/>
                  </a:lnTo>
                  <a:lnTo>
                    <a:pt x="166092" y="37031"/>
                  </a:lnTo>
                  <a:lnTo>
                    <a:pt x="174523" y="38677"/>
                  </a:lnTo>
                  <a:lnTo>
                    <a:pt x="191385" y="55136"/>
                  </a:lnTo>
                  <a:lnTo>
                    <a:pt x="203189" y="56782"/>
                  </a:lnTo>
                  <a:lnTo>
                    <a:pt x="216678" y="46906"/>
                  </a:lnTo>
                  <a:lnTo>
                    <a:pt x="225110" y="30448"/>
                  </a:lnTo>
                  <a:lnTo>
                    <a:pt x="247030" y="33740"/>
                  </a:lnTo>
                  <a:lnTo>
                    <a:pt x="262207" y="45260"/>
                  </a:lnTo>
                  <a:lnTo>
                    <a:pt x="268951" y="43615"/>
                  </a:lnTo>
                  <a:lnTo>
                    <a:pt x="270638" y="35385"/>
                  </a:lnTo>
                  <a:lnTo>
                    <a:pt x="275696" y="35385"/>
                  </a:lnTo>
                  <a:lnTo>
                    <a:pt x="274010" y="17281"/>
                  </a:lnTo>
                  <a:lnTo>
                    <a:pt x="279069" y="4114"/>
                  </a:lnTo>
                  <a:lnTo>
                    <a:pt x="294245" y="10698"/>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6" name="Leudal">
              <a:extLst>
                <a:ext uri="{FF2B5EF4-FFF2-40B4-BE49-F238E27FC236}">
                  <a16:creationId xmlns:a16="http://schemas.microsoft.com/office/drawing/2014/main" id="{D18CACBB-F3C4-45BB-868D-2765AF6D1B28}"/>
                </a:ext>
              </a:extLst>
            </p:cNvPr>
            <p:cNvSpPr/>
            <p:nvPr/>
          </p:nvSpPr>
          <p:spPr>
            <a:xfrm>
              <a:off x="6608938" y="4813919"/>
              <a:ext cx="292805" cy="259346"/>
            </a:xfrm>
            <a:custGeom>
              <a:avLst/>
              <a:gdLst/>
              <a:ahLst/>
              <a:cxnLst/>
              <a:rect l="l" t="t" r="r" b="b"/>
              <a:pathLst>
                <a:path w="409785" h="400050" extrusionOk="0">
                  <a:moveTo>
                    <a:pt x="216678" y="5760"/>
                  </a:moveTo>
                  <a:lnTo>
                    <a:pt x="258834" y="25510"/>
                  </a:lnTo>
                  <a:lnTo>
                    <a:pt x="253776" y="10697"/>
                  </a:lnTo>
                  <a:lnTo>
                    <a:pt x="326283" y="41969"/>
                  </a:lnTo>
                  <a:lnTo>
                    <a:pt x="410594" y="96282"/>
                  </a:lnTo>
                  <a:lnTo>
                    <a:pt x="413967" y="111095"/>
                  </a:lnTo>
                  <a:lnTo>
                    <a:pt x="412281" y="124262"/>
                  </a:lnTo>
                  <a:lnTo>
                    <a:pt x="405536" y="135783"/>
                  </a:lnTo>
                  <a:lnTo>
                    <a:pt x="412281" y="160471"/>
                  </a:lnTo>
                  <a:lnTo>
                    <a:pt x="407222" y="191742"/>
                  </a:lnTo>
                  <a:lnTo>
                    <a:pt x="395418" y="208201"/>
                  </a:lnTo>
                  <a:lnTo>
                    <a:pt x="376870" y="218076"/>
                  </a:lnTo>
                  <a:lnTo>
                    <a:pt x="366753" y="227952"/>
                  </a:lnTo>
                  <a:lnTo>
                    <a:pt x="349890" y="255931"/>
                  </a:lnTo>
                  <a:lnTo>
                    <a:pt x="322911" y="282265"/>
                  </a:lnTo>
                  <a:lnTo>
                    <a:pt x="314480" y="275682"/>
                  </a:lnTo>
                  <a:lnTo>
                    <a:pt x="282441" y="275682"/>
                  </a:lnTo>
                  <a:lnTo>
                    <a:pt x="265579" y="262514"/>
                  </a:lnTo>
                  <a:lnTo>
                    <a:pt x="253776" y="270744"/>
                  </a:lnTo>
                  <a:lnTo>
                    <a:pt x="252089" y="269098"/>
                  </a:lnTo>
                  <a:lnTo>
                    <a:pt x="257148" y="265807"/>
                  </a:lnTo>
                  <a:lnTo>
                    <a:pt x="257148" y="259223"/>
                  </a:lnTo>
                  <a:lnTo>
                    <a:pt x="235227" y="246056"/>
                  </a:lnTo>
                  <a:lnTo>
                    <a:pt x="230168" y="250994"/>
                  </a:lnTo>
                  <a:lnTo>
                    <a:pt x="226796" y="247702"/>
                  </a:lnTo>
                  <a:lnTo>
                    <a:pt x="218365" y="252639"/>
                  </a:lnTo>
                  <a:lnTo>
                    <a:pt x="209934" y="262514"/>
                  </a:lnTo>
                  <a:lnTo>
                    <a:pt x="201503" y="277327"/>
                  </a:lnTo>
                  <a:lnTo>
                    <a:pt x="199816" y="285557"/>
                  </a:lnTo>
                  <a:lnTo>
                    <a:pt x="194758" y="292140"/>
                  </a:lnTo>
                  <a:lnTo>
                    <a:pt x="194758" y="297077"/>
                  </a:lnTo>
                  <a:lnTo>
                    <a:pt x="203189" y="306953"/>
                  </a:lnTo>
                  <a:lnTo>
                    <a:pt x="162719" y="334933"/>
                  </a:lnTo>
                  <a:lnTo>
                    <a:pt x="169464" y="346453"/>
                  </a:lnTo>
                  <a:lnTo>
                    <a:pt x="159347" y="336579"/>
                  </a:lnTo>
                  <a:lnTo>
                    <a:pt x="130681" y="356328"/>
                  </a:lnTo>
                  <a:lnTo>
                    <a:pt x="128995" y="366203"/>
                  </a:lnTo>
                  <a:lnTo>
                    <a:pt x="125622" y="362912"/>
                  </a:lnTo>
                  <a:lnTo>
                    <a:pt x="113819" y="374433"/>
                  </a:lnTo>
                  <a:lnTo>
                    <a:pt x="112133" y="384308"/>
                  </a:lnTo>
                  <a:lnTo>
                    <a:pt x="96957" y="376079"/>
                  </a:lnTo>
                  <a:lnTo>
                    <a:pt x="91898" y="379371"/>
                  </a:lnTo>
                  <a:lnTo>
                    <a:pt x="91898" y="384308"/>
                  </a:lnTo>
                  <a:lnTo>
                    <a:pt x="86839" y="387600"/>
                  </a:lnTo>
                  <a:lnTo>
                    <a:pt x="76722" y="389246"/>
                  </a:lnTo>
                  <a:lnTo>
                    <a:pt x="64918" y="399121"/>
                  </a:lnTo>
                  <a:lnTo>
                    <a:pt x="54801" y="404058"/>
                  </a:lnTo>
                  <a:lnTo>
                    <a:pt x="53115" y="395829"/>
                  </a:lnTo>
                  <a:lnTo>
                    <a:pt x="49742" y="395829"/>
                  </a:lnTo>
                  <a:lnTo>
                    <a:pt x="51428" y="387600"/>
                  </a:lnTo>
                  <a:lnTo>
                    <a:pt x="56487" y="384308"/>
                  </a:lnTo>
                  <a:lnTo>
                    <a:pt x="56487" y="374433"/>
                  </a:lnTo>
                  <a:lnTo>
                    <a:pt x="51428" y="374433"/>
                  </a:lnTo>
                  <a:lnTo>
                    <a:pt x="51428" y="369496"/>
                  </a:lnTo>
                  <a:lnTo>
                    <a:pt x="48056" y="369496"/>
                  </a:lnTo>
                  <a:lnTo>
                    <a:pt x="49742" y="372787"/>
                  </a:lnTo>
                  <a:lnTo>
                    <a:pt x="42997" y="372787"/>
                  </a:lnTo>
                  <a:lnTo>
                    <a:pt x="41311" y="361266"/>
                  </a:lnTo>
                  <a:lnTo>
                    <a:pt x="56487" y="354683"/>
                  </a:lnTo>
                  <a:lnTo>
                    <a:pt x="46370" y="349745"/>
                  </a:lnTo>
                  <a:lnTo>
                    <a:pt x="53115" y="338224"/>
                  </a:lnTo>
                  <a:lnTo>
                    <a:pt x="37939" y="325057"/>
                  </a:lnTo>
                  <a:lnTo>
                    <a:pt x="19390" y="323411"/>
                  </a:lnTo>
                  <a:lnTo>
                    <a:pt x="21076" y="321766"/>
                  </a:lnTo>
                  <a:lnTo>
                    <a:pt x="4214" y="311891"/>
                  </a:lnTo>
                  <a:lnTo>
                    <a:pt x="5901" y="305307"/>
                  </a:lnTo>
                  <a:lnTo>
                    <a:pt x="4214" y="300369"/>
                  </a:lnTo>
                  <a:lnTo>
                    <a:pt x="14332" y="285557"/>
                  </a:lnTo>
                  <a:lnTo>
                    <a:pt x="16018" y="277327"/>
                  </a:lnTo>
                  <a:lnTo>
                    <a:pt x="14332" y="274035"/>
                  </a:lnTo>
                  <a:lnTo>
                    <a:pt x="19390" y="269098"/>
                  </a:lnTo>
                  <a:lnTo>
                    <a:pt x="9273" y="265807"/>
                  </a:lnTo>
                  <a:lnTo>
                    <a:pt x="10959" y="262514"/>
                  </a:lnTo>
                  <a:lnTo>
                    <a:pt x="12645" y="255931"/>
                  </a:lnTo>
                  <a:lnTo>
                    <a:pt x="21076" y="247702"/>
                  </a:lnTo>
                  <a:lnTo>
                    <a:pt x="46370" y="249347"/>
                  </a:lnTo>
                  <a:lnTo>
                    <a:pt x="49742" y="239472"/>
                  </a:lnTo>
                  <a:lnTo>
                    <a:pt x="59860" y="237827"/>
                  </a:lnTo>
                  <a:lnTo>
                    <a:pt x="73349" y="196680"/>
                  </a:lnTo>
                  <a:lnTo>
                    <a:pt x="91898" y="195034"/>
                  </a:lnTo>
                  <a:lnTo>
                    <a:pt x="100329" y="188450"/>
                  </a:lnTo>
                  <a:lnTo>
                    <a:pt x="115505" y="183513"/>
                  </a:lnTo>
                  <a:lnTo>
                    <a:pt x="142485" y="185159"/>
                  </a:lnTo>
                  <a:lnTo>
                    <a:pt x="149230" y="176930"/>
                  </a:lnTo>
                  <a:lnTo>
                    <a:pt x="157661" y="175284"/>
                  </a:lnTo>
                  <a:lnTo>
                    <a:pt x="164405" y="175284"/>
                  </a:lnTo>
                  <a:lnTo>
                    <a:pt x="167778" y="180221"/>
                  </a:lnTo>
                  <a:lnTo>
                    <a:pt x="171151" y="178575"/>
                  </a:lnTo>
                  <a:lnTo>
                    <a:pt x="174523" y="165408"/>
                  </a:lnTo>
                  <a:lnTo>
                    <a:pt x="172837" y="155533"/>
                  </a:lnTo>
                  <a:lnTo>
                    <a:pt x="164405" y="148950"/>
                  </a:lnTo>
                  <a:lnTo>
                    <a:pt x="159347" y="150595"/>
                  </a:lnTo>
                  <a:lnTo>
                    <a:pt x="139112" y="104511"/>
                  </a:lnTo>
                  <a:lnTo>
                    <a:pt x="147543" y="97928"/>
                  </a:lnTo>
                  <a:lnTo>
                    <a:pt x="145857" y="92991"/>
                  </a:lnTo>
                  <a:lnTo>
                    <a:pt x="166092" y="65011"/>
                  </a:lnTo>
                  <a:lnTo>
                    <a:pt x="181268" y="17281"/>
                  </a:lnTo>
                  <a:lnTo>
                    <a:pt x="206561" y="4114"/>
                  </a:lnTo>
                  <a:lnTo>
                    <a:pt x="216678"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427" name="Gilze en Rijen">
              <a:extLst>
                <a:ext uri="{FF2B5EF4-FFF2-40B4-BE49-F238E27FC236}">
                  <a16:creationId xmlns:a16="http://schemas.microsoft.com/office/drawing/2014/main" id="{F9F6B382-D8B9-407E-8626-481D2BB10447}"/>
                </a:ext>
              </a:extLst>
            </p:cNvPr>
            <p:cNvSpPr/>
            <p:nvPr/>
          </p:nvSpPr>
          <p:spPr>
            <a:xfrm>
              <a:off x="5646653" y="4305006"/>
              <a:ext cx="161801" cy="185763"/>
            </a:xfrm>
            <a:custGeom>
              <a:avLst/>
              <a:gdLst/>
              <a:ahLst/>
              <a:cxnLst/>
              <a:rect l="l" t="t" r="r" b="b"/>
              <a:pathLst>
                <a:path w="234163" h="262890" extrusionOk="0">
                  <a:moveTo>
                    <a:pt x="176209" y="18927"/>
                  </a:moveTo>
                  <a:lnTo>
                    <a:pt x="181268" y="20573"/>
                  </a:lnTo>
                  <a:lnTo>
                    <a:pt x="182954" y="15635"/>
                  </a:lnTo>
                  <a:lnTo>
                    <a:pt x="188013" y="17281"/>
                  </a:lnTo>
                  <a:lnTo>
                    <a:pt x="208247" y="28802"/>
                  </a:lnTo>
                  <a:lnTo>
                    <a:pt x="220051" y="38677"/>
                  </a:lnTo>
                  <a:lnTo>
                    <a:pt x="218365" y="50198"/>
                  </a:lnTo>
                  <a:lnTo>
                    <a:pt x="226796" y="50198"/>
                  </a:lnTo>
                  <a:lnTo>
                    <a:pt x="223423" y="88053"/>
                  </a:lnTo>
                  <a:lnTo>
                    <a:pt x="221737" y="99574"/>
                  </a:lnTo>
                  <a:lnTo>
                    <a:pt x="216679" y="107803"/>
                  </a:lnTo>
                  <a:lnTo>
                    <a:pt x="220051" y="112741"/>
                  </a:lnTo>
                  <a:lnTo>
                    <a:pt x="218365" y="119324"/>
                  </a:lnTo>
                  <a:lnTo>
                    <a:pt x="213306" y="127554"/>
                  </a:lnTo>
                  <a:lnTo>
                    <a:pt x="193071" y="139075"/>
                  </a:lnTo>
                  <a:lnTo>
                    <a:pt x="193071" y="147304"/>
                  </a:lnTo>
                  <a:lnTo>
                    <a:pt x="196444" y="163763"/>
                  </a:lnTo>
                  <a:lnTo>
                    <a:pt x="218365" y="167054"/>
                  </a:lnTo>
                  <a:lnTo>
                    <a:pt x="236913" y="178575"/>
                  </a:lnTo>
                  <a:lnTo>
                    <a:pt x="228482" y="190096"/>
                  </a:lnTo>
                  <a:lnTo>
                    <a:pt x="199816" y="241118"/>
                  </a:lnTo>
                  <a:lnTo>
                    <a:pt x="130681" y="260869"/>
                  </a:lnTo>
                  <a:lnTo>
                    <a:pt x="61546" y="193388"/>
                  </a:lnTo>
                  <a:lnTo>
                    <a:pt x="42997" y="203264"/>
                  </a:lnTo>
                  <a:lnTo>
                    <a:pt x="27821" y="203264"/>
                  </a:lnTo>
                  <a:lnTo>
                    <a:pt x="27821" y="216430"/>
                  </a:lnTo>
                  <a:lnTo>
                    <a:pt x="22763" y="219722"/>
                  </a:lnTo>
                  <a:lnTo>
                    <a:pt x="4214" y="216430"/>
                  </a:lnTo>
                  <a:lnTo>
                    <a:pt x="4214" y="213138"/>
                  </a:lnTo>
                  <a:lnTo>
                    <a:pt x="7587" y="213138"/>
                  </a:lnTo>
                  <a:lnTo>
                    <a:pt x="16018" y="204909"/>
                  </a:lnTo>
                  <a:lnTo>
                    <a:pt x="16018" y="201617"/>
                  </a:lnTo>
                  <a:lnTo>
                    <a:pt x="12645" y="199972"/>
                  </a:lnTo>
                  <a:lnTo>
                    <a:pt x="12645" y="191742"/>
                  </a:lnTo>
                  <a:lnTo>
                    <a:pt x="34566" y="180221"/>
                  </a:lnTo>
                  <a:lnTo>
                    <a:pt x="58173" y="158825"/>
                  </a:lnTo>
                  <a:lnTo>
                    <a:pt x="56487" y="144012"/>
                  </a:lnTo>
                  <a:lnTo>
                    <a:pt x="58173" y="140720"/>
                  </a:lnTo>
                  <a:lnTo>
                    <a:pt x="63232" y="142367"/>
                  </a:lnTo>
                  <a:lnTo>
                    <a:pt x="66604" y="135783"/>
                  </a:lnTo>
                  <a:lnTo>
                    <a:pt x="63232" y="127554"/>
                  </a:lnTo>
                  <a:lnTo>
                    <a:pt x="66604" y="127554"/>
                  </a:lnTo>
                  <a:lnTo>
                    <a:pt x="64918" y="122616"/>
                  </a:lnTo>
                  <a:lnTo>
                    <a:pt x="69977" y="122616"/>
                  </a:lnTo>
                  <a:lnTo>
                    <a:pt x="68291" y="114387"/>
                  </a:lnTo>
                  <a:lnTo>
                    <a:pt x="59860" y="111095"/>
                  </a:lnTo>
                  <a:lnTo>
                    <a:pt x="63232" y="104512"/>
                  </a:lnTo>
                  <a:lnTo>
                    <a:pt x="59860" y="104512"/>
                  </a:lnTo>
                  <a:lnTo>
                    <a:pt x="58173" y="92991"/>
                  </a:lnTo>
                  <a:lnTo>
                    <a:pt x="66604" y="94636"/>
                  </a:lnTo>
                  <a:lnTo>
                    <a:pt x="64918" y="89699"/>
                  </a:lnTo>
                  <a:lnTo>
                    <a:pt x="135740" y="48552"/>
                  </a:lnTo>
                  <a:lnTo>
                    <a:pt x="132367" y="43615"/>
                  </a:lnTo>
                  <a:lnTo>
                    <a:pt x="139112" y="43615"/>
                  </a:lnTo>
                  <a:lnTo>
                    <a:pt x="142485" y="40323"/>
                  </a:lnTo>
                  <a:lnTo>
                    <a:pt x="140798" y="23864"/>
                  </a:lnTo>
                  <a:lnTo>
                    <a:pt x="132367" y="5760"/>
                  </a:lnTo>
                  <a:lnTo>
                    <a:pt x="142485" y="4114"/>
                  </a:lnTo>
                  <a:lnTo>
                    <a:pt x="155974" y="12343"/>
                  </a:lnTo>
                  <a:lnTo>
                    <a:pt x="176209" y="1892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83" name="Schiedam">
              <a:extLst>
                <a:ext uri="{FF2B5EF4-FFF2-40B4-BE49-F238E27FC236}">
                  <a16:creationId xmlns:a16="http://schemas.microsoft.com/office/drawing/2014/main" id="{38688B82-ECA4-45B1-BBFF-D2D24030BAAC}"/>
                </a:ext>
              </a:extLst>
            </p:cNvPr>
            <p:cNvSpPr/>
            <p:nvPr/>
          </p:nvSpPr>
          <p:spPr>
            <a:xfrm>
              <a:off x="5151134" y="3726960"/>
              <a:ext cx="68144" cy="111566"/>
            </a:xfrm>
            <a:custGeom>
              <a:avLst/>
              <a:gdLst/>
              <a:ahLst/>
              <a:cxnLst/>
              <a:rect l="l" t="t" r="r" b="b"/>
              <a:pathLst>
                <a:path w="105373" h="160020" extrusionOk="0">
                  <a:moveTo>
                    <a:pt x="48056" y="4114"/>
                  </a:moveTo>
                  <a:lnTo>
                    <a:pt x="61546" y="46906"/>
                  </a:lnTo>
                  <a:lnTo>
                    <a:pt x="71663" y="43615"/>
                  </a:lnTo>
                  <a:lnTo>
                    <a:pt x="68291" y="50198"/>
                  </a:lnTo>
                  <a:lnTo>
                    <a:pt x="85153" y="68303"/>
                  </a:lnTo>
                  <a:lnTo>
                    <a:pt x="91898" y="65011"/>
                  </a:lnTo>
                  <a:lnTo>
                    <a:pt x="95270" y="65011"/>
                  </a:lnTo>
                  <a:lnTo>
                    <a:pt x="102015" y="60074"/>
                  </a:lnTo>
                  <a:lnTo>
                    <a:pt x="105388" y="65011"/>
                  </a:lnTo>
                  <a:lnTo>
                    <a:pt x="93584" y="69949"/>
                  </a:lnTo>
                  <a:lnTo>
                    <a:pt x="91898" y="81470"/>
                  </a:lnTo>
                  <a:lnTo>
                    <a:pt x="102015" y="102866"/>
                  </a:lnTo>
                  <a:lnTo>
                    <a:pt x="103701" y="102866"/>
                  </a:lnTo>
                  <a:lnTo>
                    <a:pt x="102015" y="122616"/>
                  </a:lnTo>
                  <a:lnTo>
                    <a:pt x="91898" y="129200"/>
                  </a:lnTo>
                  <a:lnTo>
                    <a:pt x="102015" y="145658"/>
                  </a:lnTo>
                  <a:lnTo>
                    <a:pt x="96956" y="152242"/>
                  </a:lnTo>
                  <a:lnTo>
                    <a:pt x="98643" y="155534"/>
                  </a:lnTo>
                  <a:lnTo>
                    <a:pt x="71663" y="165409"/>
                  </a:lnTo>
                  <a:lnTo>
                    <a:pt x="58173" y="165409"/>
                  </a:lnTo>
                  <a:lnTo>
                    <a:pt x="32880" y="158825"/>
                  </a:lnTo>
                  <a:lnTo>
                    <a:pt x="26135" y="104512"/>
                  </a:lnTo>
                  <a:lnTo>
                    <a:pt x="21076" y="97928"/>
                  </a:lnTo>
                  <a:lnTo>
                    <a:pt x="19390" y="92991"/>
                  </a:lnTo>
                  <a:lnTo>
                    <a:pt x="22763" y="89699"/>
                  </a:lnTo>
                  <a:lnTo>
                    <a:pt x="21076" y="73240"/>
                  </a:lnTo>
                  <a:lnTo>
                    <a:pt x="4214" y="32094"/>
                  </a:lnTo>
                  <a:lnTo>
                    <a:pt x="29507" y="23864"/>
                  </a:lnTo>
                  <a:lnTo>
                    <a:pt x="24449" y="10698"/>
                  </a:lnTo>
                  <a:lnTo>
                    <a:pt x="4805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86" name="Mill en Sint Hubert">
              <a:extLst>
                <a:ext uri="{FF2B5EF4-FFF2-40B4-BE49-F238E27FC236}">
                  <a16:creationId xmlns:a16="http://schemas.microsoft.com/office/drawing/2014/main" id="{3731DBCE-5C72-452F-922B-FAAB6F8BE1D2}"/>
                </a:ext>
              </a:extLst>
            </p:cNvPr>
            <p:cNvSpPr/>
            <p:nvPr/>
          </p:nvSpPr>
          <p:spPr>
            <a:xfrm>
              <a:off x="6571213" y="4126568"/>
              <a:ext cx="149648" cy="159269"/>
            </a:xfrm>
            <a:custGeom>
              <a:avLst/>
              <a:gdLst/>
              <a:ahLst/>
              <a:cxnLst/>
              <a:rect l="l" t="t" r="r" b="b"/>
              <a:pathLst>
                <a:path w="222455" h="228600" extrusionOk="0">
                  <a:moveTo>
                    <a:pt x="24449" y="4114"/>
                  </a:moveTo>
                  <a:lnTo>
                    <a:pt x="29507" y="4114"/>
                  </a:lnTo>
                  <a:lnTo>
                    <a:pt x="29507" y="5760"/>
                  </a:lnTo>
                  <a:lnTo>
                    <a:pt x="49742" y="18927"/>
                  </a:lnTo>
                  <a:lnTo>
                    <a:pt x="54801" y="10698"/>
                  </a:lnTo>
                  <a:lnTo>
                    <a:pt x="71663" y="15635"/>
                  </a:lnTo>
                  <a:lnTo>
                    <a:pt x="78408" y="23864"/>
                  </a:lnTo>
                  <a:lnTo>
                    <a:pt x="85153" y="12343"/>
                  </a:lnTo>
                  <a:lnTo>
                    <a:pt x="91898" y="13989"/>
                  </a:lnTo>
                  <a:lnTo>
                    <a:pt x="100329" y="10698"/>
                  </a:lnTo>
                  <a:lnTo>
                    <a:pt x="105388" y="12343"/>
                  </a:lnTo>
                  <a:lnTo>
                    <a:pt x="110446" y="10698"/>
                  </a:lnTo>
                  <a:lnTo>
                    <a:pt x="135740" y="22219"/>
                  </a:lnTo>
                  <a:lnTo>
                    <a:pt x="139112" y="17281"/>
                  </a:lnTo>
                  <a:lnTo>
                    <a:pt x="147543" y="17281"/>
                  </a:lnTo>
                  <a:lnTo>
                    <a:pt x="147543" y="41969"/>
                  </a:lnTo>
                  <a:lnTo>
                    <a:pt x="140798" y="45261"/>
                  </a:lnTo>
                  <a:lnTo>
                    <a:pt x="162719" y="53490"/>
                  </a:lnTo>
                  <a:lnTo>
                    <a:pt x="157661" y="58427"/>
                  </a:lnTo>
                  <a:lnTo>
                    <a:pt x="166092" y="65011"/>
                  </a:lnTo>
                  <a:lnTo>
                    <a:pt x="182954" y="63365"/>
                  </a:lnTo>
                  <a:lnTo>
                    <a:pt x="193071" y="66657"/>
                  </a:lnTo>
                  <a:lnTo>
                    <a:pt x="225110" y="114387"/>
                  </a:lnTo>
                  <a:lnTo>
                    <a:pt x="204875" y="129200"/>
                  </a:lnTo>
                  <a:lnTo>
                    <a:pt x="196444" y="140721"/>
                  </a:lnTo>
                  <a:lnTo>
                    <a:pt x="198130" y="142367"/>
                  </a:lnTo>
                  <a:lnTo>
                    <a:pt x="194757" y="145658"/>
                  </a:lnTo>
                  <a:lnTo>
                    <a:pt x="193071" y="144012"/>
                  </a:lnTo>
                  <a:lnTo>
                    <a:pt x="181268" y="150596"/>
                  </a:lnTo>
                  <a:lnTo>
                    <a:pt x="177895" y="147304"/>
                  </a:lnTo>
                  <a:lnTo>
                    <a:pt x="174523" y="148950"/>
                  </a:lnTo>
                  <a:lnTo>
                    <a:pt x="169464" y="160471"/>
                  </a:lnTo>
                  <a:lnTo>
                    <a:pt x="157661" y="160471"/>
                  </a:lnTo>
                  <a:lnTo>
                    <a:pt x="144171" y="186805"/>
                  </a:lnTo>
                  <a:lnTo>
                    <a:pt x="78408" y="229597"/>
                  </a:lnTo>
                  <a:lnTo>
                    <a:pt x="58173" y="120970"/>
                  </a:lnTo>
                  <a:lnTo>
                    <a:pt x="4214" y="38677"/>
                  </a:lnTo>
                  <a:lnTo>
                    <a:pt x="12645" y="13989"/>
                  </a:lnTo>
                  <a:lnTo>
                    <a:pt x="19390" y="4114"/>
                  </a:lnTo>
                  <a:lnTo>
                    <a:pt x="24449"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87" name="Bunschoten">
              <a:extLst>
                <a:ext uri="{FF2B5EF4-FFF2-40B4-BE49-F238E27FC236}">
                  <a16:creationId xmlns:a16="http://schemas.microsoft.com/office/drawing/2014/main" id="{9A65AB89-3CBD-4961-891C-56195D1E6706}"/>
                </a:ext>
              </a:extLst>
            </p:cNvPr>
            <p:cNvSpPr/>
            <p:nvPr/>
          </p:nvSpPr>
          <p:spPr>
            <a:xfrm>
              <a:off x="6152179" y="3221586"/>
              <a:ext cx="101653" cy="144325"/>
            </a:xfrm>
            <a:custGeom>
              <a:avLst/>
              <a:gdLst/>
              <a:ahLst/>
              <a:cxnLst/>
              <a:rect l="l" t="t" r="r" b="b"/>
              <a:pathLst>
                <a:path w="140498" h="171450" extrusionOk="0">
                  <a:moveTo>
                    <a:pt x="118878" y="48552"/>
                  </a:moveTo>
                  <a:lnTo>
                    <a:pt x="115505" y="45261"/>
                  </a:lnTo>
                  <a:lnTo>
                    <a:pt x="117191" y="45261"/>
                  </a:lnTo>
                  <a:lnTo>
                    <a:pt x="118878" y="48552"/>
                  </a:lnTo>
                  <a:close/>
                  <a:moveTo>
                    <a:pt x="37939" y="4114"/>
                  </a:moveTo>
                  <a:lnTo>
                    <a:pt x="48056" y="12344"/>
                  </a:lnTo>
                  <a:lnTo>
                    <a:pt x="51428" y="12344"/>
                  </a:lnTo>
                  <a:lnTo>
                    <a:pt x="61546" y="15635"/>
                  </a:lnTo>
                  <a:lnTo>
                    <a:pt x="76722" y="13989"/>
                  </a:lnTo>
                  <a:lnTo>
                    <a:pt x="78408" y="17281"/>
                  </a:lnTo>
                  <a:lnTo>
                    <a:pt x="76722" y="20573"/>
                  </a:lnTo>
                  <a:lnTo>
                    <a:pt x="80094" y="17281"/>
                  </a:lnTo>
                  <a:lnTo>
                    <a:pt x="85153" y="17281"/>
                  </a:lnTo>
                  <a:lnTo>
                    <a:pt x="96957" y="28802"/>
                  </a:lnTo>
                  <a:lnTo>
                    <a:pt x="95270" y="30448"/>
                  </a:lnTo>
                  <a:lnTo>
                    <a:pt x="98643" y="35386"/>
                  </a:lnTo>
                  <a:lnTo>
                    <a:pt x="100329" y="33740"/>
                  </a:lnTo>
                  <a:lnTo>
                    <a:pt x="96957" y="30448"/>
                  </a:lnTo>
                  <a:lnTo>
                    <a:pt x="107074" y="40323"/>
                  </a:lnTo>
                  <a:lnTo>
                    <a:pt x="112133" y="41969"/>
                  </a:lnTo>
                  <a:lnTo>
                    <a:pt x="113819" y="40323"/>
                  </a:lnTo>
                  <a:lnTo>
                    <a:pt x="115505" y="45261"/>
                  </a:lnTo>
                  <a:lnTo>
                    <a:pt x="113819" y="46907"/>
                  </a:lnTo>
                  <a:lnTo>
                    <a:pt x="118878" y="48552"/>
                  </a:lnTo>
                  <a:lnTo>
                    <a:pt x="118878" y="53490"/>
                  </a:lnTo>
                  <a:lnTo>
                    <a:pt x="145857" y="69949"/>
                  </a:lnTo>
                  <a:lnTo>
                    <a:pt x="130681" y="132492"/>
                  </a:lnTo>
                  <a:lnTo>
                    <a:pt x="134053" y="135783"/>
                  </a:lnTo>
                  <a:lnTo>
                    <a:pt x="128995" y="168700"/>
                  </a:lnTo>
                  <a:lnTo>
                    <a:pt x="93584" y="162117"/>
                  </a:lnTo>
                  <a:lnTo>
                    <a:pt x="86839" y="158825"/>
                  </a:lnTo>
                  <a:lnTo>
                    <a:pt x="76722" y="158825"/>
                  </a:lnTo>
                  <a:lnTo>
                    <a:pt x="34566" y="147304"/>
                  </a:lnTo>
                  <a:lnTo>
                    <a:pt x="41311" y="134137"/>
                  </a:lnTo>
                  <a:lnTo>
                    <a:pt x="42997" y="112741"/>
                  </a:lnTo>
                  <a:lnTo>
                    <a:pt x="7587" y="102866"/>
                  </a:lnTo>
                  <a:lnTo>
                    <a:pt x="9273" y="97928"/>
                  </a:lnTo>
                  <a:lnTo>
                    <a:pt x="4214" y="69949"/>
                  </a:lnTo>
                  <a:lnTo>
                    <a:pt x="10959" y="56782"/>
                  </a:lnTo>
                  <a:lnTo>
                    <a:pt x="26135" y="55136"/>
                  </a:lnTo>
                  <a:lnTo>
                    <a:pt x="32880" y="48552"/>
                  </a:lnTo>
                  <a:lnTo>
                    <a:pt x="31194" y="45261"/>
                  </a:lnTo>
                  <a:lnTo>
                    <a:pt x="24449" y="35386"/>
                  </a:lnTo>
                  <a:lnTo>
                    <a:pt x="22763" y="30448"/>
                  </a:lnTo>
                  <a:lnTo>
                    <a:pt x="29508" y="22219"/>
                  </a:lnTo>
                  <a:lnTo>
                    <a:pt x="37939"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88" name="Heumen">
              <a:extLst>
                <a:ext uri="{FF2B5EF4-FFF2-40B4-BE49-F238E27FC236}">
                  <a16:creationId xmlns:a16="http://schemas.microsoft.com/office/drawing/2014/main" id="{3A3BB6AA-0267-4D5C-88C2-70EA21D93395}"/>
                </a:ext>
              </a:extLst>
            </p:cNvPr>
            <p:cNvSpPr/>
            <p:nvPr/>
          </p:nvSpPr>
          <p:spPr>
            <a:xfrm>
              <a:off x="6596587" y="3987324"/>
              <a:ext cx="173633" cy="102593"/>
            </a:xfrm>
            <a:custGeom>
              <a:avLst/>
              <a:gdLst/>
              <a:ahLst/>
              <a:cxnLst/>
              <a:rect l="l" t="t" r="r" b="b"/>
              <a:pathLst>
                <a:path w="257579" h="137160" extrusionOk="0">
                  <a:moveTo>
                    <a:pt x="216678" y="4114"/>
                  </a:moveTo>
                  <a:lnTo>
                    <a:pt x="233541" y="5760"/>
                  </a:lnTo>
                  <a:lnTo>
                    <a:pt x="235227" y="23864"/>
                  </a:lnTo>
                  <a:lnTo>
                    <a:pt x="245344" y="38677"/>
                  </a:lnTo>
                  <a:lnTo>
                    <a:pt x="247030" y="68303"/>
                  </a:lnTo>
                  <a:lnTo>
                    <a:pt x="255462" y="81470"/>
                  </a:lnTo>
                  <a:lnTo>
                    <a:pt x="245344" y="79824"/>
                  </a:lnTo>
                  <a:lnTo>
                    <a:pt x="216678" y="88053"/>
                  </a:lnTo>
                  <a:lnTo>
                    <a:pt x="214992" y="101220"/>
                  </a:lnTo>
                  <a:lnTo>
                    <a:pt x="218365" y="117679"/>
                  </a:lnTo>
                  <a:lnTo>
                    <a:pt x="211620" y="130845"/>
                  </a:lnTo>
                  <a:lnTo>
                    <a:pt x="186326" y="127554"/>
                  </a:lnTo>
                  <a:lnTo>
                    <a:pt x="123936" y="134137"/>
                  </a:lnTo>
                  <a:lnTo>
                    <a:pt x="83467" y="144012"/>
                  </a:lnTo>
                  <a:lnTo>
                    <a:pt x="61546" y="144012"/>
                  </a:lnTo>
                  <a:lnTo>
                    <a:pt x="42997" y="137429"/>
                  </a:lnTo>
                  <a:lnTo>
                    <a:pt x="29507" y="129199"/>
                  </a:lnTo>
                  <a:lnTo>
                    <a:pt x="12645" y="101220"/>
                  </a:lnTo>
                  <a:lnTo>
                    <a:pt x="4214" y="94637"/>
                  </a:lnTo>
                  <a:lnTo>
                    <a:pt x="10959" y="78178"/>
                  </a:lnTo>
                  <a:lnTo>
                    <a:pt x="21076" y="83115"/>
                  </a:lnTo>
                  <a:lnTo>
                    <a:pt x="21076" y="79824"/>
                  </a:lnTo>
                  <a:lnTo>
                    <a:pt x="27821" y="81470"/>
                  </a:lnTo>
                  <a:lnTo>
                    <a:pt x="64918" y="71595"/>
                  </a:lnTo>
                  <a:lnTo>
                    <a:pt x="64918" y="65011"/>
                  </a:lnTo>
                  <a:lnTo>
                    <a:pt x="73349" y="68303"/>
                  </a:lnTo>
                  <a:lnTo>
                    <a:pt x="81780" y="66657"/>
                  </a:lnTo>
                  <a:lnTo>
                    <a:pt x="113819" y="40323"/>
                  </a:lnTo>
                  <a:lnTo>
                    <a:pt x="127309" y="51844"/>
                  </a:lnTo>
                  <a:lnTo>
                    <a:pt x="154288" y="30448"/>
                  </a:lnTo>
                  <a:lnTo>
                    <a:pt x="150916" y="28802"/>
                  </a:lnTo>
                  <a:lnTo>
                    <a:pt x="167778" y="13989"/>
                  </a:lnTo>
                  <a:lnTo>
                    <a:pt x="171150" y="17281"/>
                  </a:lnTo>
                  <a:lnTo>
                    <a:pt x="176209" y="10698"/>
                  </a:lnTo>
                  <a:lnTo>
                    <a:pt x="186326" y="9052"/>
                  </a:lnTo>
                  <a:lnTo>
                    <a:pt x="193071" y="10698"/>
                  </a:lnTo>
                  <a:lnTo>
                    <a:pt x="216678"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89" name="Wormerland">
              <a:extLst>
                <a:ext uri="{FF2B5EF4-FFF2-40B4-BE49-F238E27FC236}">
                  <a16:creationId xmlns:a16="http://schemas.microsoft.com/office/drawing/2014/main" id="{17772FF4-748E-463C-B644-4311589226F5}"/>
                </a:ext>
              </a:extLst>
            </p:cNvPr>
            <p:cNvSpPr/>
            <p:nvPr/>
          </p:nvSpPr>
          <p:spPr>
            <a:xfrm>
              <a:off x="5608343" y="2787680"/>
              <a:ext cx="163331" cy="128593"/>
            </a:xfrm>
            <a:custGeom>
              <a:avLst/>
              <a:gdLst/>
              <a:ahLst/>
              <a:cxnLst/>
              <a:rect l="l" t="t" r="r" b="b"/>
              <a:pathLst>
                <a:path w="222455" h="182880" extrusionOk="0">
                  <a:moveTo>
                    <a:pt x="71663" y="12343"/>
                  </a:moveTo>
                  <a:lnTo>
                    <a:pt x="78408" y="33739"/>
                  </a:lnTo>
                  <a:lnTo>
                    <a:pt x="93584" y="45261"/>
                  </a:lnTo>
                  <a:lnTo>
                    <a:pt x="110446" y="46906"/>
                  </a:lnTo>
                  <a:lnTo>
                    <a:pt x="134053" y="58427"/>
                  </a:lnTo>
                  <a:lnTo>
                    <a:pt x="162719" y="65011"/>
                  </a:lnTo>
                  <a:lnTo>
                    <a:pt x="186326" y="66657"/>
                  </a:lnTo>
                  <a:lnTo>
                    <a:pt x="204875" y="79824"/>
                  </a:lnTo>
                  <a:lnTo>
                    <a:pt x="214992" y="81470"/>
                  </a:lnTo>
                  <a:lnTo>
                    <a:pt x="223423" y="79824"/>
                  </a:lnTo>
                  <a:lnTo>
                    <a:pt x="223423" y="83115"/>
                  </a:lnTo>
                  <a:lnTo>
                    <a:pt x="209933" y="94636"/>
                  </a:lnTo>
                  <a:lnTo>
                    <a:pt x="211620" y="107803"/>
                  </a:lnTo>
                  <a:lnTo>
                    <a:pt x="206561" y="127554"/>
                  </a:lnTo>
                  <a:lnTo>
                    <a:pt x="194758" y="140721"/>
                  </a:lnTo>
                  <a:lnTo>
                    <a:pt x="182954" y="148950"/>
                  </a:lnTo>
                  <a:lnTo>
                    <a:pt x="181268" y="155533"/>
                  </a:lnTo>
                  <a:lnTo>
                    <a:pt x="164406" y="160471"/>
                  </a:lnTo>
                  <a:lnTo>
                    <a:pt x="155974" y="158825"/>
                  </a:lnTo>
                  <a:lnTo>
                    <a:pt x="144171" y="168700"/>
                  </a:lnTo>
                  <a:lnTo>
                    <a:pt x="112133" y="183513"/>
                  </a:lnTo>
                  <a:lnTo>
                    <a:pt x="83467" y="173638"/>
                  </a:lnTo>
                  <a:lnTo>
                    <a:pt x="76722" y="162117"/>
                  </a:lnTo>
                  <a:lnTo>
                    <a:pt x="76722" y="155533"/>
                  </a:lnTo>
                  <a:lnTo>
                    <a:pt x="44684" y="148950"/>
                  </a:lnTo>
                  <a:lnTo>
                    <a:pt x="17704" y="127554"/>
                  </a:lnTo>
                  <a:lnTo>
                    <a:pt x="7587" y="127554"/>
                  </a:lnTo>
                  <a:lnTo>
                    <a:pt x="12645" y="116033"/>
                  </a:lnTo>
                  <a:lnTo>
                    <a:pt x="12645" y="99574"/>
                  </a:lnTo>
                  <a:lnTo>
                    <a:pt x="10959" y="89699"/>
                  </a:lnTo>
                  <a:lnTo>
                    <a:pt x="4214" y="78178"/>
                  </a:lnTo>
                  <a:lnTo>
                    <a:pt x="4214" y="60073"/>
                  </a:lnTo>
                  <a:lnTo>
                    <a:pt x="9273" y="58427"/>
                  </a:lnTo>
                  <a:lnTo>
                    <a:pt x="17704" y="46906"/>
                  </a:lnTo>
                  <a:lnTo>
                    <a:pt x="27821" y="45261"/>
                  </a:lnTo>
                  <a:lnTo>
                    <a:pt x="37939" y="33739"/>
                  </a:lnTo>
                  <a:lnTo>
                    <a:pt x="53115" y="28802"/>
                  </a:lnTo>
                  <a:lnTo>
                    <a:pt x="58173" y="25510"/>
                  </a:lnTo>
                  <a:lnTo>
                    <a:pt x="46370" y="20573"/>
                  </a:lnTo>
                  <a:lnTo>
                    <a:pt x="58173" y="4114"/>
                  </a:lnTo>
                  <a:lnTo>
                    <a:pt x="71663"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0" name="Ouder-Amstel">
              <a:extLst>
                <a:ext uri="{FF2B5EF4-FFF2-40B4-BE49-F238E27FC236}">
                  <a16:creationId xmlns:a16="http://schemas.microsoft.com/office/drawing/2014/main" id="{67D46726-5FF5-4EAF-B903-8A967295B2FB}"/>
                </a:ext>
              </a:extLst>
            </p:cNvPr>
            <p:cNvSpPr/>
            <p:nvPr/>
          </p:nvSpPr>
          <p:spPr>
            <a:xfrm>
              <a:off x="5685133" y="3130403"/>
              <a:ext cx="95563" cy="132225"/>
            </a:xfrm>
            <a:custGeom>
              <a:avLst/>
              <a:gdLst/>
              <a:ahLst/>
              <a:cxnLst/>
              <a:rect l="l" t="t" r="r" b="b"/>
              <a:pathLst>
                <a:path w="128789" h="217170" extrusionOk="0">
                  <a:moveTo>
                    <a:pt x="125622" y="9052"/>
                  </a:moveTo>
                  <a:lnTo>
                    <a:pt x="120563" y="15635"/>
                  </a:lnTo>
                  <a:lnTo>
                    <a:pt x="123936" y="20573"/>
                  </a:lnTo>
                  <a:lnTo>
                    <a:pt x="115505" y="25510"/>
                  </a:lnTo>
                  <a:lnTo>
                    <a:pt x="118877" y="32094"/>
                  </a:lnTo>
                  <a:lnTo>
                    <a:pt x="108760" y="38677"/>
                  </a:lnTo>
                  <a:lnTo>
                    <a:pt x="112132" y="50198"/>
                  </a:lnTo>
                  <a:lnTo>
                    <a:pt x="108760" y="56782"/>
                  </a:lnTo>
                  <a:lnTo>
                    <a:pt x="108760" y="60074"/>
                  </a:lnTo>
                  <a:lnTo>
                    <a:pt x="103701" y="63365"/>
                  </a:lnTo>
                  <a:lnTo>
                    <a:pt x="105388" y="66657"/>
                  </a:lnTo>
                  <a:lnTo>
                    <a:pt x="95270" y="76532"/>
                  </a:lnTo>
                  <a:lnTo>
                    <a:pt x="134053" y="148950"/>
                  </a:lnTo>
                  <a:lnTo>
                    <a:pt x="120563" y="147304"/>
                  </a:lnTo>
                  <a:lnTo>
                    <a:pt x="113819" y="148950"/>
                  </a:lnTo>
                  <a:lnTo>
                    <a:pt x="100329" y="142367"/>
                  </a:lnTo>
                  <a:lnTo>
                    <a:pt x="90211" y="145658"/>
                  </a:lnTo>
                  <a:lnTo>
                    <a:pt x="90211" y="163763"/>
                  </a:lnTo>
                  <a:lnTo>
                    <a:pt x="93584" y="173638"/>
                  </a:lnTo>
                  <a:lnTo>
                    <a:pt x="86839" y="176930"/>
                  </a:lnTo>
                  <a:lnTo>
                    <a:pt x="85153" y="185159"/>
                  </a:lnTo>
                  <a:lnTo>
                    <a:pt x="76722" y="188451"/>
                  </a:lnTo>
                  <a:lnTo>
                    <a:pt x="76722" y="199972"/>
                  </a:lnTo>
                  <a:lnTo>
                    <a:pt x="64918" y="211493"/>
                  </a:lnTo>
                  <a:lnTo>
                    <a:pt x="53115" y="209847"/>
                  </a:lnTo>
                  <a:lnTo>
                    <a:pt x="46370" y="214785"/>
                  </a:lnTo>
                  <a:lnTo>
                    <a:pt x="36252" y="209847"/>
                  </a:lnTo>
                  <a:lnTo>
                    <a:pt x="29507" y="214785"/>
                  </a:lnTo>
                  <a:lnTo>
                    <a:pt x="22763" y="208201"/>
                  </a:lnTo>
                  <a:lnTo>
                    <a:pt x="7586" y="214785"/>
                  </a:lnTo>
                  <a:lnTo>
                    <a:pt x="4214" y="208201"/>
                  </a:lnTo>
                  <a:lnTo>
                    <a:pt x="9273" y="196680"/>
                  </a:lnTo>
                  <a:lnTo>
                    <a:pt x="9273" y="191742"/>
                  </a:lnTo>
                  <a:lnTo>
                    <a:pt x="17704" y="188451"/>
                  </a:lnTo>
                  <a:lnTo>
                    <a:pt x="22763" y="181867"/>
                  </a:lnTo>
                  <a:lnTo>
                    <a:pt x="17704" y="175284"/>
                  </a:lnTo>
                  <a:lnTo>
                    <a:pt x="21076" y="157179"/>
                  </a:lnTo>
                  <a:lnTo>
                    <a:pt x="17704" y="145658"/>
                  </a:lnTo>
                  <a:lnTo>
                    <a:pt x="27821" y="129200"/>
                  </a:lnTo>
                  <a:lnTo>
                    <a:pt x="34566" y="125908"/>
                  </a:lnTo>
                  <a:lnTo>
                    <a:pt x="29507" y="120971"/>
                  </a:lnTo>
                  <a:lnTo>
                    <a:pt x="36252" y="117679"/>
                  </a:lnTo>
                  <a:lnTo>
                    <a:pt x="36252" y="109449"/>
                  </a:lnTo>
                  <a:lnTo>
                    <a:pt x="51428" y="106158"/>
                  </a:lnTo>
                  <a:lnTo>
                    <a:pt x="48056" y="96282"/>
                  </a:lnTo>
                  <a:lnTo>
                    <a:pt x="61546" y="79824"/>
                  </a:lnTo>
                  <a:lnTo>
                    <a:pt x="58173" y="69949"/>
                  </a:lnTo>
                  <a:lnTo>
                    <a:pt x="58173" y="58427"/>
                  </a:lnTo>
                  <a:lnTo>
                    <a:pt x="64918" y="51844"/>
                  </a:lnTo>
                  <a:lnTo>
                    <a:pt x="68290" y="51844"/>
                  </a:lnTo>
                  <a:lnTo>
                    <a:pt x="71663" y="46906"/>
                  </a:lnTo>
                  <a:lnTo>
                    <a:pt x="66604" y="43615"/>
                  </a:lnTo>
                  <a:lnTo>
                    <a:pt x="66604" y="40323"/>
                  </a:lnTo>
                  <a:lnTo>
                    <a:pt x="71663" y="37031"/>
                  </a:lnTo>
                  <a:lnTo>
                    <a:pt x="69977" y="22219"/>
                  </a:lnTo>
                  <a:lnTo>
                    <a:pt x="85153" y="17281"/>
                  </a:lnTo>
                  <a:lnTo>
                    <a:pt x="86839" y="10698"/>
                  </a:lnTo>
                  <a:lnTo>
                    <a:pt x="93584" y="9052"/>
                  </a:lnTo>
                  <a:lnTo>
                    <a:pt x="105388" y="13989"/>
                  </a:lnTo>
                  <a:lnTo>
                    <a:pt x="127308" y="4114"/>
                  </a:lnTo>
                  <a:lnTo>
                    <a:pt x="125622" y="9052"/>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1" name="Tholen">
              <a:extLst>
                <a:ext uri="{FF2B5EF4-FFF2-40B4-BE49-F238E27FC236}">
                  <a16:creationId xmlns:a16="http://schemas.microsoft.com/office/drawing/2014/main" id="{FF36348B-857C-4AFC-AE34-DE2A761531A4}"/>
                </a:ext>
              </a:extLst>
            </p:cNvPr>
            <p:cNvSpPr/>
            <p:nvPr/>
          </p:nvSpPr>
          <p:spPr>
            <a:xfrm>
              <a:off x="4761913" y="4230702"/>
              <a:ext cx="258489" cy="278397"/>
            </a:xfrm>
            <a:custGeom>
              <a:avLst/>
              <a:gdLst/>
              <a:ahLst/>
              <a:cxnLst/>
              <a:rect l="l" t="t" r="r" b="b"/>
              <a:pathLst>
                <a:path w="398077" h="400050" extrusionOk="0">
                  <a:moveTo>
                    <a:pt x="267265" y="120970"/>
                  </a:moveTo>
                  <a:lnTo>
                    <a:pt x="272324" y="120970"/>
                  </a:lnTo>
                  <a:lnTo>
                    <a:pt x="270638" y="124262"/>
                  </a:lnTo>
                  <a:lnTo>
                    <a:pt x="262207" y="125908"/>
                  </a:lnTo>
                  <a:lnTo>
                    <a:pt x="265579" y="122616"/>
                  </a:lnTo>
                  <a:lnTo>
                    <a:pt x="263893" y="120970"/>
                  </a:lnTo>
                  <a:lnTo>
                    <a:pt x="265579" y="117678"/>
                  </a:lnTo>
                  <a:lnTo>
                    <a:pt x="267265" y="120970"/>
                  </a:lnTo>
                  <a:close/>
                  <a:moveTo>
                    <a:pt x="284128" y="114387"/>
                  </a:moveTo>
                  <a:lnTo>
                    <a:pt x="287500" y="116033"/>
                  </a:lnTo>
                  <a:lnTo>
                    <a:pt x="282441" y="116033"/>
                  </a:lnTo>
                  <a:lnTo>
                    <a:pt x="284128" y="114387"/>
                  </a:lnTo>
                  <a:close/>
                  <a:moveTo>
                    <a:pt x="376870" y="46906"/>
                  </a:moveTo>
                  <a:lnTo>
                    <a:pt x="373497" y="46906"/>
                  </a:lnTo>
                  <a:lnTo>
                    <a:pt x="371811" y="45260"/>
                  </a:lnTo>
                  <a:lnTo>
                    <a:pt x="376870" y="46906"/>
                  </a:lnTo>
                  <a:close/>
                  <a:moveTo>
                    <a:pt x="348204" y="40323"/>
                  </a:moveTo>
                  <a:lnTo>
                    <a:pt x="360008" y="45260"/>
                  </a:lnTo>
                  <a:lnTo>
                    <a:pt x="361694" y="43615"/>
                  </a:lnTo>
                  <a:lnTo>
                    <a:pt x="361694" y="45260"/>
                  </a:lnTo>
                  <a:lnTo>
                    <a:pt x="365066" y="50198"/>
                  </a:lnTo>
                  <a:lnTo>
                    <a:pt x="356635" y="53490"/>
                  </a:lnTo>
                  <a:lnTo>
                    <a:pt x="354949" y="53490"/>
                  </a:lnTo>
                  <a:lnTo>
                    <a:pt x="356635" y="50198"/>
                  </a:lnTo>
                  <a:lnTo>
                    <a:pt x="351577" y="53490"/>
                  </a:lnTo>
                  <a:lnTo>
                    <a:pt x="343145" y="51844"/>
                  </a:lnTo>
                  <a:lnTo>
                    <a:pt x="333028" y="43615"/>
                  </a:lnTo>
                  <a:lnTo>
                    <a:pt x="348204" y="40323"/>
                  </a:lnTo>
                  <a:close/>
                  <a:moveTo>
                    <a:pt x="351577" y="35385"/>
                  </a:moveTo>
                  <a:lnTo>
                    <a:pt x="353263" y="38677"/>
                  </a:lnTo>
                  <a:lnTo>
                    <a:pt x="351577" y="37031"/>
                  </a:lnTo>
                  <a:lnTo>
                    <a:pt x="351577" y="38677"/>
                  </a:lnTo>
                  <a:lnTo>
                    <a:pt x="348204" y="37031"/>
                  </a:lnTo>
                  <a:lnTo>
                    <a:pt x="348204" y="38677"/>
                  </a:lnTo>
                  <a:lnTo>
                    <a:pt x="349890" y="35385"/>
                  </a:lnTo>
                  <a:lnTo>
                    <a:pt x="351577" y="35385"/>
                  </a:lnTo>
                  <a:close/>
                  <a:moveTo>
                    <a:pt x="338087" y="37031"/>
                  </a:moveTo>
                  <a:lnTo>
                    <a:pt x="344832" y="35385"/>
                  </a:lnTo>
                  <a:lnTo>
                    <a:pt x="338087" y="40323"/>
                  </a:lnTo>
                  <a:lnTo>
                    <a:pt x="338087" y="37031"/>
                  </a:lnTo>
                  <a:lnTo>
                    <a:pt x="343145" y="33739"/>
                  </a:lnTo>
                  <a:lnTo>
                    <a:pt x="338087" y="37031"/>
                  </a:lnTo>
                  <a:close/>
                  <a:moveTo>
                    <a:pt x="343145" y="30448"/>
                  </a:moveTo>
                  <a:lnTo>
                    <a:pt x="343145" y="30448"/>
                  </a:lnTo>
                  <a:close/>
                  <a:moveTo>
                    <a:pt x="343145" y="30448"/>
                  </a:moveTo>
                  <a:lnTo>
                    <a:pt x="334714" y="30448"/>
                  </a:lnTo>
                  <a:lnTo>
                    <a:pt x="339773" y="27156"/>
                  </a:lnTo>
                  <a:lnTo>
                    <a:pt x="343145" y="30448"/>
                  </a:lnTo>
                  <a:close/>
                  <a:moveTo>
                    <a:pt x="343145" y="30448"/>
                  </a:moveTo>
                  <a:lnTo>
                    <a:pt x="338087" y="27156"/>
                  </a:lnTo>
                  <a:lnTo>
                    <a:pt x="341459" y="27156"/>
                  </a:lnTo>
                  <a:lnTo>
                    <a:pt x="343145" y="30448"/>
                  </a:lnTo>
                  <a:close/>
                  <a:moveTo>
                    <a:pt x="402163" y="30448"/>
                  </a:moveTo>
                  <a:lnTo>
                    <a:pt x="397105" y="30448"/>
                  </a:lnTo>
                  <a:lnTo>
                    <a:pt x="397105" y="25510"/>
                  </a:lnTo>
                  <a:lnTo>
                    <a:pt x="402163" y="30448"/>
                  </a:lnTo>
                  <a:close/>
                  <a:moveTo>
                    <a:pt x="405536" y="25510"/>
                  </a:moveTo>
                  <a:lnTo>
                    <a:pt x="402163" y="30448"/>
                  </a:lnTo>
                  <a:lnTo>
                    <a:pt x="402163" y="27156"/>
                  </a:lnTo>
                  <a:lnTo>
                    <a:pt x="405536" y="25510"/>
                  </a:lnTo>
                  <a:close/>
                  <a:moveTo>
                    <a:pt x="403850" y="22218"/>
                  </a:moveTo>
                  <a:lnTo>
                    <a:pt x="397105" y="23864"/>
                  </a:lnTo>
                  <a:lnTo>
                    <a:pt x="398791" y="22218"/>
                  </a:lnTo>
                  <a:lnTo>
                    <a:pt x="403850" y="22218"/>
                  </a:lnTo>
                  <a:close/>
                  <a:moveTo>
                    <a:pt x="338087" y="22218"/>
                  </a:moveTo>
                  <a:lnTo>
                    <a:pt x="338087" y="25510"/>
                  </a:lnTo>
                  <a:lnTo>
                    <a:pt x="336401" y="23864"/>
                  </a:lnTo>
                  <a:lnTo>
                    <a:pt x="338087" y="22218"/>
                  </a:lnTo>
                  <a:close/>
                  <a:moveTo>
                    <a:pt x="216679" y="4114"/>
                  </a:moveTo>
                  <a:lnTo>
                    <a:pt x="241972" y="7405"/>
                  </a:lnTo>
                  <a:lnTo>
                    <a:pt x="260520" y="12343"/>
                  </a:lnTo>
                  <a:lnTo>
                    <a:pt x="260520" y="15635"/>
                  </a:lnTo>
                  <a:lnTo>
                    <a:pt x="262207" y="13989"/>
                  </a:lnTo>
                  <a:lnTo>
                    <a:pt x="275696" y="22218"/>
                  </a:lnTo>
                  <a:lnTo>
                    <a:pt x="275696" y="25510"/>
                  </a:lnTo>
                  <a:lnTo>
                    <a:pt x="277383" y="22218"/>
                  </a:lnTo>
                  <a:lnTo>
                    <a:pt x="290872" y="28802"/>
                  </a:lnTo>
                  <a:lnTo>
                    <a:pt x="289186" y="33739"/>
                  </a:lnTo>
                  <a:lnTo>
                    <a:pt x="285814" y="28802"/>
                  </a:lnTo>
                  <a:lnTo>
                    <a:pt x="282441" y="28802"/>
                  </a:lnTo>
                  <a:lnTo>
                    <a:pt x="280755" y="32094"/>
                  </a:lnTo>
                  <a:lnTo>
                    <a:pt x="285814" y="30448"/>
                  </a:lnTo>
                  <a:lnTo>
                    <a:pt x="292559" y="38677"/>
                  </a:lnTo>
                  <a:lnTo>
                    <a:pt x="290872" y="33739"/>
                  </a:lnTo>
                  <a:lnTo>
                    <a:pt x="292559" y="30448"/>
                  </a:lnTo>
                  <a:lnTo>
                    <a:pt x="297617" y="30448"/>
                  </a:lnTo>
                  <a:lnTo>
                    <a:pt x="302676" y="40323"/>
                  </a:lnTo>
                  <a:lnTo>
                    <a:pt x="302676" y="35385"/>
                  </a:lnTo>
                  <a:lnTo>
                    <a:pt x="309421" y="38677"/>
                  </a:lnTo>
                  <a:lnTo>
                    <a:pt x="311107" y="46906"/>
                  </a:lnTo>
                  <a:lnTo>
                    <a:pt x="316166" y="46906"/>
                  </a:lnTo>
                  <a:lnTo>
                    <a:pt x="311107" y="45260"/>
                  </a:lnTo>
                  <a:lnTo>
                    <a:pt x="311107" y="40323"/>
                  </a:lnTo>
                  <a:lnTo>
                    <a:pt x="317852" y="45260"/>
                  </a:lnTo>
                  <a:lnTo>
                    <a:pt x="319538" y="43615"/>
                  </a:lnTo>
                  <a:lnTo>
                    <a:pt x="322911" y="48552"/>
                  </a:lnTo>
                  <a:lnTo>
                    <a:pt x="322911" y="51844"/>
                  </a:lnTo>
                  <a:lnTo>
                    <a:pt x="326283" y="53490"/>
                  </a:lnTo>
                  <a:lnTo>
                    <a:pt x="322911" y="50198"/>
                  </a:lnTo>
                  <a:lnTo>
                    <a:pt x="324597" y="48552"/>
                  </a:lnTo>
                  <a:lnTo>
                    <a:pt x="327969" y="51844"/>
                  </a:lnTo>
                  <a:lnTo>
                    <a:pt x="329656" y="40323"/>
                  </a:lnTo>
                  <a:lnTo>
                    <a:pt x="329656" y="48552"/>
                  </a:lnTo>
                  <a:lnTo>
                    <a:pt x="334714" y="56782"/>
                  </a:lnTo>
                  <a:lnTo>
                    <a:pt x="329656" y="61719"/>
                  </a:lnTo>
                  <a:lnTo>
                    <a:pt x="326283" y="79824"/>
                  </a:lnTo>
                  <a:lnTo>
                    <a:pt x="329656" y="63365"/>
                  </a:lnTo>
                  <a:lnTo>
                    <a:pt x="334714" y="58427"/>
                  </a:lnTo>
                  <a:lnTo>
                    <a:pt x="334714" y="51844"/>
                  </a:lnTo>
                  <a:lnTo>
                    <a:pt x="338087" y="58427"/>
                  </a:lnTo>
                  <a:lnTo>
                    <a:pt x="333028" y="73240"/>
                  </a:lnTo>
                  <a:lnTo>
                    <a:pt x="334714" y="78178"/>
                  </a:lnTo>
                  <a:lnTo>
                    <a:pt x="333028" y="73240"/>
                  </a:lnTo>
                  <a:lnTo>
                    <a:pt x="336401" y="66657"/>
                  </a:lnTo>
                  <a:lnTo>
                    <a:pt x="339773" y="68302"/>
                  </a:lnTo>
                  <a:lnTo>
                    <a:pt x="336401" y="65011"/>
                  </a:lnTo>
                  <a:lnTo>
                    <a:pt x="339773" y="60073"/>
                  </a:lnTo>
                  <a:lnTo>
                    <a:pt x="341459" y="66657"/>
                  </a:lnTo>
                  <a:lnTo>
                    <a:pt x="341459" y="65011"/>
                  </a:lnTo>
                  <a:lnTo>
                    <a:pt x="344832" y="65011"/>
                  </a:lnTo>
                  <a:lnTo>
                    <a:pt x="349890" y="69949"/>
                  </a:lnTo>
                  <a:lnTo>
                    <a:pt x="346518" y="66657"/>
                  </a:lnTo>
                  <a:lnTo>
                    <a:pt x="349890" y="68302"/>
                  </a:lnTo>
                  <a:lnTo>
                    <a:pt x="351577" y="66657"/>
                  </a:lnTo>
                  <a:lnTo>
                    <a:pt x="348204" y="68302"/>
                  </a:lnTo>
                  <a:lnTo>
                    <a:pt x="344832" y="65011"/>
                  </a:lnTo>
                  <a:lnTo>
                    <a:pt x="339773" y="65011"/>
                  </a:lnTo>
                  <a:lnTo>
                    <a:pt x="339773" y="61719"/>
                  </a:lnTo>
                  <a:lnTo>
                    <a:pt x="344832" y="63365"/>
                  </a:lnTo>
                  <a:lnTo>
                    <a:pt x="341459" y="61719"/>
                  </a:lnTo>
                  <a:lnTo>
                    <a:pt x="341459" y="56782"/>
                  </a:lnTo>
                  <a:lnTo>
                    <a:pt x="353263" y="56782"/>
                  </a:lnTo>
                  <a:lnTo>
                    <a:pt x="353263" y="61719"/>
                  </a:lnTo>
                  <a:lnTo>
                    <a:pt x="353263" y="56782"/>
                  </a:lnTo>
                  <a:lnTo>
                    <a:pt x="360008" y="65011"/>
                  </a:lnTo>
                  <a:lnTo>
                    <a:pt x="354949" y="56782"/>
                  </a:lnTo>
                  <a:lnTo>
                    <a:pt x="341459" y="55136"/>
                  </a:lnTo>
                  <a:lnTo>
                    <a:pt x="338087" y="51844"/>
                  </a:lnTo>
                  <a:lnTo>
                    <a:pt x="346518" y="53490"/>
                  </a:lnTo>
                  <a:lnTo>
                    <a:pt x="354949" y="53490"/>
                  </a:lnTo>
                  <a:lnTo>
                    <a:pt x="356635" y="56782"/>
                  </a:lnTo>
                  <a:lnTo>
                    <a:pt x="365066" y="50198"/>
                  </a:lnTo>
                  <a:lnTo>
                    <a:pt x="366753" y="55136"/>
                  </a:lnTo>
                  <a:lnTo>
                    <a:pt x="366753" y="50198"/>
                  </a:lnTo>
                  <a:lnTo>
                    <a:pt x="385301" y="53490"/>
                  </a:lnTo>
                  <a:lnTo>
                    <a:pt x="390360" y="51844"/>
                  </a:lnTo>
                  <a:lnTo>
                    <a:pt x="397105" y="53490"/>
                  </a:lnTo>
                  <a:lnTo>
                    <a:pt x="361694" y="68302"/>
                  </a:lnTo>
                  <a:lnTo>
                    <a:pt x="343145" y="81470"/>
                  </a:lnTo>
                  <a:lnTo>
                    <a:pt x="329656" y="102866"/>
                  </a:lnTo>
                  <a:lnTo>
                    <a:pt x="322911" y="127554"/>
                  </a:lnTo>
                  <a:lnTo>
                    <a:pt x="324597" y="145658"/>
                  </a:lnTo>
                  <a:lnTo>
                    <a:pt x="331342" y="162117"/>
                  </a:lnTo>
                  <a:lnTo>
                    <a:pt x="380242" y="223014"/>
                  </a:lnTo>
                  <a:lnTo>
                    <a:pt x="390360" y="247702"/>
                  </a:lnTo>
                  <a:lnTo>
                    <a:pt x="392046" y="264160"/>
                  </a:lnTo>
                  <a:lnTo>
                    <a:pt x="390360" y="277327"/>
                  </a:lnTo>
                  <a:lnTo>
                    <a:pt x="366753" y="338224"/>
                  </a:lnTo>
                  <a:lnTo>
                    <a:pt x="363380" y="354683"/>
                  </a:lnTo>
                  <a:lnTo>
                    <a:pt x="363380" y="364558"/>
                  </a:lnTo>
                  <a:lnTo>
                    <a:pt x="380242" y="404059"/>
                  </a:lnTo>
                  <a:lnTo>
                    <a:pt x="360008" y="407350"/>
                  </a:lnTo>
                  <a:lnTo>
                    <a:pt x="354949" y="395829"/>
                  </a:lnTo>
                  <a:lnTo>
                    <a:pt x="295931" y="369496"/>
                  </a:lnTo>
                  <a:lnTo>
                    <a:pt x="292559" y="364558"/>
                  </a:lnTo>
                  <a:lnTo>
                    <a:pt x="290872" y="354683"/>
                  </a:lnTo>
                  <a:lnTo>
                    <a:pt x="277383" y="346453"/>
                  </a:lnTo>
                  <a:lnTo>
                    <a:pt x="274010" y="339870"/>
                  </a:lnTo>
                  <a:lnTo>
                    <a:pt x="279069" y="348100"/>
                  </a:lnTo>
                  <a:lnTo>
                    <a:pt x="292559" y="351391"/>
                  </a:lnTo>
                  <a:lnTo>
                    <a:pt x="287500" y="346453"/>
                  </a:lnTo>
                  <a:lnTo>
                    <a:pt x="280755" y="344808"/>
                  </a:lnTo>
                  <a:lnTo>
                    <a:pt x="285814" y="343162"/>
                  </a:lnTo>
                  <a:lnTo>
                    <a:pt x="294245" y="346453"/>
                  </a:lnTo>
                  <a:lnTo>
                    <a:pt x="297617" y="339870"/>
                  </a:lnTo>
                  <a:lnTo>
                    <a:pt x="279069" y="320120"/>
                  </a:lnTo>
                  <a:lnTo>
                    <a:pt x="263893" y="320120"/>
                  </a:lnTo>
                  <a:lnTo>
                    <a:pt x="257148" y="316828"/>
                  </a:lnTo>
                  <a:lnTo>
                    <a:pt x="252089" y="323411"/>
                  </a:lnTo>
                  <a:lnTo>
                    <a:pt x="245344" y="323411"/>
                  </a:lnTo>
                  <a:lnTo>
                    <a:pt x="235227" y="311890"/>
                  </a:lnTo>
                  <a:lnTo>
                    <a:pt x="220051" y="316828"/>
                  </a:lnTo>
                  <a:lnTo>
                    <a:pt x="208247" y="316828"/>
                  </a:lnTo>
                  <a:lnTo>
                    <a:pt x="184640" y="315182"/>
                  </a:lnTo>
                  <a:lnTo>
                    <a:pt x="181268" y="311890"/>
                  </a:lnTo>
                  <a:lnTo>
                    <a:pt x="169464" y="313536"/>
                  </a:lnTo>
                  <a:lnTo>
                    <a:pt x="167778" y="308599"/>
                  </a:lnTo>
                  <a:lnTo>
                    <a:pt x="159347" y="308599"/>
                  </a:lnTo>
                  <a:lnTo>
                    <a:pt x="157661" y="313536"/>
                  </a:lnTo>
                  <a:lnTo>
                    <a:pt x="159347" y="308599"/>
                  </a:lnTo>
                  <a:lnTo>
                    <a:pt x="154288" y="308599"/>
                  </a:lnTo>
                  <a:lnTo>
                    <a:pt x="154288" y="313536"/>
                  </a:lnTo>
                  <a:lnTo>
                    <a:pt x="154288" y="308599"/>
                  </a:lnTo>
                  <a:lnTo>
                    <a:pt x="149230" y="306953"/>
                  </a:lnTo>
                  <a:lnTo>
                    <a:pt x="149230" y="313536"/>
                  </a:lnTo>
                  <a:lnTo>
                    <a:pt x="144171" y="310245"/>
                  </a:lnTo>
                  <a:lnTo>
                    <a:pt x="144171" y="313536"/>
                  </a:lnTo>
                  <a:lnTo>
                    <a:pt x="135740" y="302015"/>
                  </a:lnTo>
                  <a:lnTo>
                    <a:pt x="139112" y="297078"/>
                  </a:lnTo>
                  <a:lnTo>
                    <a:pt x="125622" y="288848"/>
                  </a:lnTo>
                  <a:lnTo>
                    <a:pt x="118877" y="274035"/>
                  </a:lnTo>
                  <a:lnTo>
                    <a:pt x="120564" y="265806"/>
                  </a:lnTo>
                  <a:lnTo>
                    <a:pt x="108760" y="259223"/>
                  </a:lnTo>
                  <a:lnTo>
                    <a:pt x="103701" y="246056"/>
                  </a:lnTo>
                  <a:lnTo>
                    <a:pt x="80094" y="241118"/>
                  </a:lnTo>
                  <a:lnTo>
                    <a:pt x="69977" y="236181"/>
                  </a:lnTo>
                  <a:lnTo>
                    <a:pt x="75036" y="219722"/>
                  </a:lnTo>
                  <a:lnTo>
                    <a:pt x="64918" y="209847"/>
                  </a:lnTo>
                  <a:lnTo>
                    <a:pt x="48056" y="201617"/>
                  </a:lnTo>
                  <a:lnTo>
                    <a:pt x="41311" y="193388"/>
                  </a:lnTo>
                  <a:lnTo>
                    <a:pt x="32880" y="188451"/>
                  </a:lnTo>
                  <a:lnTo>
                    <a:pt x="12645" y="186805"/>
                  </a:lnTo>
                  <a:lnTo>
                    <a:pt x="4214" y="175284"/>
                  </a:lnTo>
                  <a:lnTo>
                    <a:pt x="5900" y="160471"/>
                  </a:lnTo>
                  <a:lnTo>
                    <a:pt x="12645" y="148950"/>
                  </a:lnTo>
                  <a:lnTo>
                    <a:pt x="10959" y="147304"/>
                  </a:lnTo>
                  <a:lnTo>
                    <a:pt x="14331" y="147304"/>
                  </a:lnTo>
                  <a:lnTo>
                    <a:pt x="12645" y="144012"/>
                  </a:lnTo>
                  <a:lnTo>
                    <a:pt x="14331" y="147304"/>
                  </a:lnTo>
                  <a:lnTo>
                    <a:pt x="21076" y="144012"/>
                  </a:lnTo>
                  <a:lnTo>
                    <a:pt x="19390" y="145658"/>
                  </a:lnTo>
                  <a:lnTo>
                    <a:pt x="27821" y="145658"/>
                  </a:lnTo>
                  <a:lnTo>
                    <a:pt x="27821" y="142367"/>
                  </a:lnTo>
                  <a:lnTo>
                    <a:pt x="27821" y="145658"/>
                  </a:lnTo>
                  <a:lnTo>
                    <a:pt x="36252" y="145658"/>
                  </a:lnTo>
                  <a:lnTo>
                    <a:pt x="32880" y="144012"/>
                  </a:lnTo>
                  <a:lnTo>
                    <a:pt x="34566" y="142367"/>
                  </a:lnTo>
                  <a:lnTo>
                    <a:pt x="46370" y="150596"/>
                  </a:lnTo>
                  <a:lnTo>
                    <a:pt x="51428" y="158825"/>
                  </a:lnTo>
                  <a:lnTo>
                    <a:pt x="46370" y="150596"/>
                  </a:lnTo>
                  <a:lnTo>
                    <a:pt x="36252" y="142367"/>
                  </a:lnTo>
                  <a:lnTo>
                    <a:pt x="42997" y="139075"/>
                  </a:lnTo>
                  <a:lnTo>
                    <a:pt x="48056" y="142367"/>
                  </a:lnTo>
                  <a:lnTo>
                    <a:pt x="49742" y="140720"/>
                  </a:lnTo>
                  <a:lnTo>
                    <a:pt x="48056" y="137429"/>
                  </a:lnTo>
                  <a:lnTo>
                    <a:pt x="49742" y="140720"/>
                  </a:lnTo>
                  <a:lnTo>
                    <a:pt x="53115" y="139075"/>
                  </a:lnTo>
                  <a:lnTo>
                    <a:pt x="53115" y="135783"/>
                  </a:lnTo>
                  <a:lnTo>
                    <a:pt x="54801" y="139075"/>
                  </a:lnTo>
                  <a:lnTo>
                    <a:pt x="59860" y="135783"/>
                  </a:lnTo>
                  <a:lnTo>
                    <a:pt x="56487" y="132491"/>
                  </a:lnTo>
                  <a:lnTo>
                    <a:pt x="66604" y="137429"/>
                  </a:lnTo>
                  <a:lnTo>
                    <a:pt x="80094" y="129199"/>
                  </a:lnTo>
                  <a:lnTo>
                    <a:pt x="76722" y="125908"/>
                  </a:lnTo>
                  <a:lnTo>
                    <a:pt x="80094" y="125908"/>
                  </a:lnTo>
                  <a:lnTo>
                    <a:pt x="76722" y="125908"/>
                  </a:lnTo>
                  <a:lnTo>
                    <a:pt x="80094" y="129199"/>
                  </a:lnTo>
                  <a:lnTo>
                    <a:pt x="86839" y="124262"/>
                  </a:lnTo>
                  <a:lnTo>
                    <a:pt x="90212" y="119324"/>
                  </a:lnTo>
                  <a:lnTo>
                    <a:pt x="88525" y="117678"/>
                  </a:lnTo>
                  <a:lnTo>
                    <a:pt x="91898" y="120970"/>
                  </a:lnTo>
                  <a:lnTo>
                    <a:pt x="100329" y="120970"/>
                  </a:lnTo>
                  <a:lnTo>
                    <a:pt x="112133" y="109449"/>
                  </a:lnTo>
                  <a:lnTo>
                    <a:pt x="112133" y="107803"/>
                  </a:lnTo>
                  <a:lnTo>
                    <a:pt x="113819" y="109449"/>
                  </a:lnTo>
                  <a:lnTo>
                    <a:pt x="120564" y="107803"/>
                  </a:lnTo>
                  <a:lnTo>
                    <a:pt x="125622" y="107803"/>
                  </a:lnTo>
                  <a:lnTo>
                    <a:pt x="127309" y="104512"/>
                  </a:lnTo>
                  <a:lnTo>
                    <a:pt x="127309" y="99574"/>
                  </a:lnTo>
                  <a:lnTo>
                    <a:pt x="128995" y="102866"/>
                  </a:lnTo>
                  <a:lnTo>
                    <a:pt x="145857" y="99574"/>
                  </a:lnTo>
                  <a:lnTo>
                    <a:pt x="145857" y="97928"/>
                  </a:lnTo>
                  <a:lnTo>
                    <a:pt x="157661" y="104512"/>
                  </a:lnTo>
                  <a:lnTo>
                    <a:pt x="161033" y="101220"/>
                  </a:lnTo>
                  <a:lnTo>
                    <a:pt x="184640" y="107803"/>
                  </a:lnTo>
                  <a:lnTo>
                    <a:pt x="198130" y="122616"/>
                  </a:lnTo>
                  <a:lnTo>
                    <a:pt x="191385" y="117678"/>
                  </a:lnTo>
                  <a:lnTo>
                    <a:pt x="194758" y="125908"/>
                  </a:lnTo>
                  <a:lnTo>
                    <a:pt x="196444" y="125908"/>
                  </a:lnTo>
                  <a:lnTo>
                    <a:pt x="198130" y="122616"/>
                  </a:lnTo>
                  <a:lnTo>
                    <a:pt x="204875" y="125908"/>
                  </a:lnTo>
                  <a:lnTo>
                    <a:pt x="209934" y="135783"/>
                  </a:lnTo>
                  <a:lnTo>
                    <a:pt x="218365" y="139075"/>
                  </a:lnTo>
                  <a:lnTo>
                    <a:pt x="233541" y="137429"/>
                  </a:lnTo>
                  <a:lnTo>
                    <a:pt x="213306" y="137429"/>
                  </a:lnTo>
                  <a:lnTo>
                    <a:pt x="208247" y="130845"/>
                  </a:lnTo>
                  <a:lnTo>
                    <a:pt x="209934" y="127554"/>
                  </a:lnTo>
                  <a:lnTo>
                    <a:pt x="216679" y="129199"/>
                  </a:lnTo>
                  <a:lnTo>
                    <a:pt x="216679" y="127554"/>
                  </a:lnTo>
                  <a:lnTo>
                    <a:pt x="226796" y="129199"/>
                  </a:lnTo>
                  <a:lnTo>
                    <a:pt x="228482" y="132491"/>
                  </a:lnTo>
                  <a:lnTo>
                    <a:pt x="230168" y="132491"/>
                  </a:lnTo>
                  <a:lnTo>
                    <a:pt x="226796" y="132491"/>
                  </a:lnTo>
                  <a:lnTo>
                    <a:pt x="228482" y="127554"/>
                  </a:lnTo>
                  <a:lnTo>
                    <a:pt x="236913" y="125908"/>
                  </a:lnTo>
                  <a:lnTo>
                    <a:pt x="240286" y="132491"/>
                  </a:lnTo>
                  <a:lnTo>
                    <a:pt x="238599" y="135783"/>
                  </a:lnTo>
                  <a:lnTo>
                    <a:pt x="240286" y="134137"/>
                  </a:lnTo>
                  <a:lnTo>
                    <a:pt x="240286" y="137429"/>
                  </a:lnTo>
                  <a:lnTo>
                    <a:pt x="245344" y="134137"/>
                  </a:lnTo>
                  <a:lnTo>
                    <a:pt x="248717" y="135783"/>
                  </a:lnTo>
                  <a:lnTo>
                    <a:pt x="247031" y="137429"/>
                  </a:lnTo>
                  <a:lnTo>
                    <a:pt x="247031" y="135783"/>
                  </a:lnTo>
                  <a:lnTo>
                    <a:pt x="241972" y="134137"/>
                  </a:lnTo>
                  <a:lnTo>
                    <a:pt x="240286" y="125908"/>
                  </a:lnTo>
                  <a:lnTo>
                    <a:pt x="253775" y="124262"/>
                  </a:lnTo>
                  <a:lnTo>
                    <a:pt x="253775" y="134137"/>
                  </a:lnTo>
                  <a:lnTo>
                    <a:pt x="250403" y="134137"/>
                  </a:lnTo>
                  <a:lnTo>
                    <a:pt x="255462" y="135783"/>
                  </a:lnTo>
                  <a:lnTo>
                    <a:pt x="257148" y="125908"/>
                  </a:lnTo>
                  <a:lnTo>
                    <a:pt x="258834" y="130845"/>
                  </a:lnTo>
                  <a:lnTo>
                    <a:pt x="260520" y="124262"/>
                  </a:lnTo>
                  <a:lnTo>
                    <a:pt x="262207" y="129199"/>
                  </a:lnTo>
                  <a:lnTo>
                    <a:pt x="260520" y="134137"/>
                  </a:lnTo>
                  <a:lnTo>
                    <a:pt x="262207" y="125908"/>
                  </a:lnTo>
                  <a:lnTo>
                    <a:pt x="267265" y="125908"/>
                  </a:lnTo>
                  <a:lnTo>
                    <a:pt x="267265" y="127554"/>
                  </a:lnTo>
                  <a:lnTo>
                    <a:pt x="265579" y="129199"/>
                  </a:lnTo>
                  <a:lnTo>
                    <a:pt x="268952" y="129199"/>
                  </a:lnTo>
                  <a:lnTo>
                    <a:pt x="263893" y="134137"/>
                  </a:lnTo>
                  <a:lnTo>
                    <a:pt x="268952" y="129199"/>
                  </a:lnTo>
                  <a:lnTo>
                    <a:pt x="268952" y="124262"/>
                  </a:lnTo>
                  <a:lnTo>
                    <a:pt x="272324" y="127554"/>
                  </a:lnTo>
                  <a:lnTo>
                    <a:pt x="272324" y="130845"/>
                  </a:lnTo>
                  <a:lnTo>
                    <a:pt x="277383" y="122616"/>
                  </a:lnTo>
                  <a:lnTo>
                    <a:pt x="297617" y="120970"/>
                  </a:lnTo>
                  <a:lnTo>
                    <a:pt x="299304" y="114387"/>
                  </a:lnTo>
                  <a:lnTo>
                    <a:pt x="290872" y="112741"/>
                  </a:lnTo>
                  <a:lnTo>
                    <a:pt x="299304" y="107803"/>
                  </a:lnTo>
                  <a:lnTo>
                    <a:pt x="294245" y="104512"/>
                  </a:lnTo>
                  <a:lnTo>
                    <a:pt x="297617" y="99574"/>
                  </a:lnTo>
                  <a:lnTo>
                    <a:pt x="295931" y="104512"/>
                  </a:lnTo>
                  <a:lnTo>
                    <a:pt x="299304" y="104512"/>
                  </a:lnTo>
                  <a:lnTo>
                    <a:pt x="302676" y="101220"/>
                  </a:lnTo>
                  <a:lnTo>
                    <a:pt x="302676" y="92991"/>
                  </a:lnTo>
                  <a:lnTo>
                    <a:pt x="295931" y="91345"/>
                  </a:lnTo>
                  <a:lnTo>
                    <a:pt x="294245" y="92991"/>
                  </a:lnTo>
                  <a:lnTo>
                    <a:pt x="297617" y="92991"/>
                  </a:lnTo>
                  <a:lnTo>
                    <a:pt x="292559" y="92991"/>
                  </a:lnTo>
                  <a:lnTo>
                    <a:pt x="290872" y="97928"/>
                  </a:lnTo>
                  <a:lnTo>
                    <a:pt x="284128" y="101220"/>
                  </a:lnTo>
                  <a:lnTo>
                    <a:pt x="279069" y="97928"/>
                  </a:lnTo>
                  <a:lnTo>
                    <a:pt x="274010" y="102866"/>
                  </a:lnTo>
                  <a:lnTo>
                    <a:pt x="267265" y="104512"/>
                  </a:lnTo>
                  <a:lnTo>
                    <a:pt x="248717" y="101220"/>
                  </a:lnTo>
                  <a:lnTo>
                    <a:pt x="225110" y="101220"/>
                  </a:lnTo>
                  <a:lnTo>
                    <a:pt x="211620" y="73240"/>
                  </a:lnTo>
                  <a:lnTo>
                    <a:pt x="198130" y="61719"/>
                  </a:lnTo>
                  <a:lnTo>
                    <a:pt x="188013" y="61719"/>
                  </a:lnTo>
                  <a:lnTo>
                    <a:pt x="184640" y="58427"/>
                  </a:lnTo>
                  <a:lnTo>
                    <a:pt x="182954" y="38677"/>
                  </a:lnTo>
                  <a:lnTo>
                    <a:pt x="186326" y="33739"/>
                  </a:lnTo>
                  <a:lnTo>
                    <a:pt x="182954" y="28802"/>
                  </a:lnTo>
                  <a:lnTo>
                    <a:pt x="184640" y="30448"/>
                  </a:lnTo>
                  <a:lnTo>
                    <a:pt x="186326" y="28802"/>
                  </a:lnTo>
                  <a:lnTo>
                    <a:pt x="182954" y="28802"/>
                  </a:lnTo>
                  <a:lnTo>
                    <a:pt x="186326" y="28802"/>
                  </a:lnTo>
                  <a:lnTo>
                    <a:pt x="193071" y="32094"/>
                  </a:lnTo>
                  <a:lnTo>
                    <a:pt x="194758" y="30448"/>
                  </a:lnTo>
                  <a:lnTo>
                    <a:pt x="191385" y="30448"/>
                  </a:lnTo>
                  <a:lnTo>
                    <a:pt x="194758" y="27156"/>
                  </a:lnTo>
                  <a:lnTo>
                    <a:pt x="191385" y="28802"/>
                  </a:lnTo>
                  <a:lnTo>
                    <a:pt x="194758" y="23864"/>
                  </a:lnTo>
                  <a:lnTo>
                    <a:pt x="196444" y="25510"/>
                  </a:lnTo>
                  <a:lnTo>
                    <a:pt x="196444" y="20573"/>
                  </a:lnTo>
                  <a:lnTo>
                    <a:pt x="216679"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2" name="Laren">
              <a:extLst>
                <a:ext uri="{FF2B5EF4-FFF2-40B4-BE49-F238E27FC236}">
                  <a16:creationId xmlns:a16="http://schemas.microsoft.com/office/drawing/2014/main" id="{805B0957-8351-4A37-AB7D-FB382AC12210}"/>
                </a:ext>
              </a:extLst>
            </p:cNvPr>
            <p:cNvSpPr/>
            <p:nvPr/>
          </p:nvSpPr>
          <p:spPr>
            <a:xfrm>
              <a:off x="6025115" y="3224580"/>
              <a:ext cx="49902" cy="106344"/>
            </a:xfrm>
            <a:custGeom>
              <a:avLst/>
              <a:gdLst/>
              <a:ahLst/>
              <a:cxnLst/>
              <a:rect l="l" t="t" r="r" b="b"/>
              <a:pathLst>
                <a:path w="81957" h="148590" extrusionOk="0">
                  <a:moveTo>
                    <a:pt x="59860" y="15635"/>
                  </a:moveTo>
                  <a:lnTo>
                    <a:pt x="88525" y="48552"/>
                  </a:lnTo>
                  <a:lnTo>
                    <a:pt x="54801" y="119324"/>
                  </a:lnTo>
                  <a:lnTo>
                    <a:pt x="58173" y="119324"/>
                  </a:lnTo>
                  <a:lnTo>
                    <a:pt x="49742" y="150596"/>
                  </a:lnTo>
                  <a:lnTo>
                    <a:pt x="19390" y="81470"/>
                  </a:lnTo>
                  <a:lnTo>
                    <a:pt x="4214" y="65011"/>
                  </a:lnTo>
                  <a:lnTo>
                    <a:pt x="26135" y="18927"/>
                  </a:lnTo>
                  <a:lnTo>
                    <a:pt x="34566" y="20573"/>
                  </a:lnTo>
                  <a:lnTo>
                    <a:pt x="59860" y="4114"/>
                  </a:lnTo>
                  <a:lnTo>
                    <a:pt x="59860" y="1563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3" name="Putten">
              <a:extLst>
                <a:ext uri="{FF2B5EF4-FFF2-40B4-BE49-F238E27FC236}">
                  <a16:creationId xmlns:a16="http://schemas.microsoft.com/office/drawing/2014/main" id="{E289F71F-6CF9-4D2F-BC1E-53A2CE7394D5}"/>
                </a:ext>
              </a:extLst>
            </p:cNvPr>
            <p:cNvSpPr/>
            <p:nvPr/>
          </p:nvSpPr>
          <p:spPr>
            <a:xfrm>
              <a:off x="6322590" y="3205525"/>
              <a:ext cx="217765" cy="161233"/>
            </a:xfrm>
            <a:custGeom>
              <a:avLst/>
              <a:gdLst/>
              <a:ahLst/>
              <a:cxnLst/>
              <a:rect l="l" t="t" r="r" b="b"/>
              <a:pathLst>
                <a:path w="316120" h="217170" extrusionOk="0">
                  <a:moveTo>
                    <a:pt x="115505" y="4114"/>
                  </a:moveTo>
                  <a:lnTo>
                    <a:pt x="122250" y="9052"/>
                  </a:lnTo>
                  <a:lnTo>
                    <a:pt x="122250" y="13989"/>
                  </a:lnTo>
                  <a:lnTo>
                    <a:pt x="127309" y="17281"/>
                  </a:lnTo>
                  <a:lnTo>
                    <a:pt x="144171" y="20573"/>
                  </a:lnTo>
                  <a:lnTo>
                    <a:pt x="176209" y="37031"/>
                  </a:lnTo>
                  <a:lnTo>
                    <a:pt x="209934" y="40323"/>
                  </a:lnTo>
                  <a:lnTo>
                    <a:pt x="213306" y="43615"/>
                  </a:lnTo>
                  <a:lnTo>
                    <a:pt x="226796" y="43615"/>
                  </a:lnTo>
                  <a:lnTo>
                    <a:pt x="258834" y="55136"/>
                  </a:lnTo>
                  <a:lnTo>
                    <a:pt x="280755" y="76532"/>
                  </a:lnTo>
                  <a:lnTo>
                    <a:pt x="289186" y="86407"/>
                  </a:lnTo>
                  <a:lnTo>
                    <a:pt x="297617" y="91345"/>
                  </a:lnTo>
                  <a:lnTo>
                    <a:pt x="311107" y="106157"/>
                  </a:lnTo>
                  <a:lnTo>
                    <a:pt x="317852" y="125908"/>
                  </a:lnTo>
                  <a:lnTo>
                    <a:pt x="321224" y="127554"/>
                  </a:lnTo>
                  <a:lnTo>
                    <a:pt x="317852" y="165409"/>
                  </a:lnTo>
                  <a:lnTo>
                    <a:pt x="294245" y="171992"/>
                  </a:lnTo>
                  <a:lnTo>
                    <a:pt x="245344" y="206555"/>
                  </a:lnTo>
                  <a:lnTo>
                    <a:pt x="203189" y="214785"/>
                  </a:lnTo>
                  <a:lnTo>
                    <a:pt x="118877" y="221368"/>
                  </a:lnTo>
                  <a:lnTo>
                    <a:pt x="95270" y="180221"/>
                  </a:lnTo>
                  <a:lnTo>
                    <a:pt x="93584" y="180221"/>
                  </a:lnTo>
                  <a:lnTo>
                    <a:pt x="83467" y="170346"/>
                  </a:lnTo>
                  <a:lnTo>
                    <a:pt x="71663" y="152242"/>
                  </a:lnTo>
                  <a:lnTo>
                    <a:pt x="64918" y="152242"/>
                  </a:lnTo>
                  <a:lnTo>
                    <a:pt x="66604" y="144012"/>
                  </a:lnTo>
                  <a:lnTo>
                    <a:pt x="61546" y="142367"/>
                  </a:lnTo>
                  <a:lnTo>
                    <a:pt x="63232" y="140721"/>
                  </a:lnTo>
                  <a:lnTo>
                    <a:pt x="58173" y="140721"/>
                  </a:lnTo>
                  <a:lnTo>
                    <a:pt x="58173" y="147304"/>
                  </a:lnTo>
                  <a:lnTo>
                    <a:pt x="53115" y="150596"/>
                  </a:lnTo>
                  <a:lnTo>
                    <a:pt x="41311" y="145658"/>
                  </a:lnTo>
                  <a:lnTo>
                    <a:pt x="39625" y="139075"/>
                  </a:lnTo>
                  <a:lnTo>
                    <a:pt x="27821" y="140721"/>
                  </a:lnTo>
                  <a:lnTo>
                    <a:pt x="17704" y="132491"/>
                  </a:lnTo>
                  <a:lnTo>
                    <a:pt x="4214" y="89699"/>
                  </a:lnTo>
                  <a:lnTo>
                    <a:pt x="10959" y="88053"/>
                  </a:lnTo>
                  <a:lnTo>
                    <a:pt x="26135" y="74886"/>
                  </a:lnTo>
                  <a:lnTo>
                    <a:pt x="34566" y="73240"/>
                  </a:lnTo>
                  <a:lnTo>
                    <a:pt x="51428" y="69949"/>
                  </a:lnTo>
                  <a:lnTo>
                    <a:pt x="85153" y="73240"/>
                  </a:lnTo>
                  <a:lnTo>
                    <a:pt x="78408" y="68303"/>
                  </a:lnTo>
                  <a:lnTo>
                    <a:pt x="78408" y="65011"/>
                  </a:lnTo>
                  <a:lnTo>
                    <a:pt x="34566" y="71595"/>
                  </a:lnTo>
                  <a:lnTo>
                    <a:pt x="16018" y="76532"/>
                  </a:lnTo>
                  <a:lnTo>
                    <a:pt x="9273" y="81470"/>
                  </a:lnTo>
                  <a:lnTo>
                    <a:pt x="16018" y="76532"/>
                  </a:lnTo>
                  <a:lnTo>
                    <a:pt x="42997" y="69949"/>
                  </a:lnTo>
                  <a:lnTo>
                    <a:pt x="78408" y="65011"/>
                  </a:lnTo>
                  <a:lnTo>
                    <a:pt x="80094" y="68303"/>
                  </a:lnTo>
                  <a:lnTo>
                    <a:pt x="83467" y="69949"/>
                  </a:lnTo>
                  <a:lnTo>
                    <a:pt x="88525" y="68303"/>
                  </a:lnTo>
                  <a:lnTo>
                    <a:pt x="90211" y="63365"/>
                  </a:lnTo>
                  <a:lnTo>
                    <a:pt x="90211" y="53490"/>
                  </a:lnTo>
                  <a:lnTo>
                    <a:pt x="90211" y="60073"/>
                  </a:lnTo>
                  <a:lnTo>
                    <a:pt x="93584" y="60073"/>
                  </a:lnTo>
                  <a:lnTo>
                    <a:pt x="95270" y="56782"/>
                  </a:lnTo>
                  <a:lnTo>
                    <a:pt x="90211" y="53490"/>
                  </a:lnTo>
                  <a:lnTo>
                    <a:pt x="96957" y="55136"/>
                  </a:lnTo>
                  <a:lnTo>
                    <a:pt x="100329" y="50198"/>
                  </a:lnTo>
                  <a:lnTo>
                    <a:pt x="105388" y="38677"/>
                  </a:lnTo>
                  <a:lnTo>
                    <a:pt x="103701" y="35385"/>
                  </a:lnTo>
                  <a:lnTo>
                    <a:pt x="107074" y="35385"/>
                  </a:lnTo>
                  <a:lnTo>
                    <a:pt x="105388" y="35385"/>
                  </a:lnTo>
                  <a:lnTo>
                    <a:pt x="108760" y="30448"/>
                  </a:lnTo>
                  <a:lnTo>
                    <a:pt x="107074" y="25510"/>
                  </a:lnTo>
                  <a:lnTo>
                    <a:pt x="108760" y="20573"/>
                  </a:lnTo>
                  <a:lnTo>
                    <a:pt x="107074" y="23864"/>
                  </a:lnTo>
                  <a:lnTo>
                    <a:pt x="110446" y="20573"/>
                  </a:lnTo>
                  <a:lnTo>
                    <a:pt x="115505"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4" name="Goeree-Overflakkee">
              <a:extLst>
                <a:ext uri="{FF2B5EF4-FFF2-40B4-BE49-F238E27FC236}">
                  <a16:creationId xmlns:a16="http://schemas.microsoft.com/office/drawing/2014/main" id="{57BE4939-B456-4531-9CE3-86BECCB21DF1}"/>
                </a:ext>
              </a:extLst>
            </p:cNvPr>
            <p:cNvSpPr/>
            <p:nvPr/>
          </p:nvSpPr>
          <p:spPr>
            <a:xfrm>
              <a:off x="4598883" y="3911113"/>
              <a:ext cx="608789" cy="320326"/>
            </a:xfrm>
            <a:custGeom>
              <a:avLst/>
              <a:gdLst/>
              <a:ahLst/>
              <a:cxnLst/>
              <a:rect l="l" t="t" r="r" b="b"/>
              <a:pathLst>
                <a:path w="878112" h="480060" extrusionOk="0">
                  <a:moveTo>
                    <a:pt x="240286" y="20573"/>
                  </a:moveTo>
                  <a:lnTo>
                    <a:pt x="238599" y="18927"/>
                  </a:lnTo>
                  <a:lnTo>
                    <a:pt x="241972" y="18927"/>
                  </a:lnTo>
                  <a:lnTo>
                    <a:pt x="240286" y="20573"/>
                  </a:lnTo>
                  <a:close/>
                  <a:moveTo>
                    <a:pt x="346518" y="89699"/>
                  </a:moveTo>
                  <a:lnTo>
                    <a:pt x="341459" y="83115"/>
                  </a:lnTo>
                  <a:lnTo>
                    <a:pt x="349890" y="88053"/>
                  </a:lnTo>
                  <a:lnTo>
                    <a:pt x="346518" y="89699"/>
                  </a:lnTo>
                  <a:close/>
                  <a:moveTo>
                    <a:pt x="361694" y="94637"/>
                  </a:moveTo>
                  <a:lnTo>
                    <a:pt x="354949" y="92991"/>
                  </a:lnTo>
                  <a:lnTo>
                    <a:pt x="348204" y="89699"/>
                  </a:lnTo>
                  <a:lnTo>
                    <a:pt x="361694" y="94637"/>
                  </a:lnTo>
                  <a:close/>
                  <a:moveTo>
                    <a:pt x="385301" y="112741"/>
                  </a:moveTo>
                  <a:lnTo>
                    <a:pt x="375184" y="106157"/>
                  </a:lnTo>
                  <a:lnTo>
                    <a:pt x="386987" y="111095"/>
                  </a:lnTo>
                  <a:lnTo>
                    <a:pt x="385301" y="112741"/>
                  </a:lnTo>
                  <a:close/>
                  <a:moveTo>
                    <a:pt x="471298" y="124262"/>
                  </a:moveTo>
                  <a:lnTo>
                    <a:pt x="472985" y="120970"/>
                  </a:lnTo>
                  <a:lnTo>
                    <a:pt x="476357" y="119324"/>
                  </a:lnTo>
                  <a:lnTo>
                    <a:pt x="471298" y="124262"/>
                  </a:lnTo>
                  <a:close/>
                  <a:moveTo>
                    <a:pt x="467926" y="130845"/>
                  </a:moveTo>
                  <a:lnTo>
                    <a:pt x="466240" y="127554"/>
                  </a:lnTo>
                  <a:lnTo>
                    <a:pt x="469612" y="122616"/>
                  </a:lnTo>
                  <a:lnTo>
                    <a:pt x="467926" y="130845"/>
                  </a:lnTo>
                  <a:close/>
                  <a:moveTo>
                    <a:pt x="203189" y="130845"/>
                  </a:moveTo>
                  <a:lnTo>
                    <a:pt x="191385" y="127554"/>
                  </a:lnTo>
                  <a:lnTo>
                    <a:pt x="188013" y="122616"/>
                  </a:lnTo>
                  <a:lnTo>
                    <a:pt x="193071" y="119324"/>
                  </a:lnTo>
                  <a:lnTo>
                    <a:pt x="201503" y="119324"/>
                  </a:lnTo>
                  <a:lnTo>
                    <a:pt x="194758" y="120970"/>
                  </a:lnTo>
                  <a:lnTo>
                    <a:pt x="201503" y="130845"/>
                  </a:lnTo>
                  <a:lnTo>
                    <a:pt x="204875" y="129199"/>
                  </a:lnTo>
                  <a:lnTo>
                    <a:pt x="203189" y="130845"/>
                  </a:lnTo>
                  <a:close/>
                  <a:moveTo>
                    <a:pt x="481416" y="134137"/>
                  </a:moveTo>
                  <a:lnTo>
                    <a:pt x="469612" y="130845"/>
                  </a:lnTo>
                  <a:lnTo>
                    <a:pt x="469612" y="125908"/>
                  </a:lnTo>
                  <a:lnTo>
                    <a:pt x="476357" y="130845"/>
                  </a:lnTo>
                  <a:lnTo>
                    <a:pt x="471298" y="127554"/>
                  </a:lnTo>
                  <a:lnTo>
                    <a:pt x="472985" y="125908"/>
                  </a:lnTo>
                  <a:lnTo>
                    <a:pt x="478043" y="124262"/>
                  </a:lnTo>
                  <a:lnTo>
                    <a:pt x="478043" y="122616"/>
                  </a:lnTo>
                  <a:lnTo>
                    <a:pt x="488161" y="124262"/>
                  </a:lnTo>
                  <a:lnTo>
                    <a:pt x="491533" y="127554"/>
                  </a:lnTo>
                  <a:lnTo>
                    <a:pt x="481416" y="127554"/>
                  </a:lnTo>
                  <a:lnTo>
                    <a:pt x="481416" y="134137"/>
                  </a:lnTo>
                  <a:close/>
                  <a:moveTo>
                    <a:pt x="103701" y="196680"/>
                  </a:moveTo>
                  <a:lnTo>
                    <a:pt x="102015" y="191742"/>
                  </a:lnTo>
                  <a:lnTo>
                    <a:pt x="107074" y="191742"/>
                  </a:lnTo>
                  <a:lnTo>
                    <a:pt x="132367" y="168700"/>
                  </a:lnTo>
                  <a:lnTo>
                    <a:pt x="140798" y="153888"/>
                  </a:lnTo>
                  <a:lnTo>
                    <a:pt x="154288" y="147304"/>
                  </a:lnTo>
                  <a:lnTo>
                    <a:pt x="157661" y="148950"/>
                  </a:lnTo>
                  <a:lnTo>
                    <a:pt x="154288" y="148950"/>
                  </a:lnTo>
                  <a:lnTo>
                    <a:pt x="154288" y="152242"/>
                  </a:lnTo>
                  <a:lnTo>
                    <a:pt x="164406" y="163763"/>
                  </a:lnTo>
                  <a:lnTo>
                    <a:pt x="199816" y="186805"/>
                  </a:lnTo>
                  <a:lnTo>
                    <a:pt x="179582" y="181867"/>
                  </a:lnTo>
                  <a:lnTo>
                    <a:pt x="149230" y="181867"/>
                  </a:lnTo>
                  <a:lnTo>
                    <a:pt x="139112" y="183513"/>
                  </a:lnTo>
                  <a:lnTo>
                    <a:pt x="118878" y="193388"/>
                  </a:lnTo>
                  <a:lnTo>
                    <a:pt x="103701" y="193388"/>
                  </a:lnTo>
                  <a:lnTo>
                    <a:pt x="103701" y="196680"/>
                  </a:lnTo>
                  <a:close/>
                  <a:moveTo>
                    <a:pt x="289186" y="211493"/>
                  </a:moveTo>
                  <a:lnTo>
                    <a:pt x="289186" y="208201"/>
                  </a:lnTo>
                  <a:lnTo>
                    <a:pt x="290872" y="209847"/>
                  </a:lnTo>
                  <a:lnTo>
                    <a:pt x="289186" y="211493"/>
                  </a:lnTo>
                  <a:close/>
                  <a:moveTo>
                    <a:pt x="66605" y="226306"/>
                  </a:moveTo>
                  <a:lnTo>
                    <a:pt x="63232" y="221368"/>
                  </a:lnTo>
                  <a:lnTo>
                    <a:pt x="75036" y="219722"/>
                  </a:lnTo>
                  <a:lnTo>
                    <a:pt x="76722" y="223014"/>
                  </a:lnTo>
                  <a:lnTo>
                    <a:pt x="75036" y="219722"/>
                  </a:lnTo>
                  <a:lnTo>
                    <a:pt x="75036" y="223014"/>
                  </a:lnTo>
                  <a:lnTo>
                    <a:pt x="69977" y="224660"/>
                  </a:lnTo>
                  <a:lnTo>
                    <a:pt x="71663" y="226306"/>
                  </a:lnTo>
                  <a:lnTo>
                    <a:pt x="68291" y="224660"/>
                  </a:lnTo>
                  <a:lnTo>
                    <a:pt x="66605" y="226306"/>
                  </a:lnTo>
                  <a:close/>
                  <a:moveTo>
                    <a:pt x="766388" y="348099"/>
                  </a:moveTo>
                  <a:lnTo>
                    <a:pt x="763015" y="346453"/>
                  </a:lnTo>
                  <a:lnTo>
                    <a:pt x="763015" y="343162"/>
                  </a:lnTo>
                  <a:lnTo>
                    <a:pt x="766388" y="348099"/>
                  </a:lnTo>
                  <a:close/>
                  <a:moveTo>
                    <a:pt x="779877" y="353037"/>
                  </a:moveTo>
                  <a:lnTo>
                    <a:pt x="766388" y="348099"/>
                  </a:lnTo>
                  <a:lnTo>
                    <a:pt x="771446" y="351391"/>
                  </a:lnTo>
                  <a:lnTo>
                    <a:pt x="774819" y="348099"/>
                  </a:lnTo>
                  <a:lnTo>
                    <a:pt x="774819" y="351391"/>
                  </a:lnTo>
                  <a:lnTo>
                    <a:pt x="779877" y="353037"/>
                  </a:lnTo>
                  <a:close/>
                  <a:moveTo>
                    <a:pt x="788309" y="367850"/>
                  </a:moveTo>
                  <a:lnTo>
                    <a:pt x="776505" y="364558"/>
                  </a:lnTo>
                  <a:lnTo>
                    <a:pt x="766388" y="366204"/>
                  </a:lnTo>
                  <a:lnTo>
                    <a:pt x="764701" y="364558"/>
                  </a:lnTo>
                  <a:lnTo>
                    <a:pt x="769760" y="362912"/>
                  </a:lnTo>
                  <a:lnTo>
                    <a:pt x="761329" y="364558"/>
                  </a:lnTo>
                  <a:lnTo>
                    <a:pt x="771446" y="362912"/>
                  </a:lnTo>
                  <a:lnTo>
                    <a:pt x="788309" y="367850"/>
                  </a:lnTo>
                  <a:close/>
                  <a:moveTo>
                    <a:pt x="795054" y="367850"/>
                  </a:moveTo>
                  <a:lnTo>
                    <a:pt x="801798" y="364558"/>
                  </a:lnTo>
                  <a:lnTo>
                    <a:pt x="811916" y="353037"/>
                  </a:lnTo>
                  <a:lnTo>
                    <a:pt x="813602" y="364558"/>
                  </a:lnTo>
                  <a:lnTo>
                    <a:pt x="813602" y="359621"/>
                  </a:lnTo>
                  <a:lnTo>
                    <a:pt x="810230" y="362912"/>
                  </a:lnTo>
                  <a:lnTo>
                    <a:pt x="806857" y="359621"/>
                  </a:lnTo>
                  <a:lnTo>
                    <a:pt x="801798" y="364558"/>
                  </a:lnTo>
                  <a:lnTo>
                    <a:pt x="795054" y="367850"/>
                  </a:lnTo>
                  <a:close/>
                  <a:moveTo>
                    <a:pt x="798426" y="389246"/>
                  </a:moveTo>
                  <a:lnTo>
                    <a:pt x="796740" y="385954"/>
                  </a:lnTo>
                  <a:lnTo>
                    <a:pt x="800112" y="381017"/>
                  </a:lnTo>
                  <a:lnTo>
                    <a:pt x="798426" y="389246"/>
                  </a:lnTo>
                  <a:close/>
                  <a:moveTo>
                    <a:pt x="827092" y="392538"/>
                  </a:moveTo>
                  <a:lnTo>
                    <a:pt x="822033" y="392538"/>
                  </a:lnTo>
                  <a:lnTo>
                    <a:pt x="818661" y="389246"/>
                  </a:lnTo>
                  <a:lnTo>
                    <a:pt x="827092" y="382663"/>
                  </a:lnTo>
                  <a:lnTo>
                    <a:pt x="825406" y="381017"/>
                  </a:lnTo>
                  <a:lnTo>
                    <a:pt x="827092" y="379371"/>
                  </a:lnTo>
                  <a:lnTo>
                    <a:pt x="833837" y="379371"/>
                  </a:lnTo>
                  <a:lnTo>
                    <a:pt x="835523" y="382663"/>
                  </a:lnTo>
                  <a:lnTo>
                    <a:pt x="832150" y="382663"/>
                  </a:lnTo>
                  <a:lnTo>
                    <a:pt x="835523" y="384308"/>
                  </a:lnTo>
                  <a:lnTo>
                    <a:pt x="832150" y="384308"/>
                  </a:lnTo>
                  <a:lnTo>
                    <a:pt x="838895" y="387600"/>
                  </a:lnTo>
                  <a:lnTo>
                    <a:pt x="827092" y="392538"/>
                  </a:lnTo>
                  <a:close/>
                  <a:moveTo>
                    <a:pt x="813602" y="402413"/>
                  </a:moveTo>
                  <a:lnTo>
                    <a:pt x="811916" y="397475"/>
                  </a:lnTo>
                  <a:lnTo>
                    <a:pt x="816974" y="399121"/>
                  </a:lnTo>
                  <a:lnTo>
                    <a:pt x="813602" y="402413"/>
                  </a:lnTo>
                  <a:close/>
                  <a:moveTo>
                    <a:pt x="545492" y="422163"/>
                  </a:moveTo>
                  <a:lnTo>
                    <a:pt x="538748" y="415580"/>
                  </a:lnTo>
                  <a:lnTo>
                    <a:pt x="533689" y="415580"/>
                  </a:lnTo>
                  <a:lnTo>
                    <a:pt x="538748" y="415580"/>
                  </a:lnTo>
                  <a:lnTo>
                    <a:pt x="545492" y="422163"/>
                  </a:lnTo>
                  <a:close/>
                  <a:moveTo>
                    <a:pt x="543806" y="423809"/>
                  </a:moveTo>
                  <a:lnTo>
                    <a:pt x="533689" y="420517"/>
                  </a:lnTo>
                  <a:lnTo>
                    <a:pt x="540434" y="422163"/>
                  </a:lnTo>
                  <a:lnTo>
                    <a:pt x="543806" y="423809"/>
                  </a:lnTo>
                  <a:close/>
                  <a:moveTo>
                    <a:pt x="543806" y="423809"/>
                  </a:moveTo>
                  <a:lnTo>
                    <a:pt x="532003" y="420517"/>
                  </a:lnTo>
                  <a:lnTo>
                    <a:pt x="530316" y="422163"/>
                  </a:lnTo>
                  <a:lnTo>
                    <a:pt x="532003" y="415580"/>
                  </a:lnTo>
                  <a:lnTo>
                    <a:pt x="533689" y="417225"/>
                  </a:lnTo>
                  <a:lnTo>
                    <a:pt x="530316" y="422163"/>
                  </a:lnTo>
                  <a:lnTo>
                    <a:pt x="535375" y="417225"/>
                  </a:lnTo>
                  <a:lnTo>
                    <a:pt x="532003" y="420517"/>
                  </a:lnTo>
                  <a:lnTo>
                    <a:pt x="543806" y="423809"/>
                  </a:lnTo>
                  <a:close/>
                  <a:moveTo>
                    <a:pt x="532003" y="435330"/>
                  </a:moveTo>
                  <a:lnTo>
                    <a:pt x="523571" y="430393"/>
                  </a:lnTo>
                  <a:lnTo>
                    <a:pt x="528630" y="420517"/>
                  </a:lnTo>
                  <a:lnTo>
                    <a:pt x="528630" y="428747"/>
                  </a:lnTo>
                  <a:lnTo>
                    <a:pt x="530316" y="422163"/>
                  </a:lnTo>
                  <a:lnTo>
                    <a:pt x="526944" y="428747"/>
                  </a:lnTo>
                  <a:lnTo>
                    <a:pt x="525258" y="428747"/>
                  </a:lnTo>
                  <a:lnTo>
                    <a:pt x="528630" y="422163"/>
                  </a:lnTo>
                  <a:lnTo>
                    <a:pt x="523571" y="430393"/>
                  </a:lnTo>
                  <a:lnTo>
                    <a:pt x="526944" y="432038"/>
                  </a:lnTo>
                  <a:lnTo>
                    <a:pt x="530316" y="430393"/>
                  </a:lnTo>
                  <a:lnTo>
                    <a:pt x="530316" y="433684"/>
                  </a:lnTo>
                  <a:lnTo>
                    <a:pt x="526944" y="432038"/>
                  </a:lnTo>
                  <a:lnTo>
                    <a:pt x="530316" y="435330"/>
                  </a:lnTo>
                  <a:lnTo>
                    <a:pt x="535375" y="433684"/>
                  </a:lnTo>
                  <a:lnTo>
                    <a:pt x="532003" y="435330"/>
                  </a:lnTo>
                  <a:close/>
                  <a:moveTo>
                    <a:pt x="557296" y="448497"/>
                  </a:moveTo>
                  <a:lnTo>
                    <a:pt x="555610" y="445205"/>
                  </a:lnTo>
                  <a:lnTo>
                    <a:pt x="562355" y="438622"/>
                  </a:lnTo>
                  <a:lnTo>
                    <a:pt x="557296" y="448497"/>
                  </a:lnTo>
                  <a:close/>
                  <a:moveTo>
                    <a:pt x="548865" y="448497"/>
                  </a:moveTo>
                  <a:lnTo>
                    <a:pt x="537061" y="440268"/>
                  </a:lnTo>
                  <a:lnTo>
                    <a:pt x="537061" y="435330"/>
                  </a:lnTo>
                  <a:lnTo>
                    <a:pt x="540434" y="440268"/>
                  </a:lnTo>
                  <a:lnTo>
                    <a:pt x="545492" y="440268"/>
                  </a:lnTo>
                  <a:lnTo>
                    <a:pt x="542120" y="441914"/>
                  </a:lnTo>
                  <a:lnTo>
                    <a:pt x="543806" y="445205"/>
                  </a:lnTo>
                  <a:lnTo>
                    <a:pt x="548865" y="441914"/>
                  </a:lnTo>
                  <a:lnTo>
                    <a:pt x="550551" y="446851"/>
                  </a:lnTo>
                  <a:lnTo>
                    <a:pt x="548865" y="441914"/>
                  </a:lnTo>
                  <a:lnTo>
                    <a:pt x="545492" y="441914"/>
                  </a:lnTo>
                  <a:lnTo>
                    <a:pt x="548865" y="441914"/>
                  </a:lnTo>
                  <a:lnTo>
                    <a:pt x="550551" y="446851"/>
                  </a:lnTo>
                  <a:lnTo>
                    <a:pt x="547179" y="441914"/>
                  </a:lnTo>
                  <a:lnTo>
                    <a:pt x="547179" y="446851"/>
                  </a:lnTo>
                  <a:lnTo>
                    <a:pt x="545492" y="445205"/>
                  </a:lnTo>
                  <a:lnTo>
                    <a:pt x="550551" y="448497"/>
                  </a:lnTo>
                  <a:lnTo>
                    <a:pt x="548865" y="448497"/>
                  </a:lnTo>
                  <a:close/>
                  <a:moveTo>
                    <a:pt x="558982" y="450143"/>
                  </a:moveTo>
                  <a:lnTo>
                    <a:pt x="553924" y="450143"/>
                  </a:lnTo>
                  <a:lnTo>
                    <a:pt x="562355" y="448497"/>
                  </a:lnTo>
                  <a:lnTo>
                    <a:pt x="562355" y="440268"/>
                  </a:lnTo>
                  <a:lnTo>
                    <a:pt x="562355" y="448497"/>
                  </a:lnTo>
                  <a:lnTo>
                    <a:pt x="558982" y="450143"/>
                  </a:lnTo>
                  <a:close/>
                  <a:moveTo>
                    <a:pt x="570786" y="461664"/>
                  </a:moveTo>
                  <a:lnTo>
                    <a:pt x="567413" y="460018"/>
                  </a:lnTo>
                  <a:lnTo>
                    <a:pt x="574158" y="455080"/>
                  </a:lnTo>
                  <a:lnTo>
                    <a:pt x="572472" y="458372"/>
                  </a:lnTo>
                  <a:lnTo>
                    <a:pt x="577531" y="460018"/>
                  </a:lnTo>
                  <a:lnTo>
                    <a:pt x="570786" y="461664"/>
                  </a:lnTo>
                  <a:close/>
                  <a:moveTo>
                    <a:pt x="575844" y="469893"/>
                  </a:moveTo>
                  <a:lnTo>
                    <a:pt x="570786" y="466601"/>
                  </a:lnTo>
                  <a:lnTo>
                    <a:pt x="572472" y="466601"/>
                  </a:lnTo>
                  <a:lnTo>
                    <a:pt x="575844" y="469893"/>
                  </a:lnTo>
                  <a:close/>
                  <a:moveTo>
                    <a:pt x="678704" y="484706"/>
                  </a:moveTo>
                  <a:lnTo>
                    <a:pt x="646666" y="479768"/>
                  </a:lnTo>
                  <a:lnTo>
                    <a:pt x="628117" y="473185"/>
                  </a:lnTo>
                  <a:lnTo>
                    <a:pt x="628117" y="474831"/>
                  </a:lnTo>
                  <a:lnTo>
                    <a:pt x="624745" y="474831"/>
                  </a:lnTo>
                  <a:lnTo>
                    <a:pt x="624745" y="476477"/>
                  </a:lnTo>
                  <a:lnTo>
                    <a:pt x="609569" y="469893"/>
                  </a:lnTo>
                  <a:lnTo>
                    <a:pt x="612941" y="473185"/>
                  </a:lnTo>
                  <a:lnTo>
                    <a:pt x="609569" y="473185"/>
                  </a:lnTo>
                  <a:lnTo>
                    <a:pt x="604510" y="464956"/>
                  </a:lnTo>
                  <a:lnTo>
                    <a:pt x="606197" y="471539"/>
                  </a:lnTo>
                  <a:lnTo>
                    <a:pt x="604510" y="464956"/>
                  </a:lnTo>
                  <a:lnTo>
                    <a:pt x="592707" y="453435"/>
                  </a:lnTo>
                  <a:lnTo>
                    <a:pt x="584276" y="438622"/>
                  </a:lnTo>
                  <a:lnTo>
                    <a:pt x="585962" y="436976"/>
                  </a:lnTo>
                  <a:lnTo>
                    <a:pt x="585962" y="440268"/>
                  </a:lnTo>
                  <a:lnTo>
                    <a:pt x="587648" y="436976"/>
                  </a:lnTo>
                  <a:lnTo>
                    <a:pt x="570786" y="428747"/>
                  </a:lnTo>
                  <a:lnTo>
                    <a:pt x="569100" y="432038"/>
                  </a:lnTo>
                  <a:lnTo>
                    <a:pt x="565727" y="430393"/>
                  </a:lnTo>
                  <a:lnTo>
                    <a:pt x="565727" y="433684"/>
                  </a:lnTo>
                  <a:lnTo>
                    <a:pt x="564041" y="427101"/>
                  </a:lnTo>
                  <a:lnTo>
                    <a:pt x="547179" y="422163"/>
                  </a:lnTo>
                  <a:lnTo>
                    <a:pt x="538748" y="413934"/>
                  </a:lnTo>
                  <a:lnTo>
                    <a:pt x="506709" y="412288"/>
                  </a:lnTo>
                  <a:lnTo>
                    <a:pt x="501651" y="405705"/>
                  </a:lnTo>
                  <a:lnTo>
                    <a:pt x="499964" y="407350"/>
                  </a:lnTo>
                  <a:lnTo>
                    <a:pt x="499964" y="402413"/>
                  </a:lnTo>
                  <a:lnTo>
                    <a:pt x="489847" y="413934"/>
                  </a:lnTo>
                  <a:lnTo>
                    <a:pt x="486475" y="412288"/>
                  </a:lnTo>
                  <a:lnTo>
                    <a:pt x="498278" y="400767"/>
                  </a:lnTo>
                  <a:lnTo>
                    <a:pt x="488161" y="381017"/>
                  </a:lnTo>
                  <a:lnTo>
                    <a:pt x="474671" y="372787"/>
                  </a:lnTo>
                  <a:lnTo>
                    <a:pt x="454436" y="366204"/>
                  </a:lnTo>
                  <a:lnTo>
                    <a:pt x="451064" y="361266"/>
                  </a:lnTo>
                  <a:lnTo>
                    <a:pt x="447691" y="361266"/>
                  </a:lnTo>
                  <a:lnTo>
                    <a:pt x="446005" y="366204"/>
                  </a:lnTo>
                  <a:lnTo>
                    <a:pt x="447691" y="356329"/>
                  </a:lnTo>
                  <a:lnTo>
                    <a:pt x="446005" y="361266"/>
                  </a:lnTo>
                  <a:lnTo>
                    <a:pt x="437574" y="354683"/>
                  </a:lnTo>
                  <a:lnTo>
                    <a:pt x="420712" y="351391"/>
                  </a:lnTo>
                  <a:lnTo>
                    <a:pt x="397105" y="353037"/>
                  </a:lnTo>
                  <a:lnTo>
                    <a:pt x="386987" y="357975"/>
                  </a:lnTo>
                  <a:lnTo>
                    <a:pt x="383615" y="354683"/>
                  </a:lnTo>
                  <a:lnTo>
                    <a:pt x="386987" y="357975"/>
                  </a:lnTo>
                  <a:lnTo>
                    <a:pt x="388673" y="354683"/>
                  </a:lnTo>
                  <a:lnTo>
                    <a:pt x="383615" y="351391"/>
                  </a:lnTo>
                  <a:lnTo>
                    <a:pt x="381929" y="353037"/>
                  </a:lnTo>
                  <a:lnTo>
                    <a:pt x="380242" y="348099"/>
                  </a:lnTo>
                  <a:lnTo>
                    <a:pt x="380242" y="349745"/>
                  </a:lnTo>
                  <a:lnTo>
                    <a:pt x="375184" y="351391"/>
                  </a:lnTo>
                  <a:lnTo>
                    <a:pt x="376870" y="353037"/>
                  </a:lnTo>
                  <a:lnTo>
                    <a:pt x="380242" y="353037"/>
                  </a:lnTo>
                  <a:lnTo>
                    <a:pt x="383615" y="369496"/>
                  </a:lnTo>
                  <a:lnTo>
                    <a:pt x="380242" y="353037"/>
                  </a:lnTo>
                  <a:lnTo>
                    <a:pt x="375184" y="354683"/>
                  </a:lnTo>
                  <a:lnTo>
                    <a:pt x="373497" y="349745"/>
                  </a:lnTo>
                  <a:lnTo>
                    <a:pt x="366753" y="348099"/>
                  </a:lnTo>
                  <a:lnTo>
                    <a:pt x="356635" y="349745"/>
                  </a:lnTo>
                  <a:lnTo>
                    <a:pt x="343145" y="344808"/>
                  </a:lnTo>
                  <a:lnTo>
                    <a:pt x="338087" y="333287"/>
                  </a:lnTo>
                  <a:lnTo>
                    <a:pt x="339773" y="341516"/>
                  </a:lnTo>
                  <a:lnTo>
                    <a:pt x="326283" y="339870"/>
                  </a:lnTo>
                  <a:lnTo>
                    <a:pt x="333028" y="353037"/>
                  </a:lnTo>
                  <a:lnTo>
                    <a:pt x="339773" y="351391"/>
                  </a:lnTo>
                  <a:lnTo>
                    <a:pt x="333028" y="353037"/>
                  </a:lnTo>
                  <a:lnTo>
                    <a:pt x="324597" y="334932"/>
                  </a:lnTo>
                  <a:lnTo>
                    <a:pt x="326283" y="325057"/>
                  </a:lnTo>
                  <a:lnTo>
                    <a:pt x="312793" y="302015"/>
                  </a:lnTo>
                  <a:lnTo>
                    <a:pt x="312793" y="295432"/>
                  </a:lnTo>
                  <a:lnTo>
                    <a:pt x="319538" y="297078"/>
                  </a:lnTo>
                  <a:lnTo>
                    <a:pt x="316166" y="295432"/>
                  </a:lnTo>
                  <a:lnTo>
                    <a:pt x="319538" y="293786"/>
                  </a:lnTo>
                  <a:lnTo>
                    <a:pt x="311107" y="293786"/>
                  </a:lnTo>
                  <a:lnTo>
                    <a:pt x="309421" y="282265"/>
                  </a:lnTo>
                  <a:lnTo>
                    <a:pt x="300990" y="274035"/>
                  </a:lnTo>
                  <a:lnTo>
                    <a:pt x="302676" y="264160"/>
                  </a:lnTo>
                  <a:lnTo>
                    <a:pt x="311107" y="262514"/>
                  </a:lnTo>
                  <a:lnTo>
                    <a:pt x="302676" y="260869"/>
                  </a:lnTo>
                  <a:lnTo>
                    <a:pt x="304362" y="254285"/>
                  </a:lnTo>
                  <a:lnTo>
                    <a:pt x="300990" y="259223"/>
                  </a:lnTo>
                  <a:lnTo>
                    <a:pt x="294245" y="252639"/>
                  </a:lnTo>
                  <a:lnTo>
                    <a:pt x="297617" y="264160"/>
                  </a:lnTo>
                  <a:lnTo>
                    <a:pt x="292559" y="264160"/>
                  </a:lnTo>
                  <a:lnTo>
                    <a:pt x="290872" y="267452"/>
                  </a:lnTo>
                  <a:lnTo>
                    <a:pt x="287500" y="267452"/>
                  </a:lnTo>
                  <a:lnTo>
                    <a:pt x="277383" y="241118"/>
                  </a:lnTo>
                  <a:lnTo>
                    <a:pt x="279069" y="241118"/>
                  </a:lnTo>
                  <a:lnTo>
                    <a:pt x="280755" y="234535"/>
                  </a:lnTo>
                  <a:lnTo>
                    <a:pt x="289186" y="231243"/>
                  </a:lnTo>
                  <a:lnTo>
                    <a:pt x="285814" y="234535"/>
                  </a:lnTo>
                  <a:lnTo>
                    <a:pt x="287500" y="234535"/>
                  </a:lnTo>
                  <a:lnTo>
                    <a:pt x="294245" y="229597"/>
                  </a:lnTo>
                  <a:lnTo>
                    <a:pt x="297617" y="231243"/>
                  </a:lnTo>
                  <a:lnTo>
                    <a:pt x="297617" y="226306"/>
                  </a:lnTo>
                  <a:lnTo>
                    <a:pt x="299304" y="223014"/>
                  </a:lnTo>
                  <a:lnTo>
                    <a:pt x="295931" y="224660"/>
                  </a:lnTo>
                  <a:lnTo>
                    <a:pt x="297617" y="221368"/>
                  </a:lnTo>
                  <a:lnTo>
                    <a:pt x="292559" y="206555"/>
                  </a:lnTo>
                  <a:lnTo>
                    <a:pt x="297617" y="201617"/>
                  </a:lnTo>
                  <a:lnTo>
                    <a:pt x="292559" y="203264"/>
                  </a:lnTo>
                  <a:lnTo>
                    <a:pt x="294245" y="199972"/>
                  </a:lnTo>
                  <a:lnTo>
                    <a:pt x="289186" y="193388"/>
                  </a:lnTo>
                  <a:lnTo>
                    <a:pt x="285814" y="176930"/>
                  </a:lnTo>
                  <a:lnTo>
                    <a:pt x="268951" y="155533"/>
                  </a:lnTo>
                  <a:lnTo>
                    <a:pt x="260520" y="140721"/>
                  </a:lnTo>
                  <a:lnTo>
                    <a:pt x="262207" y="137429"/>
                  </a:lnTo>
                  <a:lnTo>
                    <a:pt x="260520" y="134137"/>
                  </a:lnTo>
                  <a:lnTo>
                    <a:pt x="238599" y="120970"/>
                  </a:lnTo>
                  <a:lnTo>
                    <a:pt x="208247" y="124262"/>
                  </a:lnTo>
                  <a:lnTo>
                    <a:pt x="204875" y="117679"/>
                  </a:lnTo>
                  <a:lnTo>
                    <a:pt x="181268" y="114387"/>
                  </a:lnTo>
                  <a:lnTo>
                    <a:pt x="174523" y="117679"/>
                  </a:lnTo>
                  <a:lnTo>
                    <a:pt x="169464" y="122616"/>
                  </a:lnTo>
                  <a:lnTo>
                    <a:pt x="154288" y="129199"/>
                  </a:lnTo>
                  <a:lnTo>
                    <a:pt x="155974" y="127554"/>
                  </a:lnTo>
                  <a:lnTo>
                    <a:pt x="152602" y="127554"/>
                  </a:lnTo>
                  <a:lnTo>
                    <a:pt x="152602" y="130845"/>
                  </a:lnTo>
                  <a:lnTo>
                    <a:pt x="149230" y="129199"/>
                  </a:lnTo>
                  <a:lnTo>
                    <a:pt x="152602" y="130845"/>
                  </a:lnTo>
                  <a:lnTo>
                    <a:pt x="150916" y="127554"/>
                  </a:lnTo>
                  <a:lnTo>
                    <a:pt x="118878" y="134137"/>
                  </a:lnTo>
                  <a:lnTo>
                    <a:pt x="115505" y="135783"/>
                  </a:lnTo>
                  <a:lnTo>
                    <a:pt x="120564" y="137429"/>
                  </a:lnTo>
                  <a:lnTo>
                    <a:pt x="108760" y="142367"/>
                  </a:lnTo>
                  <a:lnTo>
                    <a:pt x="100329" y="144012"/>
                  </a:lnTo>
                  <a:lnTo>
                    <a:pt x="103701" y="140721"/>
                  </a:lnTo>
                  <a:lnTo>
                    <a:pt x="95270" y="139075"/>
                  </a:lnTo>
                  <a:lnTo>
                    <a:pt x="85153" y="140721"/>
                  </a:lnTo>
                  <a:lnTo>
                    <a:pt x="83467" y="137429"/>
                  </a:lnTo>
                  <a:lnTo>
                    <a:pt x="85153" y="142367"/>
                  </a:lnTo>
                  <a:lnTo>
                    <a:pt x="83467" y="148950"/>
                  </a:lnTo>
                  <a:lnTo>
                    <a:pt x="91898" y="157179"/>
                  </a:lnTo>
                  <a:lnTo>
                    <a:pt x="90212" y="162117"/>
                  </a:lnTo>
                  <a:lnTo>
                    <a:pt x="91898" y="158825"/>
                  </a:lnTo>
                  <a:lnTo>
                    <a:pt x="86839" y="165409"/>
                  </a:lnTo>
                  <a:lnTo>
                    <a:pt x="71663" y="171992"/>
                  </a:lnTo>
                  <a:lnTo>
                    <a:pt x="75036" y="171992"/>
                  </a:lnTo>
                  <a:lnTo>
                    <a:pt x="64918" y="171992"/>
                  </a:lnTo>
                  <a:lnTo>
                    <a:pt x="66605" y="173638"/>
                  </a:lnTo>
                  <a:lnTo>
                    <a:pt x="56487" y="167054"/>
                  </a:lnTo>
                  <a:lnTo>
                    <a:pt x="53115" y="167054"/>
                  </a:lnTo>
                  <a:lnTo>
                    <a:pt x="49742" y="171992"/>
                  </a:lnTo>
                  <a:lnTo>
                    <a:pt x="54801" y="176930"/>
                  </a:lnTo>
                  <a:lnTo>
                    <a:pt x="53115" y="180221"/>
                  </a:lnTo>
                  <a:lnTo>
                    <a:pt x="54801" y="176930"/>
                  </a:lnTo>
                  <a:lnTo>
                    <a:pt x="51429" y="173638"/>
                  </a:lnTo>
                  <a:lnTo>
                    <a:pt x="48056" y="178575"/>
                  </a:lnTo>
                  <a:lnTo>
                    <a:pt x="49742" y="180221"/>
                  </a:lnTo>
                  <a:lnTo>
                    <a:pt x="46370" y="181867"/>
                  </a:lnTo>
                  <a:lnTo>
                    <a:pt x="36253" y="204909"/>
                  </a:lnTo>
                  <a:lnTo>
                    <a:pt x="37939" y="211493"/>
                  </a:lnTo>
                  <a:lnTo>
                    <a:pt x="34566" y="211493"/>
                  </a:lnTo>
                  <a:lnTo>
                    <a:pt x="29508" y="223014"/>
                  </a:lnTo>
                  <a:lnTo>
                    <a:pt x="34566" y="226306"/>
                  </a:lnTo>
                  <a:lnTo>
                    <a:pt x="36253" y="223014"/>
                  </a:lnTo>
                  <a:lnTo>
                    <a:pt x="37939" y="226306"/>
                  </a:lnTo>
                  <a:lnTo>
                    <a:pt x="41311" y="218076"/>
                  </a:lnTo>
                  <a:lnTo>
                    <a:pt x="39625" y="213138"/>
                  </a:lnTo>
                  <a:lnTo>
                    <a:pt x="46370" y="219722"/>
                  </a:lnTo>
                  <a:lnTo>
                    <a:pt x="41311" y="218076"/>
                  </a:lnTo>
                  <a:lnTo>
                    <a:pt x="44684" y="221368"/>
                  </a:lnTo>
                  <a:lnTo>
                    <a:pt x="54801" y="227951"/>
                  </a:lnTo>
                  <a:lnTo>
                    <a:pt x="53115" y="231243"/>
                  </a:lnTo>
                  <a:lnTo>
                    <a:pt x="58173" y="231243"/>
                  </a:lnTo>
                  <a:lnTo>
                    <a:pt x="58173" y="234535"/>
                  </a:lnTo>
                  <a:lnTo>
                    <a:pt x="51429" y="241118"/>
                  </a:lnTo>
                  <a:lnTo>
                    <a:pt x="46370" y="236181"/>
                  </a:lnTo>
                  <a:lnTo>
                    <a:pt x="48056" y="239472"/>
                  </a:lnTo>
                  <a:lnTo>
                    <a:pt x="46370" y="237827"/>
                  </a:lnTo>
                  <a:lnTo>
                    <a:pt x="44684" y="241118"/>
                  </a:lnTo>
                  <a:lnTo>
                    <a:pt x="48056" y="241118"/>
                  </a:lnTo>
                  <a:lnTo>
                    <a:pt x="31194" y="232889"/>
                  </a:lnTo>
                  <a:lnTo>
                    <a:pt x="31194" y="236181"/>
                  </a:lnTo>
                  <a:lnTo>
                    <a:pt x="27821" y="234535"/>
                  </a:lnTo>
                  <a:lnTo>
                    <a:pt x="26135" y="236181"/>
                  </a:lnTo>
                  <a:lnTo>
                    <a:pt x="26135" y="232889"/>
                  </a:lnTo>
                  <a:lnTo>
                    <a:pt x="31194" y="232889"/>
                  </a:lnTo>
                  <a:lnTo>
                    <a:pt x="26135" y="232889"/>
                  </a:lnTo>
                  <a:lnTo>
                    <a:pt x="29508" y="227951"/>
                  </a:lnTo>
                  <a:lnTo>
                    <a:pt x="26135" y="229597"/>
                  </a:lnTo>
                  <a:lnTo>
                    <a:pt x="24449" y="236181"/>
                  </a:lnTo>
                  <a:lnTo>
                    <a:pt x="22763" y="231243"/>
                  </a:lnTo>
                  <a:lnTo>
                    <a:pt x="24449" y="229597"/>
                  </a:lnTo>
                  <a:lnTo>
                    <a:pt x="21076" y="227951"/>
                  </a:lnTo>
                  <a:lnTo>
                    <a:pt x="21076" y="231243"/>
                  </a:lnTo>
                  <a:lnTo>
                    <a:pt x="17704" y="226306"/>
                  </a:lnTo>
                  <a:lnTo>
                    <a:pt x="9273" y="226306"/>
                  </a:lnTo>
                  <a:lnTo>
                    <a:pt x="4214" y="221368"/>
                  </a:lnTo>
                  <a:lnTo>
                    <a:pt x="21076" y="213138"/>
                  </a:lnTo>
                  <a:lnTo>
                    <a:pt x="31194" y="203264"/>
                  </a:lnTo>
                  <a:lnTo>
                    <a:pt x="44684" y="171992"/>
                  </a:lnTo>
                  <a:lnTo>
                    <a:pt x="41311" y="170346"/>
                  </a:lnTo>
                  <a:lnTo>
                    <a:pt x="37939" y="175284"/>
                  </a:lnTo>
                  <a:lnTo>
                    <a:pt x="39625" y="170346"/>
                  </a:lnTo>
                  <a:lnTo>
                    <a:pt x="44684" y="168700"/>
                  </a:lnTo>
                  <a:lnTo>
                    <a:pt x="46370" y="155533"/>
                  </a:lnTo>
                  <a:lnTo>
                    <a:pt x="32880" y="119324"/>
                  </a:lnTo>
                  <a:lnTo>
                    <a:pt x="31194" y="106157"/>
                  </a:lnTo>
                  <a:lnTo>
                    <a:pt x="34566" y="92991"/>
                  </a:lnTo>
                  <a:lnTo>
                    <a:pt x="49742" y="76532"/>
                  </a:lnTo>
                  <a:lnTo>
                    <a:pt x="90212" y="63365"/>
                  </a:lnTo>
                  <a:lnTo>
                    <a:pt x="88525" y="60073"/>
                  </a:lnTo>
                  <a:lnTo>
                    <a:pt x="90212" y="63365"/>
                  </a:lnTo>
                  <a:lnTo>
                    <a:pt x="91898" y="63365"/>
                  </a:lnTo>
                  <a:lnTo>
                    <a:pt x="91898" y="60073"/>
                  </a:lnTo>
                  <a:lnTo>
                    <a:pt x="91898" y="63365"/>
                  </a:lnTo>
                  <a:lnTo>
                    <a:pt x="95270" y="63365"/>
                  </a:lnTo>
                  <a:lnTo>
                    <a:pt x="93584" y="58427"/>
                  </a:lnTo>
                  <a:lnTo>
                    <a:pt x="95270" y="63365"/>
                  </a:lnTo>
                  <a:lnTo>
                    <a:pt x="98643" y="61719"/>
                  </a:lnTo>
                  <a:lnTo>
                    <a:pt x="96957" y="58427"/>
                  </a:lnTo>
                  <a:lnTo>
                    <a:pt x="98643" y="61719"/>
                  </a:lnTo>
                  <a:lnTo>
                    <a:pt x="100329" y="61719"/>
                  </a:lnTo>
                  <a:lnTo>
                    <a:pt x="100329" y="56782"/>
                  </a:lnTo>
                  <a:lnTo>
                    <a:pt x="102015" y="61719"/>
                  </a:lnTo>
                  <a:lnTo>
                    <a:pt x="103701" y="61719"/>
                  </a:lnTo>
                  <a:lnTo>
                    <a:pt x="103701" y="56782"/>
                  </a:lnTo>
                  <a:lnTo>
                    <a:pt x="105388" y="61719"/>
                  </a:lnTo>
                  <a:lnTo>
                    <a:pt x="108760" y="61719"/>
                  </a:lnTo>
                  <a:lnTo>
                    <a:pt x="208247" y="20573"/>
                  </a:lnTo>
                  <a:lnTo>
                    <a:pt x="221737" y="18927"/>
                  </a:lnTo>
                  <a:lnTo>
                    <a:pt x="257148" y="5760"/>
                  </a:lnTo>
                  <a:lnTo>
                    <a:pt x="274010" y="4114"/>
                  </a:lnTo>
                  <a:lnTo>
                    <a:pt x="280755" y="7406"/>
                  </a:lnTo>
                  <a:lnTo>
                    <a:pt x="285814" y="12343"/>
                  </a:lnTo>
                  <a:lnTo>
                    <a:pt x="277383" y="10698"/>
                  </a:lnTo>
                  <a:lnTo>
                    <a:pt x="268951" y="17281"/>
                  </a:lnTo>
                  <a:lnTo>
                    <a:pt x="268951" y="7406"/>
                  </a:lnTo>
                  <a:lnTo>
                    <a:pt x="255462" y="10698"/>
                  </a:lnTo>
                  <a:lnTo>
                    <a:pt x="235227" y="18927"/>
                  </a:lnTo>
                  <a:lnTo>
                    <a:pt x="238599" y="22219"/>
                  </a:lnTo>
                  <a:lnTo>
                    <a:pt x="231855" y="20573"/>
                  </a:lnTo>
                  <a:lnTo>
                    <a:pt x="233541" y="22219"/>
                  </a:lnTo>
                  <a:lnTo>
                    <a:pt x="231855" y="20573"/>
                  </a:lnTo>
                  <a:lnTo>
                    <a:pt x="228482" y="22219"/>
                  </a:lnTo>
                  <a:lnTo>
                    <a:pt x="225110" y="20573"/>
                  </a:lnTo>
                  <a:lnTo>
                    <a:pt x="226796" y="25510"/>
                  </a:lnTo>
                  <a:lnTo>
                    <a:pt x="221737" y="23864"/>
                  </a:lnTo>
                  <a:lnTo>
                    <a:pt x="214992" y="27156"/>
                  </a:lnTo>
                  <a:lnTo>
                    <a:pt x="218365" y="28802"/>
                  </a:lnTo>
                  <a:lnTo>
                    <a:pt x="203189" y="30448"/>
                  </a:lnTo>
                  <a:lnTo>
                    <a:pt x="214992" y="30448"/>
                  </a:lnTo>
                  <a:lnTo>
                    <a:pt x="231855" y="23864"/>
                  </a:lnTo>
                  <a:lnTo>
                    <a:pt x="243658" y="23864"/>
                  </a:lnTo>
                  <a:lnTo>
                    <a:pt x="241972" y="27156"/>
                  </a:lnTo>
                  <a:lnTo>
                    <a:pt x="245344" y="28802"/>
                  </a:lnTo>
                  <a:lnTo>
                    <a:pt x="243658" y="25510"/>
                  </a:lnTo>
                  <a:lnTo>
                    <a:pt x="247031" y="25510"/>
                  </a:lnTo>
                  <a:lnTo>
                    <a:pt x="247031" y="30448"/>
                  </a:lnTo>
                  <a:lnTo>
                    <a:pt x="248717" y="23864"/>
                  </a:lnTo>
                  <a:lnTo>
                    <a:pt x="255462" y="27156"/>
                  </a:lnTo>
                  <a:lnTo>
                    <a:pt x="255462" y="23864"/>
                  </a:lnTo>
                  <a:lnTo>
                    <a:pt x="268951" y="23864"/>
                  </a:lnTo>
                  <a:lnTo>
                    <a:pt x="279069" y="28802"/>
                  </a:lnTo>
                  <a:lnTo>
                    <a:pt x="275696" y="32094"/>
                  </a:lnTo>
                  <a:lnTo>
                    <a:pt x="274010" y="30448"/>
                  </a:lnTo>
                  <a:lnTo>
                    <a:pt x="275696" y="33740"/>
                  </a:lnTo>
                  <a:lnTo>
                    <a:pt x="265579" y="28802"/>
                  </a:lnTo>
                  <a:lnTo>
                    <a:pt x="270638" y="30448"/>
                  </a:lnTo>
                  <a:lnTo>
                    <a:pt x="272324" y="33740"/>
                  </a:lnTo>
                  <a:lnTo>
                    <a:pt x="270638" y="33740"/>
                  </a:lnTo>
                  <a:lnTo>
                    <a:pt x="275696" y="33740"/>
                  </a:lnTo>
                  <a:lnTo>
                    <a:pt x="274010" y="38677"/>
                  </a:lnTo>
                  <a:lnTo>
                    <a:pt x="265579" y="38677"/>
                  </a:lnTo>
                  <a:lnTo>
                    <a:pt x="270638" y="40323"/>
                  </a:lnTo>
                  <a:lnTo>
                    <a:pt x="268951" y="43615"/>
                  </a:lnTo>
                  <a:lnTo>
                    <a:pt x="260520" y="38677"/>
                  </a:lnTo>
                  <a:lnTo>
                    <a:pt x="268951" y="43615"/>
                  </a:lnTo>
                  <a:lnTo>
                    <a:pt x="275696" y="38677"/>
                  </a:lnTo>
                  <a:lnTo>
                    <a:pt x="279069" y="43615"/>
                  </a:lnTo>
                  <a:lnTo>
                    <a:pt x="297617" y="56782"/>
                  </a:lnTo>
                  <a:lnTo>
                    <a:pt x="307735" y="50198"/>
                  </a:lnTo>
                  <a:lnTo>
                    <a:pt x="299304" y="61719"/>
                  </a:lnTo>
                  <a:lnTo>
                    <a:pt x="300990" y="61719"/>
                  </a:lnTo>
                  <a:lnTo>
                    <a:pt x="309421" y="69949"/>
                  </a:lnTo>
                  <a:lnTo>
                    <a:pt x="312793" y="66657"/>
                  </a:lnTo>
                  <a:lnTo>
                    <a:pt x="306048" y="60073"/>
                  </a:lnTo>
                  <a:lnTo>
                    <a:pt x="306048" y="55136"/>
                  </a:lnTo>
                  <a:lnTo>
                    <a:pt x="317852" y="60073"/>
                  </a:lnTo>
                  <a:lnTo>
                    <a:pt x="321224" y="55136"/>
                  </a:lnTo>
                  <a:lnTo>
                    <a:pt x="322911" y="56782"/>
                  </a:lnTo>
                  <a:lnTo>
                    <a:pt x="329656" y="50198"/>
                  </a:lnTo>
                  <a:lnTo>
                    <a:pt x="322911" y="56782"/>
                  </a:lnTo>
                  <a:lnTo>
                    <a:pt x="322911" y="69949"/>
                  </a:lnTo>
                  <a:lnTo>
                    <a:pt x="326283" y="74886"/>
                  </a:lnTo>
                  <a:lnTo>
                    <a:pt x="316166" y="71595"/>
                  </a:lnTo>
                  <a:lnTo>
                    <a:pt x="314480" y="76532"/>
                  </a:lnTo>
                  <a:lnTo>
                    <a:pt x="321224" y="83115"/>
                  </a:lnTo>
                  <a:lnTo>
                    <a:pt x="321224" y="86407"/>
                  </a:lnTo>
                  <a:lnTo>
                    <a:pt x="329656" y="74886"/>
                  </a:lnTo>
                  <a:lnTo>
                    <a:pt x="331342" y="78178"/>
                  </a:lnTo>
                  <a:lnTo>
                    <a:pt x="336400" y="79824"/>
                  </a:lnTo>
                  <a:lnTo>
                    <a:pt x="338087" y="76532"/>
                  </a:lnTo>
                  <a:lnTo>
                    <a:pt x="329656" y="74886"/>
                  </a:lnTo>
                  <a:lnTo>
                    <a:pt x="338087" y="76532"/>
                  </a:lnTo>
                  <a:lnTo>
                    <a:pt x="338087" y="79824"/>
                  </a:lnTo>
                  <a:lnTo>
                    <a:pt x="353263" y="88053"/>
                  </a:lnTo>
                  <a:lnTo>
                    <a:pt x="338087" y="81470"/>
                  </a:lnTo>
                  <a:lnTo>
                    <a:pt x="351576" y="96282"/>
                  </a:lnTo>
                  <a:lnTo>
                    <a:pt x="392046" y="114387"/>
                  </a:lnTo>
                  <a:lnTo>
                    <a:pt x="430829" y="139075"/>
                  </a:lnTo>
                  <a:lnTo>
                    <a:pt x="439260" y="140721"/>
                  </a:lnTo>
                  <a:lnTo>
                    <a:pt x="435888" y="145658"/>
                  </a:lnTo>
                  <a:lnTo>
                    <a:pt x="440946" y="142367"/>
                  </a:lnTo>
                  <a:lnTo>
                    <a:pt x="439260" y="144012"/>
                  </a:lnTo>
                  <a:lnTo>
                    <a:pt x="451064" y="148950"/>
                  </a:lnTo>
                  <a:lnTo>
                    <a:pt x="446005" y="157179"/>
                  </a:lnTo>
                  <a:lnTo>
                    <a:pt x="461181" y="162117"/>
                  </a:lnTo>
                  <a:lnTo>
                    <a:pt x="461181" y="160471"/>
                  </a:lnTo>
                  <a:lnTo>
                    <a:pt x="454436" y="157179"/>
                  </a:lnTo>
                  <a:lnTo>
                    <a:pt x="457809" y="152242"/>
                  </a:lnTo>
                  <a:lnTo>
                    <a:pt x="466240" y="157179"/>
                  </a:lnTo>
                  <a:lnTo>
                    <a:pt x="464554" y="155533"/>
                  </a:lnTo>
                  <a:lnTo>
                    <a:pt x="461181" y="162117"/>
                  </a:lnTo>
                  <a:lnTo>
                    <a:pt x="467926" y="165409"/>
                  </a:lnTo>
                  <a:lnTo>
                    <a:pt x="472985" y="160471"/>
                  </a:lnTo>
                  <a:lnTo>
                    <a:pt x="469612" y="158825"/>
                  </a:lnTo>
                  <a:lnTo>
                    <a:pt x="472985" y="158825"/>
                  </a:lnTo>
                  <a:lnTo>
                    <a:pt x="503337" y="178575"/>
                  </a:lnTo>
                  <a:lnTo>
                    <a:pt x="503337" y="183513"/>
                  </a:lnTo>
                  <a:lnTo>
                    <a:pt x="505023" y="180221"/>
                  </a:lnTo>
                  <a:lnTo>
                    <a:pt x="513454" y="183513"/>
                  </a:lnTo>
                  <a:lnTo>
                    <a:pt x="515140" y="185159"/>
                  </a:lnTo>
                  <a:lnTo>
                    <a:pt x="542120" y="191742"/>
                  </a:lnTo>
                  <a:lnTo>
                    <a:pt x="543806" y="193388"/>
                  </a:lnTo>
                  <a:lnTo>
                    <a:pt x="537061" y="193388"/>
                  </a:lnTo>
                  <a:lnTo>
                    <a:pt x="543806" y="193388"/>
                  </a:lnTo>
                  <a:lnTo>
                    <a:pt x="542120" y="195034"/>
                  </a:lnTo>
                  <a:lnTo>
                    <a:pt x="552237" y="186805"/>
                  </a:lnTo>
                  <a:lnTo>
                    <a:pt x="543806" y="193388"/>
                  </a:lnTo>
                  <a:lnTo>
                    <a:pt x="545492" y="195034"/>
                  </a:lnTo>
                  <a:lnTo>
                    <a:pt x="543806" y="196680"/>
                  </a:lnTo>
                  <a:lnTo>
                    <a:pt x="552237" y="188451"/>
                  </a:lnTo>
                  <a:lnTo>
                    <a:pt x="548865" y="196680"/>
                  </a:lnTo>
                  <a:lnTo>
                    <a:pt x="553924" y="203264"/>
                  </a:lnTo>
                  <a:lnTo>
                    <a:pt x="584276" y="236181"/>
                  </a:lnTo>
                  <a:lnTo>
                    <a:pt x="618000" y="259223"/>
                  </a:lnTo>
                  <a:lnTo>
                    <a:pt x="621373" y="265806"/>
                  </a:lnTo>
                  <a:lnTo>
                    <a:pt x="629804" y="270744"/>
                  </a:lnTo>
                  <a:lnTo>
                    <a:pt x="626431" y="267452"/>
                  </a:lnTo>
                  <a:lnTo>
                    <a:pt x="624745" y="270744"/>
                  </a:lnTo>
                  <a:lnTo>
                    <a:pt x="626431" y="272390"/>
                  </a:lnTo>
                  <a:lnTo>
                    <a:pt x="629804" y="270744"/>
                  </a:lnTo>
                  <a:lnTo>
                    <a:pt x="624745" y="275682"/>
                  </a:lnTo>
                  <a:lnTo>
                    <a:pt x="624745" y="277327"/>
                  </a:lnTo>
                  <a:lnTo>
                    <a:pt x="629804" y="272390"/>
                  </a:lnTo>
                  <a:lnTo>
                    <a:pt x="629804" y="275682"/>
                  </a:lnTo>
                  <a:lnTo>
                    <a:pt x="650038" y="300369"/>
                  </a:lnTo>
                  <a:lnTo>
                    <a:pt x="648352" y="303661"/>
                  </a:lnTo>
                  <a:lnTo>
                    <a:pt x="650038" y="302015"/>
                  </a:lnTo>
                  <a:lnTo>
                    <a:pt x="653411" y="308599"/>
                  </a:lnTo>
                  <a:lnTo>
                    <a:pt x="660156" y="311890"/>
                  </a:lnTo>
                  <a:lnTo>
                    <a:pt x="655097" y="315182"/>
                  </a:lnTo>
                  <a:lnTo>
                    <a:pt x="660156" y="316828"/>
                  </a:lnTo>
                  <a:lnTo>
                    <a:pt x="658470" y="315182"/>
                  </a:lnTo>
                  <a:lnTo>
                    <a:pt x="661842" y="313536"/>
                  </a:lnTo>
                  <a:lnTo>
                    <a:pt x="670273" y="321766"/>
                  </a:lnTo>
                  <a:lnTo>
                    <a:pt x="677018" y="325057"/>
                  </a:lnTo>
                  <a:lnTo>
                    <a:pt x="683763" y="321766"/>
                  </a:lnTo>
                  <a:lnTo>
                    <a:pt x="680390" y="331641"/>
                  </a:lnTo>
                  <a:lnTo>
                    <a:pt x="685449" y="323411"/>
                  </a:lnTo>
                  <a:lnTo>
                    <a:pt x="683763" y="325057"/>
                  </a:lnTo>
                  <a:lnTo>
                    <a:pt x="688822" y="328349"/>
                  </a:lnTo>
                  <a:lnTo>
                    <a:pt x="705684" y="333287"/>
                  </a:lnTo>
                  <a:lnTo>
                    <a:pt x="739408" y="362912"/>
                  </a:lnTo>
                  <a:lnTo>
                    <a:pt x="754584" y="369496"/>
                  </a:lnTo>
                  <a:lnTo>
                    <a:pt x="795054" y="371141"/>
                  </a:lnTo>
                  <a:lnTo>
                    <a:pt x="810230" y="369496"/>
                  </a:lnTo>
                  <a:lnTo>
                    <a:pt x="813602" y="364558"/>
                  </a:lnTo>
                  <a:lnTo>
                    <a:pt x="811916" y="369496"/>
                  </a:lnTo>
                  <a:lnTo>
                    <a:pt x="838895" y="371141"/>
                  </a:lnTo>
                  <a:lnTo>
                    <a:pt x="850699" y="366204"/>
                  </a:lnTo>
                  <a:lnTo>
                    <a:pt x="850699" y="362912"/>
                  </a:lnTo>
                  <a:lnTo>
                    <a:pt x="845640" y="361266"/>
                  </a:lnTo>
                  <a:lnTo>
                    <a:pt x="852385" y="364558"/>
                  </a:lnTo>
                  <a:lnTo>
                    <a:pt x="857444" y="354683"/>
                  </a:lnTo>
                  <a:lnTo>
                    <a:pt x="854071" y="351391"/>
                  </a:lnTo>
                  <a:lnTo>
                    <a:pt x="860816" y="349745"/>
                  </a:lnTo>
                  <a:lnTo>
                    <a:pt x="860816" y="351391"/>
                  </a:lnTo>
                  <a:lnTo>
                    <a:pt x="865875" y="356329"/>
                  </a:lnTo>
                  <a:lnTo>
                    <a:pt x="862503" y="354683"/>
                  </a:lnTo>
                  <a:lnTo>
                    <a:pt x="860816" y="357975"/>
                  </a:lnTo>
                  <a:lnTo>
                    <a:pt x="860816" y="366204"/>
                  </a:lnTo>
                  <a:lnTo>
                    <a:pt x="874306" y="364558"/>
                  </a:lnTo>
                  <a:lnTo>
                    <a:pt x="862503" y="371141"/>
                  </a:lnTo>
                  <a:lnTo>
                    <a:pt x="859130" y="369496"/>
                  </a:lnTo>
                  <a:lnTo>
                    <a:pt x="860816" y="366204"/>
                  </a:lnTo>
                  <a:lnTo>
                    <a:pt x="859130" y="366204"/>
                  </a:lnTo>
                  <a:lnTo>
                    <a:pt x="859130" y="371141"/>
                  </a:lnTo>
                  <a:lnTo>
                    <a:pt x="862503" y="372787"/>
                  </a:lnTo>
                  <a:lnTo>
                    <a:pt x="869247" y="381017"/>
                  </a:lnTo>
                  <a:lnTo>
                    <a:pt x="854071" y="392538"/>
                  </a:lnTo>
                  <a:lnTo>
                    <a:pt x="855758" y="387600"/>
                  </a:lnTo>
                  <a:lnTo>
                    <a:pt x="850699" y="384308"/>
                  </a:lnTo>
                  <a:lnTo>
                    <a:pt x="842268" y="392538"/>
                  </a:lnTo>
                  <a:lnTo>
                    <a:pt x="843954" y="385954"/>
                  </a:lnTo>
                  <a:lnTo>
                    <a:pt x="832150" y="377725"/>
                  </a:lnTo>
                  <a:lnTo>
                    <a:pt x="825406" y="379371"/>
                  </a:lnTo>
                  <a:lnTo>
                    <a:pt x="823719" y="385954"/>
                  </a:lnTo>
                  <a:lnTo>
                    <a:pt x="818661" y="387600"/>
                  </a:lnTo>
                  <a:lnTo>
                    <a:pt x="816974" y="385954"/>
                  </a:lnTo>
                  <a:lnTo>
                    <a:pt x="815288" y="387600"/>
                  </a:lnTo>
                  <a:lnTo>
                    <a:pt x="815288" y="379371"/>
                  </a:lnTo>
                  <a:lnTo>
                    <a:pt x="823719" y="377725"/>
                  </a:lnTo>
                  <a:lnTo>
                    <a:pt x="815288" y="377725"/>
                  </a:lnTo>
                  <a:lnTo>
                    <a:pt x="813602" y="376079"/>
                  </a:lnTo>
                  <a:lnTo>
                    <a:pt x="815288" y="377725"/>
                  </a:lnTo>
                  <a:lnTo>
                    <a:pt x="810230" y="387600"/>
                  </a:lnTo>
                  <a:lnTo>
                    <a:pt x="805171" y="389246"/>
                  </a:lnTo>
                  <a:lnTo>
                    <a:pt x="805171" y="377725"/>
                  </a:lnTo>
                  <a:lnTo>
                    <a:pt x="805171" y="392538"/>
                  </a:lnTo>
                  <a:lnTo>
                    <a:pt x="805171" y="379371"/>
                  </a:lnTo>
                  <a:lnTo>
                    <a:pt x="803485" y="382663"/>
                  </a:lnTo>
                  <a:lnTo>
                    <a:pt x="805171" y="390892"/>
                  </a:lnTo>
                  <a:lnTo>
                    <a:pt x="800112" y="387600"/>
                  </a:lnTo>
                  <a:lnTo>
                    <a:pt x="800112" y="382663"/>
                  </a:lnTo>
                  <a:lnTo>
                    <a:pt x="798426" y="381017"/>
                  </a:lnTo>
                  <a:lnTo>
                    <a:pt x="801798" y="379371"/>
                  </a:lnTo>
                  <a:lnTo>
                    <a:pt x="800112" y="374433"/>
                  </a:lnTo>
                  <a:lnTo>
                    <a:pt x="779877" y="374433"/>
                  </a:lnTo>
                  <a:lnTo>
                    <a:pt x="796740" y="376079"/>
                  </a:lnTo>
                  <a:lnTo>
                    <a:pt x="796740" y="379371"/>
                  </a:lnTo>
                  <a:lnTo>
                    <a:pt x="793367" y="377725"/>
                  </a:lnTo>
                  <a:lnTo>
                    <a:pt x="796740" y="379371"/>
                  </a:lnTo>
                  <a:lnTo>
                    <a:pt x="793367" y="385954"/>
                  </a:lnTo>
                  <a:lnTo>
                    <a:pt x="795054" y="384308"/>
                  </a:lnTo>
                  <a:lnTo>
                    <a:pt x="793367" y="387600"/>
                  </a:lnTo>
                  <a:lnTo>
                    <a:pt x="800112" y="394183"/>
                  </a:lnTo>
                  <a:lnTo>
                    <a:pt x="798426" y="395829"/>
                  </a:lnTo>
                  <a:lnTo>
                    <a:pt x="801798" y="399121"/>
                  </a:lnTo>
                  <a:lnTo>
                    <a:pt x="801798" y="394183"/>
                  </a:lnTo>
                  <a:lnTo>
                    <a:pt x="805171" y="394183"/>
                  </a:lnTo>
                  <a:lnTo>
                    <a:pt x="803485" y="400767"/>
                  </a:lnTo>
                  <a:lnTo>
                    <a:pt x="806857" y="395829"/>
                  </a:lnTo>
                  <a:lnTo>
                    <a:pt x="808543" y="397475"/>
                  </a:lnTo>
                  <a:lnTo>
                    <a:pt x="813602" y="405705"/>
                  </a:lnTo>
                  <a:lnTo>
                    <a:pt x="811916" y="408996"/>
                  </a:lnTo>
                  <a:lnTo>
                    <a:pt x="808543" y="408996"/>
                  </a:lnTo>
                  <a:lnTo>
                    <a:pt x="810230" y="410642"/>
                  </a:lnTo>
                  <a:lnTo>
                    <a:pt x="811916" y="415580"/>
                  </a:lnTo>
                  <a:lnTo>
                    <a:pt x="811916" y="410642"/>
                  </a:lnTo>
                  <a:lnTo>
                    <a:pt x="815288" y="412288"/>
                  </a:lnTo>
                  <a:lnTo>
                    <a:pt x="810230" y="417225"/>
                  </a:lnTo>
                  <a:lnTo>
                    <a:pt x="811916" y="420517"/>
                  </a:lnTo>
                  <a:lnTo>
                    <a:pt x="789995" y="417225"/>
                  </a:lnTo>
                  <a:lnTo>
                    <a:pt x="806857" y="418872"/>
                  </a:lnTo>
                  <a:lnTo>
                    <a:pt x="811916" y="422163"/>
                  </a:lnTo>
                  <a:lnTo>
                    <a:pt x="810230" y="420517"/>
                  </a:lnTo>
                  <a:lnTo>
                    <a:pt x="808543" y="430393"/>
                  </a:lnTo>
                  <a:lnTo>
                    <a:pt x="795054" y="446851"/>
                  </a:lnTo>
                  <a:lnTo>
                    <a:pt x="754584" y="464956"/>
                  </a:lnTo>
                  <a:lnTo>
                    <a:pt x="734349" y="471539"/>
                  </a:lnTo>
                  <a:lnTo>
                    <a:pt x="730977" y="468247"/>
                  </a:lnTo>
                  <a:lnTo>
                    <a:pt x="730977" y="469893"/>
                  </a:lnTo>
                  <a:lnTo>
                    <a:pt x="725919" y="471539"/>
                  </a:lnTo>
                  <a:lnTo>
                    <a:pt x="707370" y="473185"/>
                  </a:lnTo>
                  <a:lnTo>
                    <a:pt x="678704" y="484706"/>
                  </a:lnTo>
                  <a:close/>
                  <a:moveTo>
                    <a:pt x="316166" y="71595"/>
                  </a:moveTo>
                  <a:lnTo>
                    <a:pt x="316166" y="69949"/>
                  </a:lnTo>
                  <a:lnTo>
                    <a:pt x="312793" y="68303"/>
                  </a:lnTo>
                  <a:lnTo>
                    <a:pt x="316166" y="71595"/>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5" name="Duiven">
              <a:extLst>
                <a:ext uri="{FF2B5EF4-FFF2-40B4-BE49-F238E27FC236}">
                  <a16:creationId xmlns:a16="http://schemas.microsoft.com/office/drawing/2014/main" id="{076F8A99-DAC5-4195-9F37-512A87195082}"/>
                </a:ext>
              </a:extLst>
            </p:cNvPr>
            <p:cNvSpPr/>
            <p:nvPr/>
          </p:nvSpPr>
          <p:spPr>
            <a:xfrm>
              <a:off x="6839587" y="3710357"/>
              <a:ext cx="110022" cy="113412"/>
            </a:xfrm>
            <a:custGeom>
              <a:avLst/>
              <a:gdLst/>
              <a:ahLst/>
              <a:cxnLst/>
              <a:rect l="l" t="t" r="r" b="b"/>
              <a:pathLst>
                <a:path w="163914" h="171450" extrusionOk="0">
                  <a:moveTo>
                    <a:pt x="149230" y="4114"/>
                  </a:moveTo>
                  <a:lnTo>
                    <a:pt x="150916" y="7406"/>
                  </a:lnTo>
                  <a:lnTo>
                    <a:pt x="161033" y="9052"/>
                  </a:lnTo>
                  <a:lnTo>
                    <a:pt x="159347" y="22219"/>
                  </a:lnTo>
                  <a:lnTo>
                    <a:pt x="149230" y="22219"/>
                  </a:lnTo>
                  <a:lnTo>
                    <a:pt x="145857" y="61719"/>
                  </a:lnTo>
                  <a:lnTo>
                    <a:pt x="137426" y="74886"/>
                  </a:lnTo>
                  <a:lnTo>
                    <a:pt x="152602" y="83116"/>
                  </a:lnTo>
                  <a:lnTo>
                    <a:pt x="140798" y="106158"/>
                  </a:lnTo>
                  <a:lnTo>
                    <a:pt x="137426" y="104512"/>
                  </a:lnTo>
                  <a:lnTo>
                    <a:pt x="135740" y="127554"/>
                  </a:lnTo>
                  <a:lnTo>
                    <a:pt x="130681" y="125908"/>
                  </a:lnTo>
                  <a:lnTo>
                    <a:pt x="122250" y="135783"/>
                  </a:lnTo>
                  <a:lnTo>
                    <a:pt x="127309" y="137429"/>
                  </a:lnTo>
                  <a:lnTo>
                    <a:pt x="128995" y="142367"/>
                  </a:lnTo>
                  <a:lnTo>
                    <a:pt x="123936" y="152242"/>
                  </a:lnTo>
                  <a:lnTo>
                    <a:pt x="125622" y="153888"/>
                  </a:lnTo>
                  <a:lnTo>
                    <a:pt x="122250" y="162117"/>
                  </a:lnTo>
                  <a:lnTo>
                    <a:pt x="120564" y="165409"/>
                  </a:lnTo>
                  <a:lnTo>
                    <a:pt x="115505" y="163763"/>
                  </a:lnTo>
                  <a:lnTo>
                    <a:pt x="113819" y="168700"/>
                  </a:lnTo>
                  <a:lnTo>
                    <a:pt x="105388" y="167054"/>
                  </a:lnTo>
                  <a:lnTo>
                    <a:pt x="98643" y="163763"/>
                  </a:lnTo>
                  <a:lnTo>
                    <a:pt x="80094" y="162117"/>
                  </a:lnTo>
                  <a:lnTo>
                    <a:pt x="56487" y="171992"/>
                  </a:lnTo>
                  <a:lnTo>
                    <a:pt x="46370" y="173638"/>
                  </a:lnTo>
                  <a:lnTo>
                    <a:pt x="39625" y="170346"/>
                  </a:lnTo>
                  <a:lnTo>
                    <a:pt x="37939" y="171992"/>
                  </a:lnTo>
                  <a:lnTo>
                    <a:pt x="24449" y="150596"/>
                  </a:lnTo>
                  <a:lnTo>
                    <a:pt x="9273" y="135783"/>
                  </a:lnTo>
                  <a:lnTo>
                    <a:pt x="16018" y="132491"/>
                  </a:lnTo>
                  <a:lnTo>
                    <a:pt x="5900" y="119324"/>
                  </a:lnTo>
                  <a:lnTo>
                    <a:pt x="4214" y="109449"/>
                  </a:lnTo>
                  <a:lnTo>
                    <a:pt x="10959" y="109449"/>
                  </a:lnTo>
                  <a:lnTo>
                    <a:pt x="26135" y="99574"/>
                  </a:lnTo>
                  <a:lnTo>
                    <a:pt x="32880" y="99574"/>
                  </a:lnTo>
                  <a:lnTo>
                    <a:pt x="34566" y="94636"/>
                  </a:lnTo>
                  <a:lnTo>
                    <a:pt x="34566" y="91345"/>
                  </a:lnTo>
                  <a:lnTo>
                    <a:pt x="32880" y="91345"/>
                  </a:lnTo>
                  <a:lnTo>
                    <a:pt x="37939" y="81470"/>
                  </a:lnTo>
                  <a:lnTo>
                    <a:pt x="32880" y="78178"/>
                  </a:lnTo>
                  <a:lnTo>
                    <a:pt x="32880" y="73240"/>
                  </a:lnTo>
                  <a:lnTo>
                    <a:pt x="37939" y="51844"/>
                  </a:lnTo>
                  <a:lnTo>
                    <a:pt x="32880" y="48552"/>
                  </a:lnTo>
                  <a:lnTo>
                    <a:pt x="36252" y="38677"/>
                  </a:lnTo>
                  <a:lnTo>
                    <a:pt x="31194" y="28802"/>
                  </a:lnTo>
                  <a:lnTo>
                    <a:pt x="41311" y="28802"/>
                  </a:lnTo>
                  <a:lnTo>
                    <a:pt x="46370" y="25510"/>
                  </a:lnTo>
                  <a:lnTo>
                    <a:pt x="58173" y="15635"/>
                  </a:lnTo>
                  <a:lnTo>
                    <a:pt x="68291" y="12343"/>
                  </a:lnTo>
                  <a:lnTo>
                    <a:pt x="88525" y="13989"/>
                  </a:lnTo>
                  <a:lnTo>
                    <a:pt x="96957" y="32094"/>
                  </a:lnTo>
                  <a:lnTo>
                    <a:pt x="108760" y="30448"/>
                  </a:lnTo>
                  <a:lnTo>
                    <a:pt x="122250" y="10697"/>
                  </a:lnTo>
                  <a:lnTo>
                    <a:pt x="14923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6" name="Roerdalen">
              <a:extLst>
                <a:ext uri="{FF2B5EF4-FFF2-40B4-BE49-F238E27FC236}">
                  <a16:creationId xmlns:a16="http://schemas.microsoft.com/office/drawing/2014/main" id="{6C2DB51A-F9E3-4EE9-AB8C-0932619768E0}"/>
                </a:ext>
              </a:extLst>
            </p:cNvPr>
            <p:cNvSpPr/>
            <p:nvPr/>
          </p:nvSpPr>
          <p:spPr>
            <a:xfrm>
              <a:off x="6809167" y="4993720"/>
              <a:ext cx="266858" cy="178261"/>
            </a:xfrm>
            <a:custGeom>
              <a:avLst/>
              <a:gdLst/>
              <a:ahLst/>
              <a:cxnLst/>
              <a:rect l="l" t="t" r="r" b="b"/>
              <a:pathLst>
                <a:path w="421494" h="240030" extrusionOk="0">
                  <a:moveTo>
                    <a:pt x="397105" y="32094"/>
                  </a:moveTo>
                  <a:lnTo>
                    <a:pt x="351576" y="55136"/>
                  </a:lnTo>
                  <a:lnTo>
                    <a:pt x="408908" y="89699"/>
                  </a:lnTo>
                  <a:lnTo>
                    <a:pt x="390360" y="104512"/>
                  </a:lnTo>
                  <a:lnTo>
                    <a:pt x="392046" y="114387"/>
                  </a:lnTo>
                  <a:lnTo>
                    <a:pt x="386987" y="112741"/>
                  </a:lnTo>
                  <a:lnTo>
                    <a:pt x="378556" y="116033"/>
                  </a:lnTo>
                  <a:lnTo>
                    <a:pt x="366753" y="114387"/>
                  </a:lnTo>
                  <a:lnTo>
                    <a:pt x="361694" y="117679"/>
                  </a:lnTo>
                  <a:lnTo>
                    <a:pt x="346518" y="122617"/>
                  </a:lnTo>
                  <a:lnTo>
                    <a:pt x="333028" y="122617"/>
                  </a:lnTo>
                  <a:lnTo>
                    <a:pt x="326283" y="129200"/>
                  </a:lnTo>
                  <a:lnTo>
                    <a:pt x="326283" y="132492"/>
                  </a:lnTo>
                  <a:lnTo>
                    <a:pt x="317852" y="137429"/>
                  </a:lnTo>
                  <a:lnTo>
                    <a:pt x="294245" y="144012"/>
                  </a:lnTo>
                  <a:lnTo>
                    <a:pt x="287500" y="148950"/>
                  </a:lnTo>
                  <a:lnTo>
                    <a:pt x="280755" y="147304"/>
                  </a:lnTo>
                  <a:lnTo>
                    <a:pt x="275696" y="160471"/>
                  </a:lnTo>
                  <a:lnTo>
                    <a:pt x="272324" y="162117"/>
                  </a:lnTo>
                  <a:lnTo>
                    <a:pt x="275696" y="165409"/>
                  </a:lnTo>
                  <a:lnTo>
                    <a:pt x="268951" y="170346"/>
                  </a:lnTo>
                  <a:lnTo>
                    <a:pt x="272324" y="173638"/>
                  </a:lnTo>
                  <a:lnTo>
                    <a:pt x="267265" y="175284"/>
                  </a:lnTo>
                  <a:lnTo>
                    <a:pt x="263893" y="170346"/>
                  </a:lnTo>
                  <a:lnTo>
                    <a:pt x="262207" y="178576"/>
                  </a:lnTo>
                  <a:lnTo>
                    <a:pt x="255462" y="181867"/>
                  </a:lnTo>
                  <a:lnTo>
                    <a:pt x="255462" y="186805"/>
                  </a:lnTo>
                  <a:lnTo>
                    <a:pt x="231855" y="195034"/>
                  </a:lnTo>
                  <a:lnTo>
                    <a:pt x="223423" y="206556"/>
                  </a:lnTo>
                  <a:lnTo>
                    <a:pt x="226796" y="209847"/>
                  </a:lnTo>
                  <a:lnTo>
                    <a:pt x="194758" y="241118"/>
                  </a:lnTo>
                  <a:lnTo>
                    <a:pt x="184640" y="229598"/>
                  </a:lnTo>
                  <a:lnTo>
                    <a:pt x="181268" y="216431"/>
                  </a:lnTo>
                  <a:lnTo>
                    <a:pt x="174523" y="218076"/>
                  </a:lnTo>
                  <a:lnTo>
                    <a:pt x="172837" y="211493"/>
                  </a:lnTo>
                  <a:lnTo>
                    <a:pt x="176209" y="209847"/>
                  </a:lnTo>
                  <a:lnTo>
                    <a:pt x="171151" y="201618"/>
                  </a:lnTo>
                  <a:lnTo>
                    <a:pt x="157661" y="193389"/>
                  </a:lnTo>
                  <a:lnTo>
                    <a:pt x="159347" y="190097"/>
                  </a:lnTo>
                  <a:lnTo>
                    <a:pt x="139112" y="199972"/>
                  </a:lnTo>
                  <a:lnTo>
                    <a:pt x="134053" y="188451"/>
                  </a:lnTo>
                  <a:lnTo>
                    <a:pt x="113819" y="183514"/>
                  </a:lnTo>
                  <a:lnTo>
                    <a:pt x="110446" y="190097"/>
                  </a:lnTo>
                  <a:lnTo>
                    <a:pt x="110446" y="188451"/>
                  </a:lnTo>
                  <a:lnTo>
                    <a:pt x="103701" y="195034"/>
                  </a:lnTo>
                  <a:lnTo>
                    <a:pt x="100329" y="193389"/>
                  </a:lnTo>
                  <a:lnTo>
                    <a:pt x="93584" y="198326"/>
                  </a:lnTo>
                  <a:lnTo>
                    <a:pt x="83467" y="190097"/>
                  </a:lnTo>
                  <a:lnTo>
                    <a:pt x="66605" y="203264"/>
                  </a:lnTo>
                  <a:lnTo>
                    <a:pt x="64918" y="199972"/>
                  </a:lnTo>
                  <a:lnTo>
                    <a:pt x="63232" y="203264"/>
                  </a:lnTo>
                  <a:lnTo>
                    <a:pt x="56487" y="203264"/>
                  </a:lnTo>
                  <a:lnTo>
                    <a:pt x="56487" y="201618"/>
                  </a:lnTo>
                  <a:lnTo>
                    <a:pt x="44684" y="203264"/>
                  </a:lnTo>
                  <a:lnTo>
                    <a:pt x="44684" y="199972"/>
                  </a:lnTo>
                  <a:lnTo>
                    <a:pt x="24449" y="201618"/>
                  </a:lnTo>
                  <a:lnTo>
                    <a:pt x="12645" y="185159"/>
                  </a:lnTo>
                  <a:lnTo>
                    <a:pt x="4214" y="167055"/>
                  </a:lnTo>
                  <a:lnTo>
                    <a:pt x="7587" y="160471"/>
                  </a:lnTo>
                  <a:lnTo>
                    <a:pt x="4214" y="153888"/>
                  </a:lnTo>
                  <a:lnTo>
                    <a:pt x="110446" y="50198"/>
                  </a:lnTo>
                  <a:lnTo>
                    <a:pt x="112133" y="53490"/>
                  </a:lnTo>
                  <a:lnTo>
                    <a:pt x="117191" y="51844"/>
                  </a:lnTo>
                  <a:lnTo>
                    <a:pt x="118878" y="56782"/>
                  </a:lnTo>
                  <a:lnTo>
                    <a:pt x="115505" y="66657"/>
                  </a:lnTo>
                  <a:lnTo>
                    <a:pt x="123936" y="63365"/>
                  </a:lnTo>
                  <a:lnTo>
                    <a:pt x="122250" y="69949"/>
                  </a:lnTo>
                  <a:lnTo>
                    <a:pt x="127309" y="74886"/>
                  </a:lnTo>
                  <a:lnTo>
                    <a:pt x="128995" y="68303"/>
                  </a:lnTo>
                  <a:lnTo>
                    <a:pt x="134053" y="69949"/>
                  </a:lnTo>
                  <a:lnTo>
                    <a:pt x="135740" y="83116"/>
                  </a:lnTo>
                  <a:lnTo>
                    <a:pt x="145857" y="81470"/>
                  </a:lnTo>
                  <a:lnTo>
                    <a:pt x="157661" y="73240"/>
                  </a:lnTo>
                  <a:lnTo>
                    <a:pt x="166092" y="78178"/>
                  </a:lnTo>
                  <a:lnTo>
                    <a:pt x="177895" y="78178"/>
                  </a:lnTo>
                  <a:lnTo>
                    <a:pt x="182954" y="86407"/>
                  </a:lnTo>
                  <a:lnTo>
                    <a:pt x="198130" y="84762"/>
                  </a:lnTo>
                  <a:lnTo>
                    <a:pt x="199816" y="86407"/>
                  </a:lnTo>
                  <a:lnTo>
                    <a:pt x="223423" y="83116"/>
                  </a:lnTo>
                  <a:lnTo>
                    <a:pt x="223423" y="79824"/>
                  </a:lnTo>
                  <a:lnTo>
                    <a:pt x="235227" y="74886"/>
                  </a:lnTo>
                  <a:lnTo>
                    <a:pt x="230168" y="61720"/>
                  </a:lnTo>
                  <a:lnTo>
                    <a:pt x="214992" y="58427"/>
                  </a:lnTo>
                  <a:lnTo>
                    <a:pt x="211620" y="51844"/>
                  </a:lnTo>
                  <a:lnTo>
                    <a:pt x="225110" y="50198"/>
                  </a:lnTo>
                  <a:lnTo>
                    <a:pt x="221737" y="40323"/>
                  </a:lnTo>
                  <a:lnTo>
                    <a:pt x="221737" y="28802"/>
                  </a:lnTo>
                  <a:lnTo>
                    <a:pt x="250403" y="32094"/>
                  </a:lnTo>
                  <a:lnTo>
                    <a:pt x="263893" y="60074"/>
                  </a:lnTo>
                  <a:lnTo>
                    <a:pt x="275696" y="63365"/>
                  </a:lnTo>
                  <a:lnTo>
                    <a:pt x="285814" y="60074"/>
                  </a:lnTo>
                  <a:lnTo>
                    <a:pt x="290872" y="63365"/>
                  </a:lnTo>
                  <a:lnTo>
                    <a:pt x="295931" y="60074"/>
                  </a:lnTo>
                  <a:lnTo>
                    <a:pt x="309421" y="53490"/>
                  </a:lnTo>
                  <a:lnTo>
                    <a:pt x="319538" y="41969"/>
                  </a:lnTo>
                  <a:lnTo>
                    <a:pt x="326283" y="35385"/>
                  </a:lnTo>
                  <a:lnTo>
                    <a:pt x="392046" y="4114"/>
                  </a:lnTo>
                  <a:lnTo>
                    <a:pt x="417339" y="22219"/>
                  </a:lnTo>
                  <a:lnTo>
                    <a:pt x="397105" y="3209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7" name="Hulst">
              <a:extLst>
                <a:ext uri="{FF2B5EF4-FFF2-40B4-BE49-F238E27FC236}">
                  <a16:creationId xmlns:a16="http://schemas.microsoft.com/office/drawing/2014/main" id="{DA429038-9501-40DF-91B0-01E030C6E39B}"/>
                </a:ext>
              </a:extLst>
            </p:cNvPr>
            <p:cNvSpPr/>
            <p:nvPr/>
          </p:nvSpPr>
          <p:spPr>
            <a:xfrm>
              <a:off x="4695164" y="4631400"/>
              <a:ext cx="321350" cy="280243"/>
            </a:xfrm>
            <a:custGeom>
              <a:avLst/>
              <a:gdLst/>
              <a:ahLst/>
              <a:cxnLst/>
              <a:rect l="l" t="t" r="r" b="b"/>
              <a:pathLst>
                <a:path w="468326" h="411480" extrusionOk="0">
                  <a:moveTo>
                    <a:pt x="4214" y="101220"/>
                  </a:moveTo>
                  <a:lnTo>
                    <a:pt x="5900" y="99574"/>
                  </a:lnTo>
                  <a:lnTo>
                    <a:pt x="10959" y="96282"/>
                  </a:lnTo>
                  <a:lnTo>
                    <a:pt x="4214" y="101220"/>
                  </a:lnTo>
                  <a:close/>
                  <a:moveTo>
                    <a:pt x="370125" y="106158"/>
                  </a:moveTo>
                  <a:lnTo>
                    <a:pt x="360008" y="101220"/>
                  </a:lnTo>
                  <a:lnTo>
                    <a:pt x="370125" y="99574"/>
                  </a:lnTo>
                  <a:lnTo>
                    <a:pt x="370125" y="106158"/>
                  </a:lnTo>
                  <a:close/>
                  <a:moveTo>
                    <a:pt x="442632" y="124262"/>
                  </a:moveTo>
                  <a:lnTo>
                    <a:pt x="437574" y="112741"/>
                  </a:lnTo>
                  <a:lnTo>
                    <a:pt x="432515" y="91345"/>
                  </a:lnTo>
                  <a:lnTo>
                    <a:pt x="442632" y="124262"/>
                  </a:lnTo>
                  <a:close/>
                  <a:moveTo>
                    <a:pt x="299303" y="139075"/>
                  </a:moveTo>
                  <a:lnTo>
                    <a:pt x="295931" y="137429"/>
                  </a:lnTo>
                  <a:lnTo>
                    <a:pt x="302676" y="139075"/>
                  </a:lnTo>
                  <a:lnTo>
                    <a:pt x="299303" y="139075"/>
                  </a:lnTo>
                  <a:close/>
                  <a:moveTo>
                    <a:pt x="366752" y="147304"/>
                  </a:moveTo>
                  <a:lnTo>
                    <a:pt x="360008" y="145658"/>
                  </a:lnTo>
                  <a:lnTo>
                    <a:pt x="360008" y="144013"/>
                  </a:lnTo>
                  <a:lnTo>
                    <a:pt x="358321" y="142367"/>
                  </a:lnTo>
                  <a:lnTo>
                    <a:pt x="358321" y="145658"/>
                  </a:lnTo>
                  <a:lnTo>
                    <a:pt x="356635" y="144013"/>
                  </a:lnTo>
                  <a:lnTo>
                    <a:pt x="354949" y="139075"/>
                  </a:lnTo>
                  <a:lnTo>
                    <a:pt x="354949" y="144013"/>
                  </a:lnTo>
                  <a:lnTo>
                    <a:pt x="349890" y="142367"/>
                  </a:lnTo>
                  <a:lnTo>
                    <a:pt x="348204" y="135783"/>
                  </a:lnTo>
                  <a:lnTo>
                    <a:pt x="349890" y="134137"/>
                  </a:lnTo>
                  <a:lnTo>
                    <a:pt x="344831" y="134137"/>
                  </a:lnTo>
                  <a:lnTo>
                    <a:pt x="343145" y="132491"/>
                  </a:lnTo>
                  <a:lnTo>
                    <a:pt x="346518" y="132491"/>
                  </a:lnTo>
                  <a:lnTo>
                    <a:pt x="343145" y="132491"/>
                  </a:lnTo>
                  <a:lnTo>
                    <a:pt x="339773" y="125908"/>
                  </a:lnTo>
                  <a:lnTo>
                    <a:pt x="344831" y="125908"/>
                  </a:lnTo>
                  <a:lnTo>
                    <a:pt x="344831" y="129200"/>
                  </a:lnTo>
                  <a:lnTo>
                    <a:pt x="346518" y="125908"/>
                  </a:lnTo>
                  <a:lnTo>
                    <a:pt x="354949" y="125908"/>
                  </a:lnTo>
                  <a:lnTo>
                    <a:pt x="348204" y="125908"/>
                  </a:lnTo>
                  <a:lnTo>
                    <a:pt x="346518" y="122616"/>
                  </a:lnTo>
                  <a:lnTo>
                    <a:pt x="344831" y="124262"/>
                  </a:lnTo>
                  <a:lnTo>
                    <a:pt x="339773" y="124262"/>
                  </a:lnTo>
                  <a:lnTo>
                    <a:pt x="336400" y="119324"/>
                  </a:lnTo>
                  <a:lnTo>
                    <a:pt x="338087" y="114387"/>
                  </a:lnTo>
                  <a:lnTo>
                    <a:pt x="341459" y="116033"/>
                  </a:lnTo>
                  <a:lnTo>
                    <a:pt x="338087" y="114387"/>
                  </a:lnTo>
                  <a:lnTo>
                    <a:pt x="338087" y="109449"/>
                  </a:lnTo>
                  <a:lnTo>
                    <a:pt x="344831" y="107803"/>
                  </a:lnTo>
                  <a:lnTo>
                    <a:pt x="344831" y="109449"/>
                  </a:lnTo>
                  <a:lnTo>
                    <a:pt x="348204" y="107803"/>
                  </a:lnTo>
                  <a:lnTo>
                    <a:pt x="348204" y="111095"/>
                  </a:lnTo>
                  <a:lnTo>
                    <a:pt x="349890" y="109449"/>
                  </a:lnTo>
                  <a:lnTo>
                    <a:pt x="351576" y="112741"/>
                  </a:lnTo>
                  <a:lnTo>
                    <a:pt x="349890" y="116033"/>
                  </a:lnTo>
                  <a:lnTo>
                    <a:pt x="351576" y="114387"/>
                  </a:lnTo>
                  <a:lnTo>
                    <a:pt x="349890" y="107803"/>
                  </a:lnTo>
                  <a:lnTo>
                    <a:pt x="354949" y="109449"/>
                  </a:lnTo>
                  <a:lnTo>
                    <a:pt x="354949" y="120971"/>
                  </a:lnTo>
                  <a:lnTo>
                    <a:pt x="356635" y="111095"/>
                  </a:lnTo>
                  <a:lnTo>
                    <a:pt x="356635" y="117679"/>
                  </a:lnTo>
                  <a:lnTo>
                    <a:pt x="360008" y="114387"/>
                  </a:lnTo>
                  <a:lnTo>
                    <a:pt x="358321" y="114387"/>
                  </a:lnTo>
                  <a:lnTo>
                    <a:pt x="354949" y="104512"/>
                  </a:lnTo>
                  <a:lnTo>
                    <a:pt x="370125" y="107803"/>
                  </a:lnTo>
                  <a:lnTo>
                    <a:pt x="370125" y="112741"/>
                  </a:lnTo>
                  <a:lnTo>
                    <a:pt x="366752" y="112741"/>
                  </a:lnTo>
                  <a:lnTo>
                    <a:pt x="370125" y="114387"/>
                  </a:lnTo>
                  <a:lnTo>
                    <a:pt x="370125" y="120971"/>
                  </a:lnTo>
                  <a:lnTo>
                    <a:pt x="365066" y="122616"/>
                  </a:lnTo>
                  <a:lnTo>
                    <a:pt x="370125" y="120971"/>
                  </a:lnTo>
                  <a:lnTo>
                    <a:pt x="370125" y="124262"/>
                  </a:lnTo>
                  <a:lnTo>
                    <a:pt x="365066" y="124262"/>
                  </a:lnTo>
                  <a:lnTo>
                    <a:pt x="370125" y="125908"/>
                  </a:lnTo>
                  <a:lnTo>
                    <a:pt x="363380" y="129200"/>
                  </a:lnTo>
                  <a:lnTo>
                    <a:pt x="365066" y="129200"/>
                  </a:lnTo>
                  <a:lnTo>
                    <a:pt x="358321" y="130845"/>
                  </a:lnTo>
                  <a:lnTo>
                    <a:pt x="361694" y="130845"/>
                  </a:lnTo>
                  <a:lnTo>
                    <a:pt x="370125" y="125908"/>
                  </a:lnTo>
                  <a:lnTo>
                    <a:pt x="366752" y="132491"/>
                  </a:lnTo>
                  <a:lnTo>
                    <a:pt x="365066" y="132491"/>
                  </a:lnTo>
                  <a:lnTo>
                    <a:pt x="366752" y="132491"/>
                  </a:lnTo>
                  <a:lnTo>
                    <a:pt x="366752" y="140721"/>
                  </a:lnTo>
                  <a:lnTo>
                    <a:pt x="371811" y="144013"/>
                  </a:lnTo>
                  <a:lnTo>
                    <a:pt x="366752" y="147304"/>
                  </a:lnTo>
                  <a:close/>
                  <a:moveTo>
                    <a:pt x="376870" y="150596"/>
                  </a:moveTo>
                  <a:lnTo>
                    <a:pt x="376870" y="148950"/>
                  </a:lnTo>
                  <a:lnTo>
                    <a:pt x="381928" y="148950"/>
                  </a:lnTo>
                  <a:lnTo>
                    <a:pt x="376870" y="150596"/>
                  </a:lnTo>
                  <a:close/>
                  <a:moveTo>
                    <a:pt x="434201" y="153888"/>
                  </a:moveTo>
                  <a:lnTo>
                    <a:pt x="432515" y="150596"/>
                  </a:lnTo>
                  <a:lnTo>
                    <a:pt x="437574" y="148950"/>
                  </a:lnTo>
                  <a:lnTo>
                    <a:pt x="434201" y="153888"/>
                  </a:lnTo>
                  <a:close/>
                  <a:moveTo>
                    <a:pt x="348204" y="153888"/>
                  </a:moveTo>
                  <a:lnTo>
                    <a:pt x="344831" y="152242"/>
                  </a:lnTo>
                  <a:lnTo>
                    <a:pt x="343145" y="150596"/>
                  </a:lnTo>
                  <a:lnTo>
                    <a:pt x="348204" y="153888"/>
                  </a:lnTo>
                  <a:close/>
                  <a:moveTo>
                    <a:pt x="312793" y="168700"/>
                  </a:moveTo>
                  <a:lnTo>
                    <a:pt x="307735" y="165409"/>
                  </a:lnTo>
                  <a:lnTo>
                    <a:pt x="314479" y="163763"/>
                  </a:lnTo>
                  <a:lnTo>
                    <a:pt x="307735" y="165409"/>
                  </a:lnTo>
                  <a:lnTo>
                    <a:pt x="306048" y="162117"/>
                  </a:lnTo>
                  <a:lnTo>
                    <a:pt x="309421" y="160471"/>
                  </a:lnTo>
                  <a:lnTo>
                    <a:pt x="304362" y="160471"/>
                  </a:lnTo>
                  <a:lnTo>
                    <a:pt x="307735" y="158825"/>
                  </a:lnTo>
                  <a:lnTo>
                    <a:pt x="302676" y="158825"/>
                  </a:lnTo>
                  <a:lnTo>
                    <a:pt x="299303" y="153888"/>
                  </a:lnTo>
                  <a:lnTo>
                    <a:pt x="307735" y="150596"/>
                  </a:lnTo>
                  <a:lnTo>
                    <a:pt x="309421" y="153888"/>
                  </a:lnTo>
                  <a:lnTo>
                    <a:pt x="309421" y="150596"/>
                  </a:lnTo>
                  <a:lnTo>
                    <a:pt x="311107" y="153888"/>
                  </a:lnTo>
                  <a:lnTo>
                    <a:pt x="309421" y="150596"/>
                  </a:lnTo>
                  <a:lnTo>
                    <a:pt x="314479" y="158825"/>
                  </a:lnTo>
                  <a:lnTo>
                    <a:pt x="322911" y="155533"/>
                  </a:lnTo>
                  <a:lnTo>
                    <a:pt x="314479" y="155533"/>
                  </a:lnTo>
                  <a:lnTo>
                    <a:pt x="311107" y="152242"/>
                  </a:lnTo>
                  <a:lnTo>
                    <a:pt x="317852" y="153888"/>
                  </a:lnTo>
                  <a:lnTo>
                    <a:pt x="311107" y="150596"/>
                  </a:lnTo>
                  <a:lnTo>
                    <a:pt x="316166" y="148950"/>
                  </a:lnTo>
                  <a:lnTo>
                    <a:pt x="311107" y="148950"/>
                  </a:lnTo>
                  <a:lnTo>
                    <a:pt x="316166" y="142367"/>
                  </a:lnTo>
                  <a:lnTo>
                    <a:pt x="316166" y="135783"/>
                  </a:lnTo>
                  <a:lnTo>
                    <a:pt x="314479" y="144013"/>
                  </a:lnTo>
                  <a:lnTo>
                    <a:pt x="309421" y="144013"/>
                  </a:lnTo>
                  <a:lnTo>
                    <a:pt x="312793" y="145658"/>
                  </a:lnTo>
                  <a:lnTo>
                    <a:pt x="309421" y="147304"/>
                  </a:lnTo>
                  <a:lnTo>
                    <a:pt x="299303" y="150596"/>
                  </a:lnTo>
                  <a:lnTo>
                    <a:pt x="297617" y="148950"/>
                  </a:lnTo>
                  <a:lnTo>
                    <a:pt x="300990" y="148950"/>
                  </a:lnTo>
                  <a:lnTo>
                    <a:pt x="304362" y="145658"/>
                  </a:lnTo>
                  <a:lnTo>
                    <a:pt x="302676" y="142367"/>
                  </a:lnTo>
                  <a:lnTo>
                    <a:pt x="309421" y="145658"/>
                  </a:lnTo>
                  <a:lnTo>
                    <a:pt x="304362" y="142367"/>
                  </a:lnTo>
                  <a:lnTo>
                    <a:pt x="309421" y="140721"/>
                  </a:lnTo>
                  <a:lnTo>
                    <a:pt x="300990" y="140721"/>
                  </a:lnTo>
                  <a:lnTo>
                    <a:pt x="311107" y="140721"/>
                  </a:lnTo>
                  <a:lnTo>
                    <a:pt x="299303" y="140721"/>
                  </a:lnTo>
                  <a:lnTo>
                    <a:pt x="309421" y="134137"/>
                  </a:lnTo>
                  <a:lnTo>
                    <a:pt x="302676" y="137429"/>
                  </a:lnTo>
                  <a:lnTo>
                    <a:pt x="300990" y="137429"/>
                  </a:lnTo>
                  <a:lnTo>
                    <a:pt x="302676" y="130845"/>
                  </a:lnTo>
                  <a:lnTo>
                    <a:pt x="299303" y="135783"/>
                  </a:lnTo>
                  <a:lnTo>
                    <a:pt x="297617" y="135783"/>
                  </a:lnTo>
                  <a:lnTo>
                    <a:pt x="299303" y="132491"/>
                  </a:lnTo>
                  <a:lnTo>
                    <a:pt x="297617" y="135783"/>
                  </a:lnTo>
                  <a:lnTo>
                    <a:pt x="292559" y="135783"/>
                  </a:lnTo>
                  <a:lnTo>
                    <a:pt x="292559" y="132491"/>
                  </a:lnTo>
                  <a:lnTo>
                    <a:pt x="295931" y="129200"/>
                  </a:lnTo>
                  <a:lnTo>
                    <a:pt x="292559" y="130845"/>
                  </a:lnTo>
                  <a:lnTo>
                    <a:pt x="289186" y="139075"/>
                  </a:lnTo>
                  <a:lnTo>
                    <a:pt x="287500" y="134137"/>
                  </a:lnTo>
                  <a:lnTo>
                    <a:pt x="295931" y="127554"/>
                  </a:lnTo>
                  <a:lnTo>
                    <a:pt x="287500" y="134137"/>
                  </a:lnTo>
                  <a:lnTo>
                    <a:pt x="285814" y="129200"/>
                  </a:lnTo>
                  <a:lnTo>
                    <a:pt x="290872" y="129200"/>
                  </a:lnTo>
                  <a:lnTo>
                    <a:pt x="287500" y="129200"/>
                  </a:lnTo>
                  <a:lnTo>
                    <a:pt x="290872" y="125908"/>
                  </a:lnTo>
                  <a:lnTo>
                    <a:pt x="287500" y="129200"/>
                  </a:lnTo>
                  <a:lnTo>
                    <a:pt x="285814" y="125908"/>
                  </a:lnTo>
                  <a:lnTo>
                    <a:pt x="285814" y="129200"/>
                  </a:lnTo>
                  <a:lnTo>
                    <a:pt x="282441" y="124262"/>
                  </a:lnTo>
                  <a:lnTo>
                    <a:pt x="282441" y="127554"/>
                  </a:lnTo>
                  <a:lnTo>
                    <a:pt x="279069" y="129200"/>
                  </a:lnTo>
                  <a:lnTo>
                    <a:pt x="277382" y="122616"/>
                  </a:lnTo>
                  <a:lnTo>
                    <a:pt x="295931" y="117679"/>
                  </a:lnTo>
                  <a:lnTo>
                    <a:pt x="299303" y="119324"/>
                  </a:lnTo>
                  <a:lnTo>
                    <a:pt x="304362" y="119324"/>
                  </a:lnTo>
                  <a:lnTo>
                    <a:pt x="304362" y="124262"/>
                  </a:lnTo>
                  <a:lnTo>
                    <a:pt x="304362" y="119324"/>
                  </a:lnTo>
                  <a:lnTo>
                    <a:pt x="309421" y="120971"/>
                  </a:lnTo>
                  <a:lnTo>
                    <a:pt x="311107" y="124262"/>
                  </a:lnTo>
                  <a:lnTo>
                    <a:pt x="306048" y="127554"/>
                  </a:lnTo>
                  <a:lnTo>
                    <a:pt x="311107" y="124262"/>
                  </a:lnTo>
                  <a:lnTo>
                    <a:pt x="319538" y="125908"/>
                  </a:lnTo>
                  <a:lnTo>
                    <a:pt x="317852" y="129200"/>
                  </a:lnTo>
                  <a:lnTo>
                    <a:pt x="319538" y="127554"/>
                  </a:lnTo>
                  <a:lnTo>
                    <a:pt x="324597" y="137429"/>
                  </a:lnTo>
                  <a:lnTo>
                    <a:pt x="319538" y="137429"/>
                  </a:lnTo>
                  <a:lnTo>
                    <a:pt x="326283" y="140721"/>
                  </a:lnTo>
                  <a:lnTo>
                    <a:pt x="321224" y="140721"/>
                  </a:lnTo>
                  <a:lnTo>
                    <a:pt x="326283" y="142367"/>
                  </a:lnTo>
                  <a:lnTo>
                    <a:pt x="319538" y="144013"/>
                  </a:lnTo>
                  <a:lnTo>
                    <a:pt x="324597" y="142367"/>
                  </a:lnTo>
                  <a:lnTo>
                    <a:pt x="329655" y="152242"/>
                  </a:lnTo>
                  <a:lnTo>
                    <a:pt x="326283" y="150596"/>
                  </a:lnTo>
                  <a:lnTo>
                    <a:pt x="326283" y="142367"/>
                  </a:lnTo>
                  <a:lnTo>
                    <a:pt x="334714" y="152242"/>
                  </a:lnTo>
                  <a:lnTo>
                    <a:pt x="333028" y="155533"/>
                  </a:lnTo>
                  <a:lnTo>
                    <a:pt x="329655" y="153888"/>
                  </a:lnTo>
                  <a:lnTo>
                    <a:pt x="333028" y="158825"/>
                  </a:lnTo>
                  <a:lnTo>
                    <a:pt x="329655" y="160471"/>
                  </a:lnTo>
                  <a:lnTo>
                    <a:pt x="333028" y="158825"/>
                  </a:lnTo>
                  <a:lnTo>
                    <a:pt x="336400" y="162117"/>
                  </a:lnTo>
                  <a:lnTo>
                    <a:pt x="326283" y="165409"/>
                  </a:lnTo>
                  <a:lnTo>
                    <a:pt x="321224" y="165409"/>
                  </a:lnTo>
                  <a:lnTo>
                    <a:pt x="324597" y="163763"/>
                  </a:lnTo>
                  <a:lnTo>
                    <a:pt x="322911" y="163763"/>
                  </a:lnTo>
                  <a:lnTo>
                    <a:pt x="312793" y="168700"/>
                  </a:lnTo>
                  <a:close/>
                  <a:moveTo>
                    <a:pt x="159347" y="412288"/>
                  </a:moveTo>
                  <a:lnTo>
                    <a:pt x="154288" y="402413"/>
                  </a:lnTo>
                  <a:lnTo>
                    <a:pt x="147543" y="407350"/>
                  </a:lnTo>
                  <a:lnTo>
                    <a:pt x="135740" y="412288"/>
                  </a:lnTo>
                  <a:lnTo>
                    <a:pt x="130681" y="402413"/>
                  </a:lnTo>
                  <a:lnTo>
                    <a:pt x="120564" y="402413"/>
                  </a:lnTo>
                  <a:lnTo>
                    <a:pt x="105388" y="410643"/>
                  </a:lnTo>
                  <a:lnTo>
                    <a:pt x="102015" y="407350"/>
                  </a:lnTo>
                  <a:lnTo>
                    <a:pt x="91898" y="412288"/>
                  </a:lnTo>
                  <a:lnTo>
                    <a:pt x="90212" y="407350"/>
                  </a:lnTo>
                  <a:lnTo>
                    <a:pt x="88525" y="407350"/>
                  </a:lnTo>
                  <a:lnTo>
                    <a:pt x="86839" y="402413"/>
                  </a:lnTo>
                  <a:lnTo>
                    <a:pt x="88525" y="399121"/>
                  </a:lnTo>
                  <a:lnTo>
                    <a:pt x="86839" y="395830"/>
                  </a:lnTo>
                  <a:lnTo>
                    <a:pt x="78408" y="392538"/>
                  </a:lnTo>
                  <a:lnTo>
                    <a:pt x="78408" y="390892"/>
                  </a:lnTo>
                  <a:lnTo>
                    <a:pt x="69977" y="392538"/>
                  </a:lnTo>
                  <a:lnTo>
                    <a:pt x="66604" y="267452"/>
                  </a:lnTo>
                  <a:lnTo>
                    <a:pt x="66604" y="265806"/>
                  </a:lnTo>
                  <a:lnTo>
                    <a:pt x="56487" y="267452"/>
                  </a:lnTo>
                  <a:lnTo>
                    <a:pt x="32880" y="257577"/>
                  </a:lnTo>
                  <a:lnTo>
                    <a:pt x="27821" y="247702"/>
                  </a:lnTo>
                  <a:lnTo>
                    <a:pt x="34566" y="214785"/>
                  </a:lnTo>
                  <a:lnTo>
                    <a:pt x="42997" y="190097"/>
                  </a:lnTo>
                  <a:lnTo>
                    <a:pt x="39625" y="144013"/>
                  </a:lnTo>
                  <a:lnTo>
                    <a:pt x="32880" y="130845"/>
                  </a:lnTo>
                  <a:lnTo>
                    <a:pt x="37939" y="114387"/>
                  </a:lnTo>
                  <a:lnTo>
                    <a:pt x="36252" y="112741"/>
                  </a:lnTo>
                  <a:lnTo>
                    <a:pt x="12645" y="109449"/>
                  </a:lnTo>
                  <a:lnTo>
                    <a:pt x="31194" y="104512"/>
                  </a:lnTo>
                  <a:lnTo>
                    <a:pt x="32880" y="109449"/>
                  </a:lnTo>
                  <a:lnTo>
                    <a:pt x="37939" y="111095"/>
                  </a:lnTo>
                  <a:lnTo>
                    <a:pt x="39625" y="96282"/>
                  </a:lnTo>
                  <a:lnTo>
                    <a:pt x="46370" y="86407"/>
                  </a:lnTo>
                  <a:lnTo>
                    <a:pt x="46370" y="71595"/>
                  </a:lnTo>
                  <a:lnTo>
                    <a:pt x="39625" y="68303"/>
                  </a:lnTo>
                  <a:lnTo>
                    <a:pt x="34566" y="76532"/>
                  </a:lnTo>
                  <a:lnTo>
                    <a:pt x="36252" y="78178"/>
                  </a:lnTo>
                  <a:lnTo>
                    <a:pt x="32880" y="76532"/>
                  </a:lnTo>
                  <a:lnTo>
                    <a:pt x="42997" y="61719"/>
                  </a:lnTo>
                  <a:lnTo>
                    <a:pt x="46370" y="40323"/>
                  </a:lnTo>
                  <a:lnTo>
                    <a:pt x="51428" y="41969"/>
                  </a:lnTo>
                  <a:lnTo>
                    <a:pt x="51428" y="35385"/>
                  </a:lnTo>
                  <a:lnTo>
                    <a:pt x="46370" y="27156"/>
                  </a:lnTo>
                  <a:lnTo>
                    <a:pt x="51428" y="33740"/>
                  </a:lnTo>
                  <a:lnTo>
                    <a:pt x="63232" y="13989"/>
                  </a:lnTo>
                  <a:lnTo>
                    <a:pt x="59860" y="13989"/>
                  </a:lnTo>
                  <a:lnTo>
                    <a:pt x="56487" y="7406"/>
                  </a:lnTo>
                  <a:lnTo>
                    <a:pt x="59860" y="13989"/>
                  </a:lnTo>
                  <a:lnTo>
                    <a:pt x="64918" y="12343"/>
                  </a:lnTo>
                  <a:lnTo>
                    <a:pt x="63232" y="7406"/>
                  </a:lnTo>
                  <a:lnTo>
                    <a:pt x="64918" y="12343"/>
                  </a:lnTo>
                  <a:lnTo>
                    <a:pt x="66604" y="10698"/>
                  </a:lnTo>
                  <a:lnTo>
                    <a:pt x="66604" y="12343"/>
                  </a:lnTo>
                  <a:lnTo>
                    <a:pt x="76722" y="12343"/>
                  </a:lnTo>
                  <a:lnTo>
                    <a:pt x="85153" y="10698"/>
                  </a:lnTo>
                  <a:lnTo>
                    <a:pt x="88525" y="12343"/>
                  </a:lnTo>
                  <a:lnTo>
                    <a:pt x="88525" y="10698"/>
                  </a:lnTo>
                  <a:lnTo>
                    <a:pt x="90212" y="13989"/>
                  </a:lnTo>
                  <a:lnTo>
                    <a:pt x="91898" y="9052"/>
                  </a:lnTo>
                  <a:lnTo>
                    <a:pt x="90212" y="13989"/>
                  </a:lnTo>
                  <a:lnTo>
                    <a:pt x="93584" y="15635"/>
                  </a:lnTo>
                  <a:lnTo>
                    <a:pt x="93584" y="4114"/>
                  </a:lnTo>
                  <a:lnTo>
                    <a:pt x="95270" y="18927"/>
                  </a:lnTo>
                  <a:lnTo>
                    <a:pt x="98643" y="10698"/>
                  </a:lnTo>
                  <a:lnTo>
                    <a:pt x="96956" y="18927"/>
                  </a:lnTo>
                  <a:lnTo>
                    <a:pt x="100329" y="20573"/>
                  </a:lnTo>
                  <a:lnTo>
                    <a:pt x="100329" y="15635"/>
                  </a:lnTo>
                  <a:lnTo>
                    <a:pt x="100329" y="20573"/>
                  </a:lnTo>
                  <a:lnTo>
                    <a:pt x="103701" y="20573"/>
                  </a:lnTo>
                  <a:lnTo>
                    <a:pt x="103701" y="17281"/>
                  </a:lnTo>
                  <a:lnTo>
                    <a:pt x="103701" y="20573"/>
                  </a:lnTo>
                  <a:lnTo>
                    <a:pt x="107074" y="22219"/>
                  </a:lnTo>
                  <a:lnTo>
                    <a:pt x="108760" y="18927"/>
                  </a:lnTo>
                  <a:lnTo>
                    <a:pt x="108760" y="22219"/>
                  </a:lnTo>
                  <a:lnTo>
                    <a:pt x="112132" y="22219"/>
                  </a:lnTo>
                  <a:lnTo>
                    <a:pt x="113819" y="18927"/>
                  </a:lnTo>
                  <a:lnTo>
                    <a:pt x="112132" y="22219"/>
                  </a:lnTo>
                  <a:lnTo>
                    <a:pt x="120564" y="23864"/>
                  </a:lnTo>
                  <a:lnTo>
                    <a:pt x="122250" y="18927"/>
                  </a:lnTo>
                  <a:lnTo>
                    <a:pt x="120564" y="23864"/>
                  </a:lnTo>
                  <a:lnTo>
                    <a:pt x="125622" y="25510"/>
                  </a:lnTo>
                  <a:lnTo>
                    <a:pt x="125622" y="22219"/>
                  </a:lnTo>
                  <a:lnTo>
                    <a:pt x="125622" y="25510"/>
                  </a:lnTo>
                  <a:lnTo>
                    <a:pt x="130681" y="25510"/>
                  </a:lnTo>
                  <a:lnTo>
                    <a:pt x="130681" y="22219"/>
                  </a:lnTo>
                  <a:lnTo>
                    <a:pt x="130681" y="25510"/>
                  </a:lnTo>
                  <a:lnTo>
                    <a:pt x="134053" y="25510"/>
                  </a:lnTo>
                  <a:lnTo>
                    <a:pt x="130681" y="30448"/>
                  </a:lnTo>
                  <a:lnTo>
                    <a:pt x="130681" y="35385"/>
                  </a:lnTo>
                  <a:lnTo>
                    <a:pt x="134053" y="33740"/>
                  </a:lnTo>
                  <a:lnTo>
                    <a:pt x="132367" y="35385"/>
                  </a:lnTo>
                  <a:lnTo>
                    <a:pt x="139112" y="33740"/>
                  </a:lnTo>
                  <a:lnTo>
                    <a:pt x="139112" y="27156"/>
                  </a:lnTo>
                  <a:lnTo>
                    <a:pt x="142485" y="41969"/>
                  </a:lnTo>
                  <a:lnTo>
                    <a:pt x="152602" y="45261"/>
                  </a:lnTo>
                  <a:lnTo>
                    <a:pt x="149229" y="41969"/>
                  </a:lnTo>
                  <a:lnTo>
                    <a:pt x="152602" y="45261"/>
                  </a:lnTo>
                  <a:lnTo>
                    <a:pt x="154288" y="51844"/>
                  </a:lnTo>
                  <a:lnTo>
                    <a:pt x="152602" y="45261"/>
                  </a:lnTo>
                  <a:lnTo>
                    <a:pt x="149229" y="45261"/>
                  </a:lnTo>
                  <a:lnTo>
                    <a:pt x="157661" y="71595"/>
                  </a:lnTo>
                  <a:lnTo>
                    <a:pt x="154288" y="69949"/>
                  </a:lnTo>
                  <a:lnTo>
                    <a:pt x="155974" y="73240"/>
                  </a:lnTo>
                  <a:lnTo>
                    <a:pt x="155974" y="74886"/>
                  </a:lnTo>
                  <a:lnTo>
                    <a:pt x="159347" y="73240"/>
                  </a:lnTo>
                  <a:lnTo>
                    <a:pt x="161033" y="74886"/>
                  </a:lnTo>
                  <a:lnTo>
                    <a:pt x="159347" y="78178"/>
                  </a:lnTo>
                  <a:lnTo>
                    <a:pt x="171150" y="99574"/>
                  </a:lnTo>
                  <a:lnTo>
                    <a:pt x="181268" y="111095"/>
                  </a:lnTo>
                  <a:lnTo>
                    <a:pt x="225110" y="116033"/>
                  </a:lnTo>
                  <a:lnTo>
                    <a:pt x="226796" y="109449"/>
                  </a:lnTo>
                  <a:lnTo>
                    <a:pt x="223423" y="107803"/>
                  </a:lnTo>
                  <a:lnTo>
                    <a:pt x="241972" y="111095"/>
                  </a:lnTo>
                  <a:lnTo>
                    <a:pt x="236913" y="111095"/>
                  </a:lnTo>
                  <a:lnTo>
                    <a:pt x="236913" y="117679"/>
                  </a:lnTo>
                  <a:lnTo>
                    <a:pt x="238599" y="119324"/>
                  </a:lnTo>
                  <a:lnTo>
                    <a:pt x="252089" y="127554"/>
                  </a:lnTo>
                  <a:lnTo>
                    <a:pt x="250403" y="132491"/>
                  </a:lnTo>
                  <a:lnTo>
                    <a:pt x="253775" y="125908"/>
                  </a:lnTo>
                  <a:lnTo>
                    <a:pt x="260520" y="134137"/>
                  </a:lnTo>
                  <a:lnTo>
                    <a:pt x="258834" y="135783"/>
                  </a:lnTo>
                  <a:lnTo>
                    <a:pt x="262206" y="134137"/>
                  </a:lnTo>
                  <a:lnTo>
                    <a:pt x="274010" y="142367"/>
                  </a:lnTo>
                  <a:lnTo>
                    <a:pt x="274010" y="147304"/>
                  </a:lnTo>
                  <a:lnTo>
                    <a:pt x="275696" y="142367"/>
                  </a:lnTo>
                  <a:lnTo>
                    <a:pt x="280755" y="145658"/>
                  </a:lnTo>
                  <a:lnTo>
                    <a:pt x="284127" y="148950"/>
                  </a:lnTo>
                  <a:lnTo>
                    <a:pt x="279069" y="153888"/>
                  </a:lnTo>
                  <a:lnTo>
                    <a:pt x="284127" y="148950"/>
                  </a:lnTo>
                  <a:lnTo>
                    <a:pt x="287500" y="153888"/>
                  </a:lnTo>
                  <a:lnTo>
                    <a:pt x="284127" y="157179"/>
                  </a:lnTo>
                  <a:lnTo>
                    <a:pt x="287500" y="153888"/>
                  </a:lnTo>
                  <a:lnTo>
                    <a:pt x="299303" y="167055"/>
                  </a:lnTo>
                  <a:lnTo>
                    <a:pt x="304362" y="178575"/>
                  </a:lnTo>
                  <a:lnTo>
                    <a:pt x="314479" y="190097"/>
                  </a:lnTo>
                  <a:lnTo>
                    <a:pt x="319538" y="193388"/>
                  </a:lnTo>
                  <a:lnTo>
                    <a:pt x="316166" y="190097"/>
                  </a:lnTo>
                  <a:lnTo>
                    <a:pt x="314479" y="188451"/>
                  </a:lnTo>
                  <a:lnTo>
                    <a:pt x="316166" y="188451"/>
                  </a:lnTo>
                  <a:lnTo>
                    <a:pt x="327969" y="198326"/>
                  </a:lnTo>
                  <a:lnTo>
                    <a:pt x="336400" y="199972"/>
                  </a:lnTo>
                  <a:lnTo>
                    <a:pt x="334714" y="204910"/>
                  </a:lnTo>
                  <a:lnTo>
                    <a:pt x="334714" y="201618"/>
                  </a:lnTo>
                  <a:lnTo>
                    <a:pt x="336400" y="203264"/>
                  </a:lnTo>
                  <a:lnTo>
                    <a:pt x="336400" y="199972"/>
                  </a:lnTo>
                  <a:lnTo>
                    <a:pt x="327969" y="198326"/>
                  </a:lnTo>
                  <a:lnTo>
                    <a:pt x="324597" y="195034"/>
                  </a:lnTo>
                  <a:lnTo>
                    <a:pt x="334714" y="195034"/>
                  </a:lnTo>
                  <a:lnTo>
                    <a:pt x="339773" y="198326"/>
                  </a:lnTo>
                  <a:lnTo>
                    <a:pt x="334714" y="195034"/>
                  </a:lnTo>
                  <a:lnTo>
                    <a:pt x="338087" y="195034"/>
                  </a:lnTo>
                  <a:lnTo>
                    <a:pt x="329655" y="195034"/>
                  </a:lnTo>
                  <a:lnTo>
                    <a:pt x="326283" y="193388"/>
                  </a:lnTo>
                  <a:lnTo>
                    <a:pt x="326283" y="191742"/>
                  </a:lnTo>
                  <a:lnTo>
                    <a:pt x="341459" y="193388"/>
                  </a:lnTo>
                  <a:lnTo>
                    <a:pt x="349890" y="203264"/>
                  </a:lnTo>
                  <a:lnTo>
                    <a:pt x="348204" y="199972"/>
                  </a:lnTo>
                  <a:lnTo>
                    <a:pt x="354949" y="199972"/>
                  </a:lnTo>
                  <a:lnTo>
                    <a:pt x="346518" y="199972"/>
                  </a:lnTo>
                  <a:lnTo>
                    <a:pt x="346518" y="195034"/>
                  </a:lnTo>
                  <a:lnTo>
                    <a:pt x="353263" y="195034"/>
                  </a:lnTo>
                  <a:lnTo>
                    <a:pt x="348204" y="193388"/>
                  </a:lnTo>
                  <a:lnTo>
                    <a:pt x="351576" y="188451"/>
                  </a:lnTo>
                  <a:lnTo>
                    <a:pt x="354949" y="190097"/>
                  </a:lnTo>
                  <a:lnTo>
                    <a:pt x="354949" y="188451"/>
                  </a:lnTo>
                  <a:lnTo>
                    <a:pt x="344831" y="195034"/>
                  </a:lnTo>
                  <a:lnTo>
                    <a:pt x="341459" y="191742"/>
                  </a:lnTo>
                  <a:lnTo>
                    <a:pt x="346518" y="190097"/>
                  </a:lnTo>
                  <a:lnTo>
                    <a:pt x="344831" y="190097"/>
                  </a:lnTo>
                  <a:lnTo>
                    <a:pt x="346518" y="183513"/>
                  </a:lnTo>
                  <a:lnTo>
                    <a:pt x="341459" y="191742"/>
                  </a:lnTo>
                  <a:lnTo>
                    <a:pt x="334714" y="193388"/>
                  </a:lnTo>
                  <a:lnTo>
                    <a:pt x="334714" y="188451"/>
                  </a:lnTo>
                  <a:lnTo>
                    <a:pt x="339773" y="186805"/>
                  </a:lnTo>
                  <a:lnTo>
                    <a:pt x="333028" y="193388"/>
                  </a:lnTo>
                  <a:lnTo>
                    <a:pt x="329655" y="191742"/>
                  </a:lnTo>
                  <a:lnTo>
                    <a:pt x="334714" y="181867"/>
                  </a:lnTo>
                  <a:lnTo>
                    <a:pt x="331342" y="186805"/>
                  </a:lnTo>
                  <a:lnTo>
                    <a:pt x="331342" y="190097"/>
                  </a:lnTo>
                  <a:lnTo>
                    <a:pt x="321224" y="190097"/>
                  </a:lnTo>
                  <a:lnTo>
                    <a:pt x="319538" y="188451"/>
                  </a:lnTo>
                  <a:lnTo>
                    <a:pt x="322911" y="188451"/>
                  </a:lnTo>
                  <a:lnTo>
                    <a:pt x="324597" y="185159"/>
                  </a:lnTo>
                  <a:lnTo>
                    <a:pt x="322911" y="188451"/>
                  </a:lnTo>
                  <a:lnTo>
                    <a:pt x="322911" y="185159"/>
                  </a:lnTo>
                  <a:lnTo>
                    <a:pt x="319538" y="188451"/>
                  </a:lnTo>
                  <a:lnTo>
                    <a:pt x="311107" y="181867"/>
                  </a:lnTo>
                  <a:lnTo>
                    <a:pt x="324597" y="178575"/>
                  </a:lnTo>
                  <a:lnTo>
                    <a:pt x="331342" y="180221"/>
                  </a:lnTo>
                  <a:lnTo>
                    <a:pt x="321224" y="176930"/>
                  </a:lnTo>
                  <a:lnTo>
                    <a:pt x="319538" y="180221"/>
                  </a:lnTo>
                  <a:lnTo>
                    <a:pt x="311107" y="180221"/>
                  </a:lnTo>
                  <a:lnTo>
                    <a:pt x="311107" y="175284"/>
                  </a:lnTo>
                  <a:lnTo>
                    <a:pt x="314479" y="176930"/>
                  </a:lnTo>
                  <a:lnTo>
                    <a:pt x="311107" y="175284"/>
                  </a:lnTo>
                  <a:lnTo>
                    <a:pt x="309421" y="176930"/>
                  </a:lnTo>
                  <a:lnTo>
                    <a:pt x="309421" y="171992"/>
                  </a:lnTo>
                  <a:lnTo>
                    <a:pt x="319538" y="168700"/>
                  </a:lnTo>
                  <a:lnTo>
                    <a:pt x="319538" y="171992"/>
                  </a:lnTo>
                  <a:lnTo>
                    <a:pt x="319538" y="168700"/>
                  </a:lnTo>
                  <a:lnTo>
                    <a:pt x="327969" y="170346"/>
                  </a:lnTo>
                  <a:lnTo>
                    <a:pt x="327969" y="167055"/>
                  </a:lnTo>
                  <a:lnTo>
                    <a:pt x="336400" y="165409"/>
                  </a:lnTo>
                  <a:lnTo>
                    <a:pt x="333028" y="171992"/>
                  </a:lnTo>
                  <a:lnTo>
                    <a:pt x="338087" y="167055"/>
                  </a:lnTo>
                  <a:lnTo>
                    <a:pt x="341459" y="173638"/>
                  </a:lnTo>
                  <a:lnTo>
                    <a:pt x="338087" y="178575"/>
                  </a:lnTo>
                  <a:lnTo>
                    <a:pt x="341459" y="173638"/>
                  </a:lnTo>
                  <a:lnTo>
                    <a:pt x="344831" y="180221"/>
                  </a:lnTo>
                  <a:lnTo>
                    <a:pt x="344831" y="175284"/>
                  </a:lnTo>
                  <a:lnTo>
                    <a:pt x="354949" y="180221"/>
                  </a:lnTo>
                  <a:lnTo>
                    <a:pt x="344831" y="175284"/>
                  </a:lnTo>
                  <a:lnTo>
                    <a:pt x="349890" y="171992"/>
                  </a:lnTo>
                  <a:lnTo>
                    <a:pt x="344831" y="175284"/>
                  </a:lnTo>
                  <a:lnTo>
                    <a:pt x="343145" y="173638"/>
                  </a:lnTo>
                  <a:lnTo>
                    <a:pt x="333028" y="158825"/>
                  </a:lnTo>
                  <a:lnTo>
                    <a:pt x="334714" y="153888"/>
                  </a:lnTo>
                  <a:lnTo>
                    <a:pt x="343145" y="158825"/>
                  </a:lnTo>
                  <a:lnTo>
                    <a:pt x="348204" y="165409"/>
                  </a:lnTo>
                  <a:lnTo>
                    <a:pt x="344831" y="158825"/>
                  </a:lnTo>
                  <a:lnTo>
                    <a:pt x="353263" y="162117"/>
                  </a:lnTo>
                  <a:lnTo>
                    <a:pt x="353263" y="170346"/>
                  </a:lnTo>
                  <a:lnTo>
                    <a:pt x="360008" y="175284"/>
                  </a:lnTo>
                  <a:lnTo>
                    <a:pt x="358321" y="181867"/>
                  </a:lnTo>
                  <a:lnTo>
                    <a:pt x="361694" y="193388"/>
                  </a:lnTo>
                  <a:lnTo>
                    <a:pt x="358321" y="195034"/>
                  </a:lnTo>
                  <a:lnTo>
                    <a:pt x="358321" y="198326"/>
                  </a:lnTo>
                  <a:lnTo>
                    <a:pt x="358321" y="195034"/>
                  </a:lnTo>
                  <a:lnTo>
                    <a:pt x="361694" y="193388"/>
                  </a:lnTo>
                  <a:lnTo>
                    <a:pt x="360008" y="186805"/>
                  </a:lnTo>
                  <a:lnTo>
                    <a:pt x="363380" y="185159"/>
                  </a:lnTo>
                  <a:lnTo>
                    <a:pt x="365066" y="183513"/>
                  </a:lnTo>
                  <a:lnTo>
                    <a:pt x="368439" y="191742"/>
                  </a:lnTo>
                  <a:lnTo>
                    <a:pt x="366752" y="190097"/>
                  </a:lnTo>
                  <a:lnTo>
                    <a:pt x="370125" y="190097"/>
                  </a:lnTo>
                  <a:lnTo>
                    <a:pt x="366752" y="188451"/>
                  </a:lnTo>
                  <a:lnTo>
                    <a:pt x="366752" y="183513"/>
                  </a:lnTo>
                  <a:lnTo>
                    <a:pt x="360008" y="180221"/>
                  </a:lnTo>
                  <a:lnTo>
                    <a:pt x="370125" y="183513"/>
                  </a:lnTo>
                  <a:lnTo>
                    <a:pt x="361694" y="181867"/>
                  </a:lnTo>
                  <a:lnTo>
                    <a:pt x="366752" y="175284"/>
                  </a:lnTo>
                  <a:lnTo>
                    <a:pt x="376870" y="181867"/>
                  </a:lnTo>
                  <a:lnTo>
                    <a:pt x="375184" y="180221"/>
                  </a:lnTo>
                  <a:lnTo>
                    <a:pt x="378556" y="180221"/>
                  </a:lnTo>
                  <a:lnTo>
                    <a:pt x="375184" y="178575"/>
                  </a:lnTo>
                  <a:lnTo>
                    <a:pt x="378556" y="176930"/>
                  </a:lnTo>
                  <a:lnTo>
                    <a:pt x="373497" y="178575"/>
                  </a:lnTo>
                  <a:lnTo>
                    <a:pt x="370125" y="173638"/>
                  </a:lnTo>
                  <a:lnTo>
                    <a:pt x="361694" y="173638"/>
                  </a:lnTo>
                  <a:lnTo>
                    <a:pt x="358321" y="168700"/>
                  </a:lnTo>
                  <a:lnTo>
                    <a:pt x="360008" y="167055"/>
                  </a:lnTo>
                  <a:lnTo>
                    <a:pt x="363380" y="167055"/>
                  </a:lnTo>
                  <a:lnTo>
                    <a:pt x="360008" y="167055"/>
                  </a:lnTo>
                  <a:lnTo>
                    <a:pt x="356635" y="160471"/>
                  </a:lnTo>
                  <a:lnTo>
                    <a:pt x="368439" y="160471"/>
                  </a:lnTo>
                  <a:lnTo>
                    <a:pt x="370125" y="163763"/>
                  </a:lnTo>
                  <a:lnTo>
                    <a:pt x="368439" y="162117"/>
                  </a:lnTo>
                  <a:lnTo>
                    <a:pt x="373497" y="162117"/>
                  </a:lnTo>
                  <a:lnTo>
                    <a:pt x="370125" y="160471"/>
                  </a:lnTo>
                  <a:lnTo>
                    <a:pt x="376870" y="162117"/>
                  </a:lnTo>
                  <a:lnTo>
                    <a:pt x="378556" y="167055"/>
                  </a:lnTo>
                  <a:lnTo>
                    <a:pt x="383615" y="167055"/>
                  </a:lnTo>
                  <a:lnTo>
                    <a:pt x="381928" y="173638"/>
                  </a:lnTo>
                  <a:lnTo>
                    <a:pt x="386987" y="175284"/>
                  </a:lnTo>
                  <a:lnTo>
                    <a:pt x="385301" y="176930"/>
                  </a:lnTo>
                  <a:lnTo>
                    <a:pt x="386987" y="175284"/>
                  </a:lnTo>
                  <a:lnTo>
                    <a:pt x="390360" y="176930"/>
                  </a:lnTo>
                  <a:lnTo>
                    <a:pt x="381928" y="173638"/>
                  </a:lnTo>
                  <a:lnTo>
                    <a:pt x="383615" y="171992"/>
                  </a:lnTo>
                  <a:lnTo>
                    <a:pt x="386987" y="171992"/>
                  </a:lnTo>
                  <a:lnTo>
                    <a:pt x="383615" y="167055"/>
                  </a:lnTo>
                  <a:lnTo>
                    <a:pt x="397104" y="173638"/>
                  </a:lnTo>
                  <a:lnTo>
                    <a:pt x="380242" y="165409"/>
                  </a:lnTo>
                  <a:lnTo>
                    <a:pt x="380242" y="160471"/>
                  </a:lnTo>
                  <a:lnTo>
                    <a:pt x="386987" y="163763"/>
                  </a:lnTo>
                  <a:lnTo>
                    <a:pt x="383615" y="160471"/>
                  </a:lnTo>
                  <a:lnTo>
                    <a:pt x="375184" y="157179"/>
                  </a:lnTo>
                  <a:lnTo>
                    <a:pt x="354949" y="155533"/>
                  </a:lnTo>
                  <a:lnTo>
                    <a:pt x="361694" y="153888"/>
                  </a:lnTo>
                  <a:lnTo>
                    <a:pt x="351576" y="155533"/>
                  </a:lnTo>
                  <a:lnTo>
                    <a:pt x="346518" y="148950"/>
                  </a:lnTo>
                  <a:lnTo>
                    <a:pt x="356635" y="153888"/>
                  </a:lnTo>
                  <a:lnTo>
                    <a:pt x="360008" y="153888"/>
                  </a:lnTo>
                  <a:lnTo>
                    <a:pt x="354949" y="153888"/>
                  </a:lnTo>
                  <a:lnTo>
                    <a:pt x="351576" y="150596"/>
                  </a:lnTo>
                  <a:lnTo>
                    <a:pt x="363380" y="148950"/>
                  </a:lnTo>
                  <a:lnTo>
                    <a:pt x="370125" y="152242"/>
                  </a:lnTo>
                  <a:lnTo>
                    <a:pt x="386987" y="148950"/>
                  </a:lnTo>
                  <a:lnTo>
                    <a:pt x="386987" y="152242"/>
                  </a:lnTo>
                  <a:lnTo>
                    <a:pt x="388673" y="153888"/>
                  </a:lnTo>
                  <a:lnTo>
                    <a:pt x="386987" y="148950"/>
                  </a:lnTo>
                  <a:lnTo>
                    <a:pt x="390360" y="150596"/>
                  </a:lnTo>
                  <a:lnTo>
                    <a:pt x="395418" y="158825"/>
                  </a:lnTo>
                  <a:lnTo>
                    <a:pt x="392046" y="150596"/>
                  </a:lnTo>
                  <a:lnTo>
                    <a:pt x="395418" y="150596"/>
                  </a:lnTo>
                  <a:lnTo>
                    <a:pt x="398791" y="155533"/>
                  </a:lnTo>
                  <a:lnTo>
                    <a:pt x="403849" y="155533"/>
                  </a:lnTo>
                  <a:lnTo>
                    <a:pt x="403849" y="160471"/>
                  </a:lnTo>
                  <a:lnTo>
                    <a:pt x="402163" y="163763"/>
                  </a:lnTo>
                  <a:lnTo>
                    <a:pt x="408908" y="158825"/>
                  </a:lnTo>
                  <a:lnTo>
                    <a:pt x="405536" y="158825"/>
                  </a:lnTo>
                  <a:lnTo>
                    <a:pt x="403849" y="155533"/>
                  </a:lnTo>
                  <a:lnTo>
                    <a:pt x="392046" y="147304"/>
                  </a:lnTo>
                  <a:lnTo>
                    <a:pt x="395418" y="147304"/>
                  </a:lnTo>
                  <a:lnTo>
                    <a:pt x="405536" y="152242"/>
                  </a:lnTo>
                  <a:lnTo>
                    <a:pt x="397104" y="147304"/>
                  </a:lnTo>
                  <a:lnTo>
                    <a:pt x="380242" y="145658"/>
                  </a:lnTo>
                  <a:lnTo>
                    <a:pt x="376870" y="144013"/>
                  </a:lnTo>
                  <a:lnTo>
                    <a:pt x="378556" y="142367"/>
                  </a:lnTo>
                  <a:lnTo>
                    <a:pt x="373497" y="144013"/>
                  </a:lnTo>
                  <a:lnTo>
                    <a:pt x="368439" y="140721"/>
                  </a:lnTo>
                  <a:lnTo>
                    <a:pt x="368439" y="134137"/>
                  </a:lnTo>
                  <a:lnTo>
                    <a:pt x="373497" y="127554"/>
                  </a:lnTo>
                  <a:lnTo>
                    <a:pt x="386987" y="139075"/>
                  </a:lnTo>
                  <a:lnTo>
                    <a:pt x="393732" y="140721"/>
                  </a:lnTo>
                  <a:lnTo>
                    <a:pt x="385301" y="137429"/>
                  </a:lnTo>
                  <a:lnTo>
                    <a:pt x="381928" y="134137"/>
                  </a:lnTo>
                  <a:lnTo>
                    <a:pt x="388673" y="135783"/>
                  </a:lnTo>
                  <a:lnTo>
                    <a:pt x="402163" y="145658"/>
                  </a:lnTo>
                  <a:lnTo>
                    <a:pt x="410594" y="142367"/>
                  </a:lnTo>
                  <a:lnTo>
                    <a:pt x="429143" y="142367"/>
                  </a:lnTo>
                  <a:lnTo>
                    <a:pt x="425770" y="140721"/>
                  </a:lnTo>
                  <a:lnTo>
                    <a:pt x="413967" y="142367"/>
                  </a:lnTo>
                  <a:lnTo>
                    <a:pt x="412281" y="135783"/>
                  </a:lnTo>
                  <a:lnTo>
                    <a:pt x="413967" y="130845"/>
                  </a:lnTo>
                  <a:lnTo>
                    <a:pt x="417339" y="130845"/>
                  </a:lnTo>
                  <a:lnTo>
                    <a:pt x="413967" y="130845"/>
                  </a:lnTo>
                  <a:lnTo>
                    <a:pt x="410594" y="140721"/>
                  </a:lnTo>
                  <a:lnTo>
                    <a:pt x="402163" y="144013"/>
                  </a:lnTo>
                  <a:lnTo>
                    <a:pt x="397104" y="139075"/>
                  </a:lnTo>
                  <a:lnTo>
                    <a:pt x="402163" y="135783"/>
                  </a:lnTo>
                  <a:lnTo>
                    <a:pt x="397104" y="137429"/>
                  </a:lnTo>
                  <a:lnTo>
                    <a:pt x="397104" y="135783"/>
                  </a:lnTo>
                  <a:lnTo>
                    <a:pt x="402163" y="135783"/>
                  </a:lnTo>
                  <a:lnTo>
                    <a:pt x="408908" y="132491"/>
                  </a:lnTo>
                  <a:lnTo>
                    <a:pt x="403849" y="134137"/>
                  </a:lnTo>
                  <a:lnTo>
                    <a:pt x="405536" y="130845"/>
                  </a:lnTo>
                  <a:lnTo>
                    <a:pt x="403849" y="134137"/>
                  </a:lnTo>
                  <a:lnTo>
                    <a:pt x="405536" y="130845"/>
                  </a:lnTo>
                  <a:lnTo>
                    <a:pt x="402163" y="135783"/>
                  </a:lnTo>
                  <a:lnTo>
                    <a:pt x="398791" y="132491"/>
                  </a:lnTo>
                  <a:lnTo>
                    <a:pt x="393732" y="135783"/>
                  </a:lnTo>
                  <a:lnTo>
                    <a:pt x="381928" y="129200"/>
                  </a:lnTo>
                  <a:lnTo>
                    <a:pt x="388673" y="130845"/>
                  </a:lnTo>
                  <a:lnTo>
                    <a:pt x="378556" y="127554"/>
                  </a:lnTo>
                  <a:lnTo>
                    <a:pt x="383615" y="125908"/>
                  </a:lnTo>
                  <a:lnTo>
                    <a:pt x="378556" y="125908"/>
                  </a:lnTo>
                  <a:lnTo>
                    <a:pt x="376870" y="124262"/>
                  </a:lnTo>
                  <a:lnTo>
                    <a:pt x="378556" y="111095"/>
                  </a:lnTo>
                  <a:lnTo>
                    <a:pt x="376870" y="119324"/>
                  </a:lnTo>
                  <a:lnTo>
                    <a:pt x="378556" y="119324"/>
                  </a:lnTo>
                  <a:lnTo>
                    <a:pt x="378556" y="117679"/>
                  </a:lnTo>
                  <a:lnTo>
                    <a:pt x="381928" y="116033"/>
                  </a:lnTo>
                  <a:lnTo>
                    <a:pt x="381928" y="119324"/>
                  </a:lnTo>
                  <a:lnTo>
                    <a:pt x="381928" y="116033"/>
                  </a:lnTo>
                  <a:lnTo>
                    <a:pt x="376870" y="116033"/>
                  </a:lnTo>
                  <a:lnTo>
                    <a:pt x="380242" y="107803"/>
                  </a:lnTo>
                  <a:lnTo>
                    <a:pt x="380242" y="114387"/>
                  </a:lnTo>
                  <a:lnTo>
                    <a:pt x="380242" y="109449"/>
                  </a:lnTo>
                  <a:lnTo>
                    <a:pt x="381928" y="111095"/>
                  </a:lnTo>
                  <a:lnTo>
                    <a:pt x="380242" y="107803"/>
                  </a:lnTo>
                  <a:lnTo>
                    <a:pt x="383615" y="102866"/>
                  </a:lnTo>
                  <a:lnTo>
                    <a:pt x="386987" y="124262"/>
                  </a:lnTo>
                  <a:lnTo>
                    <a:pt x="386987" y="120971"/>
                  </a:lnTo>
                  <a:lnTo>
                    <a:pt x="393732" y="127554"/>
                  </a:lnTo>
                  <a:lnTo>
                    <a:pt x="392046" y="124262"/>
                  </a:lnTo>
                  <a:lnTo>
                    <a:pt x="395418" y="125908"/>
                  </a:lnTo>
                  <a:lnTo>
                    <a:pt x="392046" y="124262"/>
                  </a:lnTo>
                  <a:lnTo>
                    <a:pt x="388673" y="120971"/>
                  </a:lnTo>
                  <a:lnTo>
                    <a:pt x="386987" y="119324"/>
                  </a:lnTo>
                  <a:lnTo>
                    <a:pt x="392046" y="117679"/>
                  </a:lnTo>
                  <a:lnTo>
                    <a:pt x="393732" y="122616"/>
                  </a:lnTo>
                  <a:lnTo>
                    <a:pt x="392046" y="117679"/>
                  </a:lnTo>
                  <a:lnTo>
                    <a:pt x="393732" y="117679"/>
                  </a:lnTo>
                  <a:lnTo>
                    <a:pt x="403849" y="122616"/>
                  </a:lnTo>
                  <a:lnTo>
                    <a:pt x="395418" y="117679"/>
                  </a:lnTo>
                  <a:lnTo>
                    <a:pt x="403849" y="119324"/>
                  </a:lnTo>
                  <a:lnTo>
                    <a:pt x="403849" y="116033"/>
                  </a:lnTo>
                  <a:lnTo>
                    <a:pt x="407222" y="112741"/>
                  </a:lnTo>
                  <a:lnTo>
                    <a:pt x="402163" y="116033"/>
                  </a:lnTo>
                  <a:lnTo>
                    <a:pt x="403849" y="119324"/>
                  </a:lnTo>
                  <a:lnTo>
                    <a:pt x="398791" y="117679"/>
                  </a:lnTo>
                  <a:lnTo>
                    <a:pt x="402163" y="111095"/>
                  </a:lnTo>
                  <a:lnTo>
                    <a:pt x="398791" y="117679"/>
                  </a:lnTo>
                  <a:lnTo>
                    <a:pt x="386987" y="116033"/>
                  </a:lnTo>
                  <a:lnTo>
                    <a:pt x="392046" y="112741"/>
                  </a:lnTo>
                  <a:lnTo>
                    <a:pt x="398791" y="111095"/>
                  </a:lnTo>
                  <a:lnTo>
                    <a:pt x="386987" y="112741"/>
                  </a:lnTo>
                  <a:lnTo>
                    <a:pt x="386987" y="107803"/>
                  </a:lnTo>
                  <a:lnTo>
                    <a:pt x="390360" y="109449"/>
                  </a:lnTo>
                  <a:lnTo>
                    <a:pt x="386987" y="106158"/>
                  </a:lnTo>
                  <a:lnTo>
                    <a:pt x="393732" y="107803"/>
                  </a:lnTo>
                  <a:lnTo>
                    <a:pt x="390360" y="106158"/>
                  </a:lnTo>
                  <a:lnTo>
                    <a:pt x="397104" y="104512"/>
                  </a:lnTo>
                  <a:lnTo>
                    <a:pt x="390360" y="106158"/>
                  </a:lnTo>
                  <a:lnTo>
                    <a:pt x="386987" y="104512"/>
                  </a:lnTo>
                  <a:lnTo>
                    <a:pt x="395418" y="101220"/>
                  </a:lnTo>
                  <a:lnTo>
                    <a:pt x="386987" y="102866"/>
                  </a:lnTo>
                  <a:lnTo>
                    <a:pt x="388673" y="96282"/>
                  </a:lnTo>
                  <a:lnTo>
                    <a:pt x="393732" y="97928"/>
                  </a:lnTo>
                  <a:lnTo>
                    <a:pt x="390360" y="92991"/>
                  </a:lnTo>
                  <a:lnTo>
                    <a:pt x="395418" y="97928"/>
                  </a:lnTo>
                  <a:lnTo>
                    <a:pt x="392046" y="92991"/>
                  </a:lnTo>
                  <a:lnTo>
                    <a:pt x="393732" y="91345"/>
                  </a:lnTo>
                  <a:lnTo>
                    <a:pt x="397104" y="94637"/>
                  </a:lnTo>
                  <a:lnTo>
                    <a:pt x="395418" y="91345"/>
                  </a:lnTo>
                  <a:lnTo>
                    <a:pt x="398791" y="92991"/>
                  </a:lnTo>
                  <a:lnTo>
                    <a:pt x="395418" y="91345"/>
                  </a:lnTo>
                  <a:lnTo>
                    <a:pt x="398791" y="89699"/>
                  </a:lnTo>
                  <a:lnTo>
                    <a:pt x="412281" y="92991"/>
                  </a:lnTo>
                  <a:lnTo>
                    <a:pt x="402163" y="96282"/>
                  </a:lnTo>
                  <a:lnTo>
                    <a:pt x="405536" y="96282"/>
                  </a:lnTo>
                  <a:lnTo>
                    <a:pt x="402163" y="101220"/>
                  </a:lnTo>
                  <a:lnTo>
                    <a:pt x="402163" y="104512"/>
                  </a:lnTo>
                  <a:lnTo>
                    <a:pt x="402163" y="99574"/>
                  </a:lnTo>
                  <a:lnTo>
                    <a:pt x="407222" y="102866"/>
                  </a:lnTo>
                  <a:lnTo>
                    <a:pt x="403849" y="99574"/>
                  </a:lnTo>
                  <a:lnTo>
                    <a:pt x="405536" y="96282"/>
                  </a:lnTo>
                  <a:lnTo>
                    <a:pt x="412281" y="94637"/>
                  </a:lnTo>
                  <a:lnTo>
                    <a:pt x="412281" y="96282"/>
                  </a:lnTo>
                  <a:lnTo>
                    <a:pt x="415653" y="94637"/>
                  </a:lnTo>
                  <a:lnTo>
                    <a:pt x="415653" y="101220"/>
                  </a:lnTo>
                  <a:lnTo>
                    <a:pt x="417339" y="102866"/>
                  </a:lnTo>
                  <a:lnTo>
                    <a:pt x="417339" y="96282"/>
                  </a:lnTo>
                  <a:lnTo>
                    <a:pt x="422398" y="96282"/>
                  </a:lnTo>
                  <a:lnTo>
                    <a:pt x="430829" y="106158"/>
                  </a:lnTo>
                  <a:lnTo>
                    <a:pt x="425770" y="109449"/>
                  </a:lnTo>
                  <a:lnTo>
                    <a:pt x="417339" y="107803"/>
                  </a:lnTo>
                  <a:lnTo>
                    <a:pt x="425770" y="111095"/>
                  </a:lnTo>
                  <a:lnTo>
                    <a:pt x="415653" y="116033"/>
                  </a:lnTo>
                  <a:lnTo>
                    <a:pt x="413967" y="111095"/>
                  </a:lnTo>
                  <a:lnTo>
                    <a:pt x="413967" y="119324"/>
                  </a:lnTo>
                  <a:lnTo>
                    <a:pt x="410594" y="119324"/>
                  </a:lnTo>
                  <a:lnTo>
                    <a:pt x="413967" y="119324"/>
                  </a:lnTo>
                  <a:lnTo>
                    <a:pt x="412281" y="124262"/>
                  </a:lnTo>
                  <a:lnTo>
                    <a:pt x="415653" y="124262"/>
                  </a:lnTo>
                  <a:lnTo>
                    <a:pt x="417339" y="120971"/>
                  </a:lnTo>
                  <a:lnTo>
                    <a:pt x="413967" y="122616"/>
                  </a:lnTo>
                  <a:lnTo>
                    <a:pt x="415653" y="116033"/>
                  </a:lnTo>
                  <a:lnTo>
                    <a:pt x="427457" y="111095"/>
                  </a:lnTo>
                  <a:lnTo>
                    <a:pt x="424084" y="114387"/>
                  </a:lnTo>
                  <a:lnTo>
                    <a:pt x="425770" y="112741"/>
                  </a:lnTo>
                  <a:lnTo>
                    <a:pt x="425770" y="116033"/>
                  </a:lnTo>
                  <a:lnTo>
                    <a:pt x="427457" y="111095"/>
                  </a:lnTo>
                  <a:lnTo>
                    <a:pt x="429143" y="109449"/>
                  </a:lnTo>
                  <a:lnTo>
                    <a:pt x="429143" y="112741"/>
                  </a:lnTo>
                  <a:lnTo>
                    <a:pt x="429143" y="109449"/>
                  </a:lnTo>
                  <a:lnTo>
                    <a:pt x="432515" y="107803"/>
                  </a:lnTo>
                  <a:lnTo>
                    <a:pt x="434201" y="112741"/>
                  </a:lnTo>
                  <a:lnTo>
                    <a:pt x="427457" y="117679"/>
                  </a:lnTo>
                  <a:lnTo>
                    <a:pt x="427457" y="120971"/>
                  </a:lnTo>
                  <a:lnTo>
                    <a:pt x="422398" y="119324"/>
                  </a:lnTo>
                  <a:lnTo>
                    <a:pt x="425770" y="122616"/>
                  </a:lnTo>
                  <a:lnTo>
                    <a:pt x="424084" y="120971"/>
                  </a:lnTo>
                  <a:lnTo>
                    <a:pt x="427457" y="120971"/>
                  </a:lnTo>
                  <a:lnTo>
                    <a:pt x="430829" y="116033"/>
                  </a:lnTo>
                  <a:lnTo>
                    <a:pt x="435888" y="119324"/>
                  </a:lnTo>
                  <a:lnTo>
                    <a:pt x="437574" y="122616"/>
                  </a:lnTo>
                  <a:lnTo>
                    <a:pt x="434201" y="124262"/>
                  </a:lnTo>
                  <a:lnTo>
                    <a:pt x="437574" y="127554"/>
                  </a:lnTo>
                  <a:lnTo>
                    <a:pt x="430829" y="127554"/>
                  </a:lnTo>
                  <a:lnTo>
                    <a:pt x="434201" y="127554"/>
                  </a:lnTo>
                  <a:lnTo>
                    <a:pt x="432515" y="135783"/>
                  </a:lnTo>
                  <a:lnTo>
                    <a:pt x="435888" y="127554"/>
                  </a:lnTo>
                  <a:lnTo>
                    <a:pt x="439260" y="135783"/>
                  </a:lnTo>
                  <a:lnTo>
                    <a:pt x="437574" y="129200"/>
                  </a:lnTo>
                  <a:lnTo>
                    <a:pt x="444319" y="125908"/>
                  </a:lnTo>
                  <a:lnTo>
                    <a:pt x="442632" y="124262"/>
                  </a:lnTo>
                  <a:lnTo>
                    <a:pt x="457808" y="147304"/>
                  </a:lnTo>
                  <a:lnTo>
                    <a:pt x="449377" y="135783"/>
                  </a:lnTo>
                  <a:lnTo>
                    <a:pt x="447691" y="142367"/>
                  </a:lnTo>
                  <a:lnTo>
                    <a:pt x="444319" y="142367"/>
                  </a:lnTo>
                  <a:lnTo>
                    <a:pt x="447691" y="142367"/>
                  </a:lnTo>
                  <a:lnTo>
                    <a:pt x="444319" y="145658"/>
                  </a:lnTo>
                  <a:lnTo>
                    <a:pt x="440946" y="145658"/>
                  </a:lnTo>
                  <a:lnTo>
                    <a:pt x="442632" y="147304"/>
                  </a:lnTo>
                  <a:lnTo>
                    <a:pt x="439260" y="150596"/>
                  </a:lnTo>
                  <a:lnTo>
                    <a:pt x="435888" y="148950"/>
                  </a:lnTo>
                  <a:lnTo>
                    <a:pt x="440946" y="147304"/>
                  </a:lnTo>
                  <a:lnTo>
                    <a:pt x="437574" y="145658"/>
                  </a:lnTo>
                  <a:lnTo>
                    <a:pt x="432515" y="150596"/>
                  </a:lnTo>
                  <a:lnTo>
                    <a:pt x="434201" y="155533"/>
                  </a:lnTo>
                  <a:lnTo>
                    <a:pt x="410594" y="171992"/>
                  </a:lnTo>
                  <a:lnTo>
                    <a:pt x="437574" y="150596"/>
                  </a:lnTo>
                  <a:lnTo>
                    <a:pt x="444319" y="147304"/>
                  </a:lnTo>
                  <a:lnTo>
                    <a:pt x="446005" y="148950"/>
                  </a:lnTo>
                  <a:lnTo>
                    <a:pt x="449377" y="142367"/>
                  </a:lnTo>
                  <a:lnTo>
                    <a:pt x="454436" y="147304"/>
                  </a:lnTo>
                  <a:lnTo>
                    <a:pt x="454436" y="153888"/>
                  </a:lnTo>
                  <a:lnTo>
                    <a:pt x="459495" y="152242"/>
                  </a:lnTo>
                  <a:lnTo>
                    <a:pt x="466240" y="160471"/>
                  </a:lnTo>
                  <a:lnTo>
                    <a:pt x="356635" y="292140"/>
                  </a:lnTo>
                  <a:lnTo>
                    <a:pt x="238599" y="369496"/>
                  </a:lnTo>
                  <a:lnTo>
                    <a:pt x="216678" y="385954"/>
                  </a:lnTo>
                  <a:lnTo>
                    <a:pt x="206561" y="390892"/>
                  </a:lnTo>
                  <a:lnTo>
                    <a:pt x="208247" y="392538"/>
                  </a:lnTo>
                  <a:lnTo>
                    <a:pt x="196444" y="399121"/>
                  </a:lnTo>
                  <a:lnTo>
                    <a:pt x="193071" y="405705"/>
                  </a:lnTo>
                  <a:lnTo>
                    <a:pt x="159347" y="412288"/>
                  </a:lnTo>
                  <a:close/>
                  <a:moveTo>
                    <a:pt x="235227" y="117679"/>
                  </a:moveTo>
                  <a:lnTo>
                    <a:pt x="236913" y="111095"/>
                  </a:lnTo>
                  <a:lnTo>
                    <a:pt x="226796" y="109449"/>
                  </a:lnTo>
                  <a:lnTo>
                    <a:pt x="225110" y="116033"/>
                  </a:lnTo>
                  <a:lnTo>
                    <a:pt x="235227" y="117679"/>
                  </a:lnTo>
                  <a:close/>
                  <a:moveTo>
                    <a:pt x="46370" y="71595"/>
                  </a:moveTo>
                  <a:lnTo>
                    <a:pt x="54801" y="63365"/>
                  </a:lnTo>
                  <a:lnTo>
                    <a:pt x="51428" y="53490"/>
                  </a:lnTo>
                  <a:lnTo>
                    <a:pt x="44684" y="53490"/>
                  </a:lnTo>
                  <a:lnTo>
                    <a:pt x="39625" y="68303"/>
                  </a:lnTo>
                  <a:lnTo>
                    <a:pt x="46370" y="71595"/>
                  </a:lnTo>
                  <a:close/>
                  <a:moveTo>
                    <a:pt x="44684" y="53490"/>
                  </a:moveTo>
                  <a:lnTo>
                    <a:pt x="51428" y="53490"/>
                  </a:lnTo>
                  <a:lnTo>
                    <a:pt x="51428" y="48552"/>
                  </a:lnTo>
                  <a:lnTo>
                    <a:pt x="46370" y="48552"/>
                  </a:lnTo>
                  <a:lnTo>
                    <a:pt x="51428" y="48552"/>
                  </a:lnTo>
                  <a:lnTo>
                    <a:pt x="51428" y="41969"/>
                  </a:lnTo>
                  <a:lnTo>
                    <a:pt x="46370" y="41969"/>
                  </a:lnTo>
                  <a:lnTo>
                    <a:pt x="44684" y="5349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8" name="Beemster">
              <a:extLst>
                <a:ext uri="{FF2B5EF4-FFF2-40B4-BE49-F238E27FC236}">
                  <a16:creationId xmlns:a16="http://schemas.microsoft.com/office/drawing/2014/main" id="{DD05FA13-422C-46B3-BA9D-2D3F59E0A38C}"/>
                </a:ext>
              </a:extLst>
            </p:cNvPr>
            <p:cNvSpPr/>
            <p:nvPr/>
          </p:nvSpPr>
          <p:spPr>
            <a:xfrm>
              <a:off x="5665829" y="2681640"/>
              <a:ext cx="171701" cy="178201"/>
            </a:xfrm>
            <a:custGeom>
              <a:avLst/>
              <a:gdLst/>
              <a:ahLst/>
              <a:cxnLst/>
              <a:rect l="l" t="t" r="r" b="b"/>
              <a:pathLst>
                <a:path w="245871" h="251460" extrusionOk="0">
                  <a:moveTo>
                    <a:pt x="194757" y="20573"/>
                  </a:moveTo>
                  <a:lnTo>
                    <a:pt x="194757" y="30448"/>
                  </a:lnTo>
                  <a:lnTo>
                    <a:pt x="182954" y="37031"/>
                  </a:lnTo>
                  <a:lnTo>
                    <a:pt x="179582" y="40323"/>
                  </a:lnTo>
                  <a:lnTo>
                    <a:pt x="179582" y="55136"/>
                  </a:lnTo>
                  <a:lnTo>
                    <a:pt x="186326" y="69949"/>
                  </a:lnTo>
                  <a:lnTo>
                    <a:pt x="188013" y="84761"/>
                  </a:lnTo>
                  <a:lnTo>
                    <a:pt x="194757" y="84761"/>
                  </a:lnTo>
                  <a:lnTo>
                    <a:pt x="209934" y="74886"/>
                  </a:lnTo>
                  <a:lnTo>
                    <a:pt x="225110" y="69949"/>
                  </a:lnTo>
                  <a:lnTo>
                    <a:pt x="243658" y="81470"/>
                  </a:lnTo>
                  <a:lnTo>
                    <a:pt x="252089" y="97928"/>
                  </a:lnTo>
                  <a:lnTo>
                    <a:pt x="220051" y="130845"/>
                  </a:lnTo>
                  <a:lnTo>
                    <a:pt x="221737" y="150596"/>
                  </a:lnTo>
                  <a:lnTo>
                    <a:pt x="218365" y="160471"/>
                  </a:lnTo>
                  <a:lnTo>
                    <a:pt x="220051" y="167054"/>
                  </a:lnTo>
                  <a:lnTo>
                    <a:pt x="194757" y="198326"/>
                  </a:lnTo>
                  <a:lnTo>
                    <a:pt x="186326" y="239473"/>
                  </a:lnTo>
                  <a:lnTo>
                    <a:pt x="174523" y="249348"/>
                  </a:lnTo>
                  <a:lnTo>
                    <a:pt x="144171" y="252639"/>
                  </a:lnTo>
                  <a:lnTo>
                    <a:pt x="135740" y="249348"/>
                  </a:lnTo>
                  <a:lnTo>
                    <a:pt x="118877" y="237826"/>
                  </a:lnTo>
                  <a:lnTo>
                    <a:pt x="95270" y="236181"/>
                  </a:lnTo>
                  <a:lnTo>
                    <a:pt x="66604" y="229597"/>
                  </a:lnTo>
                  <a:lnTo>
                    <a:pt x="42997" y="218076"/>
                  </a:lnTo>
                  <a:lnTo>
                    <a:pt x="27821" y="218076"/>
                  </a:lnTo>
                  <a:lnTo>
                    <a:pt x="19390" y="213139"/>
                  </a:lnTo>
                  <a:lnTo>
                    <a:pt x="10959" y="203264"/>
                  </a:lnTo>
                  <a:lnTo>
                    <a:pt x="4214" y="183513"/>
                  </a:lnTo>
                  <a:lnTo>
                    <a:pt x="17704" y="171992"/>
                  </a:lnTo>
                  <a:lnTo>
                    <a:pt x="32880" y="145658"/>
                  </a:lnTo>
                  <a:lnTo>
                    <a:pt x="46370" y="127554"/>
                  </a:lnTo>
                  <a:lnTo>
                    <a:pt x="53115" y="99574"/>
                  </a:lnTo>
                  <a:lnTo>
                    <a:pt x="58173" y="94636"/>
                  </a:lnTo>
                  <a:lnTo>
                    <a:pt x="66604" y="91345"/>
                  </a:lnTo>
                  <a:lnTo>
                    <a:pt x="75036" y="84761"/>
                  </a:lnTo>
                  <a:lnTo>
                    <a:pt x="85153" y="69949"/>
                  </a:lnTo>
                  <a:lnTo>
                    <a:pt x="90211" y="50198"/>
                  </a:lnTo>
                  <a:lnTo>
                    <a:pt x="103701" y="33739"/>
                  </a:lnTo>
                  <a:lnTo>
                    <a:pt x="128995" y="15635"/>
                  </a:lnTo>
                  <a:lnTo>
                    <a:pt x="144171" y="18927"/>
                  </a:lnTo>
                  <a:lnTo>
                    <a:pt x="149229" y="25510"/>
                  </a:lnTo>
                  <a:lnTo>
                    <a:pt x="157661" y="22218"/>
                  </a:lnTo>
                  <a:lnTo>
                    <a:pt x="181268" y="4114"/>
                  </a:lnTo>
                  <a:lnTo>
                    <a:pt x="188013" y="7406"/>
                  </a:lnTo>
                  <a:lnTo>
                    <a:pt x="194757" y="2057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799" name="Leiden">
              <a:extLst>
                <a:ext uri="{FF2B5EF4-FFF2-40B4-BE49-F238E27FC236}">
                  <a16:creationId xmlns:a16="http://schemas.microsoft.com/office/drawing/2014/main" id="{48B081C1-8FEB-4626-B3D4-D020BEB929A6}"/>
                </a:ext>
              </a:extLst>
            </p:cNvPr>
            <p:cNvSpPr/>
            <p:nvPr/>
          </p:nvSpPr>
          <p:spPr>
            <a:xfrm>
              <a:off x="5245950" y="3368722"/>
              <a:ext cx="86038" cy="109661"/>
            </a:xfrm>
            <a:custGeom>
              <a:avLst/>
              <a:gdLst/>
              <a:ahLst/>
              <a:cxnLst/>
              <a:rect l="l" t="t" r="r" b="b"/>
              <a:pathLst>
                <a:path w="128789" h="160020" extrusionOk="0">
                  <a:moveTo>
                    <a:pt x="123936" y="25510"/>
                  </a:moveTo>
                  <a:lnTo>
                    <a:pt x="125622" y="28802"/>
                  </a:lnTo>
                  <a:lnTo>
                    <a:pt x="120564" y="37031"/>
                  </a:lnTo>
                  <a:lnTo>
                    <a:pt x="122250" y="50198"/>
                  </a:lnTo>
                  <a:lnTo>
                    <a:pt x="118877" y="61719"/>
                  </a:lnTo>
                  <a:lnTo>
                    <a:pt x="128995" y="71594"/>
                  </a:lnTo>
                  <a:lnTo>
                    <a:pt x="132367" y="94636"/>
                  </a:lnTo>
                  <a:lnTo>
                    <a:pt x="120564" y="101220"/>
                  </a:lnTo>
                  <a:lnTo>
                    <a:pt x="112133" y="109449"/>
                  </a:lnTo>
                  <a:lnTo>
                    <a:pt x="115505" y="112741"/>
                  </a:lnTo>
                  <a:lnTo>
                    <a:pt x="54801" y="162117"/>
                  </a:lnTo>
                  <a:lnTo>
                    <a:pt x="54801" y="150596"/>
                  </a:lnTo>
                  <a:lnTo>
                    <a:pt x="48056" y="139075"/>
                  </a:lnTo>
                  <a:lnTo>
                    <a:pt x="44684" y="137429"/>
                  </a:lnTo>
                  <a:lnTo>
                    <a:pt x="42997" y="144012"/>
                  </a:lnTo>
                  <a:lnTo>
                    <a:pt x="41311" y="142367"/>
                  </a:lnTo>
                  <a:lnTo>
                    <a:pt x="49742" y="125908"/>
                  </a:lnTo>
                  <a:lnTo>
                    <a:pt x="46370" y="119324"/>
                  </a:lnTo>
                  <a:lnTo>
                    <a:pt x="44684" y="88053"/>
                  </a:lnTo>
                  <a:lnTo>
                    <a:pt x="34566" y="88053"/>
                  </a:lnTo>
                  <a:lnTo>
                    <a:pt x="19390" y="107803"/>
                  </a:lnTo>
                  <a:lnTo>
                    <a:pt x="12645" y="109449"/>
                  </a:lnTo>
                  <a:lnTo>
                    <a:pt x="10959" y="96282"/>
                  </a:lnTo>
                  <a:lnTo>
                    <a:pt x="4214" y="74886"/>
                  </a:lnTo>
                  <a:lnTo>
                    <a:pt x="19390" y="56781"/>
                  </a:lnTo>
                  <a:lnTo>
                    <a:pt x="27821" y="35385"/>
                  </a:lnTo>
                  <a:lnTo>
                    <a:pt x="46370" y="38677"/>
                  </a:lnTo>
                  <a:lnTo>
                    <a:pt x="49742" y="30448"/>
                  </a:lnTo>
                  <a:lnTo>
                    <a:pt x="64918" y="15635"/>
                  </a:lnTo>
                  <a:lnTo>
                    <a:pt x="78408" y="22218"/>
                  </a:lnTo>
                  <a:lnTo>
                    <a:pt x="78408" y="18926"/>
                  </a:lnTo>
                  <a:lnTo>
                    <a:pt x="85153" y="25510"/>
                  </a:lnTo>
                  <a:lnTo>
                    <a:pt x="91898" y="15635"/>
                  </a:lnTo>
                  <a:lnTo>
                    <a:pt x="93584" y="5760"/>
                  </a:lnTo>
                  <a:lnTo>
                    <a:pt x="103701" y="4114"/>
                  </a:lnTo>
                  <a:lnTo>
                    <a:pt x="125622" y="9052"/>
                  </a:lnTo>
                  <a:lnTo>
                    <a:pt x="123936" y="25510"/>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0" name="Lopik">
              <a:extLst>
                <a:ext uri="{FF2B5EF4-FFF2-40B4-BE49-F238E27FC236}">
                  <a16:creationId xmlns:a16="http://schemas.microsoft.com/office/drawing/2014/main" id="{B33165CA-6FBD-4FA7-BD3E-0FE0295B26D1}"/>
                </a:ext>
              </a:extLst>
            </p:cNvPr>
            <p:cNvSpPr/>
            <p:nvPr/>
          </p:nvSpPr>
          <p:spPr>
            <a:xfrm>
              <a:off x="5647490" y="3638612"/>
              <a:ext cx="237939" cy="147898"/>
            </a:xfrm>
            <a:custGeom>
              <a:avLst/>
              <a:gdLst/>
              <a:ahLst/>
              <a:cxnLst/>
              <a:rect l="l" t="t" r="r" b="b"/>
              <a:pathLst>
                <a:path w="351245" h="217170" extrusionOk="0">
                  <a:moveTo>
                    <a:pt x="289186" y="4114"/>
                  </a:moveTo>
                  <a:lnTo>
                    <a:pt x="311107" y="56782"/>
                  </a:lnTo>
                  <a:lnTo>
                    <a:pt x="322911" y="53490"/>
                  </a:lnTo>
                  <a:lnTo>
                    <a:pt x="341459" y="74886"/>
                  </a:lnTo>
                  <a:lnTo>
                    <a:pt x="339773" y="78178"/>
                  </a:lnTo>
                  <a:lnTo>
                    <a:pt x="353262" y="88053"/>
                  </a:lnTo>
                  <a:lnTo>
                    <a:pt x="322911" y="114387"/>
                  </a:lnTo>
                  <a:lnTo>
                    <a:pt x="312793" y="135783"/>
                  </a:lnTo>
                  <a:lnTo>
                    <a:pt x="307735" y="140721"/>
                  </a:lnTo>
                  <a:lnTo>
                    <a:pt x="295931" y="140721"/>
                  </a:lnTo>
                  <a:lnTo>
                    <a:pt x="262207" y="119324"/>
                  </a:lnTo>
                  <a:lnTo>
                    <a:pt x="255462" y="119324"/>
                  </a:lnTo>
                  <a:lnTo>
                    <a:pt x="240286" y="129200"/>
                  </a:lnTo>
                  <a:lnTo>
                    <a:pt x="220051" y="155534"/>
                  </a:lnTo>
                  <a:lnTo>
                    <a:pt x="209934" y="163763"/>
                  </a:lnTo>
                  <a:lnTo>
                    <a:pt x="199816" y="163763"/>
                  </a:lnTo>
                  <a:lnTo>
                    <a:pt x="179582" y="153888"/>
                  </a:lnTo>
                  <a:lnTo>
                    <a:pt x="166092" y="153888"/>
                  </a:lnTo>
                  <a:lnTo>
                    <a:pt x="157661" y="160471"/>
                  </a:lnTo>
                  <a:lnTo>
                    <a:pt x="142485" y="188451"/>
                  </a:lnTo>
                  <a:lnTo>
                    <a:pt x="130681" y="203264"/>
                  </a:lnTo>
                  <a:lnTo>
                    <a:pt x="69977" y="214785"/>
                  </a:lnTo>
                  <a:lnTo>
                    <a:pt x="61546" y="175284"/>
                  </a:lnTo>
                  <a:lnTo>
                    <a:pt x="44684" y="142367"/>
                  </a:lnTo>
                  <a:lnTo>
                    <a:pt x="24449" y="124262"/>
                  </a:lnTo>
                  <a:lnTo>
                    <a:pt x="22763" y="125908"/>
                  </a:lnTo>
                  <a:lnTo>
                    <a:pt x="4214" y="99574"/>
                  </a:lnTo>
                  <a:lnTo>
                    <a:pt x="120564" y="38677"/>
                  </a:lnTo>
                  <a:lnTo>
                    <a:pt x="135740" y="41969"/>
                  </a:lnTo>
                  <a:lnTo>
                    <a:pt x="189699" y="23864"/>
                  </a:lnTo>
                  <a:lnTo>
                    <a:pt x="228482" y="15635"/>
                  </a:lnTo>
                  <a:lnTo>
                    <a:pt x="247031" y="15635"/>
                  </a:lnTo>
                  <a:lnTo>
                    <a:pt x="289186"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1" name="Enschede">
              <a:extLst>
                <a:ext uri="{FF2B5EF4-FFF2-40B4-BE49-F238E27FC236}">
                  <a16:creationId xmlns:a16="http://schemas.microsoft.com/office/drawing/2014/main" id="{628087A7-2269-4669-B5C4-4306904800B3}"/>
                </a:ext>
              </a:extLst>
            </p:cNvPr>
            <p:cNvSpPr/>
            <p:nvPr/>
          </p:nvSpPr>
          <p:spPr>
            <a:xfrm>
              <a:off x="7667029" y="3200080"/>
              <a:ext cx="226134" cy="204575"/>
            </a:xfrm>
            <a:custGeom>
              <a:avLst/>
              <a:gdLst/>
              <a:ahLst/>
              <a:cxnLst/>
              <a:rect l="l" t="t" r="r" b="b"/>
              <a:pathLst>
                <a:path w="339536" h="308610" extrusionOk="0">
                  <a:moveTo>
                    <a:pt x="236913" y="4114"/>
                  </a:moveTo>
                  <a:lnTo>
                    <a:pt x="240285" y="12343"/>
                  </a:lnTo>
                  <a:lnTo>
                    <a:pt x="247030" y="9052"/>
                  </a:lnTo>
                  <a:lnTo>
                    <a:pt x="280755" y="7405"/>
                  </a:lnTo>
                  <a:lnTo>
                    <a:pt x="324597" y="46906"/>
                  </a:lnTo>
                  <a:lnTo>
                    <a:pt x="331341" y="92991"/>
                  </a:lnTo>
                  <a:lnTo>
                    <a:pt x="329656" y="102866"/>
                  </a:lnTo>
                  <a:lnTo>
                    <a:pt x="319538" y="120970"/>
                  </a:lnTo>
                  <a:lnTo>
                    <a:pt x="321224" y="135783"/>
                  </a:lnTo>
                  <a:lnTo>
                    <a:pt x="344831" y="158825"/>
                  </a:lnTo>
                  <a:lnTo>
                    <a:pt x="341459" y="180221"/>
                  </a:lnTo>
                  <a:lnTo>
                    <a:pt x="326283" y="214785"/>
                  </a:lnTo>
                  <a:lnTo>
                    <a:pt x="317852" y="223014"/>
                  </a:lnTo>
                  <a:lnTo>
                    <a:pt x="319538" y="231243"/>
                  </a:lnTo>
                  <a:lnTo>
                    <a:pt x="299303" y="257577"/>
                  </a:lnTo>
                  <a:lnTo>
                    <a:pt x="275696" y="262514"/>
                  </a:lnTo>
                  <a:lnTo>
                    <a:pt x="248717" y="265806"/>
                  </a:lnTo>
                  <a:lnTo>
                    <a:pt x="236913" y="269098"/>
                  </a:lnTo>
                  <a:lnTo>
                    <a:pt x="233541" y="274035"/>
                  </a:lnTo>
                  <a:lnTo>
                    <a:pt x="233541" y="283911"/>
                  </a:lnTo>
                  <a:lnTo>
                    <a:pt x="209934" y="305307"/>
                  </a:lnTo>
                  <a:lnTo>
                    <a:pt x="179581" y="302015"/>
                  </a:lnTo>
                  <a:lnTo>
                    <a:pt x="115505" y="283911"/>
                  </a:lnTo>
                  <a:lnTo>
                    <a:pt x="95270" y="283911"/>
                  </a:lnTo>
                  <a:lnTo>
                    <a:pt x="81780" y="295432"/>
                  </a:lnTo>
                  <a:lnTo>
                    <a:pt x="54801" y="272390"/>
                  </a:lnTo>
                  <a:lnTo>
                    <a:pt x="21076" y="237827"/>
                  </a:lnTo>
                  <a:lnTo>
                    <a:pt x="19390" y="208201"/>
                  </a:lnTo>
                  <a:lnTo>
                    <a:pt x="9273" y="191742"/>
                  </a:lnTo>
                  <a:lnTo>
                    <a:pt x="4214" y="173638"/>
                  </a:lnTo>
                  <a:lnTo>
                    <a:pt x="22763" y="150596"/>
                  </a:lnTo>
                  <a:lnTo>
                    <a:pt x="17704" y="135783"/>
                  </a:lnTo>
                  <a:lnTo>
                    <a:pt x="31194" y="122616"/>
                  </a:lnTo>
                  <a:lnTo>
                    <a:pt x="90211" y="142367"/>
                  </a:lnTo>
                  <a:lnTo>
                    <a:pt x="98643" y="109449"/>
                  </a:lnTo>
                  <a:lnTo>
                    <a:pt x="110446" y="97928"/>
                  </a:lnTo>
                  <a:lnTo>
                    <a:pt x="134053" y="83115"/>
                  </a:lnTo>
                  <a:lnTo>
                    <a:pt x="128995" y="66657"/>
                  </a:lnTo>
                  <a:lnTo>
                    <a:pt x="134053" y="60073"/>
                  </a:lnTo>
                  <a:lnTo>
                    <a:pt x="134053" y="51844"/>
                  </a:lnTo>
                  <a:lnTo>
                    <a:pt x="115505" y="37031"/>
                  </a:lnTo>
                  <a:lnTo>
                    <a:pt x="125622" y="28802"/>
                  </a:lnTo>
                  <a:lnTo>
                    <a:pt x="171150" y="37031"/>
                  </a:lnTo>
                  <a:lnTo>
                    <a:pt x="184640" y="32094"/>
                  </a:lnTo>
                  <a:lnTo>
                    <a:pt x="191385" y="20573"/>
                  </a:lnTo>
                  <a:lnTo>
                    <a:pt x="188012" y="15635"/>
                  </a:lnTo>
                  <a:lnTo>
                    <a:pt x="193071" y="13989"/>
                  </a:lnTo>
                  <a:lnTo>
                    <a:pt x="193071" y="10697"/>
                  </a:lnTo>
                  <a:lnTo>
                    <a:pt x="199816" y="10697"/>
                  </a:lnTo>
                  <a:lnTo>
                    <a:pt x="203188" y="15635"/>
                  </a:lnTo>
                  <a:lnTo>
                    <a:pt x="204875" y="13989"/>
                  </a:lnTo>
                  <a:lnTo>
                    <a:pt x="211620" y="9052"/>
                  </a:lnTo>
                  <a:lnTo>
                    <a:pt x="236913"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2" name="Midden-Drenthe">
              <a:extLst>
                <a:ext uri="{FF2B5EF4-FFF2-40B4-BE49-F238E27FC236}">
                  <a16:creationId xmlns:a16="http://schemas.microsoft.com/office/drawing/2014/main" id="{A0949E77-B33C-428A-95DB-B2A3F534C5DA}"/>
                </a:ext>
              </a:extLst>
            </p:cNvPr>
            <p:cNvSpPr/>
            <p:nvPr/>
          </p:nvSpPr>
          <p:spPr>
            <a:xfrm>
              <a:off x="7228768" y="2032121"/>
              <a:ext cx="381499" cy="426550"/>
            </a:xfrm>
            <a:custGeom>
              <a:avLst/>
              <a:gdLst/>
              <a:ahLst/>
              <a:cxnLst/>
              <a:rect l="l" t="t" r="r" b="b"/>
              <a:pathLst>
                <a:path w="561992" h="651510" extrusionOk="0">
                  <a:moveTo>
                    <a:pt x="193071" y="4114"/>
                  </a:moveTo>
                  <a:lnTo>
                    <a:pt x="199816" y="33739"/>
                  </a:lnTo>
                  <a:lnTo>
                    <a:pt x="208247" y="32094"/>
                  </a:lnTo>
                  <a:lnTo>
                    <a:pt x="201503" y="35385"/>
                  </a:lnTo>
                  <a:lnTo>
                    <a:pt x="209934" y="40323"/>
                  </a:lnTo>
                  <a:lnTo>
                    <a:pt x="199816" y="55136"/>
                  </a:lnTo>
                  <a:lnTo>
                    <a:pt x="206561" y="58427"/>
                  </a:lnTo>
                  <a:lnTo>
                    <a:pt x="189699" y="83115"/>
                  </a:lnTo>
                  <a:lnTo>
                    <a:pt x="204875" y="92991"/>
                  </a:lnTo>
                  <a:lnTo>
                    <a:pt x="193071" y="111095"/>
                  </a:lnTo>
                  <a:lnTo>
                    <a:pt x="203189" y="117679"/>
                  </a:lnTo>
                  <a:lnTo>
                    <a:pt x="188013" y="137429"/>
                  </a:lnTo>
                  <a:lnTo>
                    <a:pt x="196444" y="142367"/>
                  </a:lnTo>
                  <a:lnTo>
                    <a:pt x="198130" y="140721"/>
                  </a:lnTo>
                  <a:lnTo>
                    <a:pt x="201503" y="142367"/>
                  </a:lnTo>
                  <a:lnTo>
                    <a:pt x="208247" y="134137"/>
                  </a:lnTo>
                  <a:lnTo>
                    <a:pt x="241972" y="153888"/>
                  </a:lnTo>
                  <a:lnTo>
                    <a:pt x="238599" y="162117"/>
                  </a:lnTo>
                  <a:lnTo>
                    <a:pt x="253776" y="171992"/>
                  </a:lnTo>
                  <a:lnTo>
                    <a:pt x="258834" y="171992"/>
                  </a:lnTo>
                  <a:lnTo>
                    <a:pt x="258834" y="176930"/>
                  </a:lnTo>
                  <a:lnTo>
                    <a:pt x="262207" y="175284"/>
                  </a:lnTo>
                  <a:lnTo>
                    <a:pt x="267265" y="178576"/>
                  </a:lnTo>
                  <a:lnTo>
                    <a:pt x="268951" y="152242"/>
                  </a:lnTo>
                  <a:lnTo>
                    <a:pt x="275696" y="124262"/>
                  </a:lnTo>
                  <a:lnTo>
                    <a:pt x="309421" y="148950"/>
                  </a:lnTo>
                  <a:lnTo>
                    <a:pt x="341459" y="209847"/>
                  </a:lnTo>
                  <a:lnTo>
                    <a:pt x="385301" y="211493"/>
                  </a:lnTo>
                  <a:lnTo>
                    <a:pt x="402163" y="224660"/>
                  </a:lnTo>
                  <a:lnTo>
                    <a:pt x="462867" y="231243"/>
                  </a:lnTo>
                  <a:lnTo>
                    <a:pt x="476357" y="242764"/>
                  </a:lnTo>
                  <a:lnTo>
                    <a:pt x="494906" y="313536"/>
                  </a:lnTo>
                  <a:lnTo>
                    <a:pt x="547179" y="334933"/>
                  </a:lnTo>
                  <a:lnTo>
                    <a:pt x="545492" y="346453"/>
                  </a:lnTo>
                  <a:lnTo>
                    <a:pt x="558982" y="364558"/>
                  </a:lnTo>
                  <a:lnTo>
                    <a:pt x="545492" y="376079"/>
                  </a:lnTo>
                  <a:lnTo>
                    <a:pt x="521885" y="381017"/>
                  </a:lnTo>
                  <a:lnTo>
                    <a:pt x="528630" y="407350"/>
                  </a:lnTo>
                  <a:lnTo>
                    <a:pt x="510081" y="430393"/>
                  </a:lnTo>
                  <a:lnTo>
                    <a:pt x="508395" y="428747"/>
                  </a:lnTo>
                  <a:lnTo>
                    <a:pt x="501651" y="433684"/>
                  </a:lnTo>
                  <a:lnTo>
                    <a:pt x="499964" y="440268"/>
                  </a:lnTo>
                  <a:lnTo>
                    <a:pt x="508395" y="460018"/>
                  </a:lnTo>
                  <a:lnTo>
                    <a:pt x="505023" y="471539"/>
                  </a:lnTo>
                  <a:lnTo>
                    <a:pt x="489847" y="476477"/>
                  </a:lnTo>
                  <a:lnTo>
                    <a:pt x="486474" y="489644"/>
                  </a:lnTo>
                  <a:lnTo>
                    <a:pt x="481416" y="494581"/>
                  </a:lnTo>
                  <a:lnTo>
                    <a:pt x="484788" y="497873"/>
                  </a:lnTo>
                  <a:lnTo>
                    <a:pt x="481416" y="502811"/>
                  </a:lnTo>
                  <a:lnTo>
                    <a:pt x="459495" y="492935"/>
                  </a:lnTo>
                  <a:lnTo>
                    <a:pt x="393732" y="586750"/>
                  </a:lnTo>
                  <a:lnTo>
                    <a:pt x="351576" y="654230"/>
                  </a:lnTo>
                  <a:lnTo>
                    <a:pt x="306049" y="631188"/>
                  </a:lnTo>
                  <a:lnTo>
                    <a:pt x="319538" y="581812"/>
                  </a:lnTo>
                  <a:lnTo>
                    <a:pt x="275696" y="583458"/>
                  </a:lnTo>
                  <a:lnTo>
                    <a:pt x="272324" y="576875"/>
                  </a:lnTo>
                  <a:lnTo>
                    <a:pt x="238599" y="591687"/>
                  </a:lnTo>
                  <a:lnTo>
                    <a:pt x="230168" y="575229"/>
                  </a:lnTo>
                  <a:lnTo>
                    <a:pt x="226796" y="576875"/>
                  </a:lnTo>
                  <a:lnTo>
                    <a:pt x="223424" y="573583"/>
                  </a:lnTo>
                  <a:lnTo>
                    <a:pt x="204875" y="570291"/>
                  </a:lnTo>
                  <a:lnTo>
                    <a:pt x="213306" y="534082"/>
                  </a:lnTo>
                  <a:lnTo>
                    <a:pt x="206561" y="517623"/>
                  </a:lnTo>
                  <a:lnTo>
                    <a:pt x="150916" y="499519"/>
                  </a:lnTo>
                  <a:lnTo>
                    <a:pt x="155974" y="463310"/>
                  </a:lnTo>
                  <a:lnTo>
                    <a:pt x="157661" y="461664"/>
                  </a:lnTo>
                  <a:lnTo>
                    <a:pt x="159347" y="463310"/>
                  </a:lnTo>
                  <a:lnTo>
                    <a:pt x="167778" y="448497"/>
                  </a:lnTo>
                  <a:lnTo>
                    <a:pt x="186326" y="410642"/>
                  </a:lnTo>
                  <a:lnTo>
                    <a:pt x="181268" y="408996"/>
                  </a:lnTo>
                  <a:lnTo>
                    <a:pt x="161033" y="407350"/>
                  </a:lnTo>
                  <a:lnTo>
                    <a:pt x="157661" y="392538"/>
                  </a:lnTo>
                  <a:lnTo>
                    <a:pt x="161033" y="382663"/>
                  </a:lnTo>
                  <a:lnTo>
                    <a:pt x="157661" y="372787"/>
                  </a:lnTo>
                  <a:lnTo>
                    <a:pt x="142485" y="381017"/>
                  </a:lnTo>
                  <a:lnTo>
                    <a:pt x="128995" y="381017"/>
                  </a:lnTo>
                  <a:lnTo>
                    <a:pt x="118878" y="377725"/>
                  </a:lnTo>
                  <a:lnTo>
                    <a:pt x="112133" y="379371"/>
                  </a:lnTo>
                  <a:lnTo>
                    <a:pt x="110446" y="366204"/>
                  </a:lnTo>
                  <a:lnTo>
                    <a:pt x="117191" y="364558"/>
                  </a:lnTo>
                  <a:lnTo>
                    <a:pt x="112133" y="333287"/>
                  </a:lnTo>
                  <a:lnTo>
                    <a:pt x="108760" y="325057"/>
                  </a:lnTo>
                  <a:lnTo>
                    <a:pt x="107074" y="326703"/>
                  </a:lnTo>
                  <a:lnTo>
                    <a:pt x="95270" y="313536"/>
                  </a:lnTo>
                  <a:lnTo>
                    <a:pt x="98643" y="308599"/>
                  </a:lnTo>
                  <a:lnTo>
                    <a:pt x="95270" y="303661"/>
                  </a:lnTo>
                  <a:lnTo>
                    <a:pt x="37939" y="287203"/>
                  </a:lnTo>
                  <a:lnTo>
                    <a:pt x="24449" y="306953"/>
                  </a:lnTo>
                  <a:lnTo>
                    <a:pt x="24449" y="320120"/>
                  </a:lnTo>
                  <a:lnTo>
                    <a:pt x="19390" y="318474"/>
                  </a:lnTo>
                  <a:lnTo>
                    <a:pt x="16018" y="305307"/>
                  </a:lnTo>
                  <a:lnTo>
                    <a:pt x="24449" y="285557"/>
                  </a:lnTo>
                  <a:lnTo>
                    <a:pt x="4214" y="275681"/>
                  </a:lnTo>
                  <a:lnTo>
                    <a:pt x="16018" y="252639"/>
                  </a:lnTo>
                  <a:lnTo>
                    <a:pt x="21076" y="254285"/>
                  </a:lnTo>
                  <a:lnTo>
                    <a:pt x="29508" y="244410"/>
                  </a:lnTo>
                  <a:lnTo>
                    <a:pt x="31194" y="244410"/>
                  </a:lnTo>
                  <a:lnTo>
                    <a:pt x="32880" y="241118"/>
                  </a:lnTo>
                  <a:lnTo>
                    <a:pt x="31194" y="239472"/>
                  </a:lnTo>
                  <a:lnTo>
                    <a:pt x="36253" y="231243"/>
                  </a:lnTo>
                  <a:lnTo>
                    <a:pt x="39625" y="232889"/>
                  </a:lnTo>
                  <a:lnTo>
                    <a:pt x="42997" y="227951"/>
                  </a:lnTo>
                  <a:lnTo>
                    <a:pt x="41311" y="226305"/>
                  </a:lnTo>
                  <a:lnTo>
                    <a:pt x="42997" y="223014"/>
                  </a:lnTo>
                  <a:lnTo>
                    <a:pt x="17704" y="208201"/>
                  </a:lnTo>
                  <a:lnTo>
                    <a:pt x="53115" y="181867"/>
                  </a:lnTo>
                  <a:lnTo>
                    <a:pt x="103701" y="86407"/>
                  </a:lnTo>
                  <a:lnTo>
                    <a:pt x="81780" y="53490"/>
                  </a:lnTo>
                  <a:lnTo>
                    <a:pt x="193071"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3" name="Heiloo">
              <a:extLst>
                <a:ext uri="{FF2B5EF4-FFF2-40B4-BE49-F238E27FC236}">
                  <a16:creationId xmlns:a16="http://schemas.microsoft.com/office/drawing/2014/main" id="{0026E93D-019A-465E-A65D-FCBB3986C4DA}"/>
                </a:ext>
              </a:extLst>
            </p:cNvPr>
            <p:cNvSpPr/>
            <p:nvPr/>
          </p:nvSpPr>
          <p:spPr>
            <a:xfrm>
              <a:off x="5495063" y="2658234"/>
              <a:ext cx="76513" cy="75608"/>
            </a:xfrm>
            <a:custGeom>
              <a:avLst/>
              <a:gdLst/>
              <a:ahLst/>
              <a:cxnLst/>
              <a:rect l="l" t="t" r="r" b="b"/>
              <a:pathLst>
                <a:path w="128789" h="114300" extrusionOk="0">
                  <a:moveTo>
                    <a:pt x="73349" y="4114"/>
                  </a:moveTo>
                  <a:lnTo>
                    <a:pt x="96957" y="18927"/>
                  </a:lnTo>
                  <a:lnTo>
                    <a:pt x="108760" y="32094"/>
                  </a:lnTo>
                  <a:lnTo>
                    <a:pt x="98643" y="46907"/>
                  </a:lnTo>
                  <a:lnTo>
                    <a:pt x="103701" y="51844"/>
                  </a:lnTo>
                  <a:lnTo>
                    <a:pt x="102015" y="55136"/>
                  </a:lnTo>
                  <a:lnTo>
                    <a:pt x="105388" y="71594"/>
                  </a:lnTo>
                  <a:lnTo>
                    <a:pt x="105388" y="79824"/>
                  </a:lnTo>
                  <a:lnTo>
                    <a:pt x="127309" y="84761"/>
                  </a:lnTo>
                  <a:lnTo>
                    <a:pt x="125622" y="91345"/>
                  </a:lnTo>
                  <a:lnTo>
                    <a:pt x="115505" y="88053"/>
                  </a:lnTo>
                  <a:lnTo>
                    <a:pt x="108760" y="116033"/>
                  </a:lnTo>
                  <a:lnTo>
                    <a:pt x="88525" y="114387"/>
                  </a:lnTo>
                  <a:lnTo>
                    <a:pt x="85153" y="116033"/>
                  </a:lnTo>
                  <a:lnTo>
                    <a:pt x="83467" y="112741"/>
                  </a:lnTo>
                  <a:lnTo>
                    <a:pt x="54801" y="111095"/>
                  </a:lnTo>
                  <a:lnTo>
                    <a:pt x="53115" y="109449"/>
                  </a:lnTo>
                  <a:lnTo>
                    <a:pt x="46370" y="107803"/>
                  </a:lnTo>
                  <a:lnTo>
                    <a:pt x="42997" y="114387"/>
                  </a:lnTo>
                  <a:lnTo>
                    <a:pt x="37939" y="114387"/>
                  </a:lnTo>
                  <a:lnTo>
                    <a:pt x="26135" y="109449"/>
                  </a:lnTo>
                  <a:lnTo>
                    <a:pt x="27821" y="104512"/>
                  </a:lnTo>
                  <a:lnTo>
                    <a:pt x="14332" y="102866"/>
                  </a:lnTo>
                  <a:lnTo>
                    <a:pt x="14332" y="99574"/>
                  </a:lnTo>
                  <a:lnTo>
                    <a:pt x="4214" y="91345"/>
                  </a:lnTo>
                  <a:lnTo>
                    <a:pt x="9273" y="88053"/>
                  </a:lnTo>
                  <a:lnTo>
                    <a:pt x="7587" y="83115"/>
                  </a:lnTo>
                  <a:lnTo>
                    <a:pt x="9273" y="81470"/>
                  </a:lnTo>
                  <a:lnTo>
                    <a:pt x="10959" y="55136"/>
                  </a:lnTo>
                  <a:lnTo>
                    <a:pt x="16018" y="50198"/>
                  </a:lnTo>
                  <a:lnTo>
                    <a:pt x="24449" y="33740"/>
                  </a:lnTo>
                  <a:lnTo>
                    <a:pt x="27821" y="17281"/>
                  </a:lnTo>
                  <a:lnTo>
                    <a:pt x="34566" y="7406"/>
                  </a:lnTo>
                  <a:lnTo>
                    <a:pt x="61546" y="15635"/>
                  </a:lnTo>
                  <a:lnTo>
                    <a:pt x="73349"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4" name="Beesel">
              <a:extLst>
                <a:ext uri="{FF2B5EF4-FFF2-40B4-BE49-F238E27FC236}">
                  <a16:creationId xmlns:a16="http://schemas.microsoft.com/office/drawing/2014/main" id="{AFD5C90F-117B-4D52-A8EE-E7D38CC2AD98}"/>
                </a:ext>
              </a:extLst>
            </p:cNvPr>
            <p:cNvSpPr/>
            <p:nvPr/>
          </p:nvSpPr>
          <p:spPr>
            <a:xfrm>
              <a:off x="6892154" y="4828890"/>
              <a:ext cx="126013" cy="100255"/>
            </a:xfrm>
            <a:custGeom>
              <a:avLst/>
              <a:gdLst/>
              <a:ahLst/>
              <a:cxnLst/>
              <a:rect l="l" t="t" r="r" b="b"/>
              <a:pathLst>
                <a:path w="187330" h="137160" extrusionOk="0">
                  <a:moveTo>
                    <a:pt x="128995" y="7406"/>
                  </a:moveTo>
                  <a:lnTo>
                    <a:pt x="130681" y="9052"/>
                  </a:lnTo>
                  <a:lnTo>
                    <a:pt x="135740" y="10698"/>
                  </a:lnTo>
                  <a:lnTo>
                    <a:pt x="140798" y="9052"/>
                  </a:lnTo>
                  <a:lnTo>
                    <a:pt x="155974" y="25510"/>
                  </a:lnTo>
                  <a:lnTo>
                    <a:pt x="161033" y="18927"/>
                  </a:lnTo>
                  <a:lnTo>
                    <a:pt x="172836" y="23864"/>
                  </a:lnTo>
                  <a:lnTo>
                    <a:pt x="181268" y="33740"/>
                  </a:lnTo>
                  <a:lnTo>
                    <a:pt x="189699" y="46906"/>
                  </a:lnTo>
                  <a:lnTo>
                    <a:pt x="189699" y="51844"/>
                  </a:lnTo>
                  <a:lnTo>
                    <a:pt x="189699" y="58427"/>
                  </a:lnTo>
                  <a:lnTo>
                    <a:pt x="128995" y="124262"/>
                  </a:lnTo>
                  <a:lnTo>
                    <a:pt x="108760" y="137429"/>
                  </a:lnTo>
                  <a:lnTo>
                    <a:pt x="93584" y="127554"/>
                  </a:lnTo>
                  <a:lnTo>
                    <a:pt x="76722" y="112741"/>
                  </a:lnTo>
                  <a:lnTo>
                    <a:pt x="63232" y="127554"/>
                  </a:lnTo>
                  <a:lnTo>
                    <a:pt x="56487" y="129199"/>
                  </a:lnTo>
                  <a:lnTo>
                    <a:pt x="46370" y="127554"/>
                  </a:lnTo>
                  <a:lnTo>
                    <a:pt x="39625" y="130845"/>
                  </a:lnTo>
                  <a:lnTo>
                    <a:pt x="27821" y="120970"/>
                  </a:lnTo>
                  <a:lnTo>
                    <a:pt x="27821" y="117679"/>
                  </a:lnTo>
                  <a:lnTo>
                    <a:pt x="21076" y="117679"/>
                  </a:lnTo>
                  <a:lnTo>
                    <a:pt x="22763" y="112741"/>
                  </a:lnTo>
                  <a:lnTo>
                    <a:pt x="19390" y="107803"/>
                  </a:lnTo>
                  <a:lnTo>
                    <a:pt x="9273" y="102866"/>
                  </a:lnTo>
                  <a:lnTo>
                    <a:pt x="4214" y="97928"/>
                  </a:lnTo>
                  <a:lnTo>
                    <a:pt x="4214" y="91345"/>
                  </a:lnTo>
                  <a:lnTo>
                    <a:pt x="9273" y="83115"/>
                  </a:lnTo>
                  <a:lnTo>
                    <a:pt x="16018" y="79824"/>
                  </a:lnTo>
                  <a:lnTo>
                    <a:pt x="27821" y="81470"/>
                  </a:lnTo>
                  <a:lnTo>
                    <a:pt x="36252" y="79824"/>
                  </a:lnTo>
                  <a:lnTo>
                    <a:pt x="39625" y="76532"/>
                  </a:lnTo>
                  <a:lnTo>
                    <a:pt x="42997" y="61719"/>
                  </a:lnTo>
                  <a:lnTo>
                    <a:pt x="71663" y="30448"/>
                  </a:lnTo>
                  <a:lnTo>
                    <a:pt x="86839" y="22218"/>
                  </a:lnTo>
                  <a:lnTo>
                    <a:pt x="93584" y="25510"/>
                  </a:lnTo>
                  <a:lnTo>
                    <a:pt x="98643" y="25510"/>
                  </a:lnTo>
                  <a:lnTo>
                    <a:pt x="105388" y="13989"/>
                  </a:lnTo>
                  <a:lnTo>
                    <a:pt x="127309" y="4114"/>
                  </a:lnTo>
                  <a:lnTo>
                    <a:pt x="128995"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5" name="Papendrecht">
              <a:extLst>
                <a:ext uri="{FF2B5EF4-FFF2-40B4-BE49-F238E27FC236}">
                  <a16:creationId xmlns:a16="http://schemas.microsoft.com/office/drawing/2014/main" id="{1CAB9CB5-E5AF-49B7-BED5-A9E8603C052F}"/>
                </a:ext>
              </a:extLst>
            </p:cNvPr>
            <p:cNvSpPr/>
            <p:nvPr/>
          </p:nvSpPr>
          <p:spPr>
            <a:xfrm>
              <a:off x="5483152" y="3926900"/>
              <a:ext cx="87569" cy="58701"/>
            </a:xfrm>
            <a:custGeom>
              <a:avLst/>
              <a:gdLst/>
              <a:ahLst/>
              <a:cxnLst/>
              <a:rect l="l" t="t" r="r" b="b"/>
              <a:pathLst>
                <a:path w="117081" h="68580" extrusionOk="0">
                  <a:moveTo>
                    <a:pt x="61546" y="23864"/>
                  </a:moveTo>
                  <a:lnTo>
                    <a:pt x="75036" y="23864"/>
                  </a:lnTo>
                  <a:lnTo>
                    <a:pt x="108760" y="10697"/>
                  </a:lnTo>
                  <a:lnTo>
                    <a:pt x="110446" y="18926"/>
                  </a:lnTo>
                  <a:lnTo>
                    <a:pt x="117191" y="20573"/>
                  </a:lnTo>
                  <a:lnTo>
                    <a:pt x="96956" y="69949"/>
                  </a:lnTo>
                  <a:lnTo>
                    <a:pt x="61546" y="66657"/>
                  </a:lnTo>
                  <a:lnTo>
                    <a:pt x="24449" y="73240"/>
                  </a:lnTo>
                  <a:lnTo>
                    <a:pt x="7587" y="71594"/>
                  </a:lnTo>
                  <a:lnTo>
                    <a:pt x="4214" y="48552"/>
                  </a:lnTo>
                  <a:lnTo>
                    <a:pt x="9273" y="28802"/>
                  </a:lnTo>
                  <a:lnTo>
                    <a:pt x="21076" y="15635"/>
                  </a:lnTo>
                  <a:lnTo>
                    <a:pt x="24449" y="4114"/>
                  </a:lnTo>
                  <a:lnTo>
                    <a:pt x="36252" y="12343"/>
                  </a:lnTo>
                  <a:lnTo>
                    <a:pt x="61546" y="2386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6" name="Huizen">
              <a:extLst>
                <a:ext uri="{FF2B5EF4-FFF2-40B4-BE49-F238E27FC236}">
                  <a16:creationId xmlns:a16="http://schemas.microsoft.com/office/drawing/2014/main" id="{52978591-C9FB-437D-ADCD-493614072455}"/>
                </a:ext>
              </a:extLst>
            </p:cNvPr>
            <p:cNvSpPr/>
            <p:nvPr/>
          </p:nvSpPr>
          <p:spPr>
            <a:xfrm>
              <a:off x="6020509" y="3165242"/>
              <a:ext cx="119201" cy="96504"/>
            </a:xfrm>
            <a:custGeom>
              <a:avLst/>
              <a:gdLst/>
              <a:ahLst/>
              <a:cxnLst/>
              <a:rect l="l" t="t" r="r" b="b"/>
              <a:pathLst>
                <a:path w="163914" h="125730" extrusionOk="0">
                  <a:moveTo>
                    <a:pt x="169464" y="28802"/>
                  </a:moveTo>
                  <a:lnTo>
                    <a:pt x="169464" y="32094"/>
                  </a:lnTo>
                  <a:lnTo>
                    <a:pt x="167778" y="30448"/>
                  </a:lnTo>
                  <a:lnTo>
                    <a:pt x="166092" y="30448"/>
                  </a:lnTo>
                  <a:lnTo>
                    <a:pt x="167778" y="32094"/>
                  </a:lnTo>
                  <a:lnTo>
                    <a:pt x="164405" y="32094"/>
                  </a:lnTo>
                  <a:lnTo>
                    <a:pt x="166092" y="27156"/>
                  </a:lnTo>
                  <a:lnTo>
                    <a:pt x="169464" y="28802"/>
                  </a:lnTo>
                  <a:close/>
                  <a:moveTo>
                    <a:pt x="93584" y="18927"/>
                  </a:moveTo>
                  <a:lnTo>
                    <a:pt x="96957" y="22219"/>
                  </a:lnTo>
                  <a:lnTo>
                    <a:pt x="90211" y="32094"/>
                  </a:lnTo>
                  <a:lnTo>
                    <a:pt x="93584" y="25510"/>
                  </a:lnTo>
                  <a:lnTo>
                    <a:pt x="96957" y="25510"/>
                  </a:lnTo>
                  <a:lnTo>
                    <a:pt x="96957" y="17281"/>
                  </a:lnTo>
                  <a:lnTo>
                    <a:pt x="96957" y="20573"/>
                  </a:lnTo>
                  <a:lnTo>
                    <a:pt x="100329" y="17281"/>
                  </a:lnTo>
                  <a:lnTo>
                    <a:pt x="98643" y="20573"/>
                  </a:lnTo>
                  <a:lnTo>
                    <a:pt x="105388" y="23864"/>
                  </a:lnTo>
                  <a:lnTo>
                    <a:pt x="100329" y="12343"/>
                  </a:lnTo>
                  <a:lnTo>
                    <a:pt x="103701" y="5760"/>
                  </a:lnTo>
                  <a:lnTo>
                    <a:pt x="103701" y="13989"/>
                  </a:lnTo>
                  <a:lnTo>
                    <a:pt x="107074" y="17281"/>
                  </a:lnTo>
                  <a:lnTo>
                    <a:pt x="108760" y="25510"/>
                  </a:lnTo>
                  <a:lnTo>
                    <a:pt x="108760" y="23864"/>
                  </a:lnTo>
                  <a:lnTo>
                    <a:pt x="113819" y="28802"/>
                  </a:lnTo>
                  <a:lnTo>
                    <a:pt x="118877" y="32094"/>
                  </a:lnTo>
                  <a:lnTo>
                    <a:pt x="125622" y="30448"/>
                  </a:lnTo>
                  <a:lnTo>
                    <a:pt x="123936" y="32094"/>
                  </a:lnTo>
                  <a:lnTo>
                    <a:pt x="125622" y="30448"/>
                  </a:lnTo>
                  <a:lnTo>
                    <a:pt x="140798" y="35385"/>
                  </a:lnTo>
                  <a:lnTo>
                    <a:pt x="161033" y="51844"/>
                  </a:lnTo>
                  <a:lnTo>
                    <a:pt x="150916" y="61719"/>
                  </a:lnTo>
                  <a:lnTo>
                    <a:pt x="145857" y="55136"/>
                  </a:lnTo>
                  <a:lnTo>
                    <a:pt x="135740" y="68303"/>
                  </a:lnTo>
                  <a:lnTo>
                    <a:pt x="98643" y="86407"/>
                  </a:lnTo>
                  <a:lnTo>
                    <a:pt x="98643" y="88053"/>
                  </a:lnTo>
                  <a:lnTo>
                    <a:pt x="76722" y="91345"/>
                  </a:lnTo>
                  <a:lnTo>
                    <a:pt x="69977" y="101220"/>
                  </a:lnTo>
                  <a:lnTo>
                    <a:pt x="44684" y="101220"/>
                  </a:lnTo>
                  <a:lnTo>
                    <a:pt x="37939" y="107803"/>
                  </a:lnTo>
                  <a:lnTo>
                    <a:pt x="32880" y="124262"/>
                  </a:lnTo>
                  <a:lnTo>
                    <a:pt x="9273" y="106157"/>
                  </a:lnTo>
                  <a:lnTo>
                    <a:pt x="4214" y="99574"/>
                  </a:lnTo>
                  <a:lnTo>
                    <a:pt x="19390" y="91345"/>
                  </a:lnTo>
                  <a:lnTo>
                    <a:pt x="19390" y="86407"/>
                  </a:lnTo>
                  <a:lnTo>
                    <a:pt x="16018" y="84761"/>
                  </a:lnTo>
                  <a:lnTo>
                    <a:pt x="17704" y="81470"/>
                  </a:lnTo>
                  <a:lnTo>
                    <a:pt x="21076" y="83115"/>
                  </a:lnTo>
                  <a:lnTo>
                    <a:pt x="21076" y="73240"/>
                  </a:lnTo>
                  <a:lnTo>
                    <a:pt x="17704" y="74886"/>
                  </a:lnTo>
                  <a:lnTo>
                    <a:pt x="16018" y="69949"/>
                  </a:lnTo>
                  <a:lnTo>
                    <a:pt x="7586" y="63365"/>
                  </a:lnTo>
                  <a:lnTo>
                    <a:pt x="21076" y="58427"/>
                  </a:lnTo>
                  <a:lnTo>
                    <a:pt x="19390" y="53490"/>
                  </a:lnTo>
                  <a:lnTo>
                    <a:pt x="24449" y="45261"/>
                  </a:lnTo>
                  <a:lnTo>
                    <a:pt x="37939" y="46906"/>
                  </a:lnTo>
                  <a:lnTo>
                    <a:pt x="42997" y="41969"/>
                  </a:lnTo>
                  <a:lnTo>
                    <a:pt x="49742" y="50198"/>
                  </a:lnTo>
                  <a:lnTo>
                    <a:pt x="73349" y="41969"/>
                  </a:lnTo>
                  <a:lnTo>
                    <a:pt x="71663" y="18927"/>
                  </a:lnTo>
                  <a:lnTo>
                    <a:pt x="91898" y="18927"/>
                  </a:lnTo>
                  <a:lnTo>
                    <a:pt x="102015" y="4114"/>
                  </a:lnTo>
                  <a:lnTo>
                    <a:pt x="93584" y="1892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7" name="Uitgeest">
              <a:extLst>
                <a:ext uri="{FF2B5EF4-FFF2-40B4-BE49-F238E27FC236}">
                  <a16:creationId xmlns:a16="http://schemas.microsoft.com/office/drawing/2014/main" id="{3E268A7E-69A2-4EBE-BB52-990442A1C4B1}"/>
                </a:ext>
              </a:extLst>
            </p:cNvPr>
            <p:cNvSpPr/>
            <p:nvPr/>
          </p:nvSpPr>
          <p:spPr>
            <a:xfrm>
              <a:off x="5505113" y="2783868"/>
              <a:ext cx="95938" cy="79300"/>
            </a:xfrm>
            <a:custGeom>
              <a:avLst/>
              <a:gdLst/>
              <a:ahLst/>
              <a:cxnLst/>
              <a:rect l="l" t="t" r="r" b="b"/>
              <a:pathLst>
                <a:path w="140498" h="137160" extrusionOk="0">
                  <a:moveTo>
                    <a:pt x="48056" y="4114"/>
                  </a:moveTo>
                  <a:lnTo>
                    <a:pt x="48056" y="22219"/>
                  </a:lnTo>
                  <a:lnTo>
                    <a:pt x="54801" y="15635"/>
                  </a:lnTo>
                  <a:lnTo>
                    <a:pt x="56487" y="15635"/>
                  </a:lnTo>
                  <a:lnTo>
                    <a:pt x="83467" y="28802"/>
                  </a:lnTo>
                  <a:lnTo>
                    <a:pt x="102015" y="41969"/>
                  </a:lnTo>
                  <a:lnTo>
                    <a:pt x="112133" y="38677"/>
                  </a:lnTo>
                  <a:lnTo>
                    <a:pt x="120564" y="45261"/>
                  </a:lnTo>
                  <a:lnTo>
                    <a:pt x="135740" y="46906"/>
                  </a:lnTo>
                  <a:lnTo>
                    <a:pt x="142485" y="81470"/>
                  </a:lnTo>
                  <a:lnTo>
                    <a:pt x="118877" y="81470"/>
                  </a:lnTo>
                  <a:lnTo>
                    <a:pt x="118877" y="83115"/>
                  </a:lnTo>
                  <a:lnTo>
                    <a:pt x="113819" y="81470"/>
                  </a:lnTo>
                  <a:lnTo>
                    <a:pt x="110446" y="84761"/>
                  </a:lnTo>
                  <a:lnTo>
                    <a:pt x="96957" y="78178"/>
                  </a:lnTo>
                  <a:lnTo>
                    <a:pt x="93584" y="79824"/>
                  </a:lnTo>
                  <a:lnTo>
                    <a:pt x="90212" y="88053"/>
                  </a:lnTo>
                  <a:lnTo>
                    <a:pt x="96957" y="102866"/>
                  </a:lnTo>
                  <a:lnTo>
                    <a:pt x="93584" y="109449"/>
                  </a:lnTo>
                  <a:lnTo>
                    <a:pt x="64918" y="137429"/>
                  </a:lnTo>
                  <a:lnTo>
                    <a:pt x="48056" y="140721"/>
                  </a:lnTo>
                  <a:lnTo>
                    <a:pt x="36252" y="135783"/>
                  </a:lnTo>
                  <a:lnTo>
                    <a:pt x="26135" y="127554"/>
                  </a:lnTo>
                  <a:lnTo>
                    <a:pt x="22763" y="120970"/>
                  </a:lnTo>
                  <a:lnTo>
                    <a:pt x="27821" y="112741"/>
                  </a:lnTo>
                  <a:lnTo>
                    <a:pt x="29508" y="112741"/>
                  </a:lnTo>
                  <a:lnTo>
                    <a:pt x="31194" y="104512"/>
                  </a:lnTo>
                  <a:lnTo>
                    <a:pt x="27821" y="102866"/>
                  </a:lnTo>
                  <a:lnTo>
                    <a:pt x="24449" y="107803"/>
                  </a:lnTo>
                  <a:lnTo>
                    <a:pt x="19390" y="106158"/>
                  </a:lnTo>
                  <a:lnTo>
                    <a:pt x="9273" y="109449"/>
                  </a:lnTo>
                  <a:lnTo>
                    <a:pt x="10959" y="104512"/>
                  </a:lnTo>
                  <a:lnTo>
                    <a:pt x="7587" y="102866"/>
                  </a:lnTo>
                  <a:lnTo>
                    <a:pt x="4214" y="91345"/>
                  </a:lnTo>
                  <a:lnTo>
                    <a:pt x="4214" y="79824"/>
                  </a:lnTo>
                  <a:lnTo>
                    <a:pt x="14332" y="56782"/>
                  </a:lnTo>
                  <a:lnTo>
                    <a:pt x="10959" y="20573"/>
                  </a:lnTo>
                  <a:lnTo>
                    <a:pt x="24449" y="18927"/>
                  </a:lnTo>
                  <a:lnTo>
                    <a:pt x="27821" y="15635"/>
                  </a:lnTo>
                  <a:lnTo>
                    <a:pt x="27821" y="12343"/>
                  </a:lnTo>
                  <a:lnTo>
                    <a:pt x="4805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8" name="Steenbergen">
              <a:extLst>
                <a:ext uri="{FF2B5EF4-FFF2-40B4-BE49-F238E27FC236}">
                  <a16:creationId xmlns:a16="http://schemas.microsoft.com/office/drawing/2014/main" id="{BFB7F378-8711-474F-AF66-DB2332FB9709}"/>
                </a:ext>
              </a:extLst>
            </p:cNvPr>
            <p:cNvSpPr/>
            <p:nvPr/>
          </p:nvSpPr>
          <p:spPr>
            <a:xfrm>
              <a:off x="4960481" y="4232062"/>
              <a:ext cx="275259" cy="197074"/>
            </a:xfrm>
            <a:custGeom>
              <a:avLst/>
              <a:gdLst/>
              <a:ahLst/>
              <a:cxnLst/>
              <a:rect l="l" t="t" r="r" b="b"/>
              <a:pathLst>
                <a:path w="386369" h="285750" extrusionOk="0">
                  <a:moveTo>
                    <a:pt x="198130" y="30448"/>
                  </a:moveTo>
                  <a:lnTo>
                    <a:pt x="204875" y="25510"/>
                  </a:lnTo>
                  <a:lnTo>
                    <a:pt x="208247" y="27156"/>
                  </a:lnTo>
                  <a:lnTo>
                    <a:pt x="198130" y="30448"/>
                  </a:lnTo>
                  <a:close/>
                  <a:moveTo>
                    <a:pt x="201502" y="32094"/>
                  </a:moveTo>
                  <a:lnTo>
                    <a:pt x="199816" y="30448"/>
                  </a:lnTo>
                  <a:lnTo>
                    <a:pt x="203189" y="28802"/>
                  </a:lnTo>
                  <a:lnTo>
                    <a:pt x="201502" y="32094"/>
                  </a:lnTo>
                  <a:close/>
                  <a:moveTo>
                    <a:pt x="86839" y="37031"/>
                  </a:moveTo>
                  <a:lnTo>
                    <a:pt x="86839" y="32094"/>
                  </a:lnTo>
                  <a:lnTo>
                    <a:pt x="90212" y="32094"/>
                  </a:lnTo>
                  <a:lnTo>
                    <a:pt x="90212" y="35385"/>
                  </a:lnTo>
                  <a:lnTo>
                    <a:pt x="86839" y="37031"/>
                  </a:lnTo>
                  <a:close/>
                  <a:moveTo>
                    <a:pt x="169464" y="41969"/>
                  </a:moveTo>
                  <a:lnTo>
                    <a:pt x="169464" y="40323"/>
                  </a:lnTo>
                  <a:lnTo>
                    <a:pt x="172837" y="38677"/>
                  </a:lnTo>
                  <a:lnTo>
                    <a:pt x="169464" y="41969"/>
                  </a:lnTo>
                  <a:close/>
                  <a:moveTo>
                    <a:pt x="166092" y="41969"/>
                  </a:moveTo>
                  <a:lnTo>
                    <a:pt x="169464" y="38677"/>
                  </a:lnTo>
                  <a:lnTo>
                    <a:pt x="186326" y="30448"/>
                  </a:lnTo>
                  <a:lnTo>
                    <a:pt x="166092" y="41969"/>
                  </a:lnTo>
                  <a:close/>
                  <a:moveTo>
                    <a:pt x="102015" y="63365"/>
                  </a:moveTo>
                  <a:lnTo>
                    <a:pt x="96957" y="60074"/>
                  </a:lnTo>
                  <a:lnTo>
                    <a:pt x="102015" y="60074"/>
                  </a:lnTo>
                  <a:lnTo>
                    <a:pt x="102015" y="63365"/>
                  </a:lnTo>
                  <a:close/>
                  <a:moveTo>
                    <a:pt x="287500" y="282265"/>
                  </a:moveTo>
                  <a:lnTo>
                    <a:pt x="166092" y="255931"/>
                  </a:lnTo>
                  <a:lnTo>
                    <a:pt x="169464" y="242764"/>
                  </a:lnTo>
                  <a:lnTo>
                    <a:pt x="120564" y="227951"/>
                  </a:lnTo>
                  <a:lnTo>
                    <a:pt x="122250" y="221368"/>
                  </a:lnTo>
                  <a:lnTo>
                    <a:pt x="98643" y="213138"/>
                  </a:lnTo>
                  <a:lnTo>
                    <a:pt x="83467" y="232889"/>
                  </a:lnTo>
                  <a:lnTo>
                    <a:pt x="85153" y="241118"/>
                  </a:lnTo>
                  <a:lnTo>
                    <a:pt x="78408" y="260869"/>
                  </a:lnTo>
                  <a:lnTo>
                    <a:pt x="73349" y="262514"/>
                  </a:lnTo>
                  <a:lnTo>
                    <a:pt x="69977" y="249348"/>
                  </a:lnTo>
                  <a:lnTo>
                    <a:pt x="63232" y="232889"/>
                  </a:lnTo>
                  <a:lnTo>
                    <a:pt x="16018" y="175284"/>
                  </a:lnTo>
                  <a:lnTo>
                    <a:pt x="7587" y="155534"/>
                  </a:lnTo>
                  <a:lnTo>
                    <a:pt x="4214" y="139075"/>
                  </a:lnTo>
                  <a:lnTo>
                    <a:pt x="4214" y="125908"/>
                  </a:lnTo>
                  <a:lnTo>
                    <a:pt x="10959" y="109449"/>
                  </a:lnTo>
                  <a:lnTo>
                    <a:pt x="19390" y="94637"/>
                  </a:lnTo>
                  <a:lnTo>
                    <a:pt x="37939" y="78178"/>
                  </a:lnTo>
                  <a:lnTo>
                    <a:pt x="78408" y="60074"/>
                  </a:lnTo>
                  <a:lnTo>
                    <a:pt x="83467" y="61719"/>
                  </a:lnTo>
                  <a:lnTo>
                    <a:pt x="80094" y="65011"/>
                  </a:lnTo>
                  <a:lnTo>
                    <a:pt x="100329" y="65011"/>
                  </a:lnTo>
                  <a:lnTo>
                    <a:pt x="102015" y="68303"/>
                  </a:lnTo>
                  <a:lnTo>
                    <a:pt x="102015" y="65011"/>
                  </a:lnTo>
                  <a:lnTo>
                    <a:pt x="102015" y="71595"/>
                  </a:lnTo>
                  <a:lnTo>
                    <a:pt x="98643" y="76532"/>
                  </a:lnTo>
                  <a:lnTo>
                    <a:pt x="95270" y="76532"/>
                  </a:lnTo>
                  <a:lnTo>
                    <a:pt x="98643" y="76532"/>
                  </a:lnTo>
                  <a:lnTo>
                    <a:pt x="102015" y="73240"/>
                  </a:lnTo>
                  <a:lnTo>
                    <a:pt x="105388" y="83116"/>
                  </a:lnTo>
                  <a:lnTo>
                    <a:pt x="103701" y="76532"/>
                  </a:lnTo>
                  <a:lnTo>
                    <a:pt x="107074" y="81470"/>
                  </a:lnTo>
                  <a:lnTo>
                    <a:pt x="107074" y="76532"/>
                  </a:lnTo>
                  <a:lnTo>
                    <a:pt x="115505" y="78178"/>
                  </a:lnTo>
                  <a:lnTo>
                    <a:pt x="122250" y="83116"/>
                  </a:lnTo>
                  <a:lnTo>
                    <a:pt x="117191" y="78178"/>
                  </a:lnTo>
                  <a:lnTo>
                    <a:pt x="105388" y="74886"/>
                  </a:lnTo>
                  <a:lnTo>
                    <a:pt x="107074" y="73240"/>
                  </a:lnTo>
                  <a:lnTo>
                    <a:pt x="103701" y="71595"/>
                  </a:lnTo>
                  <a:lnTo>
                    <a:pt x="103701" y="68303"/>
                  </a:lnTo>
                  <a:lnTo>
                    <a:pt x="122250" y="65011"/>
                  </a:lnTo>
                  <a:lnTo>
                    <a:pt x="110446" y="63365"/>
                  </a:lnTo>
                  <a:lnTo>
                    <a:pt x="118877" y="56782"/>
                  </a:lnTo>
                  <a:lnTo>
                    <a:pt x="135740" y="51844"/>
                  </a:lnTo>
                  <a:lnTo>
                    <a:pt x="137426" y="53490"/>
                  </a:lnTo>
                  <a:lnTo>
                    <a:pt x="132367" y="56782"/>
                  </a:lnTo>
                  <a:lnTo>
                    <a:pt x="135740" y="65011"/>
                  </a:lnTo>
                  <a:lnTo>
                    <a:pt x="134053" y="56782"/>
                  </a:lnTo>
                  <a:lnTo>
                    <a:pt x="139112" y="56782"/>
                  </a:lnTo>
                  <a:lnTo>
                    <a:pt x="140798" y="60074"/>
                  </a:lnTo>
                  <a:lnTo>
                    <a:pt x="140798" y="56782"/>
                  </a:lnTo>
                  <a:lnTo>
                    <a:pt x="144171" y="58427"/>
                  </a:lnTo>
                  <a:lnTo>
                    <a:pt x="137426" y="55136"/>
                  </a:lnTo>
                  <a:lnTo>
                    <a:pt x="140798" y="55136"/>
                  </a:lnTo>
                  <a:lnTo>
                    <a:pt x="140798" y="51844"/>
                  </a:lnTo>
                  <a:lnTo>
                    <a:pt x="161033" y="45261"/>
                  </a:lnTo>
                  <a:lnTo>
                    <a:pt x="164405" y="41969"/>
                  </a:lnTo>
                  <a:lnTo>
                    <a:pt x="161033" y="46906"/>
                  </a:lnTo>
                  <a:lnTo>
                    <a:pt x="166092" y="46906"/>
                  </a:lnTo>
                  <a:lnTo>
                    <a:pt x="161033" y="50198"/>
                  </a:lnTo>
                  <a:lnTo>
                    <a:pt x="159347" y="56782"/>
                  </a:lnTo>
                  <a:lnTo>
                    <a:pt x="164405" y="48552"/>
                  </a:lnTo>
                  <a:lnTo>
                    <a:pt x="166092" y="53490"/>
                  </a:lnTo>
                  <a:lnTo>
                    <a:pt x="174523" y="53490"/>
                  </a:lnTo>
                  <a:lnTo>
                    <a:pt x="167778" y="53490"/>
                  </a:lnTo>
                  <a:lnTo>
                    <a:pt x="166092" y="43615"/>
                  </a:lnTo>
                  <a:lnTo>
                    <a:pt x="169464" y="46906"/>
                  </a:lnTo>
                  <a:lnTo>
                    <a:pt x="167778" y="41969"/>
                  </a:lnTo>
                  <a:lnTo>
                    <a:pt x="171150" y="43615"/>
                  </a:lnTo>
                  <a:lnTo>
                    <a:pt x="188013" y="35385"/>
                  </a:lnTo>
                  <a:lnTo>
                    <a:pt x="201502" y="32094"/>
                  </a:lnTo>
                  <a:lnTo>
                    <a:pt x="203189" y="38677"/>
                  </a:lnTo>
                  <a:lnTo>
                    <a:pt x="199816" y="41969"/>
                  </a:lnTo>
                  <a:lnTo>
                    <a:pt x="203189" y="38677"/>
                  </a:lnTo>
                  <a:lnTo>
                    <a:pt x="203189" y="33740"/>
                  </a:lnTo>
                  <a:lnTo>
                    <a:pt x="209934" y="33740"/>
                  </a:lnTo>
                  <a:lnTo>
                    <a:pt x="204875" y="38677"/>
                  </a:lnTo>
                  <a:lnTo>
                    <a:pt x="211620" y="35385"/>
                  </a:lnTo>
                  <a:lnTo>
                    <a:pt x="226796" y="37031"/>
                  </a:lnTo>
                  <a:lnTo>
                    <a:pt x="236913" y="35385"/>
                  </a:lnTo>
                  <a:lnTo>
                    <a:pt x="252089" y="28802"/>
                  </a:lnTo>
                  <a:lnTo>
                    <a:pt x="268951" y="18927"/>
                  </a:lnTo>
                  <a:lnTo>
                    <a:pt x="275696" y="13989"/>
                  </a:lnTo>
                  <a:lnTo>
                    <a:pt x="280755" y="4114"/>
                  </a:lnTo>
                  <a:lnTo>
                    <a:pt x="280755" y="7406"/>
                  </a:lnTo>
                  <a:lnTo>
                    <a:pt x="284127" y="10698"/>
                  </a:lnTo>
                  <a:lnTo>
                    <a:pt x="292559" y="20573"/>
                  </a:lnTo>
                  <a:lnTo>
                    <a:pt x="299303" y="23864"/>
                  </a:lnTo>
                  <a:lnTo>
                    <a:pt x="309421" y="35385"/>
                  </a:lnTo>
                  <a:lnTo>
                    <a:pt x="322911" y="40323"/>
                  </a:lnTo>
                  <a:lnTo>
                    <a:pt x="327969" y="51844"/>
                  </a:lnTo>
                  <a:lnTo>
                    <a:pt x="341459" y="66657"/>
                  </a:lnTo>
                  <a:lnTo>
                    <a:pt x="348204" y="71595"/>
                  </a:lnTo>
                  <a:lnTo>
                    <a:pt x="365066" y="73240"/>
                  </a:lnTo>
                  <a:lnTo>
                    <a:pt x="371811" y="89699"/>
                  </a:lnTo>
                  <a:lnTo>
                    <a:pt x="385301" y="106158"/>
                  </a:lnTo>
                  <a:lnTo>
                    <a:pt x="381929" y="111095"/>
                  </a:lnTo>
                  <a:lnTo>
                    <a:pt x="380242" y="107803"/>
                  </a:lnTo>
                  <a:lnTo>
                    <a:pt x="376870" y="120970"/>
                  </a:lnTo>
                  <a:lnTo>
                    <a:pt x="368439" y="117679"/>
                  </a:lnTo>
                  <a:lnTo>
                    <a:pt x="375184" y="180221"/>
                  </a:lnTo>
                  <a:lnTo>
                    <a:pt x="393732" y="221368"/>
                  </a:lnTo>
                  <a:lnTo>
                    <a:pt x="390360" y="226306"/>
                  </a:lnTo>
                  <a:lnTo>
                    <a:pt x="388673" y="247702"/>
                  </a:lnTo>
                  <a:lnTo>
                    <a:pt x="385301" y="252639"/>
                  </a:lnTo>
                  <a:lnTo>
                    <a:pt x="370125" y="254285"/>
                  </a:lnTo>
                  <a:lnTo>
                    <a:pt x="366752" y="262514"/>
                  </a:lnTo>
                  <a:lnTo>
                    <a:pt x="343145" y="262514"/>
                  </a:lnTo>
                  <a:lnTo>
                    <a:pt x="287500" y="282265"/>
                  </a:lnTo>
                  <a:close/>
                  <a:moveTo>
                    <a:pt x="88525" y="78178"/>
                  </a:moveTo>
                  <a:lnTo>
                    <a:pt x="95270" y="71595"/>
                  </a:lnTo>
                  <a:lnTo>
                    <a:pt x="93584" y="66657"/>
                  </a:lnTo>
                  <a:lnTo>
                    <a:pt x="95270" y="71595"/>
                  </a:lnTo>
                  <a:lnTo>
                    <a:pt x="90212" y="78178"/>
                  </a:lnTo>
                  <a:lnTo>
                    <a:pt x="86839" y="78178"/>
                  </a:lnTo>
                  <a:lnTo>
                    <a:pt x="88525" y="7817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09" name="Peel en Maas">
              <a:extLst>
                <a:ext uri="{FF2B5EF4-FFF2-40B4-BE49-F238E27FC236}">
                  <a16:creationId xmlns:a16="http://schemas.microsoft.com/office/drawing/2014/main" id="{710D6E0F-A181-4166-B479-38D18AB3932C}"/>
                </a:ext>
              </a:extLst>
            </p:cNvPr>
            <p:cNvSpPr/>
            <p:nvPr/>
          </p:nvSpPr>
          <p:spPr>
            <a:xfrm>
              <a:off x="6711737" y="4671681"/>
              <a:ext cx="306083" cy="215947"/>
            </a:xfrm>
            <a:custGeom>
              <a:avLst/>
              <a:gdLst/>
              <a:ahLst/>
              <a:cxnLst/>
              <a:rect l="l" t="t" r="r" b="b"/>
              <a:pathLst>
                <a:path w="456618" h="320040" extrusionOk="0">
                  <a:moveTo>
                    <a:pt x="376870" y="4114"/>
                  </a:moveTo>
                  <a:lnTo>
                    <a:pt x="378556" y="9052"/>
                  </a:lnTo>
                  <a:lnTo>
                    <a:pt x="383614" y="7406"/>
                  </a:lnTo>
                  <a:lnTo>
                    <a:pt x="390359" y="12343"/>
                  </a:lnTo>
                  <a:lnTo>
                    <a:pt x="393732" y="12343"/>
                  </a:lnTo>
                  <a:lnTo>
                    <a:pt x="397105" y="17281"/>
                  </a:lnTo>
                  <a:lnTo>
                    <a:pt x="403849" y="20573"/>
                  </a:lnTo>
                  <a:lnTo>
                    <a:pt x="403849" y="27156"/>
                  </a:lnTo>
                  <a:lnTo>
                    <a:pt x="383614" y="46906"/>
                  </a:lnTo>
                  <a:lnTo>
                    <a:pt x="397105" y="60073"/>
                  </a:lnTo>
                  <a:lnTo>
                    <a:pt x="398791" y="65011"/>
                  </a:lnTo>
                  <a:lnTo>
                    <a:pt x="405535" y="61719"/>
                  </a:lnTo>
                  <a:lnTo>
                    <a:pt x="419025" y="97928"/>
                  </a:lnTo>
                  <a:lnTo>
                    <a:pt x="430829" y="99574"/>
                  </a:lnTo>
                  <a:lnTo>
                    <a:pt x="447691" y="124262"/>
                  </a:lnTo>
                  <a:lnTo>
                    <a:pt x="449378" y="122616"/>
                  </a:lnTo>
                  <a:lnTo>
                    <a:pt x="454436" y="127554"/>
                  </a:lnTo>
                  <a:lnTo>
                    <a:pt x="456122" y="130845"/>
                  </a:lnTo>
                  <a:lnTo>
                    <a:pt x="446005" y="140721"/>
                  </a:lnTo>
                  <a:lnTo>
                    <a:pt x="447691" y="163763"/>
                  </a:lnTo>
                  <a:lnTo>
                    <a:pt x="444319" y="178576"/>
                  </a:lnTo>
                  <a:lnTo>
                    <a:pt x="425770" y="213138"/>
                  </a:lnTo>
                  <a:lnTo>
                    <a:pt x="403849" y="237827"/>
                  </a:lnTo>
                  <a:lnTo>
                    <a:pt x="375184" y="250993"/>
                  </a:lnTo>
                  <a:lnTo>
                    <a:pt x="368439" y="262514"/>
                  </a:lnTo>
                  <a:lnTo>
                    <a:pt x="363380" y="262514"/>
                  </a:lnTo>
                  <a:lnTo>
                    <a:pt x="356635" y="259223"/>
                  </a:lnTo>
                  <a:lnTo>
                    <a:pt x="338086" y="270744"/>
                  </a:lnTo>
                  <a:lnTo>
                    <a:pt x="312793" y="298723"/>
                  </a:lnTo>
                  <a:lnTo>
                    <a:pt x="309421" y="313536"/>
                  </a:lnTo>
                  <a:lnTo>
                    <a:pt x="304362" y="316828"/>
                  </a:lnTo>
                  <a:lnTo>
                    <a:pt x="280755" y="318474"/>
                  </a:lnTo>
                  <a:lnTo>
                    <a:pt x="282441" y="305307"/>
                  </a:lnTo>
                  <a:lnTo>
                    <a:pt x="279068" y="290494"/>
                  </a:lnTo>
                  <a:lnTo>
                    <a:pt x="194757" y="236181"/>
                  </a:lnTo>
                  <a:lnTo>
                    <a:pt x="122250" y="204909"/>
                  </a:lnTo>
                  <a:lnTo>
                    <a:pt x="127309" y="219722"/>
                  </a:lnTo>
                  <a:lnTo>
                    <a:pt x="85153" y="199972"/>
                  </a:lnTo>
                  <a:lnTo>
                    <a:pt x="36252" y="188451"/>
                  </a:lnTo>
                  <a:lnTo>
                    <a:pt x="4214" y="145658"/>
                  </a:lnTo>
                  <a:lnTo>
                    <a:pt x="16018" y="124262"/>
                  </a:lnTo>
                  <a:lnTo>
                    <a:pt x="69977" y="109449"/>
                  </a:lnTo>
                  <a:lnTo>
                    <a:pt x="157661" y="32094"/>
                  </a:lnTo>
                  <a:lnTo>
                    <a:pt x="181268" y="37031"/>
                  </a:lnTo>
                  <a:lnTo>
                    <a:pt x="198130" y="48552"/>
                  </a:lnTo>
                  <a:lnTo>
                    <a:pt x="248716" y="48552"/>
                  </a:lnTo>
                  <a:lnTo>
                    <a:pt x="292559" y="37031"/>
                  </a:lnTo>
                  <a:lnTo>
                    <a:pt x="376870"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0" name="Ommen">
              <a:extLst>
                <a:ext uri="{FF2B5EF4-FFF2-40B4-BE49-F238E27FC236}">
                  <a16:creationId xmlns:a16="http://schemas.microsoft.com/office/drawing/2014/main" id="{53A7AAD7-6F1E-4117-AE28-B6713C20C96B}"/>
                </a:ext>
              </a:extLst>
            </p:cNvPr>
            <p:cNvSpPr/>
            <p:nvPr/>
          </p:nvSpPr>
          <p:spPr>
            <a:xfrm>
              <a:off x="7198830" y="2714846"/>
              <a:ext cx="304986" cy="254064"/>
            </a:xfrm>
            <a:custGeom>
              <a:avLst/>
              <a:gdLst/>
              <a:ahLst/>
              <a:cxnLst/>
              <a:rect l="l" t="t" r="r" b="b"/>
              <a:pathLst>
                <a:path w="433202" h="400050" extrusionOk="0">
                  <a:moveTo>
                    <a:pt x="7586" y="4114"/>
                  </a:moveTo>
                  <a:lnTo>
                    <a:pt x="123936" y="5760"/>
                  </a:lnTo>
                  <a:lnTo>
                    <a:pt x="142484" y="56782"/>
                  </a:lnTo>
                  <a:lnTo>
                    <a:pt x="162719" y="53490"/>
                  </a:lnTo>
                  <a:lnTo>
                    <a:pt x="177895" y="58427"/>
                  </a:lnTo>
                  <a:lnTo>
                    <a:pt x="253775" y="56782"/>
                  </a:lnTo>
                  <a:lnTo>
                    <a:pt x="265579" y="51844"/>
                  </a:lnTo>
                  <a:lnTo>
                    <a:pt x="277382" y="40323"/>
                  </a:lnTo>
                  <a:lnTo>
                    <a:pt x="304362" y="76532"/>
                  </a:lnTo>
                  <a:lnTo>
                    <a:pt x="316166" y="111095"/>
                  </a:lnTo>
                  <a:lnTo>
                    <a:pt x="319538" y="137429"/>
                  </a:lnTo>
                  <a:lnTo>
                    <a:pt x="324597" y="153888"/>
                  </a:lnTo>
                  <a:lnTo>
                    <a:pt x="326283" y="153888"/>
                  </a:lnTo>
                  <a:lnTo>
                    <a:pt x="334714" y="158825"/>
                  </a:lnTo>
                  <a:lnTo>
                    <a:pt x="334714" y="163763"/>
                  </a:lnTo>
                  <a:lnTo>
                    <a:pt x="336400" y="171992"/>
                  </a:lnTo>
                  <a:lnTo>
                    <a:pt x="334714" y="176930"/>
                  </a:lnTo>
                  <a:lnTo>
                    <a:pt x="343145" y="178576"/>
                  </a:lnTo>
                  <a:lnTo>
                    <a:pt x="341459" y="183513"/>
                  </a:lnTo>
                  <a:lnTo>
                    <a:pt x="348204" y="186805"/>
                  </a:lnTo>
                  <a:lnTo>
                    <a:pt x="354949" y="191742"/>
                  </a:lnTo>
                  <a:lnTo>
                    <a:pt x="358321" y="190097"/>
                  </a:lnTo>
                  <a:lnTo>
                    <a:pt x="354949" y="185159"/>
                  </a:lnTo>
                  <a:lnTo>
                    <a:pt x="361693" y="176930"/>
                  </a:lnTo>
                  <a:lnTo>
                    <a:pt x="365066" y="175284"/>
                  </a:lnTo>
                  <a:lnTo>
                    <a:pt x="370125" y="176930"/>
                  </a:lnTo>
                  <a:lnTo>
                    <a:pt x="373497" y="183513"/>
                  </a:lnTo>
                  <a:lnTo>
                    <a:pt x="370125" y="186805"/>
                  </a:lnTo>
                  <a:lnTo>
                    <a:pt x="363380" y="185159"/>
                  </a:lnTo>
                  <a:lnTo>
                    <a:pt x="365066" y="191742"/>
                  </a:lnTo>
                  <a:lnTo>
                    <a:pt x="375184" y="195034"/>
                  </a:lnTo>
                  <a:lnTo>
                    <a:pt x="383614" y="203263"/>
                  </a:lnTo>
                  <a:lnTo>
                    <a:pt x="439260" y="239472"/>
                  </a:lnTo>
                  <a:lnTo>
                    <a:pt x="417339" y="269098"/>
                  </a:lnTo>
                  <a:lnTo>
                    <a:pt x="356635" y="252639"/>
                  </a:lnTo>
                  <a:lnTo>
                    <a:pt x="282441" y="246056"/>
                  </a:lnTo>
                  <a:lnTo>
                    <a:pt x="279068" y="267452"/>
                  </a:lnTo>
                  <a:lnTo>
                    <a:pt x="265579" y="269098"/>
                  </a:lnTo>
                  <a:lnTo>
                    <a:pt x="267265" y="274036"/>
                  </a:lnTo>
                  <a:lnTo>
                    <a:pt x="262207" y="274036"/>
                  </a:lnTo>
                  <a:lnTo>
                    <a:pt x="257148" y="280619"/>
                  </a:lnTo>
                  <a:lnTo>
                    <a:pt x="241972" y="278973"/>
                  </a:lnTo>
                  <a:lnTo>
                    <a:pt x="233541" y="283911"/>
                  </a:lnTo>
                  <a:lnTo>
                    <a:pt x="221737" y="283911"/>
                  </a:lnTo>
                  <a:lnTo>
                    <a:pt x="216678" y="288848"/>
                  </a:lnTo>
                  <a:lnTo>
                    <a:pt x="216678" y="293786"/>
                  </a:lnTo>
                  <a:lnTo>
                    <a:pt x="211620" y="297078"/>
                  </a:lnTo>
                  <a:lnTo>
                    <a:pt x="204875" y="298723"/>
                  </a:lnTo>
                  <a:lnTo>
                    <a:pt x="204875" y="293786"/>
                  </a:lnTo>
                  <a:lnTo>
                    <a:pt x="203189" y="295432"/>
                  </a:lnTo>
                  <a:lnTo>
                    <a:pt x="199816" y="302015"/>
                  </a:lnTo>
                  <a:lnTo>
                    <a:pt x="203189" y="305307"/>
                  </a:lnTo>
                  <a:lnTo>
                    <a:pt x="203189" y="310244"/>
                  </a:lnTo>
                  <a:lnTo>
                    <a:pt x="199816" y="305307"/>
                  </a:lnTo>
                  <a:lnTo>
                    <a:pt x="194757" y="308599"/>
                  </a:lnTo>
                  <a:lnTo>
                    <a:pt x="201502" y="318474"/>
                  </a:lnTo>
                  <a:lnTo>
                    <a:pt x="193071" y="320120"/>
                  </a:lnTo>
                  <a:lnTo>
                    <a:pt x="191385" y="325057"/>
                  </a:lnTo>
                  <a:lnTo>
                    <a:pt x="193071" y="326703"/>
                  </a:lnTo>
                  <a:lnTo>
                    <a:pt x="186326" y="331641"/>
                  </a:lnTo>
                  <a:lnTo>
                    <a:pt x="191385" y="334933"/>
                  </a:lnTo>
                  <a:lnTo>
                    <a:pt x="188013" y="346454"/>
                  </a:lnTo>
                  <a:lnTo>
                    <a:pt x="181268" y="349745"/>
                  </a:lnTo>
                  <a:lnTo>
                    <a:pt x="182954" y="359620"/>
                  </a:lnTo>
                  <a:lnTo>
                    <a:pt x="167778" y="372787"/>
                  </a:lnTo>
                  <a:lnTo>
                    <a:pt x="110446" y="399121"/>
                  </a:lnTo>
                  <a:lnTo>
                    <a:pt x="95270" y="395829"/>
                  </a:lnTo>
                  <a:lnTo>
                    <a:pt x="100329" y="372787"/>
                  </a:lnTo>
                  <a:lnTo>
                    <a:pt x="95270" y="371141"/>
                  </a:lnTo>
                  <a:lnTo>
                    <a:pt x="88525" y="353037"/>
                  </a:lnTo>
                  <a:lnTo>
                    <a:pt x="83467" y="354683"/>
                  </a:lnTo>
                  <a:lnTo>
                    <a:pt x="80094" y="348099"/>
                  </a:lnTo>
                  <a:lnTo>
                    <a:pt x="91898" y="331641"/>
                  </a:lnTo>
                  <a:lnTo>
                    <a:pt x="37938" y="331641"/>
                  </a:lnTo>
                  <a:lnTo>
                    <a:pt x="37938" y="270744"/>
                  </a:lnTo>
                  <a:lnTo>
                    <a:pt x="22763" y="209847"/>
                  </a:lnTo>
                  <a:lnTo>
                    <a:pt x="26135" y="208201"/>
                  </a:lnTo>
                  <a:lnTo>
                    <a:pt x="24449" y="201618"/>
                  </a:lnTo>
                  <a:lnTo>
                    <a:pt x="19390" y="196680"/>
                  </a:lnTo>
                  <a:lnTo>
                    <a:pt x="21076" y="190097"/>
                  </a:lnTo>
                  <a:lnTo>
                    <a:pt x="17704" y="173638"/>
                  </a:lnTo>
                  <a:lnTo>
                    <a:pt x="29507" y="175284"/>
                  </a:lnTo>
                  <a:lnTo>
                    <a:pt x="36252" y="180221"/>
                  </a:lnTo>
                  <a:lnTo>
                    <a:pt x="48056" y="170346"/>
                  </a:lnTo>
                  <a:lnTo>
                    <a:pt x="51428" y="171992"/>
                  </a:lnTo>
                  <a:lnTo>
                    <a:pt x="63232" y="167054"/>
                  </a:lnTo>
                  <a:lnTo>
                    <a:pt x="4214" y="4114"/>
                  </a:lnTo>
                  <a:lnTo>
                    <a:pt x="758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1" name="Aalten">
              <a:extLst>
                <a:ext uri="{FF2B5EF4-FFF2-40B4-BE49-F238E27FC236}">
                  <a16:creationId xmlns:a16="http://schemas.microsoft.com/office/drawing/2014/main" id="{569FD17C-564E-4AC2-B9FA-9CA9BAAC7816}"/>
                </a:ext>
              </a:extLst>
            </p:cNvPr>
            <p:cNvSpPr/>
            <p:nvPr/>
          </p:nvSpPr>
          <p:spPr>
            <a:xfrm>
              <a:off x="7352461" y="3724509"/>
              <a:ext cx="236815" cy="183679"/>
            </a:xfrm>
            <a:custGeom>
              <a:avLst/>
              <a:gdLst/>
              <a:ahLst/>
              <a:cxnLst/>
              <a:rect l="l" t="t" r="r" b="b"/>
              <a:pathLst>
                <a:path w="316120" h="297180" extrusionOk="0">
                  <a:moveTo>
                    <a:pt x="154288" y="7406"/>
                  </a:moveTo>
                  <a:lnTo>
                    <a:pt x="161033" y="9052"/>
                  </a:lnTo>
                  <a:lnTo>
                    <a:pt x="169464" y="5760"/>
                  </a:lnTo>
                  <a:lnTo>
                    <a:pt x="194758" y="7406"/>
                  </a:lnTo>
                  <a:lnTo>
                    <a:pt x="194758" y="10698"/>
                  </a:lnTo>
                  <a:lnTo>
                    <a:pt x="204875" y="10698"/>
                  </a:lnTo>
                  <a:lnTo>
                    <a:pt x="250403" y="18927"/>
                  </a:lnTo>
                  <a:lnTo>
                    <a:pt x="258834" y="22219"/>
                  </a:lnTo>
                  <a:lnTo>
                    <a:pt x="267265" y="30448"/>
                  </a:lnTo>
                  <a:lnTo>
                    <a:pt x="267265" y="37031"/>
                  </a:lnTo>
                  <a:lnTo>
                    <a:pt x="252089" y="60074"/>
                  </a:lnTo>
                  <a:lnTo>
                    <a:pt x="258834" y="66657"/>
                  </a:lnTo>
                  <a:lnTo>
                    <a:pt x="260520" y="73241"/>
                  </a:lnTo>
                  <a:lnTo>
                    <a:pt x="257148" y="89699"/>
                  </a:lnTo>
                  <a:lnTo>
                    <a:pt x="260520" y="89699"/>
                  </a:lnTo>
                  <a:lnTo>
                    <a:pt x="260520" y="96283"/>
                  </a:lnTo>
                  <a:lnTo>
                    <a:pt x="275697" y="107803"/>
                  </a:lnTo>
                  <a:lnTo>
                    <a:pt x="287500" y="112741"/>
                  </a:lnTo>
                  <a:lnTo>
                    <a:pt x="290872" y="107803"/>
                  </a:lnTo>
                  <a:lnTo>
                    <a:pt x="295931" y="107803"/>
                  </a:lnTo>
                  <a:lnTo>
                    <a:pt x="295931" y="112741"/>
                  </a:lnTo>
                  <a:lnTo>
                    <a:pt x="299304" y="111095"/>
                  </a:lnTo>
                  <a:lnTo>
                    <a:pt x="297617" y="122616"/>
                  </a:lnTo>
                  <a:lnTo>
                    <a:pt x="306049" y="132492"/>
                  </a:lnTo>
                  <a:lnTo>
                    <a:pt x="306049" y="135783"/>
                  </a:lnTo>
                  <a:lnTo>
                    <a:pt x="302676" y="135783"/>
                  </a:lnTo>
                  <a:lnTo>
                    <a:pt x="302676" y="142367"/>
                  </a:lnTo>
                  <a:lnTo>
                    <a:pt x="307735" y="140721"/>
                  </a:lnTo>
                  <a:lnTo>
                    <a:pt x="314480" y="147304"/>
                  </a:lnTo>
                  <a:lnTo>
                    <a:pt x="267265" y="170346"/>
                  </a:lnTo>
                  <a:lnTo>
                    <a:pt x="262207" y="178576"/>
                  </a:lnTo>
                  <a:lnTo>
                    <a:pt x="252089" y="180221"/>
                  </a:lnTo>
                  <a:lnTo>
                    <a:pt x="248717" y="176930"/>
                  </a:lnTo>
                  <a:lnTo>
                    <a:pt x="188013" y="196680"/>
                  </a:lnTo>
                  <a:lnTo>
                    <a:pt x="164406" y="211493"/>
                  </a:lnTo>
                  <a:lnTo>
                    <a:pt x="150916" y="221368"/>
                  </a:lnTo>
                  <a:lnTo>
                    <a:pt x="150916" y="226306"/>
                  </a:lnTo>
                  <a:lnTo>
                    <a:pt x="142485" y="227952"/>
                  </a:lnTo>
                  <a:lnTo>
                    <a:pt x="142485" y="223014"/>
                  </a:lnTo>
                  <a:lnTo>
                    <a:pt x="137426" y="221368"/>
                  </a:lnTo>
                  <a:lnTo>
                    <a:pt x="137426" y="216431"/>
                  </a:lnTo>
                  <a:lnTo>
                    <a:pt x="130681" y="218076"/>
                  </a:lnTo>
                  <a:lnTo>
                    <a:pt x="134053" y="224660"/>
                  </a:lnTo>
                  <a:lnTo>
                    <a:pt x="125622" y="221368"/>
                  </a:lnTo>
                  <a:lnTo>
                    <a:pt x="118878" y="229597"/>
                  </a:lnTo>
                  <a:lnTo>
                    <a:pt x="102015" y="239473"/>
                  </a:lnTo>
                  <a:lnTo>
                    <a:pt x="103701" y="241118"/>
                  </a:lnTo>
                  <a:lnTo>
                    <a:pt x="95270" y="247702"/>
                  </a:lnTo>
                  <a:lnTo>
                    <a:pt x="81780" y="247702"/>
                  </a:lnTo>
                  <a:lnTo>
                    <a:pt x="63232" y="262515"/>
                  </a:lnTo>
                  <a:lnTo>
                    <a:pt x="59860" y="260869"/>
                  </a:lnTo>
                  <a:lnTo>
                    <a:pt x="61546" y="269098"/>
                  </a:lnTo>
                  <a:lnTo>
                    <a:pt x="56487" y="277328"/>
                  </a:lnTo>
                  <a:lnTo>
                    <a:pt x="31194" y="288849"/>
                  </a:lnTo>
                  <a:lnTo>
                    <a:pt x="22763" y="288849"/>
                  </a:lnTo>
                  <a:lnTo>
                    <a:pt x="16018" y="297078"/>
                  </a:lnTo>
                  <a:lnTo>
                    <a:pt x="4214" y="293786"/>
                  </a:lnTo>
                  <a:lnTo>
                    <a:pt x="9273" y="282265"/>
                  </a:lnTo>
                  <a:lnTo>
                    <a:pt x="9273" y="272390"/>
                  </a:lnTo>
                  <a:lnTo>
                    <a:pt x="14332" y="270744"/>
                  </a:lnTo>
                  <a:lnTo>
                    <a:pt x="14332" y="260869"/>
                  </a:lnTo>
                  <a:lnTo>
                    <a:pt x="29508" y="247702"/>
                  </a:lnTo>
                  <a:lnTo>
                    <a:pt x="32880" y="236181"/>
                  </a:lnTo>
                  <a:lnTo>
                    <a:pt x="24449" y="213139"/>
                  </a:lnTo>
                  <a:lnTo>
                    <a:pt x="27822" y="199972"/>
                  </a:lnTo>
                  <a:lnTo>
                    <a:pt x="14332" y="167055"/>
                  </a:lnTo>
                  <a:lnTo>
                    <a:pt x="37939" y="155534"/>
                  </a:lnTo>
                  <a:lnTo>
                    <a:pt x="36253" y="150596"/>
                  </a:lnTo>
                  <a:lnTo>
                    <a:pt x="42997" y="147304"/>
                  </a:lnTo>
                  <a:lnTo>
                    <a:pt x="41311" y="142367"/>
                  </a:lnTo>
                  <a:lnTo>
                    <a:pt x="44684" y="142367"/>
                  </a:lnTo>
                  <a:lnTo>
                    <a:pt x="44684" y="122616"/>
                  </a:lnTo>
                  <a:lnTo>
                    <a:pt x="51428" y="112741"/>
                  </a:lnTo>
                  <a:lnTo>
                    <a:pt x="48056" y="111095"/>
                  </a:lnTo>
                  <a:lnTo>
                    <a:pt x="59860" y="89699"/>
                  </a:lnTo>
                  <a:lnTo>
                    <a:pt x="56487" y="89699"/>
                  </a:lnTo>
                  <a:lnTo>
                    <a:pt x="61546" y="73241"/>
                  </a:lnTo>
                  <a:lnTo>
                    <a:pt x="81780" y="68303"/>
                  </a:lnTo>
                  <a:lnTo>
                    <a:pt x="85153" y="50198"/>
                  </a:lnTo>
                  <a:lnTo>
                    <a:pt x="105388" y="33740"/>
                  </a:lnTo>
                  <a:lnTo>
                    <a:pt x="95270" y="23864"/>
                  </a:lnTo>
                  <a:lnTo>
                    <a:pt x="125622" y="7406"/>
                  </a:lnTo>
                  <a:lnTo>
                    <a:pt x="144171" y="4114"/>
                  </a:lnTo>
                  <a:lnTo>
                    <a:pt x="154288" y="740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2" name="Gorinchem">
              <a:extLst>
                <a:ext uri="{FF2B5EF4-FFF2-40B4-BE49-F238E27FC236}">
                  <a16:creationId xmlns:a16="http://schemas.microsoft.com/office/drawing/2014/main" id="{B0CC08E7-9AAC-4FFD-B440-2695F689D1D5}"/>
                </a:ext>
              </a:extLst>
            </p:cNvPr>
            <p:cNvSpPr/>
            <p:nvPr/>
          </p:nvSpPr>
          <p:spPr>
            <a:xfrm>
              <a:off x="5741113" y="3908935"/>
              <a:ext cx="127543" cy="75608"/>
            </a:xfrm>
            <a:custGeom>
              <a:avLst/>
              <a:gdLst/>
              <a:ahLst/>
              <a:cxnLst/>
              <a:rect l="l" t="t" r="r" b="b"/>
              <a:pathLst>
                <a:path w="175622" h="114300" extrusionOk="0">
                  <a:moveTo>
                    <a:pt x="46370" y="10698"/>
                  </a:moveTo>
                  <a:lnTo>
                    <a:pt x="59859" y="15635"/>
                  </a:lnTo>
                  <a:lnTo>
                    <a:pt x="63232" y="7406"/>
                  </a:lnTo>
                  <a:lnTo>
                    <a:pt x="83467" y="13989"/>
                  </a:lnTo>
                  <a:lnTo>
                    <a:pt x="98642" y="20573"/>
                  </a:lnTo>
                  <a:lnTo>
                    <a:pt x="96956" y="33740"/>
                  </a:lnTo>
                  <a:lnTo>
                    <a:pt x="118877" y="40323"/>
                  </a:lnTo>
                  <a:lnTo>
                    <a:pt x="123936" y="32094"/>
                  </a:lnTo>
                  <a:lnTo>
                    <a:pt x="123936" y="51844"/>
                  </a:lnTo>
                  <a:lnTo>
                    <a:pt x="128995" y="53490"/>
                  </a:lnTo>
                  <a:lnTo>
                    <a:pt x="130681" y="50198"/>
                  </a:lnTo>
                  <a:lnTo>
                    <a:pt x="142484" y="56782"/>
                  </a:lnTo>
                  <a:lnTo>
                    <a:pt x="172836" y="60074"/>
                  </a:lnTo>
                  <a:lnTo>
                    <a:pt x="164405" y="114387"/>
                  </a:lnTo>
                  <a:lnTo>
                    <a:pt x="137426" y="107803"/>
                  </a:lnTo>
                  <a:lnTo>
                    <a:pt x="105388" y="107803"/>
                  </a:lnTo>
                  <a:lnTo>
                    <a:pt x="26135" y="89699"/>
                  </a:lnTo>
                  <a:lnTo>
                    <a:pt x="12645" y="89699"/>
                  </a:lnTo>
                  <a:lnTo>
                    <a:pt x="9273" y="61719"/>
                  </a:lnTo>
                  <a:lnTo>
                    <a:pt x="4214" y="60074"/>
                  </a:lnTo>
                  <a:lnTo>
                    <a:pt x="17704" y="61719"/>
                  </a:lnTo>
                  <a:lnTo>
                    <a:pt x="27821" y="55136"/>
                  </a:lnTo>
                  <a:lnTo>
                    <a:pt x="29507" y="51844"/>
                  </a:lnTo>
                  <a:lnTo>
                    <a:pt x="37938" y="50198"/>
                  </a:lnTo>
                  <a:lnTo>
                    <a:pt x="31194" y="4114"/>
                  </a:lnTo>
                  <a:lnTo>
                    <a:pt x="46370" y="1069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3" name="Hof van Twente">
              <a:extLst>
                <a:ext uri="{FF2B5EF4-FFF2-40B4-BE49-F238E27FC236}">
                  <a16:creationId xmlns:a16="http://schemas.microsoft.com/office/drawing/2014/main" id="{262F81D0-FC3A-485E-AAC3-6540F86B408C}"/>
                </a:ext>
              </a:extLst>
            </p:cNvPr>
            <p:cNvSpPr/>
            <p:nvPr/>
          </p:nvSpPr>
          <p:spPr>
            <a:xfrm>
              <a:off x="7296743" y="3167419"/>
              <a:ext cx="360950" cy="234818"/>
            </a:xfrm>
            <a:custGeom>
              <a:avLst/>
              <a:gdLst/>
              <a:ahLst/>
              <a:cxnLst/>
              <a:rect l="l" t="t" r="r" b="b"/>
              <a:pathLst>
                <a:path w="515159" h="354330" extrusionOk="0">
                  <a:moveTo>
                    <a:pt x="422398" y="4114"/>
                  </a:moveTo>
                  <a:lnTo>
                    <a:pt x="435887" y="5760"/>
                  </a:lnTo>
                  <a:lnTo>
                    <a:pt x="449377" y="15635"/>
                  </a:lnTo>
                  <a:lnTo>
                    <a:pt x="469612" y="35385"/>
                  </a:lnTo>
                  <a:lnTo>
                    <a:pt x="478043" y="46906"/>
                  </a:lnTo>
                  <a:lnTo>
                    <a:pt x="483102" y="48552"/>
                  </a:lnTo>
                  <a:lnTo>
                    <a:pt x="501650" y="68303"/>
                  </a:lnTo>
                  <a:lnTo>
                    <a:pt x="508395" y="86407"/>
                  </a:lnTo>
                  <a:lnTo>
                    <a:pt x="508395" y="97928"/>
                  </a:lnTo>
                  <a:lnTo>
                    <a:pt x="506709" y="104512"/>
                  </a:lnTo>
                  <a:lnTo>
                    <a:pt x="515140" y="139075"/>
                  </a:lnTo>
                  <a:lnTo>
                    <a:pt x="508395" y="140720"/>
                  </a:lnTo>
                  <a:lnTo>
                    <a:pt x="471298" y="139075"/>
                  </a:lnTo>
                  <a:lnTo>
                    <a:pt x="464553" y="148950"/>
                  </a:lnTo>
                  <a:lnTo>
                    <a:pt x="462867" y="160471"/>
                  </a:lnTo>
                  <a:lnTo>
                    <a:pt x="466239" y="160471"/>
                  </a:lnTo>
                  <a:lnTo>
                    <a:pt x="467926" y="173638"/>
                  </a:lnTo>
                  <a:lnTo>
                    <a:pt x="462867" y="175284"/>
                  </a:lnTo>
                  <a:lnTo>
                    <a:pt x="461181" y="167054"/>
                  </a:lnTo>
                  <a:lnTo>
                    <a:pt x="454436" y="203264"/>
                  </a:lnTo>
                  <a:lnTo>
                    <a:pt x="440946" y="219722"/>
                  </a:lnTo>
                  <a:lnTo>
                    <a:pt x="439260" y="226306"/>
                  </a:lnTo>
                  <a:lnTo>
                    <a:pt x="456122" y="250993"/>
                  </a:lnTo>
                  <a:lnTo>
                    <a:pt x="442632" y="270744"/>
                  </a:lnTo>
                  <a:lnTo>
                    <a:pt x="434201" y="275682"/>
                  </a:lnTo>
                  <a:lnTo>
                    <a:pt x="395418" y="272390"/>
                  </a:lnTo>
                  <a:lnTo>
                    <a:pt x="366752" y="283911"/>
                  </a:lnTo>
                  <a:lnTo>
                    <a:pt x="322911" y="295432"/>
                  </a:lnTo>
                  <a:lnTo>
                    <a:pt x="329655" y="300369"/>
                  </a:lnTo>
                  <a:lnTo>
                    <a:pt x="338086" y="302015"/>
                  </a:lnTo>
                  <a:lnTo>
                    <a:pt x="346518" y="313536"/>
                  </a:lnTo>
                  <a:lnTo>
                    <a:pt x="351576" y="313536"/>
                  </a:lnTo>
                  <a:lnTo>
                    <a:pt x="358321" y="323411"/>
                  </a:lnTo>
                  <a:lnTo>
                    <a:pt x="348204" y="346453"/>
                  </a:lnTo>
                  <a:lnTo>
                    <a:pt x="339773" y="334932"/>
                  </a:lnTo>
                  <a:lnTo>
                    <a:pt x="333028" y="331641"/>
                  </a:lnTo>
                  <a:lnTo>
                    <a:pt x="329655" y="336579"/>
                  </a:lnTo>
                  <a:lnTo>
                    <a:pt x="324597" y="336579"/>
                  </a:lnTo>
                  <a:lnTo>
                    <a:pt x="326283" y="338224"/>
                  </a:lnTo>
                  <a:lnTo>
                    <a:pt x="324597" y="344808"/>
                  </a:lnTo>
                  <a:lnTo>
                    <a:pt x="319538" y="344808"/>
                  </a:lnTo>
                  <a:lnTo>
                    <a:pt x="304362" y="357975"/>
                  </a:lnTo>
                  <a:lnTo>
                    <a:pt x="300989" y="353037"/>
                  </a:lnTo>
                  <a:lnTo>
                    <a:pt x="297617" y="353037"/>
                  </a:lnTo>
                  <a:lnTo>
                    <a:pt x="290872" y="343162"/>
                  </a:lnTo>
                  <a:lnTo>
                    <a:pt x="295931" y="334932"/>
                  </a:lnTo>
                  <a:lnTo>
                    <a:pt x="270638" y="311890"/>
                  </a:lnTo>
                  <a:lnTo>
                    <a:pt x="218365" y="325057"/>
                  </a:lnTo>
                  <a:lnTo>
                    <a:pt x="155974" y="316828"/>
                  </a:lnTo>
                  <a:lnTo>
                    <a:pt x="127308" y="326703"/>
                  </a:lnTo>
                  <a:lnTo>
                    <a:pt x="122250" y="326703"/>
                  </a:lnTo>
                  <a:lnTo>
                    <a:pt x="120563" y="320120"/>
                  </a:lnTo>
                  <a:lnTo>
                    <a:pt x="102015" y="315182"/>
                  </a:lnTo>
                  <a:lnTo>
                    <a:pt x="88525" y="290494"/>
                  </a:lnTo>
                  <a:lnTo>
                    <a:pt x="88525" y="274035"/>
                  </a:lnTo>
                  <a:lnTo>
                    <a:pt x="68290" y="270744"/>
                  </a:lnTo>
                  <a:lnTo>
                    <a:pt x="64918" y="267452"/>
                  </a:lnTo>
                  <a:lnTo>
                    <a:pt x="54801" y="247702"/>
                  </a:lnTo>
                  <a:lnTo>
                    <a:pt x="41311" y="231243"/>
                  </a:lnTo>
                  <a:lnTo>
                    <a:pt x="29507" y="223014"/>
                  </a:lnTo>
                  <a:lnTo>
                    <a:pt x="14331" y="196680"/>
                  </a:lnTo>
                  <a:lnTo>
                    <a:pt x="5900" y="183513"/>
                  </a:lnTo>
                  <a:lnTo>
                    <a:pt x="4214" y="171992"/>
                  </a:lnTo>
                  <a:lnTo>
                    <a:pt x="19390" y="155533"/>
                  </a:lnTo>
                  <a:lnTo>
                    <a:pt x="22763" y="157179"/>
                  </a:lnTo>
                  <a:lnTo>
                    <a:pt x="27821" y="150596"/>
                  </a:lnTo>
                  <a:lnTo>
                    <a:pt x="24449" y="148950"/>
                  </a:lnTo>
                  <a:lnTo>
                    <a:pt x="73349" y="119324"/>
                  </a:lnTo>
                  <a:lnTo>
                    <a:pt x="95270" y="97928"/>
                  </a:lnTo>
                  <a:lnTo>
                    <a:pt x="142484" y="76532"/>
                  </a:lnTo>
                  <a:lnTo>
                    <a:pt x="164405" y="69949"/>
                  </a:lnTo>
                  <a:lnTo>
                    <a:pt x="193071" y="71594"/>
                  </a:lnTo>
                  <a:lnTo>
                    <a:pt x="211620" y="69949"/>
                  </a:lnTo>
                  <a:lnTo>
                    <a:pt x="225109" y="91345"/>
                  </a:lnTo>
                  <a:lnTo>
                    <a:pt x="233541" y="101220"/>
                  </a:lnTo>
                  <a:lnTo>
                    <a:pt x="245344" y="102866"/>
                  </a:lnTo>
                  <a:lnTo>
                    <a:pt x="274010" y="97928"/>
                  </a:lnTo>
                  <a:lnTo>
                    <a:pt x="290872" y="97928"/>
                  </a:lnTo>
                  <a:lnTo>
                    <a:pt x="321224" y="51844"/>
                  </a:lnTo>
                  <a:lnTo>
                    <a:pt x="331341" y="48552"/>
                  </a:lnTo>
                  <a:lnTo>
                    <a:pt x="336400" y="50198"/>
                  </a:lnTo>
                  <a:lnTo>
                    <a:pt x="338086" y="46906"/>
                  </a:lnTo>
                  <a:lnTo>
                    <a:pt x="344831" y="46906"/>
                  </a:lnTo>
                  <a:lnTo>
                    <a:pt x="353262" y="41969"/>
                  </a:lnTo>
                  <a:lnTo>
                    <a:pt x="368439" y="38677"/>
                  </a:lnTo>
                  <a:lnTo>
                    <a:pt x="368439" y="37031"/>
                  </a:lnTo>
                  <a:lnTo>
                    <a:pt x="395418" y="22219"/>
                  </a:lnTo>
                  <a:lnTo>
                    <a:pt x="407222" y="10697"/>
                  </a:lnTo>
                  <a:lnTo>
                    <a:pt x="422398"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4" name="Meppel">
              <a:extLst>
                <a:ext uri="{FF2B5EF4-FFF2-40B4-BE49-F238E27FC236}">
                  <a16:creationId xmlns:a16="http://schemas.microsoft.com/office/drawing/2014/main" id="{DF776E61-F85D-454D-B6DE-1985A01627EA}"/>
                </a:ext>
              </a:extLst>
            </p:cNvPr>
            <p:cNvSpPr/>
            <p:nvPr/>
          </p:nvSpPr>
          <p:spPr>
            <a:xfrm>
              <a:off x="7000304" y="2420459"/>
              <a:ext cx="168266" cy="166772"/>
            </a:xfrm>
            <a:custGeom>
              <a:avLst/>
              <a:gdLst/>
              <a:ahLst/>
              <a:cxnLst/>
              <a:rect l="l" t="t" r="r" b="b"/>
              <a:pathLst>
                <a:path w="257579" h="251460" extrusionOk="0">
                  <a:moveTo>
                    <a:pt x="86839" y="9052"/>
                  </a:moveTo>
                  <a:lnTo>
                    <a:pt x="127309" y="109449"/>
                  </a:lnTo>
                  <a:lnTo>
                    <a:pt x="152602" y="63365"/>
                  </a:lnTo>
                  <a:lnTo>
                    <a:pt x="176209" y="81470"/>
                  </a:lnTo>
                  <a:lnTo>
                    <a:pt x="150916" y="130845"/>
                  </a:lnTo>
                  <a:lnTo>
                    <a:pt x="150916" y="171992"/>
                  </a:lnTo>
                  <a:lnTo>
                    <a:pt x="162719" y="171992"/>
                  </a:lnTo>
                  <a:lnTo>
                    <a:pt x="174523" y="163763"/>
                  </a:lnTo>
                  <a:lnTo>
                    <a:pt x="181268" y="165409"/>
                  </a:lnTo>
                  <a:lnTo>
                    <a:pt x="198130" y="158825"/>
                  </a:lnTo>
                  <a:lnTo>
                    <a:pt x="204875" y="165409"/>
                  </a:lnTo>
                  <a:lnTo>
                    <a:pt x="236913" y="163763"/>
                  </a:lnTo>
                  <a:lnTo>
                    <a:pt x="236913" y="170346"/>
                  </a:lnTo>
                  <a:lnTo>
                    <a:pt x="241972" y="170346"/>
                  </a:lnTo>
                  <a:lnTo>
                    <a:pt x="240286" y="176930"/>
                  </a:lnTo>
                  <a:lnTo>
                    <a:pt x="241972" y="175284"/>
                  </a:lnTo>
                  <a:lnTo>
                    <a:pt x="245344" y="178576"/>
                  </a:lnTo>
                  <a:lnTo>
                    <a:pt x="240286" y="183513"/>
                  </a:lnTo>
                  <a:lnTo>
                    <a:pt x="238599" y="190097"/>
                  </a:lnTo>
                  <a:lnTo>
                    <a:pt x="255461" y="180221"/>
                  </a:lnTo>
                  <a:lnTo>
                    <a:pt x="253775" y="203264"/>
                  </a:lnTo>
                  <a:lnTo>
                    <a:pt x="240286" y="201618"/>
                  </a:lnTo>
                  <a:lnTo>
                    <a:pt x="238599" y="208201"/>
                  </a:lnTo>
                  <a:lnTo>
                    <a:pt x="252089" y="216430"/>
                  </a:lnTo>
                  <a:lnTo>
                    <a:pt x="252089" y="221368"/>
                  </a:lnTo>
                  <a:lnTo>
                    <a:pt x="238599" y="218076"/>
                  </a:lnTo>
                  <a:lnTo>
                    <a:pt x="230168" y="221368"/>
                  </a:lnTo>
                  <a:lnTo>
                    <a:pt x="235227" y="241118"/>
                  </a:lnTo>
                  <a:lnTo>
                    <a:pt x="230168" y="242764"/>
                  </a:lnTo>
                  <a:lnTo>
                    <a:pt x="225109" y="255931"/>
                  </a:lnTo>
                  <a:lnTo>
                    <a:pt x="225109" y="252639"/>
                  </a:lnTo>
                  <a:lnTo>
                    <a:pt x="216678" y="249348"/>
                  </a:lnTo>
                  <a:lnTo>
                    <a:pt x="204875" y="250994"/>
                  </a:lnTo>
                  <a:lnTo>
                    <a:pt x="203188" y="247702"/>
                  </a:lnTo>
                  <a:lnTo>
                    <a:pt x="199816" y="247702"/>
                  </a:lnTo>
                  <a:lnTo>
                    <a:pt x="196443" y="244410"/>
                  </a:lnTo>
                  <a:lnTo>
                    <a:pt x="199816" y="242764"/>
                  </a:lnTo>
                  <a:lnTo>
                    <a:pt x="198130" y="237827"/>
                  </a:lnTo>
                  <a:lnTo>
                    <a:pt x="191385" y="229597"/>
                  </a:lnTo>
                  <a:lnTo>
                    <a:pt x="181268" y="232889"/>
                  </a:lnTo>
                  <a:lnTo>
                    <a:pt x="174523" y="229597"/>
                  </a:lnTo>
                  <a:lnTo>
                    <a:pt x="176209" y="226306"/>
                  </a:lnTo>
                  <a:lnTo>
                    <a:pt x="174523" y="224660"/>
                  </a:lnTo>
                  <a:lnTo>
                    <a:pt x="166092" y="224660"/>
                  </a:lnTo>
                  <a:lnTo>
                    <a:pt x="157661" y="221368"/>
                  </a:lnTo>
                  <a:lnTo>
                    <a:pt x="154288" y="216430"/>
                  </a:lnTo>
                  <a:lnTo>
                    <a:pt x="155974" y="213139"/>
                  </a:lnTo>
                  <a:lnTo>
                    <a:pt x="152602" y="214785"/>
                  </a:lnTo>
                  <a:lnTo>
                    <a:pt x="150916" y="211493"/>
                  </a:lnTo>
                  <a:lnTo>
                    <a:pt x="147543" y="213139"/>
                  </a:lnTo>
                  <a:lnTo>
                    <a:pt x="144171" y="216430"/>
                  </a:lnTo>
                  <a:lnTo>
                    <a:pt x="128995" y="216430"/>
                  </a:lnTo>
                  <a:lnTo>
                    <a:pt x="118877" y="229597"/>
                  </a:lnTo>
                  <a:lnTo>
                    <a:pt x="117191" y="236181"/>
                  </a:lnTo>
                  <a:lnTo>
                    <a:pt x="113819" y="236181"/>
                  </a:lnTo>
                  <a:lnTo>
                    <a:pt x="112132" y="229597"/>
                  </a:lnTo>
                  <a:lnTo>
                    <a:pt x="107074" y="229597"/>
                  </a:lnTo>
                  <a:lnTo>
                    <a:pt x="103701" y="221368"/>
                  </a:lnTo>
                  <a:lnTo>
                    <a:pt x="96957" y="224660"/>
                  </a:lnTo>
                  <a:lnTo>
                    <a:pt x="102015" y="234535"/>
                  </a:lnTo>
                  <a:lnTo>
                    <a:pt x="98643" y="236181"/>
                  </a:lnTo>
                  <a:lnTo>
                    <a:pt x="100329" y="239473"/>
                  </a:lnTo>
                  <a:lnTo>
                    <a:pt x="69977" y="227951"/>
                  </a:lnTo>
                  <a:lnTo>
                    <a:pt x="80094" y="213139"/>
                  </a:lnTo>
                  <a:lnTo>
                    <a:pt x="68291" y="201618"/>
                  </a:lnTo>
                  <a:lnTo>
                    <a:pt x="63232" y="198326"/>
                  </a:lnTo>
                  <a:lnTo>
                    <a:pt x="59859" y="199972"/>
                  </a:lnTo>
                  <a:lnTo>
                    <a:pt x="48056" y="162117"/>
                  </a:lnTo>
                  <a:lnTo>
                    <a:pt x="4214" y="58428"/>
                  </a:lnTo>
                  <a:lnTo>
                    <a:pt x="5900" y="50198"/>
                  </a:lnTo>
                  <a:lnTo>
                    <a:pt x="14332" y="43615"/>
                  </a:lnTo>
                  <a:lnTo>
                    <a:pt x="58173" y="28802"/>
                  </a:lnTo>
                  <a:lnTo>
                    <a:pt x="69977" y="20573"/>
                  </a:lnTo>
                  <a:lnTo>
                    <a:pt x="76722" y="18927"/>
                  </a:lnTo>
                  <a:lnTo>
                    <a:pt x="81780" y="4114"/>
                  </a:lnTo>
                  <a:lnTo>
                    <a:pt x="86839" y="905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5" name="Maasgouw">
              <a:extLst>
                <a:ext uri="{FF2B5EF4-FFF2-40B4-BE49-F238E27FC236}">
                  <a16:creationId xmlns:a16="http://schemas.microsoft.com/office/drawing/2014/main" id="{E435E226-53A7-44B1-A006-98DEE2CD6836}"/>
                </a:ext>
              </a:extLst>
            </p:cNvPr>
            <p:cNvSpPr/>
            <p:nvPr/>
          </p:nvSpPr>
          <p:spPr>
            <a:xfrm>
              <a:off x="6681436" y="4955344"/>
              <a:ext cx="165263" cy="202789"/>
            </a:xfrm>
            <a:custGeom>
              <a:avLst/>
              <a:gdLst/>
              <a:ahLst/>
              <a:cxnLst/>
              <a:rect l="l" t="t" r="r" b="b"/>
              <a:pathLst>
                <a:path w="234163" h="285750" extrusionOk="0">
                  <a:moveTo>
                    <a:pt x="135740" y="4114"/>
                  </a:moveTo>
                  <a:lnTo>
                    <a:pt x="157661" y="15635"/>
                  </a:lnTo>
                  <a:lnTo>
                    <a:pt x="159347" y="22218"/>
                  </a:lnTo>
                  <a:lnTo>
                    <a:pt x="154288" y="27156"/>
                  </a:lnTo>
                  <a:lnTo>
                    <a:pt x="155974" y="28802"/>
                  </a:lnTo>
                  <a:lnTo>
                    <a:pt x="167778" y="20573"/>
                  </a:lnTo>
                  <a:lnTo>
                    <a:pt x="184640" y="33740"/>
                  </a:lnTo>
                  <a:lnTo>
                    <a:pt x="216678" y="33740"/>
                  </a:lnTo>
                  <a:lnTo>
                    <a:pt x="225110" y="40323"/>
                  </a:lnTo>
                  <a:lnTo>
                    <a:pt x="199816" y="61719"/>
                  </a:lnTo>
                  <a:lnTo>
                    <a:pt x="189699" y="74886"/>
                  </a:lnTo>
                  <a:lnTo>
                    <a:pt x="179582" y="92991"/>
                  </a:lnTo>
                  <a:lnTo>
                    <a:pt x="186326" y="96282"/>
                  </a:lnTo>
                  <a:lnTo>
                    <a:pt x="179582" y="112741"/>
                  </a:lnTo>
                  <a:lnTo>
                    <a:pt x="172837" y="117679"/>
                  </a:lnTo>
                  <a:lnTo>
                    <a:pt x="181268" y="116032"/>
                  </a:lnTo>
                  <a:lnTo>
                    <a:pt x="188013" y="117679"/>
                  </a:lnTo>
                  <a:lnTo>
                    <a:pt x="209934" y="137429"/>
                  </a:lnTo>
                  <a:lnTo>
                    <a:pt x="220051" y="137429"/>
                  </a:lnTo>
                  <a:lnTo>
                    <a:pt x="228482" y="142367"/>
                  </a:lnTo>
                  <a:lnTo>
                    <a:pt x="233541" y="140721"/>
                  </a:lnTo>
                  <a:lnTo>
                    <a:pt x="164405" y="208201"/>
                  </a:lnTo>
                  <a:lnTo>
                    <a:pt x="159347" y="199971"/>
                  </a:lnTo>
                  <a:lnTo>
                    <a:pt x="152602" y="204909"/>
                  </a:lnTo>
                  <a:lnTo>
                    <a:pt x="144171" y="198326"/>
                  </a:lnTo>
                  <a:lnTo>
                    <a:pt x="132367" y="201618"/>
                  </a:lnTo>
                  <a:lnTo>
                    <a:pt x="125622" y="199971"/>
                  </a:lnTo>
                  <a:lnTo>
                    <a:pt x="120564" y="203264"/>
                  </a:lnTo>
                  <a:lnTo>
                    <a:pt x="118877" y="199971"/>
                  </a:lnTo>
                  <a:lnTo>
                    <a:pt x="107074" y="201618"/>
                  </a:lnTo>
                  <a:lnTo>
                    <a:pt x="103701" y="199971"/>
                  </a:lnTo>
                  <a:lnTo>
                    <a:pt x="71663" y="262515"/>
                  </a:lnTo>
                  <a:lnTo>
                    <a:pt x="68291" y="260868"/>
                  </a:lnTo>
                  <a:lnTo>
                    <a:pt x="61546" y="272390"/>
                  </a:lnTo>
                  <a:lnTo>
                    <a:pt x="49742" y="277327"/>
                  </a:lnTo>
                  <a:lnTo>
                    <a:pt x="44684" y="285557"/>
                  </a:lnTo>
                  <a:lnTo>
                    <a:pt x="42997" y="275681"/>
                  </a:lnTo>
                  <a:lnTo>
                    <a:pt x="36252" y="267452"/>
                  </a:lnTo>
                  <a:lnTo>
                    <a:pt x="27821" y="264160"/>
                  </a:lnTo>
                  <a:lnTo>
                    <a:pt x="14332" y="267452"/>
                  </a:lnTo>
                  <a:lnTo>
                    <a:pt x="9273" y="264160"/>
                  </a:lnTo>
                  <a:lnTo>
                    <a:pt x="4214" y="254285"/>
                  </a:lnTo>
                  <a:lnTo>
                    <a:pt x="4214" y="247702"/>
                  </a:lnTo>
                  <a:lnTo>
                    <a:pt x="7586" y="241118"/>
                  </a:lnTo>
                  <a:lnTo>
                    <a:pt x="29507" y="214784"/>
                  </a:lnTo>
                  <a:lnTo>
                    <a:pt x="56487" y="208201"/>
                  </a:lnTo>
                  <a:lnTo>
                    <a:pt x="63232" y="186805"/>
                  </a:lnTo>
                  <a:lnTo>
                    <a:pt x="78408" y="176929"/>
                  </a:lnTo>
                  <a:lnTo>
                    <a:pt x="48056" y="155534"/>
                  </a:lnTo>
                  <a:lnTo>
                    <a:pt x="51428" y="147304"/>
                  </a:lnTo>
                  <a:lnTo>
                    <a:pt x="41311" y="142367"/>
                  </a:lnTo>
                  <a:lnTo>
                    <a:pt x="41311" y="134137"/>
                  </a:lnTo>
                  <a:lnTo>
                    <a:pt x="34566" y="129199"/>
                  </a:lnTo>
                  <a:lnTo>
                    <a:pt x="31194" y="120970"/>
                  </a:lnTo>
                  <a:lnTo>
                    <a:pt x="34566" y="117679"/>
                  </a:lnTo>
                  <a:lnTo>
                    <a:pt x="32880" y="114387"/>
                  </a:lnTo>
                  <a:lnTo>
                    <a:pt x="61546" y="94637"/>
                  </a:lnTo>
                  <a:lnTo>
                    <a:pt x="71663" y="104512"/>
                  </a:lnTo>
                  <a:lnTo>
                    <a:pt x="64918" y="92991"/>
                  </a:lnTo>
                  <a:lnTo>
                    <a:pt x="105388" y="65011"/>
                  </a:lnTo>
                  <a:lnTo>
                    <a:pt x="96957" y="53490"/>
                  </a:lnTo>
                  <a:lnTo>
                    <a:pt x="113819" y="17281"/>
                  </a:lnTo>
                  <a:lnTo>
                    <a:pt x="120564" y="10698"/>
                  </a:lnTo>
                  <a:lnTo>
                    <a:pt x="128995" y="5760"/>
                  </a:lnTo>
                  <a:lnTo>
                    <a:pt x="132367" y="9052"/>
                  </a:lnTo>
                  <a:lnTo>
                    <a:pt x="135740"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6" name="Vlieland">
              <a:extLst>
                <a:ext uri="{FF2B5EF4-FFF2-40B4-BE49-F238E27FC236}">
                  <a16:creationId xmlns:a16="http://schemas.microsoft.com/office/drawing/2014/main" id="{E4798D67-10BB-42E7-B208-0D0A31FDE3AF}"/>
                </a:ext>
              </a:extLst>
            </p:cNvPr>
            <p:cNvSpPr/>
            <p:nvPr/>
          </p:nvSpPr>
          <p:spPr>
            <a:xfrm>
              <a:off x="5676675" y="1553306"/>
              <a:ext cx="333128" cy="147721"/>
            </a:xfrm>
            <a:custGeom>
              <a:avLst/>
              <a:gdLst/>
              <a:ahLst/>
              <a:cxnLst/>
              <a:rect l="l" t="t" r="r" b="b"/>
              <a:pathLst>
                <a:path w="468326" h="251460" extrusionOk="0">
                  <a:moveTo>
                    <a:pt x="420712" y="27156"/>
                  </a:moveTo>
                  <a:lnTo>
                    <a:pt x="424084" y="22219"/>
                  </a:lnTo>
                  <a:lnTo>
                    <a:pt x="430829" y="25510"/>
                  </a:lnTo>
                  <a:lnTo>
                    <a:pt x="424084" y="23864"/>
                  </a:lnTo>
                  <a:lnTo>
                    <a:pt x="420712" y="27156"/>
                  </a:lnTo>
                  <a:close/>
                  <a:moveTo>
                    <a:pt x="405535" y="73240"/>
                  </a:moveTo>
                  <a:lnTo>
                    <a:pt x="398791" y="63365"/>
                  </a:lnTo>
                  <a:lnTo>
                    <a:pt x="398791" y="51844"/>
                  </a:lnTo>
                  <a:lnTo>
                    <a:pt x="422398" y="30448"/>
                  </a:lnTo>
                  <a:lnTo>
                    <a:pt x="442633" y="30448"/>
                  </a:lnTo>
                  <a:lnTo>
                    <a:pt x="466240" y="37031"/>
                  </a:lnTo>
                  <a:lnTo>
                    <a:pt x="466240" y="40323"/>
                  </a:lnTo>
                  <a:lnTo>
                    <a:pt x="449378" y="40323"/>
                  </a:lnTo>
                  <a:lnTo>
                    <a:pt x="442633" y="48552"/>
                  </a:lnTo>
                  <a:lnTo>
                    <a:pt x="429143" y="55136"/>
                  </a:lnTo>
                  <a:lnTo>
                    <a:pt x="422398" y="61719"/>
                  </a:lnTo>
                  <a:lnTo>
                    <a:pt x="410594" y="65011"/>
                  </a:lnTo>
                  <a:lnTo>
                    <a:pt x="405535" y="73240"/>
                  </a:lnTo>
                  <a:close/>
                  <a:moveTo>
                    <a:pt x="21076" y="249348"/>
                  </a:moveTo>
                  <a:lnTo>
                    <a:pt x="14332" y="247702"/>
                  </a:lnTo>
                  <a:lnTo>
                    <a:pt x="10959" y="242764"/>
                  </a:lnTo>
                  <a:lnTo>
                    <a:pt x="9273" y="229597"/>
                  </a:lnTo>
                  <a:lnTo>
                    <a:pt x="4214" y="227952"/>
                  </a:lnTo>
                  <a:lnTo>
                    <a:pt x="7587" y="216430"/>
                  </a:lnTo>
                  <a:lnTo>
                    <a:pt x="46370" y="191743"/>
                  </a:lnTo>
                  <a:lnTo>
                    <a:pt x="123936" y="139075"/>
                  </a:lnTo>
                  <a:lnTo>
                    <a:pt x="135740" y="129200"/>
                  </a:lnTo>
                  <a:lnTo>
                    <a:pt x="134053" y="127554"/>
                  </a:lnTo>
                  <a:lnTo>
                    <a:pt x="135740" y="129200"/>
                  </a:lnTo>
                  <a:lnTo>
                    <a:pt x="145857" y="120970"/>
                  </a:lnTo>
                  <a:lnTo>
                    <a:pt x="142484" y="117679"/>
                  </a:lnTo>
                  <a:lnTo>
                    <a:pt x="145857" y="119325"/>
                  </a:lnTo>
                  <a:lnTo>
                    <a:pt x="149230" y="117679"/>
                  </a:lnTo>
                  <a:lnTo>
                    <a:pt x="149230" y="116033"/>
                  </a:lnTo>
                  <a:lnTo>
                    <a:pt x="145857" y="112741"/>
                  </a:lnTo>
                  <a:lnTo>
                    <a:pt x="150916" y="116033"/>
                  </a:lnTo>
                  <a:lnTo>
                    <a:pt x="152602" y="112741"/>
                  </a:lnTo>
                  <a:lnTo>
                    <a:pt x="154288" y="111095"/>
                  </a:lnTo>
                  <a:lnTo>
                    <a:pt x="150916" y="107803"/>
                  </a:lnTo>
                  <a:lnTo>
                    <a:pt x="154288" y="111095"/>
                  </a:lnTo>
                  <a:lnTo>
                    <a:pt x="157661" y="106158"/>
                  </a:lnTo>
                  <a:lnTo>
                    <a:pt x="154288" y="102866"/>
                  </a:lnTo>
                  <a:lnTo>
                    <a:pt x="159347" y="106158"/>
                  </a:lnTo>
                  <a:lnTo>
                    <a:pt x="161033" y="104512"/>
                  </a:lnTo>
                  <a:lnTo>
                    <a:pt x="164405" y="101220"/>
                  </a:lnTo>
                  <a:lnTo>
                    <a:pt x="162719" y="96283"/>
                  </a:lnTo>
                  <a:lnTo>
                    <a:pt x="166092" y="99574"/>
                  </a:lnTo>
                  <a:lnTo>
                    <a:pt x="171150" y="96283"/>
                  </a:lnTo>
                  <a:lnTo>
                    <a:pt x="167778" y="91345"/>
                  </a:lnTo>
                  <a:lnTo>
                    <a:pt x="171150" y="96283"/>
                  </a:lnTo>
                  <a:lnTo>
                    <a:pt x="172837" y="94637"/>
                  </a:lnTo>
                  <a:lnTo>
                    <a:pt x="176209" y="91345"/>
                  </a:lnTo>
                  <a:lnTo>
                    <a:pt x="174523" y="88053"/>
                  </a:lnTo>
                  <a:lnTo>
                    <a:pt x="176209" y="91345"/>
                  </a:lnTo>
                  <a:lnTo>
                    <a:pt x="179582" y="89699"/>
                  </a:lnTo>
                  <a:lnTo>
                    <a:pt x="177895" y="84761"/>
                  </a:lnTo>
                  <a:lnTo>
                    <a:pt x="179582" y="88053"/>
                  </a:lnTo>
                  <a:lnTo>
                    <a:pt x="182954" y="88053"/>
                  </a:lnTo>
                  <a:lnTo>
                    <a:pt x="181268" y="83116"/>
                  </a:lnTo>
                  <a:lnTo>
                    <a:pt x="182954" y="86407"/>
                  </a:lnTo>
                  <a:lnTo>
                    <a:pt x="186326" y="84761"/>
                  </a:lnTo>
                  <a:lnTo>
                    <a:pt x="184640" y="79824"/>
                  </a:lnTo>
                  <a:lnTo>
                    <a:pt x="188013" y="83116"/>
                  </a:lnTo>
                  <a:lnTo>
                    <a:pt x="189699" y="81470"/>
                  </a:lnTo>
                  <a:lnTo>
                    <a:pt x="186326" y="78178"/>
                  </a:lnTo>
                  <a:lnTo>
                    <a:pt x="189699" y="81470"/>
                  </a:lnTo>
                  <a:lnTo>
                    <a:pt x="193071" y="79824"/>
                  </a:lnTo>
                  <a:lnTo>
                    <a:pt x="193071" y="78178"/>
                  </a:lnTo>
                  <a:lnTo>
                    <a:pt x="191385" y="74886"/>
                  </a:lnTo>
                  <a:lnTo>
                    <a:pt x="194757" y="78178"/>
                  </a:lnTo>
                  <a:lnTo>
                    <a:pt x="196444" y="76532"/>
                  </a:lnTo>
                  <a:lnTo>
                    <a:pt x="194757" y="73240"/>
                  </a:lnTo>
                  <a:lnTo>
                    <a:pt x="196444" y="76532"/>
                  </a:lnTo>
                  <a:lnTo>
                    <a:pt x="199816" y="74886"/>
                  </a:lnTo>
                  <a:lnTo>
                    <a:pt x="196444" y="71594"/>
                  </a:lnTo>
                  <a:lnTo>
                    <a:pt x="199816" y="74886"/>
                  </a:lnTo>
                  <a:lnTo>
                    <a:pt x="201503" y="73240"/>
                  </a:lnTo>
                  <a:lnTo>
                    <a:pt x="199816" y="69949"/>
                  </a:lnTo>
                  <a:lnTo>
                    <a:pt x="203189" y="73240"/>
                  </a:lnTo>
                  <a:lnTo>
                    <a:pt x="204875" y="71594"/>
                  </a:lnTo>
                  <a:lnTo>
                    <a:pt x="203189" y="66657"/>
                  </a:lnTo>
                  <a:lnTo>
                    <a:pt x="206561" y="69949"/>
                  </a:lnTo>
                  <a:lnTo>
                    <a:pt x="208247" y="68303"/>
                  </a:lnTo>
                  <a:lnTo>
                    <a:pt x="206561" y="65011"/>
                  </a:lnTo>
                  <a:lnTo>
                    <a:pt x="209934" y="68303"/>
                  </a:lnTo>
                  <a:lnTo>
                    <a:pt x="211620" y="66657"/>
                  </a:lnTo>
                  <a:lnTo>
                    <a:pt x="209934" y="63365"/>
                  </a:lnTo>
                  <a:lnTo>
                    <a:pt x="211620" y="66657"/>
                  </a:lnTo>
                  <a:lnTo>
                    <a:pt x="214992" y="63365"/>
                  </a:lnTo>
                  <a:lnTo>
                    <a:pt x="213306" y="60074"/>
                  </a:lnTo>
                  <a:lnTo>
                    <a:pt x="214992" y="63365"/>
                  </a:lnTo>
                  <a:lnTo>
                    <a:pt x="218365" y="61719"/>
                  </a:lnTo>
                  <a:lnTo>
                    <a:pt x="216678" y="58428"/>
                  </a:lnTo>
                  <a:lnTo>
                    <a:pt x="218365" y="61719"/>
                  </a:lnTo>
                  <a:lnTo>
                    <a:pt x="221737" y="60074"/>
                  </a:lnTo>
                  <a:lnTo>
                    <a:pt x="220051" y="56782"/>
                  </a:lnTo>
                  <a:lnTo>
                    <a:pt x="221737" y="58428"/>
                  </a:lnTo>
                  <a:lnTo>
                    <a:pt x="225109" y="56782"/>
                  </a:lnTo>
                  <a:lnTo>
                    <a:pt x="223423" y="53490"/>
                  </a:lnTo>
                  <a:lnTo>
                    <a:pt x="225109" y="56782"/>
                  </a:lnTo>
                  <a:lnTo>
                    <a:pt x="228482" y="55136"/>
                  </a:lnTo>
                  <a:lnTo>
                    <a:pt x="226796" y="51844"/>
                  </a:lnTo>
                  <a:lnTo>
                    <a:pt x="228482" y="55136"/>
                  </a:lnTo>
                  <a:lnTo>
                    <a:pt x="231855" y="53490"/>
                  </a:lnTo>
                  <a:lnTo>
                    <a:pt x="230168" y="50198"/>
                  </a:lnTo>
                  <a:lnTo>
                    <a:pt x="231855" y="53490"/>
                  </a:lnTo>
                  <a:lnTo>
                    <a:pt x="235227" y="51844"/>
                  </a:lnTo>
                  <a:lnTo>
                    <a:pt x="233541" y="46907"/>
                  </a:lnTo>
                  <a:lnTo>
                    <a:pt x="235227" y="50198"/>
                  </a:lnTo>
                  <a:lnTo>
                    <a:pt x="238599" y="48552"/>
                  </a:lnTo>
                  <a:lnTo>
                    <a:pt x="236913" y="45261"/>
                  </a:lnTo>
                  <a:lnTo>
                    <a:pt x="240286" y="48552"/>
                  </a:lnTo>
                  <a:lnTo>
                    <a:pt x="241972" y="46907"/>
                  </a:lnTo>
                  <a:lnTo>
                    <a:pt x="240286" y="43615"/>
                  </a:lnTo>
                  <a:lnTo>
                    <a:pt x="243658" y="46907"/>
                  </a:lnTo>
                  <a:lnTo>
                    <a:pt x="245344" y="45261"/>
                  </a:lnTo>
                  <a:lnTo>
                    <a:pt x="243658" y="41969"/>
                  </a:lnTo>
                  <a:lnTo>
                    <a:pt x="247030" y="45261"/>
                  </a:lnTo>
                  <a:lnTo>
                    <a:pt x="248716" y="43615"/>
                  </a:lnTo>
                  <a:lnTo>
                    <a:pt x="248716" y="40323"/>
                  </a:lnTo>
                  <a:lnTo>
                    <a:pt x="250403" y="43615"/>
                  </a:lnTo>
                  <a:lnTo>
                    <a:pt x="253775" y="41969"/>
                  </a:lnTo>
                  <a:lnTo>
                    <a:pt x="252089" y="38677"/>
                  </a:lnTo>
                  <a:lnTo>
                    <a:pt x="253775" y="40323"/>
                  </a:lnTo>
                  <a:lnTo>
                    <a:pt x="260520" y="37031"/>
                  </a:lnTo>
                  <a:lnTo>
                    <a:pt x="258834" y="35386"/>
                  </a:lnTo>
                  <a:lnTo>
                    <a:pt x="260520" y="37031"/>
                  </a:lnTo>
                  <a:lnTo>
                    <a:pt x="292559" y="20573"/>
                  </a:lnTo>
                  <a:lnTo>
                    <a:pt x="290872" y="18927"/>
                  </a:lnTo>
                  <a:lnTo>
                    <a:pt x="292559" y="20573"/>
                  </a:lnTo>
                  <a:lnTo>
                    <a:pt x="300989" y="17281"/>
                  </a:lnTo>
                  <a:lnTo>
                    <a:pt x="302676" y="13989"/>
                  </a:lnTo>
                  <a:lnTo>
                    <a:pt x="302676" y="15635"/>
                  </a:lnTo>
                  <a:lnTo>
                    <a:pt x="306048" y="13989"/>
                  </a:lnTo>
                  <a:lnTo>
                    <a:pt x="306048" y="12343"/>
                  </a:lnTo>
                  <a:lnTo>
                    <a:pt x="306048" y="13989"/>
                  </a:lnTo>
                  <a:lnTo>
                    <a:pt x="309421" y="12343"/>
                  </a:lnTo>
                  <a:lnTo>
                    <a:pt x="309421" y="10697"/>
                  </a:lnTo>
                  <a:lnTo>
                    <a:pt x="311107" y="12343"/>
                  </a:lnTo>
                  <a:lnTo>
                    <a:pt x="314480" y="10697"/>
                  </a:lnTo>
                  <a:lnTo>
                    <a:pt x="312793" y="9052"/>
                  </a:lnTo>
                  <a:lnTo>
                    <a:pt x="316166" y="10697"/>
                  </a:lnTo>
                  <a:lnTo>
                    <a:pt x="316166" y="7406"/>
                  </a:lnTo>
                  <a:lnTo>
                    <a:pt x="317852" y="9052"/>
                  </a:lnTo>
                  <a:lnTo>
                    <a:pt x="321224" y="9052"/>
                  </a:lnTo>
                  <a:lnTo>
                    <a:pt x="319538" y="5760"/>
                  </a:lnTo>
                  <a:lnTo>
                    <a:pt x="321224" y="9052"/>
                  </a:lnTo>
                  <a:lnTo>
                    <a:pt x="324597" y="7406"/>
                  </a:lnTo>
                  <a:lnTo>
                    <a:pt x="324597" y="5760"/>
                  </a:lnTo>
                  <a:lnTo>
                    <a:pt x="324597" y="7406"/>
                  </a:lnTo>
                  <a:lnTo>
                    <a:pt x="327969" y="7406"/>
                  </a:lnTo>
                  <a:lnTo>
                    <a:pt x="327969" y="4114"/>
                  </a:lnTo>
                  <a:lnTo>
                    <a:pt x="329655" y="7406"/>
                  </a:lnTo>
                  <a:lnTo>
                    <a:pt x="334714" y="9052"/>
                  </a:lnTo>
                  <a:lnTo>
                    <a:pt x="338087" y="7406"/>
                  </a:lnTo>
                  <a:lnTo>
                    <a:pt x="338087" y="4114"/>
                  </a:lnTo>
                  <a:lnTo>
                    <a:pt x="339773" y="9052"/>
                  </a:lnTo>
                  <a:lnTo>
                    <a:pt x="344832" y="9052"/>
                  </a:lnTo>
                  <a:lnTo>
                    <a:pt x="346518" y="5760"/>
                  </a:lnTo>
                  <a:lnTo>
                    <a:pt x="344832" y="9052"/>
                  </a:lnTo>
                  <a:lnTo>
                    <a:pt x="348204" y="10697"/>
                  </a:lnTo>
                  <a:lnTo>
                    <a:pt x="353262" y="10697"/>
                  </a:lnTo>
                  <a:lnTo>
                    <a:pt x="354949" y="7406"/>
                  </a:lnTo>
                  <a:lnTo>
                    <a:pt x="354949" y="12343"/>
                  </a:lnTo>
                  <a:lnTo>
                    <a:pt x="363380" y="12343"/>
                  </a:lnTo>
                  <a:lnTo>
                    <a:pt x="363380" y="9052"/>
                  </a:lnTo>
                  <a:lnTo>
                    <a:pt x="365066" y="12343"/>
                  </a:lnTo>
                  <a:lnTo>
                    <a:pt x="371811" y="13989"/>
                  </a:lnTo>
                  <a:lnTo>
                    <a:pt x="373497" y="10697"/>
                  </a:lnTo>
                  <a:lnTo>
                    <a:pt x="373497" y="15635"/>
                  </a:lnTo>
                  <a:lnTo>
                    <a:pt x="378556" y="13989"/>
                  </a:lnTo>
                  <a:lnTo>
                    <a:pt x="376870" y="15635"/>
                  </a:lnTo>
                  <a:lnTo>
                    <a:pt x="376870" y="23864"/>
                  </a:lnTo>
                  <a:lnTo>
                    <a:pt x="378556" y="25510"/>
                  </a:lnTo>
                  <a:lnTo>
                    <a:pt x="375184" y="25510"/>
                  </a:lnTo>
                  <a:lnTo>
                    <a:pt x="366753" y="40323"/>
                  </a:lnTo>
                  <a:lnTo>
                    <a:pt x="365066" y="35386"/>
                  </a:lnTo>
                  <a:lnTo>
                    <a:pt x="360007" y="32094"/>
                  </a:lnTo>
                  <a:lnTo>
                    <a:pt x="358321" y="33740"/>
                  </a:lnTo>
                  <a:lnTo>
                    <a:pt x="365066" y="40323"/>
                  </a:lnTo>
                  <a:lnTo>
                    <a:pt x="360007" y="35386"/>
                  </a:lnTo>
                  <a:lnTo>
                    <a:pt x="358321" y="38677"/>
                  </a:lnTo>
                  <a:lnTo>
                    <a:pt x="358321" y="35386"/>
                  </a:lnTo>
                  <a:lnTo>
                    <a:pt x="354949" y="35386"/>
                  </a:lnTo>
                  <a:lnTo>
                    <a:pt x="354949" y="38677"/>
                  </a:lnTo>
                  <a:lnTo>
                    <a:pt x="354949" y="35386"/>
                  </a:lnTo>
                  <a:lnTo>
                    <a:pt x="349890" y="35386"/>
                  </a:lnTo>
                  <a:lnTo>
                    <a:pt x="349890" y="38677"/>
                  </a:lnTo>
                  <a:lnTo>
                    <a:pt x="343145" y="35386"/>
                  </a:lnTo>
                  <a:lnTo>
                    <a:pt x="343145" y="37031"/>
                  </a:lnTo>
                  <a:lnTo>
                    <a:pt x="339773" y="37031"/>
                  </a:lnTo>
                  <a:lnTo>
                    <a:pt x="338087" y="38677"/>
                  </a:lnTo>
                  <a:lnTo>
                    <a:pt x="339773" y="37031"/>
                  </a:lnTo>
                  <a:lnTo>
                    <a:pt x="333028" y="41969"/>
                  </a:lnTo>
                  <a:lnTo>
                    <a:pt x="334714" y="38677"/>
                  </a:lnTo>
                  <a:lnTo>
                    <a:pt x="329655" y="40323"/>
                  </a:lnTo>
                  <a:lnTo>
                    <a:pt x="331342" y="41969"/>
                  </a:lnTo>
                  <a:lnTo>
                    <a:pt x="329655" y="40323"/>
                  </a:lnTo>
                  <a:lnTo>
                    <a:pt x="322911" y="41969"/>
                  </a:lnTo>
                  <a:lnTo>
                    <a:pt x="309421" y="56782"/>
                  </a:lnTo>
                  <a:lnTo>
                    <a:pt x="290872" y="66657"/>
                  </a:lnTo>
                  <a:lnTo>
                    <a:pt x="270638" y="76532"/>
                  </a:lnTo>
                  <a:lnTo>
                    <a:pt x="211620" y="96283"/>
                  </a:lnTo>
                  <a:lnTo>
                    <a:pt x="188013" y="111095"/>
                  </a:lnTo>
                  <a:lnTo>
                    <a:pt x="188013" y="117679"/>
                  </a:lnTo>
                  <a:lnTo>
                    <a:pt x="189699" y="125908"/>
                  </a:lnTo>
                  <a:lnTo>
                    <a:pt x="193071" y="125908"/>
                  </a:lnTo>
                  <a:lnTo>
                    <a:pt x="189699" y="127554"/>
                  </a:lnTo>
                  <a:lnTo>
                    <a:pt x="191385" y="130846"/>
                  </a:lnTo>
                  <a:lnTo>
                    <a:pt x="194757" y="130846"/>
                  </a:lnTo>
                  <a:lnTo>
                    <a:pt x="194757" y="135783"/>
                  </a:lnTo>
                  <a:lnTo>
                    <a:pt x="198130" y="132491"/>
                  </a:lnTo>
                  <a:lnTo>
                    <a:pt x="199816" y="135783"/>
                  </a:lnTo>
                  <a:lnTo>
                    <a:pt x="196444" y="139075"/>
                  </a:lnTo>
                  <a:lnTo>
                    <a:pt x="186326" y="137429"/>
                  </a:lnTo>
                  <a:lnTo>
                    <a:pt x="177895" y="140721"/>
                  </a:lnTo>
                  <a:lnTo>
                    <a:pt x="166092" y="150596"/>
                  </a:lnTo>
                  <a:lnTo>
                    <a:pt x="166092" y="153888"/>
                  </a:lnTo>
                  <a:lnTo>
                    <a:pt x="154288" y="150596"/>
                  </a:lnTo>
                  <a:lnTo>
                    <a:pt x="157661" y="153888"/>
                  </a:lnTo>
                  <a:lnTo>
                    <a:pt x="164405" y="155534"/>
                  </a:lnTo>
                  <a:lnTo>
                    <a:pt x="164405" y="158825"/>
                  </a:lnTo>
                  <a:lnTo>
                    <a:pt x="159347" y="162117"/>
                  </a:lnTo>
                  <a:lnTo>
                    <a:pt x="149230" y="158825"/>
                  </a:lnTo>
                  <a:lnTo>
                    <a:pt x="149230" y="163763"/>
                  </a:lnTo>
                  <a:lnTo>
                    <a:pt x="145857" y="163763"/>
                  </a:lnTo>
                  <a:lnTo>
                    <a:pt x="149230" y="165409"/>
                  </a:lnTo>
                  <a:lnTo>
                    <a:pt x="147543" y="168700"/>
                  </a:lnTo>
                  <a:lnTo>
                    <a:pt x="128995" y="178576"/>
                  </a:lnTo>
                  <a:lnTo>
                    <a:pt x="135740" y="185159"/>
                  </a:lnTo>
                  <a:lnTo>
                    <a:pt x="132367" y="191743"/>
                  </a:lnTo>
                  <a:lnTo>
                    <a:pt x="132367" y="199972"/>
                  </a:lnTo>
                  <a:lnTo>
                    <a:pt x="118877" y="209847"/>
                  </a:lnTo>
                  <a:lnTo>
                    <a:pt x="110446" y="219722"/>
                  </a:lnTo>
                  <a:lnTo>
                    <a:pt x="102015" y="223014"/>
                  </a:lnTo>
                  <a:lnTo>
                    <a:pt x="100329" y="231243"/>
                  </a:lnTo>
                  <a:lnTo>
                    <a:pt x="61546" y="229597"/>
                  </a:lnTo>
                  <a:lnTo>
                    <a:pt x="49742" y="231243"/>
                  </a:lnTo>
                  <a:lnTo>
                    <a:pt x="21076" y="249348"/>
                  </a:lnTo>
                  <a:close/>
                  <a:moveTo>
                    <a:pt x="349890" y="37031"/>
                  </a:moveTo>
                  <a:lnTo>
                    <a:pt x="349890" y="35386"/>
                  </a:lnTo>
                  <a:lnTo>
                    <a:pt x="346518" y="35386"/>
                  </a:lnTo>
                  <a:lnTo>
                    <a:pt x="349890" y="37031"/>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7" name="Bunnik">
              <a:extLst>
                <a:ext uri="{FF2B5EF4-FFF2-40B4-BE49-F238E27FC236}">
                  <a16:creationId xmlns:a16="http://schemas.microsoft.com/office/drawing/2014/main" id="{A11F689C-44F4-4E54-BDBE-BDDAFF829FC1}"/>
                </a:ext>
              </a:extLst>
            </p:cNvPr>
            <p:cNvSpPr/>
            <p:nvPr/>
          </p:nvSpPr>
          <p:spPr>
            <a:xfrm>
              <a:off x="5989023" y="3548793"/>
              <a:ext cx="141281" cy="140339"/>
            </a:xfrm>
            <a:custGeom>
              <a:avLst/>
              <a:gdLst/>
              <a:ahLst/>
              <a:cxnLst/>
              <a:rect l="l" t="t" r="r" b="b"/>
              <a:pathLst>
                <a:path w="199038" h="205740" extrusionOk="0">
                  <a:moveTo>
                    <a:pt x="16017" y="4114"/>
                  </a:moveTo>
                  <a:lnTo>
                    <a:pt x="24449" y="12343"/>
                  </a:lnTo>
                  <a:lnTo>
                    <a:pt x="31194" y="7406"/>
                  </a:lnTo>
                  <a:lnTo>
                    <a:pt x="42997" y="9052"/>
                  </a:lnTo>
                  <a:lnTo>
                    <a:pt x="46370" y="13989"/>
                  </a:lnTo>
                  <a:lnTo>
                    <a:pt x="63232" y="9052"/>
                  </a:lnTo>
                  <a:lnTo>
                    <a:pt x="73349" y="12343"/>
                  </a:lnTo>
                  <a:lnTo>
                    <a:pt x="76722" y="12343"/>
                  </a:lnTo>
                  <a:lnTo>
                    <a:pt x="113819" y="40323"/>
                  </a:lnTo>
                  <a:lnTo>
                    <a:pt x="103701" y="53490"/>
                  </a:lnTo>
                  <a:lnTo>
                    <a:pt x="147543" y="56782"/>
                  </a:lnTo>
                  <a:lnTo>
                    <a:pt x="154288" y="66657"/>
                  </a:lnTo>
                  <a:lnTo>
                    <a:pt x="147543" y="83116"/>
                  </a:lnTo>
                  <a:lnTo>
                    <a:pt x="152602" y="86407"/>
                  </a:lnTo>
                  <a:lnTo>
                    <a:pt x="150915" y="97928"/>
                  </a:lnTo>
                  <a:lnTo>
                    <a:pt x="155974" y="104512"/>
                  </a:lnTo>
                  <a:lnTo>
                    <a:pt x="162719" y="104512"/>
                  </a:lnTo>
                  <a:lnTo>
                    <a:pt x="162719" y="119324"/>
                  </a:lnTo>
                  <a:lnTo>
                    <a:pt x="169464" y="120971"/>
                  </a:lnTo>
                  <a:lnTo>
                    <a:pt x="172836" y="120971"/>
                  </a:lnTo>
                  <a:lnTo>
                    <a:pt x="181267" y="127554"/>
                  </a:lnTo>
                  <a:lnTo>
                    <a:pt x="182954" y="130845"/>
                  </a:lnTo>
                  <a:lnTo>
                    <a:pt x="171150" y="139075"/>
                  </a:lnTo>
                  <a:lnTo>
                    <a:pt x="181267" y="153888"/>
                  </a:lnTo>
                  <a:lnTo>
                    <a:pt x="184640" y="162117"/>
                  </a:lnTo>
                  <a:lnTo>
                    <a:pt x="196443" y="171992"/>
                  </a:lnTo>
                  <a:lnTo>
                    <a:pt x="194757" y="175284"/>
                  </a:lnTo>
                  <a:lnTo>
                    <a:pt x="196443" y="176930"/>
                  </a:lnTo>
                  <a:lnTo>
                    <a:pt x="189699" y="183513"/>
                  </a:lnTo>
                  <a:lnTo>
                    <a:pt x="191385" y="191742"/>
                  </a:lnTo>
                  <a:lnTo>
                    <a:pt x="193071" y="195034"/>
                  </a:lnTo>
                  <a:lnTo>
                    <a:pt x="191385" y="199972"/>
                  </a:lnTo>
                  <a:lnTo>
                    <a:pt x="184640" y="203264"/>
                  </a:lnTo>
                  <a:lnTo>
                    <a:pt x="179581" y="201618"/>
                  </a:lnTo>
                  <a:lnTo>
                    <a:pt x="176209" y="196680"/>
                  </a:lnTo>
                  <a:lnTo>
                    <a:pt x="176209" y="190097"/>
                  </a:lnTo>
                  <a:lnTo>
                    <a:pt x="172836" y="190097"/>
                  </a:lnTo>
                  <a:lnTo>
                    <a:pt x="166092" y="195034"/>
                  </a:lnTo>
                  <a:lnTo>
                    <a:pt x="140798" y="199972"/>
                  </a:lnTo>
                  <a:lnTo>
                    <a:pt x="122250" y="171992"/>
                  </a:lnTo>
                  <a:lnTo>
                    <a:pt x="112132" y="163763"/>
                  </a:lnTo>
                  <a:lnTo>
                    <a:pt x="103701" y="160471"/>
                  </a:lnTo>
                  <a:lnTo>
                    <a:pt x="78408" y="155534"/>
                  </a:lnTo>
                  <a:lnTo>
                    <a:pt x="80094" y="148950"/>
                  </a:lnTo>
                  <a:lnTo>
                    <a:pt x="73349" y="135783"/>
                  </a:lnTo>
                  <a:lnTo>
                    <a:pt x="76722" y="120971"/>
                  </a:lnTo>
                  <a:lnTo>
                    <a:pt x="68290" y="109449"/>
                  </a:lnTo>
                  <a:lnTo>
                    <a:pt x="63232" y="114387"/>
                  </a:lnTo>
                  <a:lnTo>
                    <a:pt x="59859" y="107803"/>
                  </a:lnTo>
                  <a:lnTo>
                    <a:pt x="61546" y="92991"/>
                  </a:lnTo>
                  <a:lnTo>
                    <a:pt x="42997" y="84761"/>
                  </a:lnTo>
                  <a:lnTo>
                    <a:pt x="16017" y="88053"/>
                  </a:lnTo>
                  <a:lnTo>
                    <a:pt x="4214" y="60074"/>
                  </a:lnTo>
                  <a:lnTo>
                    <a:pt x="10959" y="56782"/>
                  </a:lnTo>
                  <a:lnTo>
                    <a:pt x="9273" y="43615"/>
                  </a:lnTo>
                  <a:lnTo>
                    <a:pt x="12645" y="35385"/>
                  </a:lnTo>
                  <a:lnTo>
                    <a:pt x="9273" y="30448"/>
                  </a:lnTo>
                  <a:lnTo>
                    <a:pt x="7586" y="25510"/>
                  </a:lnTo>
                  <a:lnTo>
                    <a:pt x="14331" y="9052"/>
                  </a:lnTo>
                  <a:lnTo>
                    <a:pt x="14331" y="4114"/>
                  </a:lnTo>
                  <a:lnTo>
                    <a:pt x="1601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8" name="Lochem">
              <a:extLst>
                <a:ext uri="{FF2B5EF4-FFF2-40B4-BE49-F238E27FC236}">
                  <a16:creationId xmlns:a16="http://schemas.microsoft.com/office/drawing/2014/main" id="{DBC1A04E-F3AA-4EE5-A806-1677E77FAD3E}"/>
                </a:ext>
              </a:extLst>
            </p:cNvPr>
            <p:cNvSpPr/>
            <p:nvPr/>
          </p:nvSpPr>
          <p:spPr>
            <a:xfrm>
              <a:off x="7037986" y="3259690"/>
              <a:ext cx="351425" cy="252338"/>
            </a:xfrm>
            <a:custGeom>
              <a:avLst/>
              <a:gdLst/>
              <a:ahLst/>
              <a:cxnLst/>
              <a:rect l="l" t="t" r="r" b="b"/>
              <a:pathLst>
                <a:path w="515159" h="365760" extrusionOk="0">
                  <a:moveTo>
                    <a:pt x="356635" y="12344"/>
                  </a:moveTo>
                  <a:lnTo>
                    <a:pt x="376870" y="9052"/>
                  </a:lnTo>
                  <a:lnTo>
                    <a:pt x="397105" y="12344"/>
                  </a:lnTo>
                  <a:lnTo>
                    <a:pt x="398791" y="23865"/>
                  </a:lnTo>
                  <a:lnTo>
                    <a:pt x="407222" y="37031"/>
                  </a:lnTo>
                  <a:lnTo>
                    <a:pt x="417339" y="56782"/>
                  </a:lnTo>
                  <a:lnTo>
                    <a:pt x="444319" y="83116"/>
                  </a:lnTo>
                  <a:lnTo>
                    <a:pt x="461181" y="111095"/>
                  </a:lnTo>
                  <a:lnTo>
                    <a:pt x="481416" y="114387"/>
                  </a:lnTo>
                  <a:lnTo>
                    <a:pt x="481416" y="130846"/>
                  </a:lnTo>
                  <a:lnTo>
                    <a:pt x="494906" y="155534"/>
                  </a:lnTo>
                  <a:lnTo>
                    <a:pt x="510082" y="158825"/>
                  </a:lnTo>
                  <a:lnTo>
                    <a:pt x="515141" y="165409"/>
                  </a:lnTo>
                  <a:lnTo>
                    <a:pt x="518513" y="176930"/>
                  </a:lnTo>
                  <a:lnTo>
                    <a:pt x="516827" y="185159"/>
                  </a:lnTo>
                  <a:lnTo>
                    <a:pt x="503337" y="216431"/>
                  </a:lnTo>
                  <a:lnTo>
                    <a:pt x="469612" y="227952"/>
                  </a:lnTo>
                  <a:lnTo>
                    <a:pt x="471299" y="229597"/>
                  </a:lnTo>
                  <a:lnTo>
                    <a:pt x="471299" y="232889"/>
                  </a:lnTo>
                  <a:lnTo>
                    <a:pt x="476357" y="234535"/>
                  </a:lnTo>
                  <a:lnTo>
                    <a:pt x="476357" y="239473"/>
                  </a:lnTo>
                  <a:lnTo>
                    <a:pt x="479730" y="241118"/>
                  </a:lnTo>
                  <a:lnTo>
                    <a:pt x="481416" y="239473"/>
                  </a:lnTo>
                  <a:lnTo>
                    <a:pt x="483102" y="242764"/>
                  </a:lnTo>
                  <a:lnTo>
                    <a:pt x="484788" y="250994"/>
                  </a:lnTo>
                  <a:lnTo>
                    <a:pt x="486475" y="247702"/>
                  </a:lnTo>
                  <a:lnTo>
                    <a:pt x="489847" y="249348"/>
                  </a:lnTo>
                  <a:lnTo>
                    <a:pt x="488161" y="246056"/>
                  </a:lnTo>
                  <a:lnTo>
                    <a:pt x="493220" y="250994"/>
                  </a:lnTo>
                  <a:lnTo>
                    <a:pt x="499964" y="250994"/>
                  </a:lnTo>
                  <a:lnTo>
                    <a:pt x="503337" y="264160"/>
                  </a:lnTo>
                  <a:lnTo>
                    <a:pt x="505023" y="264160"/>
                  </a:lnTo>
                  <a:lnTo>
                    <a:pt x="511768" y="270744"/>
                  </a:lnTo>
                  <a:lnTo>
                    <a:pt x="508396" y="277328"/>
                  </a:lnTo>
                  <a:lnTo>
                    <a:pt x="510082" y="280619"/>
                  </a:lnTo>
                  <a:lnTo>
                    <a:pt x="511768" y="288849"/>
                  </a:lnTo>
                  <a:lnTo>
                    <a:pt x="516827" y="292140"/>
                  </a:lnTo>
                  <a:lnTo>
                    <a:pt x="513454" y="303661"/>
                  </a:lnTo>
                  <a:lnTo>
                    <a:pt x="515141" y="305307"/>
                  </a:lnTo>
                  <a:lnTo>
                    <a:pt x="511768" y="306953"/>
                  </a:lnTo>
                  <a:lnTo>
                    <a:pt x="510082" y="315182"/>
                  </a:lnTo>
                  <a:lnTo>
                    <a:pt x="501651" y="326704"/>
                  </a:lnTo>
                  <a:lnTo>
                    <a:pt x="501651" y="339870"/>
                  </a:lnTo>
                  <a:lnTo>
                    <a:pt x="496592" y="353037"/>
                  </a:lnTo>
                  <a:lnTo>
                    <a:pt x="488161" y="349746"/>
                  </a:lnTo>
                  <a:lnTo>
                    <a:pt x="488161" y="344808"/>
                  </a:lnTo>
                  <a:lnTo>
                    <a:pt x="484788" y="343162"/>
                  </a:lnTo>
                  <a:lnTo>
                    <a:pt x="484788" y="339870"/>
                  </a:lnTo>
                  <a:lnTo>
                    <a:pt x="478043" y="338224"/>
                  </a:lnTo>
                  <a:lnTo>
                    <a:pt x="472985" y="341516"/>
                  </a:lnTo>
                  <a:lnTo>
                    <a:pt x="471299" y="344808"/>
                  </a:lnTo>
                  <a:lnTo>
                    <a:pt x="469612" y="338224"/>
                  </a:lnTo>
                  <a:lnTo>
                    <a:pt x="461181" y="334933"/>
                  </a:lnTo>
                  <a:lnTo>
                    <a:pt x="446005" y="339870"/>
                  </a:lnTo>
                  <a:lnTo>
                    <a:pt x="437574" y="348100"/>
                  </a:lnTo>
                  <a:lnTo>
                    <a:pt x="434202" y="346454"/>
                  </a:lnTo>
                  <a:lnTo>
                    <a:pt x="413967" y="362912"/>
                  </a:lnTo>
                  <a:lnTo>
                    <a:pt x="363380" y="325057"/>
                  </a:lnTo>
                  <a:lnTo>
                    <a:pt x="371811" y="313536"/>
                  </a:lnTo>
                  <a:lnTo>
                    <a:pt x="375184" y="313536"/>
                  </a:lnTo>
                  <a:lnTo>
                    <a:pt x="363380" y="298724"/>
                  </a:lnTo>
                  <a:lnTo>
                    <a:pt x="370125" y="280619"/>
                  </a:lnTo>
                  <a:lnTo>
                    <a:pt x="365066" y="278973"/>
                  </a:lnTo>
                  <a:lnTo>
                    <a:pt x="351577" y="287203"/>
                  </a:lnTo>
                  <a:lnTo>
                    <a:pt x="351577" y="290494"/>
                  </a:lnTo>
                  <a:lnTo>
                    <a:pt x="346518" y="293786"/>
                  </a:lnTo>
                  <a:lnTo>
                    <a:pt x="341459" y="290494"/>
                  </a:lnTo>
                  <a:lnTo>
                    <a:pt x="329656" y="298724"/>
                  </a:lnTo>
                  <a:lnTo>
                    <a:pt x="317852" y="292140"/>
                  </a:lnTo>
                  <a:lnTo>
                    <a:pt x="319538" y="290494"/>
                  </a:lnTo>
                  <a:lnTo>
                    <a:pt x="312793" y="283911"/>
                  </a:lnTo>
                  <a:lnTo>
                    <a:pt x="311107" y="270744"/>
                  </a:lnTo>
                  <a:lnTo>
                    <a:pt x="267265" y="265807"/>
                  </a:lnTo>
                  <a:lnTo>
                    <a:pt x="260520" y="229597"/>
                  </a:lnTo>
                  <a:lnTo>
                    <a:pt x="231855" y="234535"/>
                  </a:lnTo>
                  <a:lnTo>
                    <a:pt x="225110" y="239473"/>
                  </a:lnTo>
                  <a:lnTo>
                    <a:pt x="220051" y="237827"/>
                  </a:lnTo>
                  <a:lnTo>
                    <a:pt x="216679" y="239473"/>
                  </a:lnTo>
                  <a:lnTo>
                    <a:pt x="208247" y="237827"/>
                  </a:lnTo>
                  <a:lnTo>
                    <a:pt x="198130" y="241118"/>
                  </a:lnTo>
                  <a:lnTo>
                    <a:pt x="193072" y="237827"/>
                  </a:lnTo>
                  <a:lnTo>
                    <a:pt x="184640" y="239473"/>
                  </a:lnTo>
                  <a:lnTo>
                    <a:pt x="177895" y="237827"/>
                  </a:lnTo>
                  <a:lnTo>
                    <a:pt x="169464" y="244410"/>
                  </a:lnTo>
                  <a:lnTo>
                    <a:pt x="149230" y="246056"/>
                  </a:lnTo>
                  <a:lnTo>
                    <a:pt x="145857" y="244410"/>
                  </a:lnTo>
                  <a:lnTo>
                    <a:pt x="128995" y="247702"/>
                  </a:lnTo>
                  <a:lnTo>
                    <a:pt x="125622" y="224660"/>
                  </a:lnTo>
                  <a:lnTo>
                    <a:pt x="118878" y="224660"/>
                  </a:lnTo>
                  <a:lnTo>
                    <a:pt x="107074" y="229597"/>
                  </a:lnTo>
                  <a:lnTo>
                    <a:pt x="107074" y="224660"/>
                  </a:lnTo>
                  <a:lnTo>
                    <a:pt x="100329" y="223014"/>
                  </a:lnTo>
                  <a:lnTo>
                    <a:pt x="100329" y="218076"/>
                  </a:lnTo>
                  <a:lnTo>
                    <a:pt x="95270" y="218076"/>
                  </a:lnTo>
                  <a:lnTo>
                    <a:pt x="98643" y="214785"/>
                  </a:lnTo>
                  <a:lnTo>
                    <a:pt x="96957" y="209847"/>
                  </a:lnTo>
                  <a:lnTo>
                    <a:pt x="90212" y="208201"/>
                  </a:lnTo>
                  <a:lnTo>
                    <a:pt x="81781" y="198326"/>
                  </a:lnTo>
                  <a:lnTo>
                    <a:pt x="71663" y="203264"/>
                  </a:lnTo>
                  <a:lnTo>
                    <a:pt x="68291" y="208201"/>
                  </a:lnTo>
                  <a:lnTo>
                    <a:pt x="59860" y="191742"/>
                  </a:lnTo>
                  <a:lnTo>
                    <a:pt x="61546" y="180221"/>
                  </a:lnTo>
                  <a:lnTo>
                    <a:pt x="58174" y="170346"/>
                  </a:lnTo>
                  <a:lnTo>
                    <a:pt x="41311" y="163763"/>
                  </a:lnTo>
                  <a:lnTo>
                    <a:pt x="24449" y="145658"/>
                  </a:lnTo>
                  <a:lnTo>
                    <a:pt x="9273" y="144013"/>
                  </a:lnTo>
                  <a:lnTo>
                    <a:pt x="4214" y="137429"/>
                  </a:lnTo>
                  <a:lnTo>
                    <a:pt x="4214" y="125908"/>
                  </a:lnTo>
                  <a:lnTo>
                    <a:pt x="7587" y="119324"/>
                  </a:lnTo>
                  <a:lnTo>
                    <a:pt x="14332" y="114387"/>
                  </a:lnTo>
                  <a:lnTo>
                    <a:pt x="29508" y="114387"/>
                  </a:lnTo>
                  <a:lnTo>
                    <a:pt x="44684" y="107804"/>
                  </a:lnTo>
                  <a:lnTo>
                    <a:pt x="54801" y="96282"/>
                  </a:lnTo>
                  <a:lnTo>
                    <a:pt x="53115" y="76532"/>
                  </a:lnTo>
                  <a:lnTo>
                    <a:pt x="17704" y="43615"/>
                  </a:lnTo>
                  <a:lnTo>
                    <a:pt x="31194" y="38678"/>
                  </a:lnTo>
                  <a:lnTo>
                    <a:pt x="42997" y="37031"/>
                  </a:lnTo>
                  <a:lnTo>
                    <a:pt x="53115" y="48552"/>
                  </a:lnTo>
                  <a:lnTo>
                    <a:pt x="71663" y="46907"/>
                  </a:lnTo>
                  <a:lnTo>
                    <a:pt x="95270" y="53490"/>
                  </a:lnTo>
                  <a:lnTo>
                    <a:pt x="91898" y="41969"/>
                  </a:lnTo>
                  <a:lnTo>
                    <a:pt x="103701" y="48552"/>
                  </a:lnTo>
                  <a:lnTo>
                    <a:pt x="112133" y="45261"/>
                  </a:lnTo>
                  <a:lnTo>
                    <a:pt x="127309" y="50198"/>
                  </a:lnTo>
                  <a:lnTo>
                    <a:pt x="137426" y="48552"/>
                  </a:lnTo>
                  <a:lnTo>
                    <a:pt x="139112" y="51844"/>
                  </a:lnTo>
                  <a:lnTo>
                    <a:pt x="145857" y="51844"/>
                  </a:lnTo>
                  <a:lnTo>
                    <a:pt x="155974" y="51844"/>
                  </a:lnTo>
                  <a:lnTo>
                    <a:pt x="161033" y="46907"/>
                  </a:lnTo>
                  <a:lnTo>
                    <a:pt x="167778" y="51844"/>
                  </a:lnTo>
                  <a:lnTo>
                    <a:pt x="177895" y="53490"/>
                  </a:lnTo>
                  <a:lnTo>
                    <a:pt x="177895" y="50198"/>
                  </a:lnTo>
                  <a:lnTo>
                    <a:pt x="184640" y="50198"/>
                  </a:lnTo>
                  <a:lnTo>
                    <a:pt x="209934" y="41969"/>
                  </a:lnTo>
                  <a:lnTo>
                    <a:pt x="209934" y="45261"/>
                  </a:lnTo>
                  <a:lnTo>
                    <a:pt x="216679" y="46907"/>
                  </a:lnTo>
                  <a:lnTo>
                    <a:pt x="218365" y="55136"/>
                  </a:lnTo>
                  <a:lnTo>
                    <a:pt x="252089" y="53490"/>
                  </a:lnTo>
                  <a:lnTo>
                    <a:pt x="260520" y="50198"/>
                  </a:lnTo>
                  <a:lnTo>
                    <a:pt x="280755" y="50198"/>
                  </a:lnTo>
                  <a:lnTo>
                    <a:pt x="279069" y="28802"/>
                  </a:lnTo>
                  <a:lnTo>
                    <a:pt x="284128" y="28802"/>
                  </a:lnTo>
                  <a:lnTo>
                    <a:pt x="284128" y="23865"/>
                  </a:lnTo>
                  <a:lnTo>
                    <a:pt x="295931" y="22219"/>
                  </a:lnTo>
                  <a:lnTo>
                    <a:pt x="297617" y="13989"/>
                  </a:lnTo>
                  <a:lnTo>
                    <a:pt x="322911" y="13989"/>
                  </a:lnTo>
                  <a:lnTo>
                    <a:pt x="344832" y="4114"/>
                  </a:lnTo>
                  <a:lnTo>
                    <a:pt x="346518" y="9052"/>
                  </a:lnTo>
                  <a:lnTo>
                    <a:pt x="356635" y="1234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19" name="Asten">
              <a:extLst>
                <a:ext uri="{FF2B5EF4-FFF2-40B4-BE49-F238E27FC236}">
                  <a16:creationId xmlns:a16="http://schemas.microsoft.com/office/drawing/2014/main" id="{AB05BA7A-6AFB-45A0-93B6-D2484A6675E4}"/>
                </a:ext>
              </a:extLst>
            </p:cNvPr>
            <p:cNvSpPr/>
            <p:nvPr/>
          </p:nvSpPr>
          <p:spPr>
            <a:xfrm>
              <a:off x="6563948" y="4595473"/>
              <a:ext cx="187718" cy="178143"/>
            </a:xfrm>
            <a:custGeom>
              <a:avLst/>
              <a:gdLst/>
              <a:ahLst/>
              <a:cxnLst/>
              <a:rect l="l" t="t" r="r" b="b"/>
              <a:pathLst>
                <a:path w="280996" h="262890" extrusionOk="0">
                  <a:moveTo>
                    <a:pt x="44684" y="9052"/>
                  </a:moveTo>
                  <a:lnTo>
                    <a:pt x="66605" y="7406"/>
                  </a:lnTo>
                  <a:lnTo>
                    <a:pt x="98643" y="18927"/>
                  </a:lnTo>
                  <a:lnTo>
                    <a:pt x="108760" y="27156"/>
                  </a:lnTo>
                  <a:lnTo>
                    <a:pt x="115505" y="40323"/>
                  </a:lnTo>
                  <a:lnTo>
                    <a:pt x="122250" y="43615"/>
                  </a:lnTo>
                  <a:lnTo>
                    <a:pt x="130681" y="55136"/>
                  </a:lnTo>
                  <a:lnTo>
                    <a:pt x="142485" y="61719"/>
                  </a:lnTo>
                  <a:lnTo>
                    <a:pt x="149230" y="69949"/>
                  </a:lnTo>
                  <a:lnTo>
                    <a:pt x="216678" y="101220"/>
                  </a:lnTo>
                  <a:lnTo>
                    <a:pt x="218365" y="106158"/>
                  </a:lnTo>
                  <a:lnTo>
                    <a:pt x="226796" y="112741"/>
                  </a:lnTo>
                  <a:lnTo>
                    <a:pt x="252089" y="157179"/>
                  </a:lnTo>
                  <a:lnTo>
                    <a:pt x="250403" y="165409"/>
                  </a:lnTo>
                  <a:lnTo>
                    <a:pt x="255462" y="211493"/>
                  </a:lnTo>
                  <a:lnTo>
                    <a:pt x="270638" y="209847"/>
                  </a:lnTo>
                  <a:lnTo>
                    <a:pt x="277383" y="214785"/>
                  </a:lnTo>
                  <a:lnTo>
                    <a:pt x="123936" y="260869"/>
                  </a:lnTo>
                  <a:lnTo>
                    <a:pt x="83467" y="170346"/>
                  </a:lnTo>
                  <a:lnTo>
                    <a:pt x="75036" y="173638"/>
                  </a:lnTo>
                  <a:lnTo>
                    <a:pt x="68291" y="125908"/>
                  </a:lnTo>
                  <a:lnTo>
                    <a:pt x="22763" y="79824"/>
                  </a:lnTo>
                  <a:lnTo>
                    <a:pt x="17704" y="71595"/>
                  </a:lnTo>
                  <a:lnTo>
                    <a:pt x="4214" y="7406"/>
                  </a:lnTo>
                  <a:lnTo>
                    <a:pt x="10959" y="9052"/>
                  </a:lnTo>
                  <a:lnTo>
                    <a:pt x="27821" y="4114"/>
                  </a:lnTo>
                  <a:lnTo>
                    <a:pt x="44684" y="9052"/>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0" name="Pijnacker-Nootdorp">
              <a:extLst>
                <a:ext uri="{FF2B5EF4-FFF2-40B4-BE49-F238E27FC236}">
                  <a16:creationId xmlns:a16="http://schemas.microsoft.com/office/drawing/2014/main" id="{FA8021FF-6438-42D3-9BB8-BF3D6DAC4348}"/>
                </a:ext>
              </a:extLst>
            </p:cNvPr>
            <p:cNvSpPr/>
            <p:nvPr/>
          </p:nvSpPr>
          <p:spPr>
            <a:xfrm>
              <a:off x="5180276" y="3583633"/>
              <a:ext cx="113832" cy="140339"/>
            </a:xfrm>
            <a:custGeom>
              <a:avLst/>
              <a:gdLst/>
              <a:ahLst/>
              <a:cxnLst/>
              <a:rect l="l" t="t" r="r" b="b"/>
              <a:pathLst>
                <a:path w="163914" h="205740" extrusionOk="0">
                  <a:moveTo>
                    <a:pt x="37939" y="5760"/>
                  </a:moveTo>
                  <a:lnTo>
                    <a:pt x="42997" y="10698"/>
                  </a:lnTo>
                  <a:lnTo>
                    <a:pt x="48056" y="5760"/>
                  </a:lnTo>
                  <a:lnTo>
                    <a:pt x="122250" y="17281"/>
                  </a:lnTo>
                  <a:lnTo>
                    <a:pt x="132367" y="43615"/>
                  </a:lnTo>
                  <a:lnTo>
                    <a:pt x="152602" y="38677"/>
                  </a:lnTo>
                  <a:lnTo>
                    <a:pt x="162719" y="60074"/>
                  </a:lnTo>
                  <a:lnTo>
                    <a:pt x="147543" y="74886"/>
                  </a:lnTo>
                  <a:lnTo>
                    <a:pt x="132367" y="83116"/>
                  </a:lnTo>
                  <a:lnTo>
                    <a:pt x="135740" y="94637"/>
                  </a:lnTo>
                  <a:lnTo>
                    <a:pt x="134054" y="97928"/>
                  </a:lnTo>
                  <a:lnTo>
                    <a:pt x="137426" y="106158"/>
                  </a:lnTo>
                  <a:lnTo>
                    <a:pt x="128995" y="119324"/>
                  </a:lnTo>
                  <a:lnTo>
                    <a:pt x="134054" y="125908"/>
                  </a:lnTo>
                  <a:lnTo>
                    <a:pt x="134054" y="130845"/>
                  </a:lnTo>
                  <a:lnTo>
                    <a:pt x="120564" y="134137"/>
                  </a:lnTo>
                  <a:lnTo>
                    <a:pt x="123936" y="142367"/>
                  </a:lnTo>
                  <a:lnTo>
                    <a:pt x="115505" y="153888"/>
                  </a:lnTo>
                  <a:lnTo>
                    <a:pt x="80094" y="185159"/>
                  </a:lnTo>
                  <a:lnTo>
                    <a:pt x="85153" y="193388"/>
                  </a:lnTo>
                  <a:lnTo>
                    <a:pt x="54801" y="211493"/>
                  </a:lnTo>
                  <a:lnTo>
                    <a:pt x="48056" y="199972"/>
                  </a:lnTo>
                  <a:lnTo>
                    <a:pt x="44684" y="186805"/>
                  </a:lnTo>
                  <a:lnTo>
                    <a:pt x="37939" y="185159"/>
                  </a:lnTo>
                  <a:lnTo>
                    <a:pt x="22763" y="122616"/>
                  </a:lnTo>
                  <a:lnTo>
                    <a:pt x="26135" y="120970"/>
                  </a:lnTo>
                  <a:lnTo>
                    <a:pt x="26135" y="112741"/>
                  </a:lnTo>
                  <a:lnTo>
                    <a:pt x="36252" y="107803"/>
                  </a:lnTo>
                  <a:lnTo>
                    <a:pt x="24449" y="78178"/>
                  </a:lnTo>
                  <a:lnTo>
                    <a:pt x="14332" y="69949"/>
                  </a:lnTo>
                  <a:lnTo>
                    <a:pt x="36252" y="55136"/>
                  </a:lnTo>
                  <a:lnTo>
                    <a:pt x="26135" y="41969"/>
                  </a:lnTo>
                  <a:lnTo>
                    <a:pt x="14332" y="48552"/>
                  </a:lnTo>
                  <a:lnTo>
                    <a:pt x="4214" y="35385"/>
                  </a:lnTo>
                  <a:lnTo>
                    <a:pt x="27821" y="10698"/>
                  </a:lnTo>
                  <a:lnTo>
                    <a:pt x="29508" y="13989"/>
                  </a:lnTo>
                  <a:lnTo>
                    <a:pt x="34566" y="7406"/>
                  </a:lnTo>
                  <a:lnTo>
                    <a:pt x="37939" y="4114"/>
                  </a:lnTo>
                  <a:lnTo>
                    <a:pt x="37939" y="5760"/>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1" name="Uden">
              <a:extLst>
                <a:ext uri="{FF2B5EF4-FFF2-40B4-BE49-F238E27FC236}">
                  <a16:creationId xmlns:a16="http://schemas.microsoft.com/office/drawing/2014/main" id="{CDF206D7-1CFD-4083-8565-B31F89A91F2F}"/>
                </a:ext>
              </a:extLst>
            </p:cNvPr>
            <p:cNvSpPr/>
            <p:nvPr/>
          </p:nvSpPr>
          <p:spPr>
            <a:xfrm>
              <a:off x="6410140" y="4162495"/>
              <a:ext cx="207490" cy="146113"/>
            </a:xfrm>
            <a:custGeom>
              <a:avLst/>
              <a:gdLst/>
              <a:ahLst/>
              <a:cxnLst/>
              <a:rect l="l" t="t" r="r" b="b"/>
              <a:pathLst>
                <a:path w="292704" h="194310" extrusionOk="0">
                  <a:moveTo>
                    <a:pt x="96957" y="15635"/>
                  </a:moveTo>
                  <a:lnTo>
                    <a:pt x="174523" y="94637"/>
                  </a:lnTo>
                  <a:lnTo>
                    <a:pt x="182954" y="97928"/>
                  </a:lnTo>
                  <a:lnTo>
                    <a:pt x="263893" y="74886"/>
                  </a:lnTo>
                  <a:lnTo>
                    <a:pt x="272324" y="106158"/>
                  </a:lnTo>
                  <a:lnTo>
                    <a:pt x="262207" y="111095"/>
                  </a:lnTo>
                  <a:lnTo>
                    <a:pt x="262207" y="114387"/>
                  </a:lnTo>
                  <a:lnTo>
                    <a:pt x="267265" y="114387"/>
                  </a:lnTo>
                  <a:lnTo>
                    <a:pt x="268951" y="127554"/>
                  </a:lnTo>
                  <a:lnTo>
                    <a:pt x="282441" y="132492"/>
                  </a:lnTo>
                  <a:lnTo>
                    <a:pt x="294245" y="198326"/>
                  </a:lnTo>
                  <a:lnTo>
                    <a:pt x="279069" y="199972"/>
                  </a:lnTo>
                  <a:lnTo>
                    <a:pt x="196444" y="186805"/>
                  </a:lnTo>
                  <a:lnTo>
                    <a:pt x="188013" y="186805"/>
                  </a:lnTo>
                  <a:lnTo>
                    <a:pt x="188013" y="183513"/>
                  </a:lnTo>
                  <a:lnTo>
                    <a:pt x="174523" y="188451"/>
                  </a:lnTo>
                  <a:lnTo>
                    <a:pt x="174523" y="185159"/>
                  </a:lnTo>
                  <a:lnTo>
                    <a:pt x="162719" y="183513"/>
                  </a:lnTo>
                  <a:lnTo>
                    <a:pt x="142485" y="190097"/>
                  </a:lnTo>
                  <a:lnTo>
                    <a:pt x="140798" y="191742"/>
                  </a:lnTo>
                  <a:lnTo>
                    <a:pt x="117191" y="193389"/>
                  </a:lnTo>
                  <a:lnTo>
                    <a:pt x="105388" y="198326"/>
                  </a:lnTo>
                  <a:lnTo>
                    <a:pt x="98643" y="190097"/>
                  </a:lnTo>
                  <a:lnTo>
                    <a:pt x="73349" y="173638"/>
                  </a:lnTo>
                  <a:lnTo>
                    <a:pt x="66605" y="183513"/>
                  </a:lnTo>
                  <a:lnTo>
                    <a:pt x="54801" y="171992"/>
                  </a:lnTo>
                  <a:lnTo>
                    <a:pt x="53115" y="175284"/>
                  </a:lnTo>
                  <a:lnTo>
                    <a:pt x="41311" y="158825"/>
                  </a:lnTo>
                  <a:lnTo>
                    <a:pt x="44684" y="152242"/>
                  </a:lnTo>
                  <a:lnTo>
                    <a:pt x="31194" y="144013"/>
                  </a:lnTo>
                  <a:lnTo>
                    <a:pt x="12645" y="125908"/>
                  </a:lnTo>
                  <a:lnTo>
                    <a:pt x="17704" y="120971"/>
                  </a:lnTo>
                  <a:lnTo>
                    <a:pt x="14332" y="111095"/>
                  </a:lnTo>
                  <a:lnTo>
                    <a:pt x="12645" y="111095"/>
                  </a:lnTo>
                  <a:lnTo>
                    <a:pt x="10959" y="106158"/>
                  </a:lnTo>
                  <a:lnTo>
                    <a:pt x="7587" y="107803"/>
                  </a:lnTo>
                  <a:lnTo>
                    <a:pt x="7587" y="104512"/>
                  </a:lnTo>
                  <a:lnTo>
                    <a:pt x="4214" y="107803"/>
                  </a:lnTo>
                  <a:lnTo>
                    <a:pt x="4214" y="102866"/>
                  </a:lnTo>
                  <a:lnTo>
                    <a:pt x="21076" y="68303"/>
                  </a:lnTo>
                  <a:lnTo>
                    <a:pt x="21076" y="66657"/>
                  </a:lnTo>
                  <a:lnTo>
                    <a:pt x="26135" y="65011"/>
                  </a:lnTo>
                  <a:lnTo>
                    <a:pt x="26135" y="60074"/>
                  </a:lnTo>
                  <a:lnTo>
                    <a:pt x="41311" y="53490"/>
                  </a:lnTo>
                  <a:lnTo>
                    <a:pt x="56487" y="35385"/>
                  </a:lnTo>
                  <a:lnTo>
                    <a:pt x="63232" y="20573"/>
                  </a:lnTo>
                  <a:lnTo>
                    <a:pt x="58173" y="9052"/>
                  </a:lnTo>
                  <a:lnTo>
                    <a:pt x="98643" y="4114"/>
                  </a:lnTo>
                  <a:lnTo>
                    <a:pt x="96957" y="15635"/>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2" name="Nieuwkoop">
              <a:extLst>
                <a:ext uri="{FF2B5EF4-FFF2-40B4-BE49-F238E27FC236}">
                  <a16:creationId xmlns:a16="http://schemas.microsoft.com/office/drawing/2014/main" id="{6B87A211-F8D7-4192-A757-43B96D7F6B95}"/>
                </a:ext>
              </a:extLst>
            </p:cNvPr>
            <p:cNvSpPr/>
            <p:nvPr/>
          </p:nvSpPr>
          <p:spPr>
            <a:xfrm>
              <a:off x="5503478" y="3300788"/>
              <a:ext cx="220045" cy="205068"/>
            </a:xfrm>
            <a:custGeom>
              <a:avLst/>
              <a:gdLst/>
              <a:ahLst/>
              <a:cxnLst/>
              <a:rect l="l" t="t" r="r" b="b"/>
              <a:pathLst>
                <a:path w="327828" h="297180" extrusionOk="0">
                  <a:moveTo>
                    <a:pt x="164405" y="5760"/>
                  </a:moveTo>
                  <a:lnTo>
                    <a:pt x="176209" y="9052"/>
                  </a:lnTo>
                  <a:lnTo>
                    <a:pt x="176209" y="17281"/>
                  </a:lnTo>
                  <a:lnTo>
                    <a:pt x="179581" y="17281"/>
                  </a:lnTo>
                  <a:lnTo>
                    <a:pt x="181268" y="23864"/>
                  </a:lnTo>
                  <a:lnTo>
                    <a:pt x="188013" y="30448"/>
                  </a:lnTo>
                  <a:lnTo>
                    <a:pt x="188013" y="63365"/>
                  </a:lnTo>
                  <a:lnTo>
                    <a:pt x="189699" y="71594"/>
                  </a:lnTo>
                  <a:lnTo>
                    <a:pt x="204875" y="69949"/>
                  </a:lnTo>
                  <a:lnTo>
                    <a:pt x="206561" y="74886"/>
                  </a:lnTo>
                  <a:lnTo>
                    <a:pt x="218365" y="83116"/>
                  </a:lnTo>
                  <a:lnTo>
                    <a:pt x="220051" y="89699"/>
                  </a:lnTo>
                  <a:lnTo>
                    <a:pt x="250403" y="122616"/>
                  </a:lnTo>
                  <a:lnTo>
                    <a:pt x="268951" y="124262"/>
                  </a:lnTo>
                  <a:lnTo>
                    <a:pt x="324597" y="167055"/>
                  </a:lnTo>
                  <a:lnTo>
                    <a:pt x="295931" y="180221"/>
                  </a:lnTo>
                  <a:lnTo>
                    <a:pt x="297617" y="221368"/>
                  </a:lnTo>
                  <a:lnTo>
                    <a:pt x="267265" y="226306"/>
                  </a:lnTo>
                  <a:lnTo>
                    <a:pt x="262206" y="219722"/>
                  </a:lnTo>
                  <a:lnTo>
                    <a:pt x="248717" y="219722"/>
                  </a:lnTo>
                  <a:lnTo>
                    <a:pt x="245344" y="214785"/>
                  </a:lnTo>
                  <a:lnTo>
                    <a:pt x="240286" y="216430"/>
                  </a:lnTo>
                  <a:lnTo>
                    <a:pt x="238599" y="211493"/>
                  </a:lnTo>
                  <a:lnTo>
                    <a:pt x="235227" y="211493"/>
                  </a:lnTo>
                  <a:lnTo>
                    <a:pt x="233541" y="206555"/>
                  </a:lnTo>
                  <a:lnTo>
                    <a:pt x="223423" y="213139"/>
                  </a:lnTo>
                  <a:lnTo>
                    <a:pt x="214992" y="213139"/>
                  </a:lnTo>
                  <a:lnTo>
                    <a:pt x="209934" y="219722"/>
                  </a:lnTo>
                  <a:lnTo>
                    <a:pt x="203189" y="218076"/>
                  </a:lnTo>
                  <a:lnTo>
                    <a:pt x="198130" y="224660"/>
                  </a:lnTo>
                  <a:lnTo>
                    <a:pt x="194757" y="231243"/>
                  </a:lnTo>
                  <a:lnTo>
                    <a:pt x="194757" y="244410"/>
                  </a:lnTo>
                  <a:lnTo>
                    <a:pt x="188013" y="254285"/>
                  </a:lnTo>
                  <a:lnTo>
                    <a:pt x="181268" y="254285"/>
                  </a:lnTo>
                  <a:lnTo>
                    <a:pt x="172837" y="257577"/>
                  </a:lnTo>
                  <a:lnTo>
                    <a:pt x="169464" y="265806"/>
                  </a:lnTo>
                  <a:lnTo>
                    <a:pt x="159347" y="264160"/>
                  </a:lnTo>
                  <a:lnTo>
                    <a:pt x="159347" y="272390"/>
                  </a:lnTo>
                  <a:lnTo>
                    <a:pt x="152602" y="272390"/>
                  </a:lnTo>
                  <a:lnTo>
                    <a:pt x="150916" y="275682"/>
                  </a:lnTo>
                  <a:lnTo>
                    <a:pt x="144171" y="278973"/>
                  </a:lnTo>
                  <a:lnTo>
                    <a:pt x="139112" y="277327"/>
                  </a:lnTo>
                  <a:lnTo>
                    <a:pt x="135740" y="282265"/>
                  </a:lnTo>
                  <a:lnTo>
                    <a:pt x="125622" y="280619"/>
                  </a:lnTo>
                  <a:lnTo>
                    <a:pt x="120564" y="288848"/>
                  </a:lnTo>
                  <a:lnTo>
                    <a:pt x="113819" y="293786"/>
                  </a:lnTo>
                  <a:lnTo>
                    <a:pt x="90212" y="298724"/>
                  </a:lnTo>
                  <a:lnTo>
                    <a:pt x="117191" y="259223"/>
                  </a:lnTo>
                  <a:lnTo>
                    <a:pt x="122250" y="239472"/>
                  </a:lnTo>
                  <a:lnTo>
                    <a:pt x="120564" y="229597"/>
                  </a:lnTo>
                  <a:lnTo>
                    <a:pt x="95270" y="162117"/>
                  </a:lnTo>
                  <a:lnTo>
                    <a:pt x="73349" y="171992"/>
                  </a:lnTo>
                  <a:lnTo>
                    <a:pt x="71663" y="178575"/>
                  </a:lnTo>
                  <a:lnTo>
                    <a:pt x="37939" y="206555"/>
                  </a:lnTo>
                  <a:lnTo>
                    <a:pt x="39625" y="188451"/>
                  </a:lnTo>
                  <a:lnTo>
                    <a:pt x="29507" y="171992"/>
                  </a:lnTo>
                  <a:lnTo>
                    <a:pt x="4214" y="150596"/>
                  </a:lnTo>
                  <a:lnTo>
                    <a:pt x="16018" y="91345"/>
                  </a:lnTo>
                  <a:lnTo>
                    <a:pt x="26135" y="97928"/>
                  </a:lnTo>
                  <a:lnTo>
                    <a:pt x="44684" y="60074"/>
                  </a:lnTo>
                  <a:lnTo>
                    <a:pt x="64918" y="69949"/>
                  </a:lnTo>
                  <a:lnTo>
                    <a:pt x="68291" y="45261"/>
                  </a:lnTo>
                  <a:lnTo>
                    <a:pt x="85153" y="56782"/>
                  </a:lnTo>
                  <a:lnTo>
                    <a:pt x="98643" y="37031"/>
                  </a:lnTo>
                  <a:lnTo>
                    <a:pt x="105388" y="37031"/>
                  </a:lnTo>
                  <a:lnTo>
                    <a:pt x="113819" y="30448"/>
                  </a:lnTo>
                  <a:lnTo>
                    <a:pt x="127309" y="28802"/>
                  </a:lnTo>
                  <a:lnTo>
                    <a:pt x="145857" y="13989"/>
                  </a:lnTo>
                  <a:lnTo>
                    <a:pt x="149229" y="7406"/>
                  </a:lnTo>
                  <a:lnTo>
                    <a:pt x="155974" y="4114"/>
                  </a:lnTo>
                  <a:lnTo>
                    <a:pt x="164405" y="576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3" name="Deventer">
              <a:extLst>
                <a:ext uri="{FF2B5EF4-FFF2-40B4-BE49-F238E27FC236}">
                  <a16:creationId xmlns:a16="http://schemas.microsoft.com/office/drawing/2014/main" id="{8EBA0906-EABC-42A9-9977-38EBE75A1DFC}"/>
                </a:ext>
              </a:extLst>
            </p:cNvPr>
            <p:cNvSpPr/>
            <p:nvPr/>
          </p:nvSpPr>
          <p:spPr>
            <a:xfrm>
              <a:off x="6962119" y="3144830"/>
              <a:ext cx="311047" cy="183916"/>
            </a:xfrm>
            <a:custGeom>
              <a:avLst/>
              <a:gdLst/>
              <a:ahLst/>
              <a:cxnLst/>
              <a:rect l="l" t="t" r="r" b="b"/>
              <a:pathLst>
                <a:path w="433202" h="251460" extrusionOk="0">
                  <a:moveTo>
                    <a:pt x="206561" y="7405"/>
                  </a:moveTo>
                  <a:lnTo>
                    <a:pt x="206561" y="20573"/>
                  </a:lnTo>
                  <a:lnTo>
                    <a:pt x="255462" y="53490"/>
                  </a:lnTo>
                  <a:lnTo>
                    <a:pt x="312793" y="53490"/>
                  </a:lnTo>
                  <a:lnTo>
                    <a:pt x="344832" y="50198"/>
                  </a:lnTo>
                  <a:lnTo>
                    <a:pt x="349890" y="99574"/>
                  </a:lnTo>
                  <a:lnTo>
                    <a:pt x="381928" y="120970"/>
                  </a:lnTo>
                  <a:lnTo>
                    <a:pt x="380242" y="125908"/>
                  </a:lnTo>
                  <a:lnTo>
                    <a:pt x="383614" y="127554"/>
                  </a:lnTo>
                  <a:lnTo>
                    <a:pt x="385301" y="124262"/>
                  </a:lnTo>
                  <a:lnTo>
                    <a:pt x="388673" y="127554"/>
                  </a:lnTo>
                  <a:lnTo>
                    <a:pt x="385301" y="129199"/>
                  </a:lnTo>
                  <a:lnTo>
                    <a:pt x="390360" y="132491"/>
                  </a:lnTo>
                  <a:lnTo>
                    <a:pt x="392046" y="130845"/>
                  </a:lnTo>
                  <a:lnTo>
                    <a:pt x="413967" y="148950"/>
                  </a:lnTo>
                  <a:lnTo>
                    <a:pt x="417339" y="147304"/>
                  </a:lnTo>
                  <a:lnTo>
                    <a:pt x="424084" y="152242"/>
                  </a:lnTo>
                  <a:lnTo>
                    <a:pt x="424084" y="157179"/>
                  </a:lnTo>
                  <a:lnTo>
                    <a:pt x="419026" y="158825"/>
                  </a:lnTo>
                  <a:lnTo>
                    <a:pt x="419026" y="160471"/>
                  </a:lnTo>
                  <a:lnTo>
                    <a:pt x="424084" y="163763"/>
                  </a:lnTo>
                  <a:lnTo>
                    <a:pt x="422398" y="173638"/>
                  </a:lnTo>
                  <a:lnTo>
                    <a:pt x="430829" y="181867"/>
                  </a:lnTo>
                  <a:lnTo>
                    <a:pt x="408908" y="193388"/>
                  </a:lnTo>
                  <a:lnTo>
                    <a:pt x="383614" y="193388"/>
                  </a:lnTo>
                  <a:lnTo>
                    <a:pt x="381928" y="201617"/>
                  </a:lnTo>
                  <a:lnTo>
                    <a:pt x="370125" y="203264"/>
                  </a:lnTo>
                  <a:lnTo>
                    <a:pt x="370125" y="208201"/>
                  </a:lnTo>
                  <a:lnTo>
                    <a:pt x="365066" y="208201"/>
                  </a:lnTo>
                  <a:lnTo>
                    <a:pt x="366753" y="229597"/>
                  </a:lnTo>
                  <a:lnTo>
                    <a:pt x="346518" y="229597"/>
                  </a:lnTo>
                  <a:lnTo>
                    <a:pt x="339773" y="232889"/>
                  </a:lnTo>
                  <a:lnTo>
                    <a:pt x="304362" y="234535"/>
                  </a:lnTo>
                  <a:lnTo>
                    <a:pt x="302676" y="226306"/>
                  </a:lnTo>
                  <a:lnTo>
                    <a:pt x="295931" y="224660"/>
                  </a:lnTo>
                  <a:lnTo>
                    <a:pt x="295931" y="221368"/>
                  </a:lnTo>
                  <a:lnTo>
                    <a:pt x="270638" y="229597"/>
                  </a:lnTo>
                  <a:lnTo>
                    <a:pt x="263893" y="229597"/>
                  </a:lnTo>
                  <a:lnTo>
                    <a:pt x="263893" y="232889"/>
                  </a:lnTo>
                  <a:lnTo>
                    <a:pt x="253775" y="231243"/>
                  </a:lnTo>
                  <a:lnTo>
                    <a:pt x="247030" y="226306"/>
                  </a:lnTo>
                  <a:lnTo>
                    <a:pt x="241972" y="231243"/>
                  </a:lnTo>
                  <a:lnTo>
                    <a:pt x="231855" y="231243"/>
                  </a:lnTo>
                  <a:lnTo>
                    <a:pt x="225110" y="231243"/>
                  </a:lnTo>
                  <a:lnTo>
                    <a:pt x="223423" y="227951"/>
                  </a:lnTo>
                  <a:lnTo>
                    <a:pt x="213306" y="229597"/>
                  </a:lnTo>
                  <a:lnTo>
                    <a:pt x="198130" y="224660"/>
                  </a:lnTo>
                  <a:lnTo>
                    <a:pt x="189699" y="227951"/>
                  </a:lnTo>
                  <a:lnTo>
                    <a:pt x="177895" y="221368"/>
                  </a:lnTo>
                  <a:lnTo>
                    <a:pt x="181268" y="232889"/>
                  </a:lnTo>
                  <a:lnTo>
                    <a:pt x="157661" y="226306"/>
                  </a:lnTo>
                  <a:lnTo>
                    <a:pt x="139112" y="227951"/>
                  </a:lnTo>
                  <a:lnTo>
                    <a:pt x="128995" y="216430"/>
                  </a:lnTo>
                  <a:lnTo>
                    <a:pt x="122250" y="216430"/>
                  </a:lnTo>
                  <a:lnTo>
                    <a:pt x="103701" y="223014"/>
                  </a:lnTo>
                  <a:lnTo>
                    <a:pt x="98643" y="229597"/>
                  </a:lnTo>
                  <a:lnTo>
                    <a:pt x="107074" y="231243"/>
                  </a:lnTo>
                  <a:lnTo>
                    <a:pt x="107074" y="234535"/>
                  </a:lnTo>
                  <a:lnTo>
                    <a:pt x="98643" y="231243"/>
                  </a:lnTo>
                  <a:lnTo>
                    <a:pt x="103701" y="242764"/>
                  </a:lnTo>
                  <a:lnTo>
                    <a:pt x="107074" y="247702"/>
                  </a:lnTo>
                  <a:lnTo>
                    <a:pt x="107074" y="252639"/>
                  </a:lnTo>
                  <a:lnTo>
                    <a:pt x="100329" y="255931"/>
                  </a:lnTo>
                  <a:lnTo>
                    <a:pt x="98643" y="254285"/>
                  </a:lnTo>
                  <a:lnTo>
                    <a:pt x="100329" y="244410"/>
                  </a:lnTo>
                  <a:lnTo>
                    <a:pt x="96957" y="237827"/>
                  </a:lnTo>
                  <a:lnTo>
                    <a:pt x="75036" y="231243"/>
                  </a:lnTo>
                  <a:lnTo>
                    <a:pt x="66604" y="218076"/>
                  </a:lnTo>
                  <a:lnTo>
                    <a:pt x="66604" y="204909"/>
                  </a:lnTo>
                  <a:lnTo>
                    <a:pt x="85153" y="191742"/>
                  </a:lnTo>
                  <a:lnTo>
                    <a:pt x="85153" y="185159"/>
                  </a:lnTo>
                  <a:lnTo>
                    <a:pt x="78408" y="181867"/>
                  </a:lnTo>
                  <a:lnTo>
                    <a:pt x="68291" y="186805"/>
                  </a:lnTo>
                  <a:lnTo>
                    <a:pt x="56487" y="178575"/>
                  </a:lnTo>
                  <a:lnTo>
                    <a:pt x="39625" y="173638"/>
                  </a:lnTo>
                  <a:lnTo>
                    <a:pt x="41311" y="162117"/>
                  </a:lnTo>
                  <a:lnTo>
                    <a:pt x="48056" y="152242"/>
                  </a:lnTo>
                  <a:lnTo>
                    <a:pt x="39625" y="145658"/>
                  </a:lnTo>
                  <a:lnTo>
                    <a:pt x="34566" y="125908"/>
                  </a:lnTo>
                  <a:lnTo>
                    <a:pt x="21076" y="111095"/>
                  </a:lnTo>
                  <a:lnTo>
                    <a:pt x="19390" y="86407"/>
                  </a:lnTo>
                  <a:lnTo>
                    <a:pt x="10959" y="76532"/>
                  </a:lnTo>
                  <a:lnTo>
                    <a:pt x="9273" y="65011"/>
                  </a:lnTo>
                  <a:lnTo>
                    <a:pt x="4214" y="55136"/>
                  </a:lnTo>
                  <a:lnTo>
                    <a:pt x="17704" y="63365"/>
                  </a:lnTo>
                  <a:lnTo>
                    <a:pt x="107074" y="35385"/>
                  </a:lnTo>
                  <a:lnTo>
                    <a:pt x="125622" y="35385"/>
                  </a:lnTo>
                  <a:lnTo>
                    <a:pt x="125622" y="20573"/>
                  </a:lnTo>
                  <a:lnTo>
                    <a:pt x="152602" y="17281"/>
                  </a:lnTo>
                  <a:lnTo>
                    <a:pt x="157661" y="13989"/>
                  </a:lnTo>
                  <a:lnTo>
                    <a:pt x="157661" y="7405"/>
                  </a:lnTo>
                  <a:lnTo>
                    <a:pt x="162719" y="4114"/>
                  </a:lnTo>
                  <a:lnTo>
                    <a:pt x="206561" y="7405"/>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4" name="Schagen">
              <a:extLst>
                <a:ext uri="{FF2B5EF4-FFF2-40B4-BE49-F238E27FC236}">
                  <a16:creationId xmlns:a16="http://schemas.microsoft.com/office/drawing/2014/main" id="{E6E9B144-23AD-4CDF-AEA7-D48CD7DABC03}"/>
                </a:ext>
              </a:extLst>
            </p:cNvPr>
            <p:cNvSpPr/>
            <p:nvPr/>
          </p:nvSpPr>
          <p:spPr>
            <a:xfrm>
              <a:off x="5457193" y="2240932"/>
              <a:ext cx="221201" cy="298997"/>
            </a:xfrm>
            <a:custGeom>
              <a:avLst/>
              <a:gdLst/>
              <a:ahLst/>
              <a:cxnLst/>
              <a:rect l="l" t="t" r="r" b="b"/>
              <a:pathLst>
                <a:path w="304412" h="468630" extrusionOk="0">
                  <a:moveTo>
                    <a:pt x="108760" y="4114"/>
                  </a:moveTo>
                  <a:lnTo>
                    <a:pt x="191385" y="15635"/>
                  </a:lnTo>
                  <a:lnTo>
                    <a:pt x="172837" y="88053"/>
                  </a:lnTo>
                  <a:lnTo>
                    <a:pt x="208247" y="81470"/>
                  </a:lnTo>
                  <a:lnTo>
                    <a:pt x="226796" y="91345"/>
                  </a:lnTo>
                  <a:lnTo>
                    <a:pt x="248717" y="117679"/>
                  </a:lnTo>
                  <a:lnTo>
                    <a:pt x="285814" y="188451"/>
                  </a:lnTo>
                  <a:lnTo>
                    <a:pt x="282441" y="206555"/>
                  </a:lnTo>
                  <a:lnTo>
                    <a:pt x="280755" y="246056"/>
                  </a:lnTo>
                  <a:lnTo>
                    <a:pt x="274010" y="246056"/>
                  </a:lnTo>
                  <a:lnTo>
                    <a:pt x="277383" y="265806"/>
                  </a:lnTo>
                  <a:lnTo>
                    <a:pt x="263893" y="269098"/>
                  </a:lnTo>
                  <a:lnTo>
                    <a:pt x="263893" y="280619"/>
                  </a:lnTo>
                  <a:lnTo>
                    <a:pt x="257148" y="278973"/>
                  </a:lnTo>
                  <a:lnTo>
                    <a:pt x="253775" y="275681"/>
                  </a:lnTo>
                  <a:lnTo>
                    <a:pt x="243658" y="278973"/>
                  </a:lnTo>
                  <a:lnTo>
                    <a:pt x="247031" y="290494"/>
                  </a:lnTo>
                  <a:lnTo>
                    <a:pt x="279069" y="336578"/>
                  </a:lnTo>
                  <a:lnTo>
                    <a:pt x="292559" y="364558"/>
                  </a:lnTo>
                  <a:lnTo>
                    <a:pt x="299303" y="369496"/>
                  </a:lnTo>
                  <a:lnTo>
                    <a:pt x="307735" y="387600"/>
                  </a:lnTo>
                  <a:lnTo>
                    <a:pt x="304362" y="399121"/>
                  </a:lnTo>
                  <a:lnTo>
                    <a:pt x="240286" y="413934"/>
                  </a:lnTo>
                  <a:lnTo>
                    <a:pt x="238599" y="410642"/>
                  </a:lnTo>
                  <a:lnTo>
                    <a:pt x="235227" y="408996"/>
                  </a:lnTo>
                  <a:lnTo>
                    <a:pt x="228482" y="400767"/>
                  </a:lnTo>
                  <a:lnTo>
                    <a:pt x="228482" y="397475"/>
                  </a:lnTo>
                  <a:lnTo>
                    <a:pt x="223423" y="399121"/>
                  </a:lnTo>
                  <a:lnTo>
                    <a:pt x="211620" y="397475"/>
                  </a:lnTo>
                  <a:lnTo>
                    <a:pt x="209934" y="394184"/>
                  </a:lnTo>
                  <a:lnTo>
                    <a:pt x="211620" y="381017"/>
                  </a:lnTo>
                  <a:lnTo>
                    <a:pt x="199816" y="371141"/>
                  </a:lnTo>
                  <a:lnTo>
                    <a:pt x="191385" y="400767"/>
                  </a:lnTo>
                  <a:lnTo>
                    <a:pt x="186326" y="450143"/>
                  </a:lnTo>
                  <a:lnTo>
                    <a:pt x="161033" y="453435"/>
                  </a:lnTo>
                  <a:lnTo>
                    <a:pt x="123936" y="468247"/>
                  </a:lnTo>
                  <a:lnTo>
                    <a:pt x="110446" y="451789"/>
                  </a:lnTo>
                  <a:lnTo>
                    <a:pt x="105388" y="420517"/>
                  </a:lnTo>
                  <a:lnTo>
                    <a:pt x="71663" y="371141"/>
                  </a:lnTo>
                  <a:lnTo>
                    <a:pt x="66604" y="366204"/>
                  </a:lnTo>
                  <a:lnTo>
                    <a:pt x="58173" y="366204"/>
                  </a:lnTo>
                  <a:lnTo>
                    <a:pt x="51428" y="351391"/>
                  </a:lnTo>
                  <a:lnTo>
                    <a:pt x="36252" y="346454"/>
                  </a:lnTo>
                  <a:lnTo>
                    <a:pt x="27821" y="333287"/>
                  </a:lnTo>
                  <a:lnTo>
                    <a:pt x="21076" y="331641"/>
                  </a:lnTo>
                  <a:lnTo>
                    <a:pt x="21076" y="326703"/>
                  </a:lnTo>
                  <a:lnTo>
                    <a:pt x="9273" y="310245"/>
                  </a:lnTo>
                  <a:lnTo>
                    <a:pt x="4214" y="310245"/>
                  </a:lnTo>
                  <a:lnTo>
                    <a:pt x="10959" y="287203"/>
                  </a:lnTo>
                  <a:lnTo>
                    <a:pt x="14332" y="283911"/>
                  </a:lnTo>
                  <a:lnTo>
                    <a:pt x="12645" y="282265"/>
                  </a:lnTo>
                  <a:lnTo>
                    <a:pt x="14332" y="283911"/>
                  </a:lnTo>
                  <a:lnTo>
                    <a:pt x="14332" y="280619"/>
                  </a:lnTo>
                  <a:lnTo>
                    <a:pt x="16018" y="278973"/>
                  </a:lnTo>
                  <a:lnTo>
                    <a:pt x="14332" y="278973"/>
                  </a:lnTo>
                  <a:lnTo>
                    <a:pt x="16018" y="278973"/>
                  </a:lnTo>
                  <a:lnTo>
                    <a:pt x="16018" y="275681"/>
                  </a:lnTo>
                  <a:lnTo>
                    <a:pt x="17704" y="277327"/>
                  </a:lnTo>
                  <a:lnTo>
                    <a:pt x="17704" y="274036"/>
                  </a:lnTo>
                  <a:lnTo>
                    <a:pt x="21076" y="272390"/>
                  </a:lnTo>
                  <a:lnTo>
                    <a:pt x="19390" y="270744"/>
                  </a:lnTo>
                  <a:lnTo>
                    <a:pt x="21076" y="272390"/>
                  </a:lnTo>
                  <a:lnTo>
                    <a:pt x="19390" y="269098"/>
                  </a:lnTo>
                  <a:lnTo>
                    <a:pt x="24449" y="265806"/>
                  </a:lnTo>
                  <a:lnTo>
                    <a:pt x="22763" y="264160"/>
                  </a:lnTo>
                  <a:lnTo>
                    <a:pt x="26135" y="262515"/>
                  </a:lnTo>
                  <a:lnTo>
                    <a:pt x="24449" y="259223"/>
                  </a:lnTo>
                  <a:lnTo>
                    <a:pt x="26135" y="259223"/>
                  </a:lnTo>
                  <a:lnTo>
                    <a:pt x="29508" y="254285"/>
                  </a:lnTo>
                  <a:lnTo>
                    <a:pt x="26135" y="254285"/>
                  </a:lnTo>
                  <a:lnTo>
                    <a:pt x="29508" y="254285"/>
                  </a:lnTo>
                  <a:lnTo>
                    <a:pt x="31194" y="249348"/>
                  </a:lnTo>
                  <a:lnTo>
                    <a:pt x="27821" y="247702"/>
                  </a:lnTo>
                  <a:lnTo>
                    <a:pt x="31194" y="247702"/>
                  </a:lnTo>
                  <a:lnTo>
                    <a:pt x="32880" y="246056"/>
                  </a:lnTo>
                  <a:lnTo>
                    <a:pt x="32880" y="242764"/>
                  </a:lnTo>
                  <a:lnTo>
                    <a:pt x="29508" y="241118"/>
                  </a:lnTo>
                  <a:lnTo>
                    <a:pt x="32880" y="241118"/>
                  </a:lnTo>
                  <a:lnTo>
                    <a:pt x="37939" y="229597"/>
                  </a:lnTo>
                  <a:lnTo>
                    <a:pt x="34566" y="227951"/>
                  </a:lnTo>
                  <a:lnTo>
                    <a:pt x="37939" y="227951"/>
                  </a:lnTo>
                  <a:lnTo>
                    <a:pt x="42997" y="214784"/>
                  </a:lnTo>
                  <a:lnTo>
                    <a:pt x="48056" y="198326"/>
                  </a:lnTo>
                  <a:lnTo>
                    <a:pt x="46370" y="196680"/>
                  </a:lnTo>
                  <a:lnTo>
                    <a:pt x="48056" y="196680"/>
                  </a:lnTo>
                  <a:lnTo>
                    <a:pt x="49742" y="193388"/>
                  </a:lnTo>
                  <a:lnTo>
                    <a:pt x="46370" y="191742"/>
                  </a:lnTo>
                  <a:lnTo>
                    <a:pt x="49742" y="193388"/>
                  </a:lnTo>
                  <a:lnTo>
                    <a:pt x="51428" y="190097"/>
                  </a:lnTo>
                  <a:lnTo>
                    <a:pt x="48056" y="186805"/>
                  </a:lnTo>
                  <a:lnTo>
                    <a:pt x="51428" y="188451"/>
                  </a:lnTo>
                  <a:lnTo>
                    <a:pt x="53115" y="185159"/>
                  </a:lnTo>
                  <a:lnTo>
                    <a:pt x="49742" y="183513"/>
                  </a:lnTo>
                  <a:lnTo>
                    <a:pt x="53115" y="183513"/>
                  </a:lnTo>
                  <a:lnTo>
                    <a:pt x="53115" y="180221"/>
                  </a:lnTo>
                  <a:lnTo>
                    <a:pt x="51428" y="178576"/>
                  </a:lnTo>
                  <a:lnTo>
                    <a:pt x="54801" y="178576"/>
                  </a:lnTo>
                  <a:lnTo>
                    <a:pt x="53115" y="175284"/>
                  </a:lnTo>
                  <a:lnTo>
                    <a:pt x="54801" y="175284"/>
                  </a:lnTo>
                  <a:lnTo>
                    <a:pt x="56487" y="170346"/>
                  </a:lnTo>
                  <a:lnTo>
                    <a:pt x="53115" y="170346"/>
                  </a:lnTo>
                  <a:lnTo>
                    <a:pt x="56487" y="170346"/>
                  </a:lnTo>
                  <a:lnTo>
                    <a:pt x="54801" y="165409"/>
                  </a:lnTo>
                  <a:lnTo>
                    <a:pt x="56487" y="167054"/>
                  </a:lnTo>
                  <a:lnTo>
                    <a:pt x="58173" y="163763"/>
                  </a:lnTo>
                  <a:lnTo>
                    <a:pt x="54801" y="162117"/>
                  </a:lnTo>
                  <a:lnTo>
                    <a:pt x="58173" y="160471"/>
                  </a:lnTo>
                  <a:lnTo>
                    <a:pt x="58173" y="157179"/>
                  </a:lnTo>
                  <a:lnTo>
                    <a:pt x="56487" y="157179"/>
                  </a:lnTo>
                  <a:lnTo>
                    <a:pt x="58173" y="157179"/>
                  </a:lnTo>
                  <a:lnTo>
                    <a:pt x="61546" y="148950"/>
                  </a:lnTo>
                  <a:lnTo>
                    <a:pt x="58173" y="148950"/>
                  </a:lnTo>
                  <a:lnTo>
                    <a:pt x="61546" y="147304"/>
                  </a:lnTo>
                  <a:lnTo>
                    <a:pt x="59860" y="144012"/>
                  </a:lnTo>
                  <a:lnTo>
                    <a:pt x="63232" y="142367"/>
                  </a:lnTo>
                  <a:lnTo>
                    <a:pt x="61546" y="140721"/>
                  </a:lnTo>
                  <a:lnTo>
                    <a:pt x="63232" y="140721"/>
                  </a:lnTo>
                  <a:lnTo>
                    <a:pt x="64918" y="135783"/>
                  </a:lnTo>
                  <a:lnTo>
                    <a:pt x="61546" y="135783"/>
                  </a:lnTo>
                  <a:lnTo>
                    <a:pt x="64918" y="135783"/>
                  </a:lnTo>
                  <a:lnTo>
                    <a:pt x="64918" y="132491"/>
                  </a:lnTo>
                  <a:lnTo>
                    <a:pt x="63232" y="130845"/>
                  </a:lnTo>
                  <a:lnTo>
                    <a:pt x="66604" y="127554"/>
                  </a:lnTo>
                  <a:lnTo>
                    <a:pt x="64918" y="127554"/>
                  </a:lnTo>
                  <a:lnTo>
                    <a:pt x="66604" y="127554"/>
                  </a:lnTo>
                  <a:lnTo>
                    <a:pt x="68291" y="124262"/>
                  </a:lnTo>
                  <a:lnTo>
                    <a:pt x="64918" y="122616"/>
                  </a:lnTo>
                  <a:lnTo>
                    <a:pt x="68291" y="120970"/>
                  </a:lnTo>
                  <a:lnTo>
                    <a:pt x="66604" y="119324"/>
                  </a:lnTo>
                  <a:lnTo>
                    <a:pt x="69977" y="117679"/>
                  </a:lnTo>
                  <a:lnTo>
                    <a:pt x="68291" y="114387"/>
                  </a:lnTo>
                  <a:lnTo>
                    <a:pt x="71663" y="112741"/>
                  </a:lnTo>
                  <a:lnTo>
                    <a:pt x="71663" y="109449"/>
                  </a:lnTo>
                  <a:lnTo>
                    <a:pt x="69977" y="107803"/>
                  </a:lnTo>
                  <a:lnTo>
                    <a:pt x="71663" y="107803"/>
                  </a:lnTo>
                  <a:lnTo>
                    <a:pt x="73349" y="102866"/>
                  </a:lnTo>
                  <a:lnTo>
                    <a:pt x="71663" y="101220"/>
                  </a:lnTo>
                  <a:lnTo>
                    <a:pt x="73349" y="102866"/>
                  </a:lnTo>
                  <a:lnTo>
                    <a:pt x="75036" y="99574"/>
                  </a:lnTo>
                  <a:lnTo>
                    <a:pt x="73349" y="96282"/>
                  </a:lnTo>
                  <a:lnTo>
                    <a:pt x="75036" y="96282"/>
                  </a:lnTo>
                  <a:lnTo>
                    <a:pt x="76722" y="91345"/>
                  </a:lnTo>
                  <a:lnTo>
                    <a:pt x="75036" y="89699"/>
                  </a:lnTo>
                  <a:lnTo>
                    <a:pt x="76722" y="89699"/>
                  </a:lnTo>
                  <a:lnTo>
                    <a:pt x="78408" y="83115"/>
                  </a:lnTo>
                  <a:lnTo>
                    <a:pt x="76722" y="83115"/>
                  </a:lnTo>
                  <a:lnTo>
                    <a:pt x="78408" y="83115"/>
                  </a:lnTo>
                  <a:lnTo>
                    <a:pt x="80094" y="78178"/>
                  </a:lnTo>
                  <a:lnTo>
                    <a:pt x="78408" y="76532"/>
                  </a:lnTo>
                  <a:lnTo>
                    <a:pt x="80094" y="76532"/>
                  </a:lnTo>
                  <a:lnTo>
                    <a:pt x="81781" y="74886"/>
                  </a:lnTo>
                  <a:lnTo>
                    <a:pt x="83467" y="71594"/>
                  </a:lnTo>
                  <a:lnTo>
                    <a:pt x="80094" y="69949"/>
                  </a:lnTo>
                  <a:lnTo>
                    <a:pt x="83467" y="71594"/>
                  </a:lnTo>
                  <a:lnTo>
                    <a:pt x="83467" y="65011"/>
                  </a:lnTo>
                  <a:lnTo>
                    <a:pt x="81781" y="63365"/>
                  </a:lnTo>
                  <a:lnTo>
                    <a:pt x="83467" y="65011"/>
                  </a:lnTo>
                  <a:lnTo>
                    <a:pt x="85153" y="58427"/>
                  </a:lnTo>
                  <a:lnTo>
                    <a:pt x="83467" y="56782"/>
                  </a:lnTo>
                  <a:lnTo>
                    <a:pt x="85153" y="58427"/>
                  </a:lnTo>
                  <a:lnTo>
                    <a:pt x="88525" y="51844"/>
                  </a:lnTo>
                  <a:lnTo>
                    <a:pt x="85153" y="51844"/>
                  </a:lnTo>
                  <a:lnTo>
                    <a:pt x="88525" y="51844"/>
                  </a:lnTo>
                  <a:lnTo>
                    <a:pt x="90212" y="45261"/>
                  </a:lnTo>
                  <a:lnTo>
                    <a:pt x="86839" y="45261"/>
                  </a:lnTo>
                  <a:lnTo>
                    <a:pt x="90212" y="45261"/>
                  </a:lnTo>
                  <a:lnTo>
                    <a:pt x="93584" y="35385"/>
                  </a:lnTo>
                  <a:lnTo>
                    <a:pt x="93584" y="32094"/>
                  </a:lnTo>
                  <a:lnTo>
                    <a:pt x="90212" y="32094"/>
                  </a:lnTo>
                  <a:lnTo>
                    <a:pt x="93584" y="32094"/>
                  </a:lnTo>
                  <a:lnTo>
                    <a:pt x="95270" y="23864"/>
                  </a:lnTo>
                  <a:lnTo>
                    <a:pt x="91898" y="23864"/>
                  </a:lnTo>
                  <a:lnTo>
                    <a:pt x="95270" y="23864"/>
                  </a:lnTo>
                  <a:lnTo>
                    <a:pt x="95270" y="20573"/>
                  </a:lnTo>
                  <a:lnTo>
                    <a:pt x="93584" y="18927"/>
                  </a:lnTo>
                  <a:lnTo>
                    <a:pt x="95270" y="20573"/>
                  </a:lnTo>
                  <a:lnTo>
                    <a:pt x="96957" y="17281"/>
                  </a:lnTo>
                  <a:lnTo>
                    <a:pt x="93584" y="15635"/>
                  </a:lnTo>
                  <a:lnTo>
                    <a:pt x="96957" y="15635"/>
                  </a:lnTo>
                  <a:lnTo>
                    <a:pt x="98643" y="12343"/>
                  </a:lnTo>
                  <a:lnTo>
                    <a:pt x="100329" y="4114"/>
                  </a:lnTo>
                  <a:lnTo>
                    <a:pt x="10876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5" name="Venlo">
              <a:extLst>
                <a:ext uri="{FF2B5EF4-FFF2-40B4-BE49-F238E27FC236}">
                  <a16:creationId xmlns:a16="http://schemas.microsoft.com/office/drawing/2014/main" id="{1FB53C80-C88D-451D-924A-ED162D264C97}"/>
                </a:ext>
              </a:extLst>
            </p:cNvPr>
            <p:cNvSpPr/>
            <p:nvPr/>
          </p:nvSpPr>
          <p:spPr>
            <a:xfrm>
              <a:off x="6953618" y="4486711"/>
              <a:ext cx="160271" cy="367537"/>
            </a:xfrm>
            <a:custGeom>
              <a:avLst/>
              <a:gdLst/>
              <a:ahLst/>
              <a:cxnLst/>
              <a:rect l="l" t="t" r="r" b="b"/>
              <a:pathLst>
                <a:path w="245871" h="560070" extrusionOk="0">
                  <a:moveTo>
                    <a:pt x="220051" y="12343"/>
                  </a:moveTo>
                  <a:lnTo>
                    <a:pt x="218365" y="45260"/>
                  </a:lnTo>
                  <a:lnTo>
                    <a:pt x="228482" y="60073"/>
                  </a:lnTo>
                  <a:lnTo>
                    <a:pt x="235227" y="83115"/>
                  </a:lnTo>
                  <a:lnTo>
                    <a:pt x="236913" y="99574"/>
                  </a:lnTo>
                  <a:lnTo>
                    <a:pt x="231855" y="130845"/>
                  </a:lnTo>
                  <a:lnTo>
                    <a:pt x="231855" y="152242"/>
                  </a:lnTo>
                  <a:lnTo>
                    <a:pt x="221737" y="153888"/>
                  </a:lnTo>
                  <a:lnTo>
                    <a:pt x="223423" y="183513"/>
                  </a:lnTo>
                  <a:lnTo>
                    <a:pt x="209934" y="265806"/>
                  </a:lnTo>
                  <a:lnTo>
                    <a:pt x="220051" y="262514"/>
                  </a:lnTo>
                  <a:lnTo>
                    <a:pt x="243658" y="264160"/>
                  </a:lnTo>
                  <a:lnTo>
                    <a:pt x="225109" y="290494"/>
                  </a:lnTo>
                  <a:lnTo>
                    <a:pt x="226796" y="292140"/>
                  </a:lnTo>
                  <a:lnTo>
                    <a:pt x="225109" y="295432"/>
                  </a:lnTo>
                  <a:lnTo>
                    <a:pt x="243658" y="361266"/>
                  </a:lnTo>
                  <a:lnTo>
                    <a:pt x="188013" y="412288"/>
                  </a:lnTo>
                  <a:lnTo>
                    <a:pt x="194757" y="422163"/>
                  </a:lnTo>
                  <a:lnTo>
                    <a:pt x="154288" y="427101"/>
                  </a:lnTo>
                  <a:lnTo>
                    <a:pt x="155974" y="436976"/>
                  </a:lnTo>
                  <a:lnTo>
                    <a:pt x="147543" y="445205"/>
                  </a:lnTo>
                  <a:lnTo>
                    <a:pt x="140798" y="460018"/>
                  </a:lnTo>
                  <a:lnTo>
                    <a:pt x="140798" y="469893"/>
                  </a:lnTo>
                  <a:lnTo>
                    <a:pt x="134053" y="481414"/>
                  </a:lnTo>
                  <a:lnTo>
                    <a:pt x="132367" y="489643"/>
                  </a:lnTo>
                  <a:lnTo>
                    <a:pt x="118877" y="512686"/>
                  </a:lnTo>
                  <a:lnTo>
                    <a:pt x="95270" y="542311"/>
                  </a:lnTo>
                  <a:lnTo>
                    <a:pt x="88525" y="563708"/>
                  </a:lnTo>
                  <a:lnTo>
                    <a:pt x="88525" y="557124"/>
                  </a:lnTo>
                  <a:lnTo>
                    <a:pt x="71663" y="534082"/>
                  </a:lnTo>
                  <a:lnTo>
                    <a:pt x="59859" y="529144"/>
                  </a:lnTo>
                  <a:lnTo>
                    <a:pt x="54801" y="535728"/>
                  </a:lnTo>
                  <a:lnTo>
                    <a:pt x="39625" y="519269"/>
                  </a:lnTo>
                  <a:lnTo>
                    <a:pt x="34566" y="520915"/>
                  </a:lnTo>
                  <a:lnTo>
                    <a:pt x="29507" y="520915"/>
                  </a:lnTo>
                  <a:lnTo>
                    <a:pt x="26135" y="514332"/>
                  </a:lnTo>
                  <a:lnTo>
                    <a:pt x="53115" y="487998"/>
                  </a:lnTo>
                  <a:lnTo>
                    <a:pt x="73349" y="455080"/>
                  </a:lnTo>
                  <a:lnTo>
                    <a:pt x="76722" y="436976"/>
                  </a:lnTo>
                  <a:lnTo>
                    <a:pt x="75036" y="413934"/>
                  </a:lnTo>
                  <a:lnTo>
                    <a:pt x="85153" y="404059"/>
                  </a:lnTo>
                  <a:lnTo>
                    <a:pt x="59859" y="372787"/>
                  </a:lnTo>
                  <a:lnTo>
                    <a:pt x="48056" y="371141"/>
                  </a:lnTo>
                  <a:lnTo>
                    <a:pt x="34566" y="334932"/>
                  </a:lnTo>
                  <a:lnTo>
                    <a:pt x="27821" y="338224"/>
                  </a:lnTo>
                  <a:lnTo>
                    <a:pt x="26135" y="333286"/>
                  </a:lnTo>
                  <a:lnTo>
                    <a:pt x="12645" y="320120"/>
                  </a:lnTo>
                  <a:lnTo>
                    <a:pt x="32880" y="300369"/>
                  </a:lnTo>
                  <a:lnTo>
                    <a:pt x="32880" y="293786"/>
                  </a:lnTo>
                  <a:lnTo>
                    <a:pt x="26135" y="290494"/>
                  </a:lnTo>
                  <a:lnTo>
                    <a:pt x="22763" y="285557"/>
                  </a:lnTo>
                  <a:lnTo>
                    <a:pt x="19390" y="285557"/>
                  </a:lnTo>
                  <a:lnTo>
                    <a:pt x="12645" y="280619"/>
                  </a:lnTo>
                  <a:lnTo>
                    <a:pt x="7586" y="282265"/>
                  </a:lnTo>
                  <a:lnTo>
                    <a:pt x="4214" y="272390"/>
                  </a:lnTo>
                  <a:lnTo>
                    <a:pt x="5900" y="252639"/>
                  </a:lnTo>
                  <a:lnTo>
                    <a:pt x="10959" y="244410"/>
                  </a:lnTo>
                  <a:lnTo>
                    <a:pt x="12645" y="218076"/>
                  </a:lnTo>
                  <a:lnTo>
                    <a:pt x="49742" y="219722"/>
                  </a:lnTo>
                  <a:lnTo>
                    <a:pt x="58173" y="218076"/>
                  </a:lnTo>
                  <a:lnTo>
                    <a:pt x="59859" y="219722"/>
                  </a:lnTo>
                  <a:lnTo>
                    <a:pt x="61546" y="218076"/>
                  </a:lnTo>
                  <a:lnTo>
                    <a:pt x="71663" y="214785"/>
                  </a:lnTo>
                  <a:lnTo>
                    <a:pt x="85153" y="231243"/>
                  </a:lnTo>
                  <a:lnTo>
                    <a:pt x="90211" y="231243"/>
                  </a:lnTo>
                  <a:lnTo>
                    <a:pt x="90211" y="232889"/>
                  </a:lnTo>
                  <a:lnTo>
                    <a:pt x="95270" y="231243"/>
                  </a:lnTo>
                  <a:lnTo>
                    <a:pt x="96957" y="232889"/>
                  </a:lnTo>
                  <a:lnTo>
                    <a:pt x="102015" y="227951"/>
                  </a:lnTo>
                  <a:lnTo>
                    <a:pt x="110446" y="278973"/>
                  </a:lnTo>
                  <a:lnTo>
                    <a:pt x="128995" y="275682"/>
                  </a:lnTo>
                  <a:lnTo>
                    <a:pt x="122250" y="244410"/>
                  </a:lnTo>
                  <a:lnTo>
                    <a:pt x="125622" y="231243"/>
                  </a:lnTo>
                  <a:lnTo>
                    <a:pt x="134053" y="219722"/>
                  </a:lnTo>
                  <a:lnTo>
                    <a:pt x="137426" y="211493"/>
                  </a:lnTo>
                  <a:lnTo>
                    <a:pt x="128995" y="178575"/>
                  </a:lnTo>
                  <a:lnTo>
                    <a:pt x="130681" y="167054"/>
                  </a:lnTo>
                  <a:lnTo>
                    <a:pt x="134053" y="155533"/>
                  </a:lnTo>
                  <a:lnTo>
                    <a:pt x="162719" y="119324"/>
                  </a:lnTo>
                  <a:lnTo>
                    <a:pt x="166092" y="106157"/>
                  </a:lnTo>
                  <a:lnTo>
                    <a:pt x="164405" y="88053"/>
                  </a:lnTo>
                  <a:lnTo>
                    <a:pt x="147543" y="56782"/>
                  </a:lnTo>
                  <a:lnTo>
                    <a:pt x="150916" y="17281"/>
                  </a:lnTo>
                  <a:lnTo>
                    <a:pt x="181268" y="12343"/>
                  </a:lnTo>
                  <a:lnTo>
                    <a:pt x="204875" y="13989"/>
                  </a:lnTo>
                  <a:lnTo>
                    <a:pt x="220051" y="4114"/>
                  </a:lnTo>
                  <a:lnTo>
                    <a:pt x="220051"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6" name="Ridderkerk">
              <a:extLst>
                <a:ext uri="{FF2B5EF4-FFF2-40B4-BE49-F238E27FC236}">
                  <a16:creationId xmlns:a16="http://schemas.microsoft.com/office/drawing/2014/main" id="{784D8D42-6312-4B68-9C10-82DC841F1EF5}"/>
                </a:ext>
              </a:extLst>
            </p:cNvPr>
            <p:cNvSpPr/>
            <p:nvPr/>
          </p:nvSpPr>
          <p:spPr>
            <a:xfrm>
              <a:off x="5349620" y="3839369"/>
              <a:ext cx="107395" cy="110094"/>
            </a:xfrm>
            <a:custGeom>
              <a:avLst/>
              <a:gdLst/>
              <a:ahLst/>
              <a:cxnLst/>
              <a:rect l="l" t="t" r="r" b="b"/>
              <a:pathLst>
                <a:path w="152206" h="160020" extrusionOk="0">
                  <a:moveTo>
                    <a:pt x="123936" y="63365"/>
                  </a:moveTo>
                  <a:lnTo>
                    <a:pt x="142485" y="102866"/>
                  </a:lnTo>
                  <a:lnTo>
                    <a:pt x="152602" y="116033"/>
                  </a:lnTo>
                  <a:lnTo>
                    <a:pt x="135740" y="134137"/>
                  </a:lnTo>
                  <a:lnTo>
                    <a:pt x="132367" y="132492"/>
                  </a:lnTo>
                  <a:lnTo>
                    <a:pt x="122250" y="120971"/>
                  </a:lnTo>
                  <a:lnTo>
                    <a:pt x="108760" y="129200"/>
                  </a:lnTo>
                  <a:lnTo>
                    <a:pt x="88525" y="135783"/>
                  </a:lnTo>
                  <a:lnTo>
                    <a:pt x="80094" y="158825"/>
                  </a:lnTo>
                  <a:lnTo>
                    <a:pt x="36252" y="139075"/>
                  </a:lnTo>
                  <a:lnTo>
                    <a:pt x="34566" y="125908"/>
                  </a:lnTo>
                  <a:lnTo>
                    <a:pt x="27821" y="125908"/>
                  </a:lnTo>
                  <a:lnTo>
                    <a:pt x="26135" y="122616"/>
                  </a:lnTo>
                  <a:lnTo>
                    <a:pt x="4214" y="73240"/>
                  </a:lnTo>
                  <a:lnTo>
                    <a:pt x="22763" y="63365"/>
                  </a:lnTo>
                  <a:lnTo>
                    <a:pt x="34566" y="63365"/>
                  </a:lnTo>
                  <a:lnTo>
                    <a:pt x="46370" y="4114"/>
                  </a:lnTo>
                  <a:lnTo>
                    <a:pt x="56487" y="9052"/>
                  </a:lnTo>
                  <a:lnTo>
                    <a:pt x="71663" y="23864"/>
                  </a:lnTo>
                  <a:lnTo>
                    <a:pt x="112133" y="37031"/>
                  </a:lnTo>
                  <a:lnTo>
                    <a:pt x="123936" y="6336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7" name="Sint-Michielsgestel">
              <a:extLst>
                <a:ext uri="{FF2B5EF4-FFF2-40B4-BE49-F238E27FC236}">
                  <a16:creationId xmlns:a16="http://schemas.microsoft.com/office/drawing/2014/main" id="{65AAFA7B-71B9-4EA5-8EC3-410E31DE5631}"/>
                </a:ext>
              </a:extLst>
            </p:cNvPr>
            <p:cNvSpPr/>
            <p:nvPr/>
          </p:nvSpPr>
          <p:spPr>
            <a:xfrm>
              <a:off x="6144119" y="4166851"/>
              <a:ext cx="159896" cy="178201"/>
            </a:xfrm>
            <a:custGeom>
              <a:avLst/>
              <a:gdLst/>
              <a:ahLst/>
              <a:cxnLst/>
              <a:rect l="l" t="t" r="r" b="b"/>
              <a:pathLst>
                <a:path w="234163" h="251460" extrusionOk="0">
                  <a:moveTo>
                    <a:pt x="213306" y="10698"/>
                  </a:moveTo>
                  <a:lnTo>
                    <a:pt x="220051" y="12343"/>
                  </a:lnTo>
                  <a:lnTo>
                    <a:pt x="216678" y="20573"/>
                  </a:lnTo>
                  <a:lnTo>
                    <a:pt x="225110" y="18927"/>
                  </a:lnTo>
                  <a:lnTo>
                    <a:pt x="221737" y="35385"/>
                  </a:lnTo>
                  <a:lnTo>
                    <a:pt x="231855" y="38677"/>
                  </a:lnTo>
                  <a:lnTo>
                    <a:pt x="233541" y="35385"/>
                  </a:lnTo>
                  <a:lnTo>
                    <a:pt x="240286" y="37031"/>
                  </a:lnTo>
                  <a:lnTo>
                    <a:pt x="221737" y="92991"/>
                  </a:lnTo>
                  <a:lnTo>
                    <a:pt x="203189" y="92991"/>
                  </a:lnTo>
                  <a:lnTo>
                    <a:pt x="194758" y="114387"/>
                  </a:lnTo>
                  <a:lnTo>
                    <a:pt x="186326" y="119324"/>
                  </a:lnTo>
                  <a:lnTo>
                    <a:pt x="174523" y="114387"/>
                  </a:lnTo>
                  <a:lnTo>
                    <a:pt x="176209" y="117679"/>
                  </a:lnTo>
                  <a:lnTo>
                    <a:pt x="169464" y="117679"/>
                  </a:lnTo>
                  <a:lnTo>
                    <a:pt x="172837" y="119324"/>
                  </a:lnTo>
                  <a:lnTo>
                    <a:pt x="169464" y="120970"/>
                  </a:lnTo>
                  <a:lnTo>
                    <a:pt x="171151" y="127554"/>
                  </a:lnTo>
                  <a:lnTo>
                    <a:pt x="161033" y="127554"/>
                  </a:lnTo>
                  <a:lnTo>
                    <a:pt x="161033" y="132491"/>
                  </a:lnTo>
                  <a:lnTo>
                    <a:pt x="155974" y="132491"/>
                  </a:lnTo>
                  <a:lnTo>
                    <a:pt x="147543" y="139075"/>
                  </a:lnTo>
                  <a:lnTo>
                    <a:pt x="145857" y="137429"/>
                  </a:lnTo>
                  <a:lnTo>
                    <a:pt x="123936" y="137429"/>
                  </a:lnTo>
                  <a:lnTo>
                    <a:pt x="120564" y="134137"/>
                  </a:lnTo>
                  <a:lnTo>
                    <a:pt x="118878" y="135783"/>
                  </a:lnTo>
                  <a:lnTo>
                    <a:pt x="122250" y="137429"/>
                  </a:lnTo>
                  <a:lnTo>
                    <a:pt x="120564" y="142367"/>
                  </a:lnTo>
                  <a:lnTo>
                    <a:pt x="117191" y="144012"/>
                  </a:lnTo>
                  <a:lnTo>
                    <a:pt x="115505" y="140721"/>
                  </a:lnTo>
                  <a:lnTo>
                    <a:pt x="115505" y="144012"/>
                  </a:lnTo>
                  <a:lnTo>
                    <a:pt x="108760" y="147304"/>
                  </a:lnTo>
                  <a:lnTo>
                    <a:pt x="113819" y="152242"/>
                  </a:lnTo>
                  <a:lnTo>
                    <a:pt x="127309" y="155534"/>
                  </a:lnTo>
                  <a:lnTo>
                    <a:pt x="108760" y="158825"/>
                  </a:lnTo>
                  <a:lnTo>
                    <a:pt x="108760" y="168700"/>
                  </a:lnTo>
                  <a:lnTo>
                    <a:pt x="113819" y="167054"/>
                  </a:lnTo>
                  <a:lnTo>
                    <a:pt x="127309" y="171992"/>
                  </a:lnTo>
                  <a:lnTo>
                    <a:pt x="127309" y="181867"/>
                  </a:lnTo>
                  <a:lnTo>
                    <a:pt x="134053" y="186805"/>
                  </a:lnTo>
                  <a:lnTo>
                    <a:pt x="128995" y="186805"/>
                  </a:lnTo>
                  <a:lnTo>
                    <a:pt x="127309" y="190096"/>
                  </a:lnTo>
                  <a:lnTo>
                    <a:pt x="130681" y="191742"/>
                  </a:lnTo>
                  <a:lnTo>
                    <a:pt x="128995" y="191742"/>
                  </a:lnTo>
                  <a:lnTo>
                    <a:pt x="130681" y="198326"/>
                  </a:lnTo>
                  <a:lnTo>
                    <a:pt x="135740" y="196680"/>
                  </a:lnTo>
                  <a:lnTo>
                    <a:pt x="134053" y="204909"/>
                  </a:lnTo>
                  <a:lnTo>
                    <a:pt x="139112" y="208201"/>
                  </a:lnTo>
                  <a:lnTo>
                    <a:pt x="137426" y="213138"/>
                  </a:lnTo>
                  <a:lnTo>
                    <a:pt x="140799" y="218076"/>
                  </a:lnTo>
                  <a:lnTo>
                    <a:pt x="139112" y="219722"/>
                  </a:lnTo>
                  <a:lnTo>
                    <a:pt x="144171" y="234535"/>
                  </a:lnTo>
                  <a:lnTo>
                    <a:pt x="113819" y="244410"/>
                  </a:lnTo>
                  <a:lnTo>
                    <a:pt x="91898" y="244410"/>
                  </a:lnTo>
                  <a:lnTo>
                    <a:pt x="80094" y="246056"/>
                  </a:lnTo>
                  <a:lnTo>
                    <a:pt x="76722" y="239472"/>
                  </a:lnTo>
                  <a:lnTo>
                    <a:pt x="69977" y="241118"/>
                  </a:lnTo>
                  <a:lnTo>
                    <a:pt x="64918" y="247702"/>
                  </a:lnTo>
                  <a:lnTo>
                    <a:pt x="61546" y="237827"/>
                  </a:lnTo>
                  <a:lnTo>
                    <a:pt x="54801" y="241118"/>
                  </a:lnTo>
                  <a:lnTo>
                    <a:pt x="48056" y="229597"/>
                  </a:lnTo>
                  <a:lnTo>
                    <a:pt x="48056" y="227951"/>
                  </a:lnTo>
                  <a:lnTo>
                    <a:pt x="53115" y="227951"/>
                  </a:lnTo>
                  <a:lnTo>
                    <a:pt x="48056" y="223014"/>
                  </a:lnTo>
                  <a:lnTo>
                    <a:pt x="51428" y="216430"/>
                  </a:lnTo>
                  <a:lnTo>
                    <a:pt x="58173" y="214785"/>
                  </a:lnTo>
                  <a:lnTo>
                    <a:pt x="64918" y="208201"/>
                  </a:lnTo>
                  <a:lnTo>
                    <a:pt x="63232" y="199972"/>
                  </a:lnTo>
                  <a:lnTo>
                    <a:pt x="66605" y="193388"/>
                  </a:lnTo>
                  <a:lnTo>
                    <a:pt x="58173" y="195034"/>
                  </a:lnTo>
                  <a:lnTo>
                    <a:pt x="26135" y="165409"/>
                  </a:lnTo>
                  <a:lnTo>
                    <a:pt x="31194" y="158825"/>
                  </a:lnTo>
                  <a:lnTo>
                    <a:pt x="27821" y="147304"/>
                  </a:lnTo>
                  <a:lnTo>
                    <a:pt x="27821" y="127554"/>
                  </a:lnTo>
                  <a:lnTo>
                    <a:pt x="17704" y="117679"/>
                  </a:lnTo>
                  <a:lnTo>
                    <a:pt x="17704" y="107803"/>
                  </a:lnTo>
                  <a:lnTo>
                    <a:pt x="5900" y="97928"/>
                  </a:lnTo>
                  <a:lnTo>
                    <a:pt x="4214" y="89699"/>
                  </a:lnTo>
                  <a:lnTo>
                    <a:pt x="41311" y="71595"/>
                  </a:lnTo>
                  <a:lnTo>
                    <a:pt x="58173" y="94637"/>
                  </a:lnTo>
                  <a:lnTo>
                    <a:pt x="66605" y="86407"/>
                  </a:lnTo>
                  <a:lnTo>
                    <a:pt x="81781" y="76532"/>
                  </a:lnTo>
                  <a:lnTo>
                    <a:pt x="81781" y="71595"/>
                  </a:lnTo>
                  <a:lnTo>
                    <a:pt x="85153" y="69949"/>
                  </a:lnTo>
                  <a:lnTo>
                    <a:pt x="76722" y="61719"/>
                  </a:lnTo>
                  <a:lnTo>
                    <a:pt x="80094" y="51844"/>
                  </a:lnTo>
                  <a:lnTo>
                    <a:pt x="86839" y="53490"/>
                  </a:lnTo>
                  <a:lnTo>
                    <a:pt x="86839" y="50198"/>
                  </a:lnTo>
                  <a:lnTo>
                    <a:pt x="117191" y="58427"/>
                  </a:lnTo>
                  <a:lnTo>
                    <a:pt x="100329" y="35385"/>
                  </a:lnTo>
                  <a:lnTo>
                    <a:pt x="90212" y="10698"/>
                  </a:lnTo>
                  <a:lnTo>
                    <a:pt x="102015" y="13989"/>
                  </a:lnTo>
                  <a:lnTo>
                    <a:pt x="108760" y="12343"/>
                  </a:lnTo>
                  <a:lnTo>
                    <a:pt x="112133" y="7406"/>
                  </a:lnTo>
                  <a:lnTo>
                    <a:pt x="123936" y="5760"/>
                  </a:lnTo>
                  <a:lnTo>
                    <a:pt x="130681" y="4114"/>
                  </a:lnTo>
                  <a:lnTo>
                    <a:pt x="149230" y="10698"/>
                  </a:lnTo>
                  <a:lnTo>
                    <a:pt x="196444" y="4114"/>
                  </a:lnTo>
                  <a:lnTo>
                    <a:pt x="213306" y="5760"/>
                  </a:lnTo>
                  <a:lnTo>
                    <a:pt x="213306" y="10698"/>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8" name="Tynaarlo">
              <a:extLst>
                <a:ext uri="{FF2B5EF4-FFF2-40B4-BE49-F238E27FC236}">
                  <a16:creationId xmlns:a16="http://schemas.microsoft.com/office/drawing/2014/main" id="{DF8660CE-034D-436A-8395-1897F331E176}"/>
                </a:ext>
              </a:extLst>
            </p:cNvPr>
            <p:cNvSpPr/>
            <p:nvPr/>
          </p:nvSpPr>
          <p:spPr>
            <a:xfrm>
              <a:off x="7351927" y="1715959"/>
              <a:ext cx="305361" cy="280243"/>
            </a:xfrm>
            <a:custGeom>
              <a:avLst/>
              <a:gdLst/>
              <a:ahLst/>
              <a:cxnLst/>
              <a:rect l="l" t="t" r="r" b="b"/>
              <a:pathLst>
                <a:path w="444910" h="411480" extrusionOk="0">
                  <a:moveTo>
                    <a:pt x="71663" y="9052"/>
                  </a:moveTo>
                  <a:lnTo>
                    <a:pt x="76722" y="10697"/>
                  </a:lnTo>
                  <a:lnTo>
                    <a:pt x="83467" y="38677"/>
                  </a:lnTo>
                  <a:lnTo>
                    <a:pt x="90212" y="43615"/>
                  </a:lnTo>
                  <a:lnTo>
                    <a:pt x="93584" y="50198"/>
                  </a:lnTo>
                  <a:lnTo>
                    <a:pt x="103701" y="45261"/>
                  </a:lnTo>
                  <a:lnTo>
                    <a:pt x="112133" y="58428"/>
                  </a:lnTo>
                  <a:lnTo>
                    <a:pt x="120564" y="73240"/>
                  </a:lnTo>
                  <a:lnTo>
                    <a:pt x="127309" y="101220"/>
                  </a:lnTo>
                  <a:lnTo>
                    <a:pt x="154288" y="86407"/>
                  </a:lnTo>
                  <a:lnTo>
                    <a:pt x="152602" y="89699"/>
                  </a:lnTo>
                  <a:lnTo>
                    <a:pt x="157661" y="99574"/>
                  </a:lnTo>
                  <a:lnTo>
                    <a:pt x="162720" y="104512"/>
                  </a:lnTo>
                  <a:lnTo>
                    <a:pt x="157661" y="111095"/>
                  </a:lnTo>
                  <a:lnTo>
                    <a:pt x="164406" y="129200"/>
                  </a:lnTo>
                  <a:lnTo>
                    <a:pt x="174523" y="129200"/>
                  </a:lnTo>
                  <a:lnTo>
                    <a:pt x="177895" y="132491"/>
                  </a:lnTo>
                  <a:lnTo>
                    <a:pt x="181268" y="130845"/>
                  </a:lnTo>
                  <a:lnTo>
                    <a:pt x="191385" y="144012"/>
                  </a:lnTo>
                  <a:lnTo>
                    <a:pt x="203189" y="152242"/>
                  </a:lnTo>
                  <a:lnTo>
                    <a:pt x="203189" y="160471"/>
                  </a:lnTo>
                  <a:lnTo>
                    <a:pt x="206561" y="158825"/>
                  </a:lnTo>
                  <a:lnTo>
                    <a:pt x="209934" y="162117"/>
                  </a:lnTo>
                  <a:lnTo>
                    <a:pt x="214992" y="175284"/>
                  </a:lnTo>
                  <a:lnTo>
                    <a:pt x="223424" y="183513"/>
                  </a:lnTo>
                  <a:lnTo>
                    <a:pt x="225110" y="191742"/>
                  </a:lnTo>
                  <a:lnTo>
                    <a:pt x="228482" y="191742"/>
                  </a:lnTo>
                  <a:lnTo>
                    <a:pt x="223424" y="196680"/>
                  </a:lnTo>
                  <a:lnTo>
                    <a:pt x="225110" y="199972"/>
                  </a:lnTo>
                  <a:lnTo>
                    <a:pt x="236913" y="206555"/>
                  </a:lnTo>
                  <a:lnTo>
                    <a:pt x="235227" y="211493"/>
                  </a:lnTo>
                  <a:lnTo>
                    <a:pt x="238599" y="218076"/>
                  </a:lnTo>
                  <a:lnTo>
                    <a:pt x="235227" y="223014"/>
                  </a:lnTo>
                  <a:lnTo>
                    <a:pt x="287500" y="198326"/>
                  </a:lnTo>
                  <a:lnTo>
                    <a:pt x="324597" y="185159"/>
                  </a:lnTo>
                  <a:lnTo>
                    <a:pt x="386987" y="188451"/>
                  </a:lnTo>
                  <a:lnTo>
                    <a:pt x="446005" y="247702"/>
                  </a:lnTo>
                  <a:lnTo>
                    <a:pt x="402163" y="269098"/>
                  </a:lnTo>
                  <a:lnTo>
                    <a:pt x="400477" y="272390"/>
                  </a:lnTo>
                  <a:lnTo>
                    <a:pt x="407222" y="274036"/>
                  </a:lnTo>
                  <a:lnTo>
                    <a:pt x="407222" y="278973"/>
                  </a:lnTo>
                  <a:lnTo>
                    <a:pt x="354949" y="311890"/>
                  </a:lnTo>
                  <a:lnTo>
                    <a:pt x="351576" y="308599"/>
                  </a:lnTo>
                  <a:lnTo>
                    <a:pt x="333028" y="320120"/>
                  </a:lnTo>
                  <a:lnTo>
                    <a:pt x="322911" y="308599"/>
                  </a:lnTo>
                  <a:lnTo>
                    <a:pt x="294245" y="287203"/>
                  </a:lnTo>
                  <a:lnTo>
                    <a:pt x="279069" y="282265"/>
                  </a:lnTo>
                  <a:lnTo>
                    <a:pt x="270638" y="275682"/>
                  </a:lnTo>
                  <a:lnTo>
                    <a:pt x="257148" y="280619"/>
                  </a:lnTo>
                  <a:lnTo>
                    <a:pt x="258834" y="287203"/>
                  </a:lnTo>
                  <a:lnTo>
                    <a:pt x="265579" y="285557"/>
                  </a:lnTo>
                  <a:lnTo>
                    <a:pt x="265579" y="293786"/>
                  </a:lnTo>
                  <a:lnTo>
                    <a:pt x="267265" y="290494"/>
                  </a:lnTo>
                  <a:lnTo>
                    <a:pt x="274010" y="295432"/>
                  </a:lnTo>
                  <a:lnTo>
                    <a:pt x="274010" y="300370"/>
                  </a:lnTo>
                  <a:lnTo>
                    <a:pt x="277383" y="298724"/>
                  </a:lnTo>
                  <a:lnTo>
                    <a:pt x="277383" y="305307"/>
                  </a:lnTo>
                  <a:lnTo>
                    <a:pt x="279069" y="306953"/>
                  </a:lnTo>
                  <a:lnTo>
                    <a:pt x="284128" y="305307"/>
                  </a:lnTo>
                  <a:lnTo>
                    <a:pt x="280755" y="311890"/>
                  </a:lnTo>
                  <a:lnTo>
                    <a:pt x="289186" y="316828"/>
                  </a:lnTo>
                  <a:lnTo>
                    <a:pt x="289186" y="321766"/>
                  </a:lnTo>
                  <a:lnTo>
                    <a:pt x="292559" y="321766"/>
                  </a:lnTo>
                  <a:lnTo>
                    <a:pt x="280755" y="329995"/>
                  </a:lnTo>
                  <a:lnTo>
                    <a:pt x="284128" y="339870"/>
                  </a:lnTo>
                  <a:lnTo>
                    <a:pt x="277383" y="343162"/>
                  </a:lnTo>
                  <a:lnTo>
                    <a:pt x="265579" y="344808"/>
                  </a:lnTo>
                  <a:lnTo>
                    <a:pt x="248717" y="369496"/>
                  </a:lnTo>
                  <a:lnTo>
                    <a:pt x="248717" y="376079"/>
                  </a:lnTo>
                  <a:lnTo>
                    <a:pt x="247031" y="379371"/>
                  </a:lnTo>
                  <a:lnTo>
                    <a:pt x="252089" y="384308"/>
                  </a:lnTo>
                  <a:lnTo>
                    <a:pt x="258834" y="415580"/>
                  </a:lnTo>
                  <a:lnTo>
                    <a:pt x="230168" y="417226"/>
                  </a:lnTo>
                  <a:lnTo>
                    <a:pt x="191385" y="400767"/>
                  </a:lnTo>
                  <a:lnTo>
                    <a:pt x="196444" y="389246"/>
                  </a:lnTo>
                  <a:lnTo>
                    <a:pt x="198130" y="362912"/>
                  </a:lnTo>
                  <a:lnTo>
                    <a:pt x="193072" y="344808"/>
                  </a:lnTo>
                  <a:lnTo>
                    <a:pt x="186326" y="331641"/>
                  </a:lnTo>
                  <a:lnTo>
                    <a:pt x="186326" y="333287"/>
                  </a:lnTo>
                  <a:lnTo>
                    <a:pt x="167778" y="341516"/>
                  </a:lnTo>
                  <a:lnTo>
                    <a:pt x="164406" y="336579"/>
                  </a:lnTo>
                  <a:lnTo>
                    <a:pt x="149230" y="338224"/>
                  </a:lnTo>
                  <a:lnTo>
                    <a:pt x="147543" y="349745"/>
                  </a:lnTo>
                  <a:lnTo>
                    <a:pt x="140799" y="348099"/>
                  </a:lnTo>
                  <a:lnTo>
                    <a:pt x="140799" y="336579"/>
                  </a:lnTo>
                  <a:lnTo>
                    <a:pt x="118878" y="339870"/>
                  </a:lnTo>
                  <a:lnTo>
                    <a:pt x="120564" y="346454"/>
                  </a:lnTo>
                  <a:lnTo>
                    <a:pt x="115505" y="348099"/>
                  </a:lnTo>
                  <a:lnTo>
                    <a:pt x="117191" y="354683"/>
                  </a:lnTo>
                  <a:lnTo>
                    <a:pt x="112133" y="367850"/>
                  </a:lnTo>
                  <a:lnTo>
                    <a:pt x="115505" y="377725"/>
                  </a:lnTo>
                  <a:lnTo>
                    <a:pt x="112133" y="389246"/>
                  </a:lnTo>
                  <a:lnTo>
                    <a:pt x="110447" y="387600"/>
                  </a:lnTo>
                  <a:lnTo>
                    <a:pt x="107074" y="397475"/>
                  </a:lnTo>
                  <a:lnTo>
                    <a:pt x="98643" y="395829"/>
                  </a:lnTo>
                  <a:lnTo>
                    <a:pt x="98643" y="392538"/>
                  </a:lnTo>
                  <a:lnTo>
                    <a:pt x="86839" y="390892"/>
                  </a:lnTo>
                  <a:lnTo>
                    <a:pt x="81781" y="385954"/>
                  </a:lnTo>
                  <a:lnTo>
                    <a:pt x="81781" y="379371"/>
                  </a:lnTo>
                  <a:lnTo>
                    <a:pt x="75036" y="371141"/>
                  </a:lnTo>
                  <a:lnTo>
                    <a:pt x="53115" y="376079"/>
                  </a:lnTo>
                  <a:lnTo>
                    <a:pt x="44684" y="371141"/>
                  </a:lnTo>
                  <a:lnTo>
                    <a:pt x="54801" y="346454"/>
                  </a:lnTo>
                  <a:lnTo>
                    <a:pt x="58174" y="325057"/>
                  </a:lnTo>
                  <a:lnTo>
                    <a:pt x="56487" y="308599"/>
                  </a:lnTo>
                  <a:lnTo>
                    <a:pt x="19390" y="247702"/>
                  </a:lnTo>
                  <a:lnTo>
                    <a:pt x="12645" y="226306"/>
                  </a:lnTo>
                  <a:lnTo>
                    <a:pt x="10959" y="213139"/>
                  </a:lnTo>
                  <a:lnTo>
                    <a:pt x="4214" y="191742"/>
                  </a:lnTo>
                  <a:lnTo>
                    <a:pt x="31194" y="185159"/>
                  </a:lnTo>
                  <a:lnTo>
                    <a:pt x="34566" y="191742"/>
                  </a:lnTo>
                  <a:lnTo>
                    <a:pt x="53115" y="180221"/>
                  </a:lnTo>
                  <a:lnTo>
                    <a:pt x="49742" y="167054"/>
                  </a:lnTo>
                  <a:lnTo>
                    <a:pt x="91898" y="162117"/>
                  </a:lnTo>
                  <a:lnTo>
                    <a:pt x="91898" y="160471"/>
                  </a:lnTo>
                  <a:lnTo>
                    <a:pt x="93584" y="145658"/>
                  </a:lnTo>
                  <a:lnTo>
                    <a:pt x="88526" y="137429"/>
                  </a:lnTo>
                  <a:lnTo>
                    <a:pt x="88526" y="125908"/>
                  </a:lnTo>
                  <a:lnTo>
                    <a:pt x="83467" y="116033"/>
                  </a:lnTo>
                  <a:lnTo>
                    <a:pt x="88526" y="106158"/>
                  </a:lnTo>
                  <a:lnTo>
                    <a:pt x="88526" y="99574"/>
                  </a:lnTo>
                  <a:lnTo>
                    <a:pt x="83467" y="92991"/>
                  </a:lnTo>
                  <a:lnTo>
                    <a:pt x="88526" y="84761"/>
                  </a:lnTo>
                  <a:lnTo>
                    <a:pt x="86839" y="76532"/>
                  </a:lnTo>
                  <a:lnTo>
                    <a:pt x="81781" y="73240"/>
                  </a:lnTo>
                  <a:lnTo>
                    <a:pt x="85153" y="68303"/>
                  </a:lnTo>
                  <a:lnTo>
                    <a:pt x="76722" y="66657"/>
                  </a:lnTo>
                  <a:lnTo>
                    <a:pt x="78408" y="63365"/>
                  </a:lnTo>
                  <a:lnTo>
                    <a:pt x="69977" y="51844"/>
                  </a:lnTo>
                  <a:lnTo>
                    <a:pt x="63232" y="33740"/>
                  </a:lnTo>
                  <a:lnTo>
                    <a:pt x="56487" y="28802"/>
                  </a:lnTo>
                  <a:lnTo>
                    <a:pt x="56487" y="23864"/>
                  </a:lnTo>
                  <a:lnTo>
                    <a:pt x="49742" y="9052"/>
                  </a:lnTo>
                  <a:lnTo>
                    <a:pt x="54801" y="4114"/>
                  </a:lnTo>
                  <a:lnTo>
                    <a:pt x="71663" y="905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29" name="Zoeterwoude">
              <a:extLst>
                <a:ext uri="{FF2B5EF4-FFF2-40B4-BE49-F238E27FC236}">
                  <a16:creationId xmlns:a16="http://schemas.microsoft.com/office/drawing/2014/main" id="{AA0C1372-0927-42FE-AFD8-A6CF29681DB1}"/>
                </a:ext>
              </a:extLst>
            </p:cNvPr>
            <p:cNvSpPr/>
            <p:nvPr/>
          </p:nvSpPr>
          <p:spPr>
            <a:xfrm>
              <a:off x="5266759" y="3440032"/>
              <a:ext cx="95563" cy="110095"/>
            </a:xfrm>
            <a:custGeom>
              <a:avLst/>
              <a:gdLst/>
              <a:ahLst/>
              <a:cxnLst/>
              <a:rect l="l" t="t" r="r" b="b"/>
              <a:pathLst>
                <a:path w="128789" h="160020" extrusionOk="0">
                  <a:moveTo>
                    <a:pt x="102015" y="18927"/>
                  </a:moveTo>
                  <a:lnTo>
                    <a:pt x="115505" y="20573"/>
                  </a:lnTo>
                  <a:lnTo>
                    <a:pt x="125622" y="25510"/>
                  </a:lnTo>
                  <a:lnTo>
                    <a:pt x="118877" y="37031"/>
                  </a:lnTo>
                  <a:lnTo>
                    <a:pt x="120564" y="40323"/>
                  </a:lnTo>
                  <a:lnTo>
                    <a:pt x="112133" y="61719"/>
                  </a:lnTo>
                  <a:lnTo>
                    <a:pt x="110446" y="66657"/>
                  </a:lnTo>
                  <a:lnTo>
                    <a:pt x="113819" y="66657"/>
                  </a:lnTo>
                  <a:lnTo>
                    <a:pt x="112133" y="73240"/>
                  </a:lnTo>
                  <a:lnTo>
                    <a:pt x="102015" y="69949"/>
                  </a:lnTo>
                  <a:lnTo>
                    <a:pt x="103701" y="157179"/>
                  </a:lnTo>
                  <a:lnTo>
                    <a:pt x="93584" y="165409"/>
                  </a:lnTo>
                  <a:lnTo>
                    <a:pt x="54801" y="134137"/>
                  </a:lnTo>
                  <a:lnTo>
                    <a:pt x="48056" y="137429"/>
                  </a:lnTo>
                  <a:lnTo>
                    <a:pt x="46370" y="145658"/>
                  </a:lnTo>
                  <a:lnTo>
                    <a:pt x="44683" y="147304"/>
                  </a:lnTo>
                  <a:lnTo>
                    <a:pt x="34566" y="142367"/>
                  </a:lnTo>
                  <a:lnTo>
                    <a:pt x="32880" y="122616"/>
                  </a:lnTo>
                  <a:lnTo>
                    <a:pt x="4214" y="74886"/>
                  </a:lnTo>
                  <a:lnTo>
                    <a:pt x="29507" y="51844"/>
                  </a:lnTo>
                  <a:lnTo>
                    <a:pt x="68291" y="22219"/>
                  </a:lnTo>
                  <a:lnTo>
                    <a:pt x="64918" y="18927"/>
                  </a:lnTo>
                  <a:lnTo>
                    <a:pt x="78408" y="7406"/>
                  </a:lnTo>
                  <a:lnTo>
                    <a:pt x="85153" y="4114"/>
                  </a:lnTo>
                  <a:lnTo>
                    <a:pt x="91898" y="15635"/>
                  </a:lnTo>
                  <a:lnTo>
                    <a:pt x="102015" y="18927"/>
                  </a:lnTo>
                  <a:close/>
                </a:path>
              </a:pathLst>
            </a:custGeom>
            <a:solidFill>
              <a:srgbClr val="17722B"/>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0" name="Oude Ijsselstreek">
              <a:extLst>
                <a:ext uri="{FF2B5EF4-FFF2-40B4-BE49-F238E27FC236}">
                  <a16:creationId xmlns:a16="http://schemas.microsoft.com/office/drawing/2014/main" id="{E697204C-11D0-4186-8FE1-4ED16BC27659}"/>
                </a:ext>
              </a:extLst>
            </p:cNvPr>
            <p:cNvSpPr/>
            <p:nvPr/>
          </p:nvSpPr>
          <p:spPr>
            <a:xfrm>
              <a:off x="7189534" y="3711445"/>
              <a:ext cx="247867" cy="238569"/>
            </a:xfrm>
            <a:custGeom>
              <a:avLst/>
              <a:gdLst/>
              <a:ahLst/>
              <a:cxnLst/>
              <a:rect l="l" t="t" r="r" b="b"/>
              <a:pathLst>
                <a:path w="374661" h="365760" extrusionOk="0">
                  <a:moveTo>
                    <a:pt x="290872" y="12343"/>
                  </a:moveTo>
                  <a:lnTo>
                    <a:pt x="299304" y="13989"/>
                  </a:lnTo>
                  <a:lnTo>
                    <a:pt x="316166" y="22219"/>
                  </a:lnTo>
                  <a:lnTo>
                    <a:pt x="361694" y="28802"/>
                  </a:lnTo>
                  <a:lnTo>
                    <a:pt x="375184" y="41969"/>
                  </a:lnTo>
                  <a:lnTo>
                    <a:pt x="354949" y="58427"/>
                  </a:lnTo>
                  <a:lnTo>
                    <a:pt x="351576" y="76532"/>
                  </a:lnTo>
                  <a:lnTo>
                    <a:pt x="331342" y="81470"/>
                  </a:lnTo>
                  <a:lnTo>
                    <a:pt x="326283" y="97928"/>
                  </a:lnTo>
                  <a:lnTo>
                    <a:pt x="329656" y="97928"/>
                  </a:lnTo>
                  <a:lnTo>
                    <a:pt x="317852" y="119324"/>
                  </a:lnTo>
                  <a:lnTo>
                    <a:pt x="321224" y="120971"/>
                  </a:lnTo>
                  <a:lnTo>
                    <a:pt x="314480" y="129200"/>
                  </a:lnTo>
                  <a:lnTo>
                    <a:pt x="316166" y="148950"/>
                  </a:lnTo>
                  <a:lnTo>
                    <a:pt x="311107" y="152242"/>
                  </a:lnTo>
                  <a:lnTo>
                    <a:pt x="312793" y="155534"/>
                  </a:lnTo>
                  <a:lnTo>
                    <a:pt x="306049" y="158825"/>
                  </a:lnTo>
                  <a:lnTo>
                    <a:pt x="309421" y="162117"/>
                  </a:lnTo>
                  <a:lnTo>
                    <a:pt x="284128" y="175284"/>
                  </a:lnTo>
                  <a:lnTo>
                    <a:pt x="297618" y="208201"/>
                  </a:lnTo>
                  <a:lnTo>
                    <a:pt x="294245" y="221368"/>
                  </a:lnTo>
                  <a:lnTo>
                    <a:pt x="302676" y="244410"/>
                  </a:lnTo>
                  <a:lnTo>
                    <a:pt x="299304" y="255931"/>
                  </a:lnTo>
                  <a:lnTo>
                    <a:pt x="284128" y="269098"/>
                  </a:lnTo>
                  <a:lnTo>
                    <a:pt x="284128" y="278973"/>
                  </a:lnTo>
                  <a:lnTo>
                    <a:pt x="279069" y="280619"/>
                  </a:lnTo>
                  <a:lnTo>
                    <a:pt x="279069" y="290494"/>
                  </a:lnTo>
                  <a:lnTo>
                    <a:pt x="274010" y="302015"/>
                  </a:lnTo>
                  <a:lnTo>
                    <a:pt x="263893" y="293786"/>
                  </a:lnTo>
                  <a:lnTo>
                    <a:pt x="253776" y="277327"/>
                  </a:lnTo>
                  <a:lnTo>
                    <a:pt x="247031" y="278973"/>
                  </a:lnTo>
                  <a:lnTo>
                    <a:pt x="241972" y="283911"/>
                  </a:lnTo>
                  <a:lnTo>
                    <a:pt x="233541" y="285557"/>
                  </a:lnTo>
                  <a:lnTo>
                    <a:pt x="225110" y="292140"/>
                  </a:lnTo>
                  <a:lnTo>
                    <a:pt x="220051" y="288849"/>
                  </a:lnTo>
                  <a:lnTo>
                    <a:pt x="216679" y="277327"/>
                  </a:lnTo>
                  <a:lnTo>
                    <a:pt x="203189" y="274036"/>
                  </a:lnTo>
                  <a:lnTo>
                    <a:pt x="193072" y="264160"/>
                  </a:lnTo>
                  <a:lnTo>
                    <a:pt x="188013" y="269098"/>
                  </a:lnTo>
                  <a:lnTo>
                    <a:pt x="184640" y="265807"/>
                  </a:lnTo>
                  <a:lnTo>
                    <a:pt x="177895" y="269098"/>
                  </a:lnTo>
                  <a:lnTo>
                    <a:pt x="172837" y="265807"/>
                  </a:lnTo>
                  <a:lnTo>
                    <a:pt x="169464" y="267452"/>
                  </a:lnTo>
                  <a:lnTo>
                    <a:pt x="164406" y="257577"/>
                  </a:lnTo>
                  <a:lnTo>
                    <a:pt x="159347" y="257577"/>
                  </a:lnTo>
                  <a:lnTo>
                    <a:pt x="154288" y="280619"/>
                  </a:lnTo>
                  <a:lnTo>
                    <a:pt x="155974" y="287203"/>
                  </a:lnTo>
                  <a:lnTo>
                    <a:pt x="161033" y="288849"/>
                  </a:lnTo>
                  <a:lnTo>
                    <a:pt x="176209" y="302015"/>
                  </a:lnTo>
                  <a:lnTo>
                    <a:pt x="189699" y="306953"/>
                  </a:lnTo>
                  <a:lnTo>
                    <a:pt x="179582" y="328349"/>
                  </a:lnTo>
                  <a:lnTo>
                    <a:pt x="188013" y="349746"/>
                  </a:lnTo>
                  <a:lnTo>
                    <a:pt x="179582" y="348100"/>
                  </a:lnTo>
                  <a:lnTo>
                    <a:pt x="188013" y="367850"/>
                  </a:lnTo>
                  <a:lnTo>
                    <a:pt x="179582" y="371142"/>
                  </a:lnTo>
                  <a:lnTo>
                    <a:pt x="157661" y="354683"/>
                  </a:lnTo>
                  <a:lnTo>
                    <a:pt x="140799" y="353037"/>
                  </a:lnTo>
                  <a:lnTo>
                    <a:pt x="127309" y="356329"/>
                  </a:lnTo>
                  <a:lnTo>
                    <a:pt x="118878" y="353037"/>
                  </a:lnTo>
                  <a:lnTo>
                    <a:pt x="120564" y="344808"/>
                  </a:lnTo>
                  <a:lnTo>
                    <a:pt x="113819" y="326704"/>
                  </a:lnTo>
                  <a:lnTo>
                    <a:pt x="93584" y="315182"/>
                  </a:lnTo>
                  <a:lnTo>
                    <a:pt x="53115" y="313536"/>
                  </a:lnTo>
                  <a:lnTo>
                    <a:pt x="31194" y="320120"/>
                  </a:lnTo>
                  <a:lnTo>
                    <a:pt x="22763" y="282265"/>
                  </a:lnTo>
                  <a:lnTo>
                    <a:pt x="19390" y="278973"/>
                  </a:lnTo>
                  <a:lnTo>
                    <a:pt x="19390" y="274036"/>
                  </a:lnTo>
                  <a:lnTo>
                    <a:pt x="39625" y="270744"/>
                  </a:lnTo>
                  <a:lnTo>
                    <a:pt x="39625" y="272390"/>
                  </a:lnTo>
                  <a:lnTo>
                    <a:pt x="56487" y="272390"/>
                  </a:lnTo>
                  <a:lnTo>
                    <a:pt x="66605" y="265807"/>
                  </a:lnTo>
                  <a:lnTo>
                    <a:pt x="63232" y="260869"/>
                  </a:lnTo>
                  <a:lnTo>
                    <a:pt x="69977" y="257577"/>
                  </a:lnTo>
                  <a:lnTo>
                    <a:pt x="61546" y="247702"/>
                  </a:lnTo>
                  <a:lnTo>
                    <a:pt x="66605" y="244410"/>
                  </a:lnTo>
                  <a:lnTo>
                    <a:pt x="64918" y="241118"/>
                  </a:lnTo>
                  <a:lnTo>
                    <a:pt x="66605" y="241118"/>
                  </a:lnTo>
                  <a:lnTo>
                    <a:pt x="58174" y="223014"/>
                  </a:lnTo>
                  <a:lnTo>
                    <a:pt x="69977" y="213139"/>
                  </a:lnTo>
                  <a:lnTo>
                    <a:pt x="41311" y="199972"/>
                  </a:lnTo>
                  <a:lnTo>
                    <a:pt x="31194" y="186805"/>
                  </a:lnTo>
                  <a:lnTo>
                    <a:pt x="29508" y="178576"/>
                  </a:lnTo>
                  <a:lnTo>
                    <a:pt x="32880" y="170346"/>
                  </a:lnTo>
                  <a:lnTo>
                    <a:pt x="32880" y="168700"/>
                  </a:lnTo>
                  <a:lnTo>
                    <a:pt x="36253" y="171992"/>
                  </a:lnTo>
                  <a:lnTo>
                    <a:pt x="44684" y="165409"/>
                  </a:lnTo>
                  <a:lnTo>
                    <a:pt x="44684" y="152242"/>
                  </a:lnTo>
                  <a:lnTo>
                    <a:pt x="37939" y="147304"/>
                  </a:lnTo>
                  <a:lnTo>
                    <a:pt x="21076" y="148950"/>
                  </a:lnTo>
                  <a:lnTo>
                    <a:pt x="5901" y="142367"/>
                  </a:lnTo>
                  <a:lnTo>
                    <a:pt x="4214" y="132492"/>
                  </a:lnTo>
                  <a:lnTo>
                    <a:pt x="9273" y="120971"/>
                  </a:lnTo>
                  <a:lnTo>
                    <a:pt x="14332" y="117679"/>
                  </a:lnTo>
                  <a:lnTo>
                    <a:pt x="12645" y="111095"/>
                  </a:lnTo>
                  <a:lnTo>
                    <a:pt x="17704" y="106158"/>
                  </a:lnTo>
                  <a:lnTo>
                    <a:pt x="17704" y="102866"/>
                  </a:lnTo>
                  <a:lnTo>
                    <a:pt x="27821" y="107803"/>
                  </a:lnTo>
                  <a:lnTo>
                    <a:pt x="27821" y="102866"/>
                  </a:lnTo>
                  <a:lnTo>
                    <a:pt x="32880" y="101220"/>
                  </a:lnTo>
                  <a:lnTo>
                    <a:pt x="41311" y="107803"/>
                  </a:lnTo>
                  <a:lnTo>
                    <a:pt x="51429" y="109449"/>
                  </a:lnTo>
                  <a:lnTo>
                    <a:pt x="61546" y="125908"/>
                  </a:lnTo>
                  <a:lnTo>
                    <a:pt x="69977" y="135783"/>
                  </a:lnTo>
                  <a:lnTo>
                    <a:pt x="76722" y="132492"/>
                  </a:lnTo>
                  <a:lnTo>
                    <a:pt x="78408" y="137429"/>
                  </a:lnTo>
                  <a:lnTo>
                    <a:pt x="81781" y="134137"/>
                  </a:lnTo>
                  <a:lnTo>
                    <a:pt x="91898" y="135783"/>
                  </a:lnTo>
                  <a:lnTo>
                    <a:pt x="95270" y="139075"/>
                  </a:lnTo>
                  <a:lnTo>
                    <a:pt x="112133" y="140721"/>
                  </a:lnTo>
                  <a:lnTo>
                    <a:pt x="132367" y="127554"/>
                  </a:lnTo>
                  <a:lnTo>
                    <a:pt x="144171" y="114387"/>
                  </a:lnTo>
                  <a:lnTo>
                    <a:pt x="142485" y="107803"/>
                  </a:lnTo>
                  <a:lnTo>
                    <a:pt x="167778" y="65011"/>
                  </a:lnTo>
                  <a:lnTo>
                    <a:pt x="176209" y="56782"/>
                  </a:lnTo>
                  <a:lnTo>
                    <a:pt x="196444" y="18927"/>
                  </a:lnTo>
                  <a:lnTo>
                    <a:pt x="223424" y="20573"/>
                  </a:lnTo>
                  <a:lnTo>
                    <a:pt x="223424" y="22219"/>
                  </a:lnTo>
                  <a:lnTo>
                    <a:pt x="228482" y="23864"/>
                  </a:lnTo>
                  <a:lnTo>
                    <a:pt x="231855" y="20573"/>
                  </a:lnTo>
                  <a:lnTo>
                    <a:pt x="243658" y="25510"/>
                  </a:lnTo>
                  <a:lnTo>
                    <a:pt x="250403" y="20573"/>
                  </a:lnTo>
                  <a:lnTo>
                    <a:pt x="262207" y="17281"/>
                  </a:lnTo>
                  <a:lnTo>
                    <a:pt x="265579" y="12343"/>
                  </a:lnTo>
                  <a:lnTo>
                    <a:pt x="267265" y="12343"/>
                  </a:lnTo>
                  <a:lnTo>
                    <a:pt x="267265" y="9052"/>
                  </a:lnTo>
                  <a:lnTo>
                    <a:pt x="274010" y="4114"/>
                  </a:lnTo>
                  <a:lnTo>
                    <a:pt x="290872"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1" name="Lansingerland">
              <a:extLst>
                <a:ext uri="{FF2B5EF4-FFF2-40B4-BE49-F238E27FC236}">
                  <a16:creationId xmlns:a16="http://schemas.microsoft.com/office/drawing/2014/main" id="{FA15BA32-F9C2-451A-93A9-12411CD8E530}"/>
                </a:ext>
              </a:extLst>
            </p:cNvPr>
            <p:cNvSpPr/>
            <p:nvPr/>
          </p:nvSpPr>
          <p:spPr>
            <a:xfrm>
              <a:off x="5228280" y="3581454"/>
              <a:ext cx="151901" cy="166771"/>
            </a:xfrm>
            <a:custGeom>
              <a:avLst/>
              <a:gdLst/>
              <a:ahLst/>
              <a:cxnLst/>
              <a:rect l="l" t="t" r="r" b="b"/>
              <a:pathLst>
                <a:path w="222455" h="251460" extrusionOk="0">
                  <a:moveTo>
                    <a:pt x="218365" y="33740"/>
                  </a:moveTo>
                  <a:lnTo>
                    <a:pt x="214992" y="51844"/>
                  </a:lnTo>
                  <a:lnTo>
                    <a:pt x="218365" y="66657"/>
                  </a:lnTo>
                  <a:lnTo>
                    <a:pt x="213306" y="73240"/>
                  </a:lnTo>
                  <a:lnTo>
                    <a:pt x="209934" y="83116"/>
                  </a:lnTo>
                  <a:lnTo>
                    <a:pt x="204875" y="139075"/>
                  </a:lnTo>
                  <a:lnTo>
                    <a:pt x="196444" y="163763"/>
                  </a:lnTo>
                  <a:lnTo>
                    <a:pt x="193071" y="167055"/>
                  </a:lnTo>
                  <a:lnTo>
                    <a:pt x="194758" y="170346"/>
                  </a:lnTo>
                  <a:lnTo>
                    <a:pt x="191385" y="173638"/>
                  </a:lnTo>
                  <a:lnTo>
                    <a:pt x="193071" y="193389"/>
                  </a:lnTo>
                  <a:lnTo>
                    <a:pt x="198130" y="196680"/>
                  </a:lnTo>
                  <a:lnTo>
                    <a:pt x="201502" y="206555"/>
                  </a:lnTo>
                  <a:lnTo>
                    <a:pt x="199816" y="213139"/>
                  </a:lnTo>
                  <a:lnTo>
                    <a:pt x="181268" y="224660"/>
                  </a:lnTo>
                  <a:lnTo>
                    <a:pt x="174523" y="224660"/>
                  </a:lnTo>
                  <a:lnTo>
                    <a:pt x="172837" y="229597"/>
                  </a:lnTo>
                  <a:lnTo>
                    <a:pt x="164405" y="231243"/>
                  </a:lnTo>
                  <a:lnTo>
                    <a:pt x="161033" y="236181"/>
                  </a:lnTo>
                  <a:lnTo>
                    <a:pt x="150916" y="241118"/>
                  </a:lnTo>
                  <a:lnTo>
                    <a:pt x="147543" y="247702"/>
                  </a:lnTo>
                  <a:lnTo>
                    <a:pt x="134053" y="239473"/>
                  </a:lnTo>
                  <a:lnTo>
                    <a:pt x="113819" y="219722"/>
                  </a:lnTo>
                  <a:lnTo>
                    <a:pt x="112133" y="231243"/>
                  </a:lnTo>
                  <a:lnTo>
                    <a:pt x="73349" y="198326"/>
                  </a:lnTo>
                  <a:lnTo>
                    <a:pt x="63232" y="204909"/>
                  </a:lnTo>
                  <a:lnTo>
                    <a:pt x="58173" y="226306"/>
                  </a:lnTo>
                  <a:lnTo>
                    <a:pt x="44684" y="232889"/>
                  </a:lnTo>
                  <a:lnTo>
                    <a:pt x="37939" y="241118"/>
                  </a:lnTo>
                  <a:lnTo>
                    <a:pt x="4214" y="199972"/>
                  </a:lnTo>
                  <a:lnTo>
                    <a:pt x="39625" y="168700"/>
                  </a:lnTo>
                  <a:lnTo>
                    <a:pt x="48056" y="157179"/>
                  </a:lnTo>
                  <a:lnTo>
                    <a:pt x="44684" y="148950"/>
                  </a:lnTo>
                  <a:lnTo>
                    <a:pt x="58173" y="145658"/>
                  </a:lnTo>
                  <a:lnTo>
                    <a:pt x="58173" y="140721"/>
                  </a:lnTo>
                  <a:lnTo>
                    <a:pt x="53115" y="134137"/>
                  </a:lnTo>
                  <a:lnTo>
                    <a:pt x="61546" y="120971"/>
                  </a:lnTo>
                  <a:lnTo>
                    <a:pt x="58173" y="112741"/>
                  </a:lnTo>
                  <a:lnTo>
                    <a:pt x="59860" y="109449"/>
                  </a:lnTo>
                  <a:lnTo>
                    <a:pt x="56487" y="97928"/>
                  </a:lnTo>
                  <a:lnTo>
                    <a:pt x="71663" y="89699"/>
                  </a:lnTo>
                  <a:lnTo>
                    <a:pt x="86839" y="74886"/>
                  </a:lnTo>
                  <a:lnTo>
                    <a:pt x="130681" y="74886"/>
                  </a:lnTo>
                  <a:lnTo>
                    <a:pt x="145857" y="56782"/>
                  </a:lnTo>
                  <a:lnTo>
                    <a:pt x="174523" y="32094"/>
                  </a:lnTo>
                  <a:lnTo>
                    <a:pt x="191385" y="33740"/>
                  </a:lnTo>
                  <a:lnTo>
                    <a:pt x="199816" y="17281"/>
                  </a:lnTo>
                  <a:lnTo>
                    <a:pt x="209934" y="4114"/>
                  </a:lnTo>
                  <a:lnTo>
                    <a:pt x="221737" y="12343"/>
                  </a:lnTo>
                  <a:lnTo>
                    <a:pt x="218365" y="33740"/>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2" name="Montfoort">
              <a:extLst>
                <a:ext uri="{FF2B5EF4-FFF2-40B4-BE49-F238E27FC236}">
                  <a16:creationId xmlns:a16="http://schemas.microsoft.com/office/drawing/2014/main" id="{B6872D76-50B6-4AE0-BD91-55A58A6DA2D8}"/>
                </a:ext>
              </a:extLst>
            </p:cNvPr>
            <p:cNvSpPr/>
            <p:nvPr/>
          </p:nvSpPr>
          <p:spPr>
            <a:xfrm>
              <a:off x="5684336" y="3547705"/>
              <a:ext cx="169421" cy="113412"/>
            </a:xfrm>
            <a:custGeom>
              <a:avLst/>
              <a:gdLst/>
              <a:ahLst/>
              <a:cxnLst/>
              <a:rect l="l" t="t" r="r" b="b"/>
              <a:pathLst>
                <a:path w="234163" h="171450" extrusionOk="0">
                  <a:moveTo>
                    <a:pt x="112133" y="9052"/>
                  </a:moveTo>
                  <a:lnTo>
                    <a:pt x="139112" y="27156"/>
                  </a:lnTo>
                  <a:lnTo>
                    <a:pt x="139112" y="38677"/>
                  </a:lnTo>
                  <a:lnTo>
                    <a:pt x="161033" y="35385"/>
                  </a:lnTo>
                  <a:lnTo>
                    <a:pt x="179582" y="40323"/>
                  </a:lnTo>
                  <a:lnTo>
                    <a:pt x="199816" y="35385"/>
                  </a:lnTo>
                  <a:lnTo>
                    <a:pt x="233541" y="48552"/>
                  </a:lnTo>
                  <a:lnTo>
                    <a:pt x="220051" y="68303"/>
                  </a:lnTo>
                  <a:lnTo>
                    <a:pt x="213306" y="63365"/>
                  </a:lnTo>
                  <a:lnTo>
                    <a:pt x="199816" y="69949"/>
                  </a:lnTo>
                  <a:lnTo>
                    <a:pt x="191385" y="69949"/>
                  </a:lnTo>
                  <a:lnTo>
                    <a:pt x="179582" y="101220"/>
                  </a:lnTo>
                  <a:lnTo>
                    <a:pt x="172837" y="101220"/>
                  </a:lnTo>
                  <a:lnTo>
                    <a:pt x="179582" y="130845"/>
                  </a:lnTo>
                  <a:lnTo>
                    <a:pt x="196444" y="125908"/>
                  </a:lnTo>
                  <a:lnTo>
                    <a:pt x="198130" y="145658"/>
                  </a:lnTo>
                  <a:lnTo>
                    <a:pt x="174523" y="147304"/>
                  </a:lnTo>
                  <a:lnTo>
                    <a:pt x="135740" y="155533"/>
                  </a:lnTo>
                  <a:lnTo>
                    <a:pt x="81781" y="173638"/>
                  </a:lnTo>
                  <a:lnTo>
                    <a:pt x="59860" y="132491"/>
                  </a:lnTo>
                  <a:lnTo>
                    <a:pt x="71663" y="135783"/>
                  </a:lnTo>
                  <a:lnTo>
                    <a:pt x="83467" y="135783"/>
                  </a:lnTo>
                  <a:lnTo>
                    <a:pt x="91898" y="129199"/>
                  </a:lnTo>
                  <a:lnTo>
                    <a:pt x="93584" y="124262"/>
                  </a:lnTo>
                  <a:lnTo>
                    <a:pt x="69977" y="99574"/>
                  </a:lnTo>
                  <a:lnTo>
                    <a:pt x="78408" y="91345"/>
                  </a:lnTo>
                  <a:lnTo>
                    <a:pt x="63232" y="68303"/>
                  </a:lnTo>
                  <a:lnTo>
                    <a:pt x="46370" y="74886"/>
                  </a:lnTo>
                  <a:lnTo>
                    <a:pt x="46370" y="79824"/>
                  </a:lnTo>
                  <a:lnTo>
                    <a:pt x="16018" y="48552"/>
                  </a:lnTo>
                  <a:lnTo>
                    <a:pt x="9273" y="53490"/>
                  </a:lnTo>
                  <a:lnTo>
                    <a:pt x="4214" y="43615"/>
                  </a:lnTo>
                  <a:lnTo>
                    <a:pt x="12645" y="30448"/>
                  </a:lnTo>
                  <a:lnTo>
                    <a:pt x="61546" y="28802"/>
                  </a:lnTo>
                  <a:lnTo>
                    <a:pt x="100329" y="5760"/>
                  </a:lnTo>
                  <a:lnTo>
                    <a:pt x="108760" y="4114"/>
                  </a:lnTo>
                  <a:lnTo>
                    <a:pt x="112133" y="905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3" name="Katwijk">
              <a:extLst>
                <a:ext uri="{FF2B5EF4-FFF2-40B4-BE49-F238E27FC236}">
                  <a16:creationId xmlns:a16="http://schemas.microsoft.com/office/drawing/2014/main" id="{FA01EB95-337C-489B-9B41-B69931A73F77}"/>
                </a:ext>
              </a:extLst>
            </p:cNvPr>
            <p:cNvSpPr/>
            <p:nvPr/>
          </p:nvSpPr>
          <p:spPr>
            <a:xfrm>
              <a:off x="5173452" y="3323538"/>
              <a:ext cx="82603" cy="102041"/>
            </a:xfrm>
            <a:custGeom>
              <a:avLst/>
              <a:gdLst/>
              <a:ahLst/>
              <a:cxnLst/>
              <a:rect l="l" t="t" r="r" b="b"/>
              <a:pathLst>
                <a:path w="140498" h="160020" extrusionOk="0">
                  <a:moveTo>
                    <a:pt x="73349" y="15635"/>
                  </a:moveTo>
                  <a:lnTo>
                    <a:pt x="78408" y="15635"/>
                  </a:lnTo>
                  <a:lnTo>
                    <a:pt x="83467" y="12343"/>
                  </a:lnTo>
                  <a:lnTo>
                    <a:pt x="88525" y="22219"/>
                  </a:lnTo>
                  <a:lnTo>
                    <a:pt x="95270" y="18927"/>
                  </a:lnTo>
                  <a:lnTo>
                    <a:pt x="98643" y="25510"/>
                  </a:lnTo>
                  <a:lnTo>
                    <a:pt x="100329" y="23864"/>
                  </a:lnTo>
                  <a:lnTo>
                    <a:pt x="105388" y="33740"/>
                  </a:lnTo>
                  <a:lnTo>
                    <a:pt x="117191" y="20573"/>
                  </a:lnTo>
                  <a:lnTo>
                    <a:pt x="122250" y="23864"/>
                  </a:lnTo>
                  <a:lnTo>
                    <a:pt x="128995" y="17281"/>
                  </a:lnTo>
                  <a:lnTo>
                    <a:pt x="142485" y="13989"/>
                  </a:lnTo>
                  <a:lnTo>
                    <a:pt x="144171" y="17281"/>
                  </a:lnTo>
                  <a:lnTo>
                    <a:pt x="145857" y="20573"/>
                  </a:lnTo>
                  <a:lnTo>
                    <a:pt x="140798" y="22219"/>
                  </a:lnTo>
                  <a:lnTo>
                    <a:pt x="128995" y="35385"/>
                  </a:lnTo>
                  <a:lnTo>
                    <a:pt x="139112" y="43615"/>
                  </a:lnTo>
                  <a:lnTo>
                    <a:pt x="135740" y="46906"/>
                  </a:lnTo>
                  <a:lnTo>
                    <a:pt x="140798" y="51844"/>
                  </a:lnTo>
                  <a:lnTo>
                    <a:pt x="137426" y="58427"/>
                  </a:lnTo>
                  <a:lnTo>
                    <a:pt x="144171" y="60074"/>
                  </a:lnTo>
                  <a:lnTo>
                    <a:pt x="139112" y="68303"/>
                  </a:lnTo>
                  <a:lnTo>
                    <a:pt x="132367" y="91345"/>
                  </a:lnTo>
                  <a:lnTo>
                    <a:pt x="96956" y="97928"/>
                  </a:lnTo>
                  <a:lnTo>
                    <a:pt x="112132" y="102866"/>
                  </a:lnTo>
                  <a:lnTo>
                    <a:pt x="117191" y="111095"/>
                  </a:lnTo>
                  <a:lnTo>
                    <a:pt x="112132" y="129200"/>
                  </a:lnTo>
                  <a:lnTo>
                    <a:pt x="115505" y="142367"/>
                  </a:lnTo>
                  <a:lnTo>
                    <a:pt x="103701" y="158825"/>
                  </a:lnTo>
                  <a:lnTo>
                    <a:pt x="81780" y="148950"/>
                  </a:lnTo>
                  <a:lnTo>
                    <a:pt x="73349" y="142367"/>
                  </a:lnTo>
                  <a:lnTo>
                    <a:pt x="69977" y="144013"/>
                  </a:lnTo>
                  <a:lnTo>
                    <a:pt x="63232" y="137429"/>
                  </a:lnTo>
                  <a:lnTo>
                    <a:pt x="59859" y="139075"/>
                  </a:lnTo>
                  <a:lnTo>
                    <a:pt x="56487" y="124262"/>
                  </a:lnTo>
                  <a:lnTo>
                    <a:pt x="49742" y="129200"/>
                  </a:lnTo>
                  <a:lnTo>
                    <a:pt x="39625" y="116033"/>
                  </a:lnTo>
                  <a:lnTo>
                    <a:pt x="31194" y="111095"/>
                  </a:lnTo>
                  <a:lnTo>
                    <a:pt x="4214" y="81470"/>
                  </a:lnTo>
                  <a:lnTo>
                    <a:pt x="41311" y="22219"/>
                  </a:lnTo>
                  <a:lnTo>
                    <a:pt x="44683" y="23864"/>
                  </a:lnTo>
                  <a:lnTo>
                    <a:pt x="41311" y="20573"/>
                  </a:lnTo>
                  <a:lnTo>
                    <a:pt x="53115" y="4114"/>
                  </a:lnTo>
                  <a:lnTo>
                    <a:pt x="73349" y="15635"/>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4" name="Stein">
              <a:extLst>
                <a:ext uri="{FF2B5EF4-FFF2-40B4-BE49-F238E27FC236}">
                  <a16:creationId xmlns:a16="http://schemas.microsoft.com/office/drawing/2014/main" id="{4E5A5ADB-B2A2-4664-B6CF-CF3933EF4005}"/>
                </a:ext>
              </a:extLst>
            </p:cNvPr>
            <p:cNvSpPr/>
            <p:nvPr/>
          </p:nvSpPr>
          <p:spPr>
            <a:xfrm>
              <a:off x="6580550" y="5287562"/>
              <a:ext cx="83384" cy="147838"/>
            </a:xfrm>
            <a:custGeom>
              <a:avLst/>
              <a:gdLst/>
              <a:ahLst/>
              <a:cxnLst/>
              <a:rect l="l" t="t" r="r" b="b"/>
              <a:pathLst>
                <a:path w="105373" h="228600" extrusionOk="0">
                  <a:moveTo>
                    <a:pt x="108760" y="4114"/>
                  </a:moveTo>
                  <a:lnTo>
                    <a:pt x="90211" y="41969"/>
                  </a:lnTo>
                  <a:lnTo>
                    <a:pt x="112132" y="48552"/>
                  </a:lnTo>
                  <a:lnTo>
                    <a:pt x="102015" y="86407"/>
                  </a:lnTo>
                  <a:lnTo>
                    <a:pt x="108760" y="114387"/>
                  </a:lnTo>
                  <a:lnTo>
                    <a:pt x="108760" y="122616"/>
                  </a:lnTo>
                  <a:lnTo>
                    <a:pt x="105388" y="125908"/>
                  </a:lnTo>
                  <a:lnTo>
                    <a:pt x="112132" y="175284"/>
                  </a:lnTo>
                  <a:lnTo>
                    <a:pt x="98643" y="183513"/>
                  </a:lnTo>
                  <a:lnTo>
                    <a:pt x="98643" y="186805"/>
                  </a:lnTo>
                  <a:lnTo>
                    <a:pt x="105388" y="188451"/>
                  </a:lnTo>
                  <a:lnTo>
                    <a:pt x="98643" y="198326"/>
                  </a:lnTo>
                  <a:lnTo>
                    <a:pt x="96957" y="213138"/>
                  </a:lnTo>
                  <a:lnTo>
                    <a:pt x="85153" y="224660"/>
                  </a:lnTo>
                  <a:lnTo>
                    <a:pt x="64918" y="214784"/>
                  </a:lnTo>
                  <a:lnTo>
                    <a:pt x="63232" y="216431"/>
                  </a:lnTo>
                  <a:lnTo>
                    <a:pt x="61546" y="216431"/>
                  </a:lnTo>
                  <a:lnTo>
                    <a:pt x="58173" y="211493"/>
                  </a:lnTo>
                  <a:lnTo>
                    <a:pt x="49742" y="206555"/>
                  </a:lnTo>
                  <a:lnTo>
                    <a:pt x="53115" y="198326"/>
                  </a:lnTo>
                  <a:lnTo>
                    <a:pt x="49742" y="198326"/>
                  </a:lnTo>
                  <a:lnTo>
                    <a:pt x="51428" y="193389"/>
                  </a:lnTo>
                  <a:lnTo>
                    <a:pt x="46370" y="188451"/>
                  </a:lnTo>
                  <a:lnTo>
                    <a:pt x="46370" y="180221"/>
                  </a:lnTo>
                  <a:lnTo>
                    <a:pt x="64918" y="170346"/>
                  </a:lnTo>
                  <a:lnTo>
                    <a:pt x="66604" y="163763"/>
                  </a:lnTo>
                  <a:lnTo>
                    <a:pt x="61546" y="153887"/>
                  </a:lnTo>
                  <a:lnTo>
                    <a:pt x="53115" y="145658"/>
                  </a:lnTo>
                  <a:lnTo>
                    <a:pt x="42997" y="144012"/>
                  </a:lnTo>
                  <a:lnTo>
                    <a:pt x="27821" y="158825"/>
                  </a:lnTo>
                  <a:lnTo>
                    <a:pt x="17704" y="160471"/>
                  </a:lnTo>
                  <a:lnTo>
                    <a:pt x="9273" y="155534"/>
                  </a:lnTo>
                  <a:lnTo>
                    <a:pt x="4214" y="144012"/>
                  </a:lnTo>
                  <a:lnTo>
                    <a:pt x="19390" y="124262"/>
                  </a:lnTo>
                  <a:lnTo>
                    <a:pt x="27821" y="117679"/>
                  </a:lnTo>
                  <a:lnTo>
                    <a:pt x="32880" y="102866"/>
                  </a:lnTo>
                  <a:lnTo>
                    <a:pt x="46370" y="97928"/>
                  </a:lnTo>
                  <a:lnTo>
                    <a:pt x="51428" y="92990"/>
                  </a:lnTo>
                  <a:lnTo>
                    <a:pt x="61546" y="71595"/>
                  </a:lnTo>
                  <a:lnTo>
                    <a:pt x="76722" y="55136"/>
                  </a:lnTo>
                  <a:lnTo>
                    <a:pt x="78408" y="45260"/>
                  </a:lnTo>
                  <a:lnTo>
                    <a:pt x="76722" y="28802"/>
                  </a:lnTo>
                  <a:lnTo>
                    <a:pt x="85153" y="7405"/>
                  </a:lnTo>
                  <a:lnTo>
                    <a:pt x="88525" y="5760"/>
                  </a:lnTo>
                  <a:lnTo>
                    <a:pt x="10876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5" name="Grave">
              <a:extLst>
                <a:ext uri="{FF2B5EF4-FFF2-40B4-BE49-F238E27FC236}">
                  <a16:creationId xmlns:a16="http://schemas.microsoft.com/office/drawing/2014/main" id="{E03AB9B0-166C-45F7-A0DD-A38B5C13A035}"/>
                </a:ext>
              </a:extLst>
            </p:cNvPr>
            <p:cNvSpPr/>
            <p:nvPr/>
          </p:nvSpPr>
          <p:spPr>
            <a:xfrm>
              <a:off x="6550572" y="4048180"/>
              <a:ext cx="106212" cy="94540"/>
            </a:xfrm>
            <a:custGeom>
              <a:avLst/>
              <a:gdLst/>
              <a:ahLst/>
              <a:cxnLst/>
              <a:rect l="l" t="t" r="r" b="b"/>
              <a:pathLst>
                <a:path w="163914" h="137160" extrusionOk="0">
                  <a:moveTo>
                    <a:pt x="34566" y="4114"/>
                  </a:moveTo>
                  <a:lnTo>
                    <a:pt x="51428" y="4114"/>
                  </a:lnTo>
                  <a:lnTo>
                    <a:pt x="66604" y="12343"/>
                  </a:lnTo>
                  <a:lnTo>
                    <a:pt x="86839" y="41969"/>
                  </a:lnTo>
                  <a:lnTo>
                    <a:pt x="107074" y="53490"/>
                  </a:lnTo>
                  <a:lnTo>
                    <a:pt x="134053" y="58427"/>
                  </a:lnTo>
                  <a:lnTo>
                    <a:pt x="157661" y="55136"/>
                  </a:lnTo>
                  <a:lnTo>
                    <a:pt x="157661" y="65011"/>
                  </a:lnTo>
                  <a:lnTo>
                    <a:pt x="150916" y="78178"/>
                  </a:lnTo>
                  <a:lnTo>
                    <a:pt x="166092" y="88053"/>
                  </a:lnTo>
                  <a:lnTo>
                    <a:pt x="162719" y="96282"/>
                  </a:lnTo>
                  <a:lnTo>
                    <a:pt x="171150" y="101220"/>
                  </a:lnTo>
                  <a:lnTo>
                    <a:pt x="167778" y="111095"/>
                  </a:lnTo>
                  <a:lnTo>
                    <a:pt x="164405" y="112741"/>
                  </a:lnTo>
                  <a:lnTo>
                    <a:pt x="169464" y="132492"/>
                  </a:lnTo>
                  <a:lnTo>
                    <a:pt x="152602" y="135783"/>
                  </a:lnTo>
                  <a:lnTo>
                    <a:pt x="149230" y="140721"/>
                  </a:lnTo>
                  <a:lnTo>
                    <a:pt x="123936" y="129200"/>
                  </a:lnTo>
                  <a:lnTo>
                    <a:pt x="118877" y="130845"/>
                  </a:lnTo>
                  <a:lnTo>
                    <a:pt x="113819" y="129200"/>
                  </a:lnTo>
                  <a:lnTo>
                    <a:pt x="105388" y="132492"/>
                  </a:lnTo>
                  <a:lnTo>
                    <a:pt x="98643" y="130845"/>
                  </a:lnTo>
                  <a:lnTo>
                    <a:pt x="91897" y="142367"/>
                  </a:lnTo>
                  <a:lnTo>
                    <a:pt x="85153" y="134137"/>
                  </a:lnTo>
                  <a:lnTo>
                    <a:pt x="68291" y="129200"/>
                  </a:lnTo>
                  <a:lnTo>
                    <a:pt x="63232" y="137429"/>
                  </a:lnTo>
                  <a:lnTo>
                    <a:pt x="32880" y="116033"/>
                  </a:lnTo>
                  <a:lnTo>
                    <a:pt x="46370" y="111095"/>
                  </a:lnTo>
                  <a:lnTo>
                    <a:pt x="46370" y="106158"/>
                  </a:lnTo>
                  <a:lnTo>
                    <a:pt x="27821" y="107803"/>
                  </a:lnTo>
                  <a:lnTo>
                    <a:pt x="29507" y="96282"/>
                  </a:lnTo>
                  <a:lnTo>
                    <a:pt x="16018" y="92991"/>
                  </a:lnTo>
                  <a:lnTo>
                    <a:pt x="19390" y="83116"/>
                  </a:lnTo>
                  <a:lnTo>
                    <a:pt x="22763" y="63365"/>
                  </a:lnTo>
                  <a:lnTo>
                    <a:pt x="17704" y="63365"/>
                  </a:lnTo>
                  <a:lnTo>
                    <a:pt x="21076" y="51844"/>
                  </a:lnTo>
                  <a:lnTo>
                    <a:pt x="9273" y="51844"/>
                  </a:lnTo>
                  <a:lnTo>
                    <a:pt x="4214" y="41969"/>
                  </a:lnTo>
                  <a:lnTo>
                    <a:pt x="10959" y="37031"/>
                  </a:lnTo>
                  <a:lnTo>
                    <a:pt x="19390" y="18927"/>
                  </a:lnTo>
                  <a:lnTo>
                    <a:pt x="3456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6" name="Ameland">
              <a:extLst>
                <a:ext uri="{FF2B5EF4-FFF2-40B4-BE49-F238E27FC236}">
                  <a16:creationId xmlns:a16="http://schemas.microsoft.com/office/drawing/2014/main" id="{7C065334-8B93-41A8-ACA0-652474B93974}"/>
                </a:ext>
              </a:extLst>
            </p:cNvPr>
            <p:cNvSpPr/>
            <p:nvPr/>
          </p:nvSpPr>
          <p:spPr>
            <a:xfrm>
              <a:off x="6466078" y="1268015"/>
              <a:ext cx="369318" cy="104557"/>
            </a:xfrm>
            <a:custGeom>
              <a:avLst/>
              <a:gdLst/>
              <a:ahLst/>
              <a:cxnLst/>
              <a:rect l="l" t="t" r="r" b="b"/>
              <a:pathLst>
                <a:path w="538575" h="125730" extrusionOk="0">
                  <a:moveTo>
                    <a:pt x="88525" y="122616"/>
                  </a:moveTo>
                  <a:lnTo>
                    <a:pt x="81780" y="120970"/>
                  </a:lnTo>
                  <a:lnTo>
                    <a:pt x="93584" y="116033"/>
                  </a:lnTo>
                  <a:lnTo>
                    <a:pt x="96956" y="117679"/>
                  </a:lnTo>
                  <a:lnTo>
                    <a:pt x="88525" y="120970"/>
                  </a:lnTo>
                  <a:lnTo>
                    <a:pt x="88525" y="122616"/>
                  </a:lnTo>
                  <a:close/>
                  <a:moveTo>
                    <a:pt x="96956" y="9052"/>
                  </a:moveTo>
                  <a:lnTo>
                    <a:pt x="115505" y="10697"/>
                  </a:lnTo>
                  <a:lnTo>
                    <a:pt x="115505" y="13989"/>
                  </a:lnTo>
                  <a:lnTo>
                    <a:pt x="103701" y="13989"/>
                  </a:lnTo>
                  <a:lnTo>
                    <a:pt x="83467" y="9052"/>
                  </a:lnTo>
                  <a:lnTo>
                    <a:pt x="80094" y="13989"/>
                  </a:lnTo>
                  <a:lnTo>
                    <a:pt x="113819" y="27156"/>
                  </a:lnTo>
                  <a:lnTo>
                    <a:pt x="169464" y="28802"/>
                  </a:lnTo>
                  <a:lnTo>
                    <a:pt x="236913" y="27156"/>
                  </a:lnTo>
                  <a:lnTo>
                    <a:pt x="405535" y="9052"/>
                  </a:lnTo>
                  <a:lnTo>
                    <a:pt x="472984" y="5760"/>
                  </a:lnTo>
                  <a:lnTo>
                    <a:pt x="521885" y="7406"/>
                  </a:lnTo>
                  <a:lnTo>
                    <a:pt x="533689" y="10697"/>
                  </a:lnTo>
                  <a:lnTo>
                    <a:pt x="537061" y="17281"/>
                  </a:lnTo>
                  <a:lnTo>
                    <a:pt x="532003" y="28802"/>
                  </a:lnTo>
                  <a:lnTo>
                    <a:pt x="516826" y="33740"/>
                  </a:lnTo>
                  <a:lnTo>
                    <a:pt x="489847" y="35386"/>
                  </a:lnTo>
                  <a:lnTo>
                    <a:pt x="474671" y="32094"/>
                  </a:lnTo>
                  <a:lnTo>
                    <a:pt x="446005" y="30448"/>
                  </a:lnTo>
                  <a:lnTo>
                    <a:pt x="437574" y="32094"/>
                  </a:lnTo>
                  <a:lnTo>
                    <a:pt x="417339" y="46906"/>
                  </a:lnTo>
                  <a:lnTo>
                    <a:pt x="410594" y="48552"/>
                  </a:lnTo>
                  <a:lnTo>
                    <a:pt x="407222" y="40323"/>
                  </a:lnTo>
                  <a:lnTo>
                    <a:pt x="400477" y="40323"/>
                  </a:lnTo>
                  <a:lnTo>
                    <a:pt x="393732" y="33740"/>
                  </a:lnTo>
                  <a:lnTo>
                    <a:pt x="400477" y="41969"/>
                  </a:lnTo>
                  <a:lnTo>
                    <a:pt x="407222" y="40323"/>
                  </a:lnTo>
                  <a:lnTo>
                    <a:pt x="410594" y="48552"/>
                  </a:lnTo>
                  <a:lnTo>
                    <a:pt x="378556" y="55136"/>
                  </a:lnTo>
                  <a:lnTo>
                    <a:pt x="375184" y="50198"/>
                  </a:lnTo>
                  <a:lnTo>
                    <a:pt x="380242" y="56782"/>
                  </a:lnTo>
                  <a:lnTo>
                    <a:pt x="334714" y="66657"/>
                  </a:lnTo>
                  <a:lnTo>
                    <a:pt x="289186" y="79824"/>
                  </a:lnTo>
                  <a:lnTo>
                    <a:pt x="247030" y="78178"/>
                  </a:lnTo>
                  <a:lnTo>
                    <a:pt x="247030" y="83115"/>
                  </a:lnTo>
                  <a:lnTo>
                    <a:pt x="245344" y="79824"/>
                  </a:lnTo>
                  <a:lnTo>
                    <a:pt x="245344" y="92991"/>
                  </a:lnTo>
                  <a:lnTo>
                    <a:pt x="241972" y="91345"/>
                  </a:lnTo>
                  <a:lnTo>
                    <a:pt x="245344" y="79824"/>
                  </a:lnTo>
                  <a:lnTo>
                    <a:pt x="241972" y="76532"/>
                  </a:lnTo>
                  <a:lnTo>
                    <a:pt x="213306" y="74886"/>
                  </a:lnTo>
                  <a:lnTo>
                    <a:pt x="194757" y="69949"/>
                  </a:lnTo>
                  <a:lnTo>
                    <a:pt x="174523" y="68303"/>
                  </a:lnTo>
                  <a:lnTo>
                    <a:pt x="166092" y="71594"/>
                  </a:lnTo>
                  <a:lnTo>
                    <a:pt x="159347" y="84761"/>
                  </a:lnTo>
                  <a:lnTo>
                    <a:pt x="181268" y="97928"/>
                  </a:lnTo>
                  <a:lnTo>
                    <a:pt x="157661" y="86407"/>
                  </a:lnTo>
                  <a:lnTo>
                    <a:pt x="139112" y="99574"/>
                  </a:lnTo>
                  <a:lnTo>
                    <a:pt x="118877" y="106158"/>
                  </a:lnTo>
                  <a:lnTo>
                    <a:pt x="107074" y="112741"/>
                  </a:lnTo>
                  <a:lnTo>
                    <a:pt x="96956" y="112741"/>
                  </a:lnTo>
                  <a:lnTo>
                    <a:pt x="80094" y="120970"/>
                  </a:lnTo>
                  <a:lnTo>
                    <a:pt x="68291" y="114387"/>
                  </a:lnTo>
                  <a:lnTo>
                    <a:pt x="61546" y="114387"/>
                  </a:lnTo>
                  <a:lnTo>
                    <a:pt x="63232" y="111095"/>
                  </a:lnTo>
                  <a:lnTo>
                    <a:pt x="61546" y="114387"/>
                  </a:lnTo>
                  <a:lnTo>
                    <a:pt x="32880" y="99574"/>
                  </a:lnTo>
                  <a:lnTo>
                    <a:pt x="31194" y="101220"/>
                  </a:lnTo>
                  <a:lnTo>
                    <a:pt x="27821" y="94637"/>
                  </a:lnTo>
                  <a:lnTo>
                    <a:pt x="24449" y="96282"/>
                  </a:lnTo>
                  <a:lnTo>
                    <a:pt x="16018" y="86407"/>
                  </a:lnTo>
                  <a:lnTo>
                    <a:pt x="7586" y="66657"/>
                  </a:lnTo>
                  <a:lnTo>
                    <a:pt x="5900" y="56782"/>
                  </a:lnTo>
                  <a:lnTo>
                    <a:pt x="10959" y="41969"/>
                  </a:lnTo>
                  <a:lnTo>
                    <a:pt x="4214" y="48552"/>
                  </a:lnTo>
                  <a:lnTo>
                    <a:pt x="7586" y="43615"/>
                  </a:lnTo>
                  <a:lnTo>
                    <a:pt x="12645" y="41969"/>
                  </a:lnTo>
                  <a:lnTo>
                    <a:pt x="29507" y="18927"/>
                  </a:lnTo>
                  <a:lnTo>
                    <a:pt x="42997" y="9052"/>
                  </a:lnTo>
                  <a:lnTo>
                    <a:pt x="76722" y="4114"/>
                  </a:lnTo>
                  <a:lnTo>
                    <a:pt x="96956" y="9052"/>
                  </a:lnTo>
                  <a:close/>
                </a:path>
              </a:pathLst>
            </a:custGeom>
            <a:solidFill>
              <a:srgbClr val="17722B"/>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7" name="Smallingerland">
              <a:extLst>
                <a:ext uri="{FF2B5EF4-FFF2-40B4-BE49-F238E27FC236}">
                  <a16:creationId xmlns:a16="http://schemas.microsoft.com/office/drawing/2014/main" id="{A401A798-B634-457D-98C0-CA9D3DC474DC}"/>
                </a:ext>
              </a:extLst>
            </p:cNvPr>
            <p:cNvSpPr/>
            <p:nvPr/>
          </p:nvSpPr>
          <p:spPr>
            <a:xfrm>
              <a:off x="6732462" y="1772847"/>
              <a:ext cx="314078" cy="144089"/>
            </a:xfrm>
            <a:custGeom>
              <a:avLst/>
              <a:gdLst/>
              <a:ahLst/>
              <a:cxnLst/>
              <a:rect l="l" t="t" r="r" b="b"/>
              <a:pathLst>
                <a:path w="468326" h="217170" extrusionOk="0">
                  <a:moveTo>
                    <a:pt x="459495" y="4114"/>
                  </a:moveTo>
                  <a:lnTo>
                    <a:pt x="457808" y="61719"/>
                  </a:lnTo>
                  <a:lnTo>
                    <a:pt x="472985" y="76532"/>
                  </a:lnTo>
                  <a:lnTo>
                    <a:pt x="454436" y="88053"/>
                  </a:lnTo>
                  <a:lnTo>
                    <a:pt x="454436" y="91345"/>
                  </a:lnTo>
                  <a:lnTo>
                    <a:pt x="440946" y="97928"/>
                  </a:lnTo>
                  <a:lnTo>
                    <a:pt x="412280" y="127554"/>
                  </a:lnTo>
                  <a:lnTo>
                    <a:pt x="383614" y="145658"/>
                  </a:lnTo>
                  <a:lnTo>
                    <a:pt x="366753" y="183513"/>
                  </a:lnTo>
                  <a:lnTo>
                    <a:pt x="354949" y="201618"/>
                  </a:lnTo>
                  <a:lnTo>
                    <a:pt x="329655" y="219722"/>
                  </a:lnTo>
                  <a:lnTo>
                    <a:pt x="245344" y="213139"/>
                  </a:lnTo>
                  <a:lnTo>
                    <a:pt x="233541" y="213139"/>
                  </a:lnTo>
                  <a:lnTo>
                    <a:pt x="226796" y="204909"/>
                  </a:lnTo>
                  <a:lnTo>
                    <a:pt x="223423" y="206555"/>
                  </a:lnTo>
                  <a:lnTo>
                    <a:pt x="201502" y="196680"/>
                  </a:lnTo>
                  <a:lnTo>
                    <a:pt x="194757" y="195034"/>
                  </a:lnTo>
                  <a:lnTo>
                    <a:pt x="179582" y="196680"/>
                  </a:lnTo>
                  <a:lnTo>
                    <a:pt x="172837" y="204909"/>
                  </a:lnTo>
                  <a:lnTo>
                    <a:pt x="96957" y="196680"/>
                  </a:lnTo>
                  <a:lnTo>
                    <a:pt x="93584" y="196680"/>
                  </a:lnTo>
                  <a:lnTo>
                    <a:pt x="90212" y="203263"/>
                  </a:lnTo>
                  <a:lnTo>
                    <a:pt x="44684" y="201618"/>
                  </a:lnTo>
                  <a:lnTo>
                    <a:pt x="41311" y="201618"/>
                  </a:lnTo>
                  <a:lnTo>
                    <a:pt x="41311" y="208201"/>
                  </a:lnTo>
                  <a:lnTo>
                    <a:pt x="5900" y="213139"/>
                  </a:lnTo>
                  <a:lnTo>
                    <a:pt x="4214" y="196680"/>
                  </a:lnTo>
                  <a:lnTo>
                    <a:pt x="7586" y="195034"/>
                  </a:lnTo>
                  <a:lnTo>
                    <a:pt x="7586" y="190097"/>
                  </a:lnTo>
                  <a:lnTo>
                    <a:pt x="9273" y="186805"/>
                  </a:lnTo>
                  <a:lnTo>
                    <a:pt x="14331" y="186805"/>
                  </a:lnTo>
                  <a:lnTo>
                    <a:pt x="22763" y="178575"/>
                  </a:lnTo>
                  <a:lnTo>
                    <a:pt x="24449" y="173638"/>
                  </a:lnTo>
                  <a:lnTo>
                    <a:pt x="19390" y="175284"/>
                  </a:lnTo>
                  <a:lnTo>
                    <a:pt x="16018" y="173638"/>
                  </a:lnTo>
                  <a:lnTo>
                    <a:pt x="27821" y="165409"/>
                  </a:lnTo>
                  <a:lnTo>
                    <a:pt x="21076" y="134137"/>
                  </a:lnTo>
                  <a:lnTo>
                    <a:pt x="64918" y="129200"/>
                  </a:lnTo>
                  <a:lnTo>
                    <a:pt x="90212" y="129200"/>
                  </a:lnTo>
                  <a:lnTo>
                    <a:pt x="95270" y="124262"/>
                  </a:lnTo>
                  <a:lnTo>
                    <a:pt x="118877" y="140721"/>
                  </a:lnTo>
                  <a:lnTo>
                    <a:pt x="122250" y="139075"/>
                  </a:lnTo>
                  <a:lnTo>
                    <a:pt x="112132" y="91345"/>
                  </a:lnTo>
                  <a:lnTo>
                    <a:pt x="159347" y="66657"/>
                  </a:lnTo>
                  <a:lnTo>
                    <a:pt x="191385" y="33740"/>
                  </a:lnTo>
                  <a:lnTo>
                    <a:pt x="213306" y="18927"/>
                  </a:lnTo>
                  <a:lnTo>
                    <a:pt x="258834" y="12343"/>
                  </a:lnTo>
                  <a:lnTo>
                    <a:pt x="312793" y="12343"/>
                  </a:lnTo>
                  <a:lnTo>
                    <a:pt x="322911" y="5760"/>
                  </a:lnTo>
                  <a:lnTo>
                    <a:pt x="327969" y="18927"/>
                  </a:lnTo>
                  <a:lnTo>
                    <a:pt x="336401" y="12343"/>
                  </a:lnTo>
                  <a:lnTo>
                    <a:pt x="351576" y="27156"/>
                  </a:lnTo>
                  <a:lnTo>
                    <a:pt x="353262" y="23864"/>
                  </a:lnTo>
                  <a:lnTo>
                    <a:pt x="356635" y="22218"/>
                  </a:lnTo>
                  <a:lnTo>
                    <a:pt x="363380" y="27156"/>
                  </a:lnTo>
                  <a:lnTo>
                    <a:pt x="373497" y="28802"/>
                  </a:lnTo>
                  <a:lnTo>
                    <a:pt x="373497" y="37031"/>
                  </a:lnTo>
                  <a:lnTo>
                    <a:pt x="376870" y="40323"/>
                  </a:lnTo>
                  <a:lnTo>
                    <a:pt x="415653" y="7406"/>
                  </a:lnTo>
                  <a:lnTo>
                    <a:pt x="422398" y="25510"/>
                  </a:lnTo>
                  <a:lnTo>
                    <a:pt x="459495"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8" name="Breda">
              <a:extLst>
                <a:ext uri="{FF2B5EF4-FFF2-40B4-BE49-F238E27FC236}">
                  <a16:creationId xmlns:a16="http://schemas.microsoft.com/office/drawing/2014/main" id="{AAB8C070-653D-4B8F-B7C7-C85D3951AEC1}"/>
                </a:ext>
              </a:extLst>
            </p:cNvPr>
            <p:cNvSpPr/>
            <p:nvPr/>
          </p:nvSpPr>
          <p:spPr>
            <a:xfrm>
              <a:off x="5464372" y="4267989"/>
              <a:ext cx="229570" cy="261311"/>
            </a:xfrm>
            <a:custGeom>
              <a:avLst/>
              <a:gdLst/>
              <a:ahLst/>
              <a:cxnLst/>
              <a:rect l="l" t="t" r="r" b="b"/>
              <a:pathLst>
                <a:path w="327828" h="388620" extrusionOk="0">
                  <a:moveTo>
                    <a:pt x="145857" y="15635"/>
                  </a:moveTo>
                  <a:lnTo>
                    <a:pt x="161033" y="22219"/>
                  </a:lnTo>
                  <a:lnTo>
                    <a:pt x="167778" y="28802"/>
                  </a:lnTo>
                  <a:lnTo>
                    <a:pt x="169464" y="38677"/>
                  </a:lnTo>
                  <a:lnTo>
                    <a:pt x="172837" y="40323"/>
                  </a:lnTo>
                  <a:lnTo>
                    <a:pt x="203189" y="20573"/>
                  </a:lnTo>
                  <a:lnTo>
                    <a:pt x="206561" y="23864"/>
                  </a:lnTo>
                  <a:lnTo>
                    <a:pt x="204875" y="27156"/>
                  </a:lnTo>
                  <a:lnTo>
                    <a:pt x="240286" y="30448"/>
                  </a:lnTo>
                  <a:lnTo>
                    <a:pt x="250403" y="33740"/>
                  </a:lnTo>
                  <a:lnTo>
                    <a:pt x="255462" y="43615"/>
                  </a:lnTo>
                  <a:lnTo>
                    <a:pt x="262207" y="45261"/>
                  </a:lnTo>
                  <a:lnTo>
                    <a:pt x="265579" y="50198"/>
                  </a:lnTo>
                  <a:lnTo>
                    <a:pt x="287500" y="69949"/>
                  </a:lnTo>
                  <a:lnTo>
                    <a:pt x="282441" y="88053"/>
                  </a:lnTo>
                  <a:lnTo>
                    <a:pt x="289186" y="101220"/>
                  </a:lnTo>
                  <a:lnTo>
                    <a:pt x="282441" y="104512"/>
                  </a:lnTo>
                  <a:lnTo>
                    <a:pt x="274010" y="116033"/>
                  </a:lnTo>
                  <a:lnTo>
                    <a:pt x="285814" y="119324"/>
                  </a:lnTo>
                  <a:lnTo>
                    <a:pt x="287500" y="144013"/>
                  </a:lnTo>
                  <a:lnTo>
                    <a:pt x="304362" y="160471"/>
                  </a:lnTo>
                  <a:lnTo>
                    <a:pt x="319538" y="160471"/>
                  </a:lnTo>
                  <a:lnTo>
                    <a:pt x="321224" y="171992"/>
                  </a:lnTo>
                  <a:lnTo>
                    <a:pt x="324597" y="171992"/>
                  </a:lnTo>
                  <a:lnTo>
                    <a:pt x="321224" y="178576"/>
                  </a:lnTo>
                  <a:lnTo>
                    <a:pt x="329656" y="181867"/>
                  </a:lnTo>
                  <a:lnTo>
                    <a:pt x="331342" y="190097"/>
                  </a:lnTo>
                  <a:lnTo>
                    <a:pt x="326283" y="190097"/>
                  </a:lnTo>
                  <a:lnTo>
                    <a:pt x="327969" y="195034"/>
                  </a:lnTo>
                  <a:lnTo>
                    <a:pt x="324597" y="195034"/>
                  </a:lnTo>
                  <a:lnTo>
                    <a:pt x="327969" y="203264"/>
                  </a:lnTo>
                  <a:lnTo>
                    <a:pt x="324597" y="209847"/>
                  </a:lnTo>
                  <a:lnTo>
                    <a:pt x="319538" y="208201"/>
                  </a:lnTo>
                  <a:lnTo>
                    <a:pt x="317852" y="213139"/>
                  </a:lnTo>
                  <a:lnTo>
                    <a:pt x="311107" y="214785"/>
                  </a:lnTo>
                  <a:lnTo>
                    <a:pt x="307735" y="219722"/>
                  </a:lnTo>
                  <a:lnTo>
                    <a:pt x="304362" y="216430"/>
                  </a:lnTo>
                  <a:lnTo>
                    <a:pt x="282441" y="223014"/>
                  </a:lnTo>
                  <a:lnTo>
                    <a:pt x="279069" y="232889"/>
                  </a:lnTo>
                  <a:lnTo>
                    <a:pt x="267265" y="229597"/>
                  </a:lnTo>
                  <a:lnTo>
                    <a:pt x="255462" y="237827"/>
                  </a:lnTo>
                  <a:lnTo>
                    <a:pt x="255462" y="241118"/>
                  </a:lnTo>
                  <a:lnTo>
                    <a:pt x="253775" y="239472"/>
                  </a:lnTo>
                  <a:lnTo>
                    <a:pt x="243658" y="246056"/>
                  </a:lnTo>
                  <a:lnTo>
                    <a:pt x="245344" y="249348"/>
                  </a:lnTo>
                  <a:lnTo>
                    <a:pt x="241972" y="246056"/>
                  </a:lnTo>
                  <a:lnTo>
                    <a:pt x="220051" y="262515"/>
                  </a:lnTo>
                  <a:lnTo>
                    <a:pt x="221737" y="264160"/>
                  </a:lnTo>
                  <a:lnTo>
                    <a:pt x="220051" y="265807"/>
                  </a:lnTo>
                  <a:lnTo>
                    <a:pt x="211620" y="267452"/>
                  </a:lnTo>
                  <a:lnTo>
                    <a:pt x="174523" y="285557"/>
                  </a:lnTo>
                  <a:lnTo>
                    <a:pt x="174523" y="293786"/>
                  </a:lnTo>
                  <a:lnTo>
                    <a:pt x="171150" y="290494"/>
                  </a:lnTo>
                  <a:lnTo>
                    <a:pt x="166092" y="292140"/>
                  </a:lnTo>
                  <a:lnTo>
                    <a:pt x="159347" y="303661"/>
                  </a:lnTo>
                  <a:lnTo>
                    <a:pt x="140798" y="305307"/>
                  </a:lnTo>
                  <a:lnTo>
                    <a:pt x="137426" y="313536"/>
                  </a:lnTo>
                  <a:lnTo>
                    <a:pt x="144171" y="328349"/>
                  </a:lnTo>
                  <a:lnTo>
                    <a:pt x="147543" y="336579"/>
                  </a:lnTo>
                  <a:lnTo>
                    <a:pt x="157661" y="344808"/>
                  </a:lnTo>
                  <a:lnTo>
                    <a:pt x="155974" y="349745"/>
                  </a:lnTo>
                  <a:lnTo>
                    <a:pt x="145857" y="351391"/>
                  </a:lnTo>
                  <a:lnTo>
                    <a:pt x="140798" y="357975"/>
                  </a:lnTo>
                  <a:lnTo>
                    <a:pt x="142485" y="364558"/>
                  </a:lnTo>
                  <a:lnTo>
                    <a:pt x="137426" y="376079"/>
                  </a:lnTo>
                  <a:lnTo>
                    <a:pt x="117191" y="385954"/>
                  </a:lnTo>
                  <a:lnTo>
                    <a:pt x="128995" y="338224"/>
                  </a:lnTo>
                  <a:lnTo>
                    <a:pt x="123936" y="336579"/>
                  </a:lnTo>
                  <a:lnTo>
                    <a:pt x="130681" y="336579"/>
                  </a:lnTo>
                  <a:lnTo>
                    <a:pt x="132367" y="323411"/>
                  </a:lnTo>
                  <a:lnTo>
                    <a:pt x="134053" y="305307"/>
                  </a:lnTo>
                  <a:lnTo>
                    <a:pt x="127309" y="306953"/>
                  </a:lnTo>
                  <a:lnTo>
                    <a:pt x="134053" y="303661"/>
                  </a:lnTo>
                  <a:lnTo>
                    <a:pt x="132367" y="288849"/>
                  </a:lnTo>
                  <a:lnTo>
                    <a:pt x="127309" y="283911"/>
                  </a:lnTo>
                  <a:lnTo>
                    <a:pt x="130681" y="270744"/>
                  </a:lnTo>
                  <a:lnTo>
                    <a:pt x="125622" y="275682"/>
                  </a:lnTo>
                  <a:lnTo>
                    <a:pt x="125622" y="272390"/>
                  </a:lnTo>
                  <a:lnTo>
                    <a:pt x="113819" y="262515"/>
                  </a:lnTo>
                  <a:lnTo>
                    <a:pt x="110446" y="269098"/>
                  </a:lnTo>
                  <a:lnTo>
                    <a:pt x="105388" y="270744"/>
                  </a:lnTo>
                  <a:lnTo>
                    <a:pt x="100329" y="265807"/>
                  </a:lnTo>
                  <a:lnTo>
                    <a:pt x="110446" y="260869"/>
                  </a:lnTo>
                  <a:lnTo>
                    <a:pt x="73349" y="229597"/>
                  </a:lnTo>
                  <a:lnTo>
                    <a:pt x="58173" y="241118"/>
                  </a:lnTo>
                  <a:lnTo>
                    <a:pt x="56487" y="185159"/>
                  </a:lnTo>
                  <a:lnTo>
                    <a:pt x="39625" y="111095"/>
                  </a:lnTo>
                  <a:lnTo>
                    <a:pt x="29508" y="107803"/>
                  </a:lnTo>
                  <a:lnTo>
                    <a:pt x="29508" y="99574"/>
                  </a:lnTo>
                  <a:lnTo>
                    <a:pt x="12645" y="97928"/>
                  </a:lnTo>
                  <a:lnTo>
                    <a:pt x="12645" y="86407"/>
                  </a:lnTo>
                  <a:lnTo>
                    <a:pt x="7587" y="84761"/>
                  </a:lnTo>
                  <a:lnTo>
                    <a:pt x="7587" y="78178"/>
                  </a:lnTo>
                  <a:lnTo>
                    <a:pt x="5900" y="76532"/>
                  </a:lnTo>
                  <a:lnTo>
                    <a:pt x="4214" y="58427"/>
                  </a:lnTo>
                  <a:lnTo>
                    <a:pt x="12645" y="46906"/>
                  </a:lnTo>
                  <a:lnTo>
                    <a:pt x="14331" y="38677"/>
                  </a:lnTo>
                  <a:lnTo>
                    <a:pt x="10959" y="33740"/>
                  </a:lnTo>
                  <a:lnTo>
                    <a:pt x="14331" y="33740"/>
                  </a:lnTo>
                  <a:lnTo>
                    <a:pt x="14331" y="25510"/>
                  </a:lnTo>
                  <a:lnTo>
                    <a:pt x="26135" y="28802"/>
                  </a:lnTo>
                  <a:lnTo>
                    <a:pt x="34566" y="30448"/>
                  </a:lnTo>
                  <a:lnTo>
                    <a:pt x="56487" y="17281"/>
                  </a:lnTo>
                  <a:lnTo>
                    <a:pt x="73349" y="17281"/>
                  </a:lnTo>
                  <a:lnTo>
                    <a:pt x="120564" y="4114"/>
                  </a:lnTo>
                  <a:lnTo>
                    <a:pt x="130681" y="7406"/>
                  </a:lnTo>
                  <a:lnTo>
                    <a:pt x="145857" y="15635"/>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39" name="Bronckhorst">
              <a:extLst>
                <a:ext uri="{FF2B5EF4-FFF2-40B4-BE49-F238E27FC236}">
                  <a16:creationId xmlns:a16="http://schemas.microsoft.com/office/drawing/2014/main" id="{A2DBDB64-B0DD-4DE6-A4AC-DDACE59DC648}"/>
                </a:ext>
              </a:extLst>
            </p:cNvPr>
            <p:cNvSpPr/>
            <p:nvPr/>
          </p:nvSpPr>
          <p:spPr>
            <a:xfrm>
              <a:off x="6987365" y="3440849"/>
              <a:ext cx="402454" cy="286391"/>
            </a:xfrm>
            <a:custGeom>
              <a:avLst/>
              <a:gdLst/>
              <a:ahLst/>
              <a:cxnLst/>
              <a:rect l="l" t="t" r="r" b="b"/>
              <a:pathLst>
                <a:path w="561992" h="411480" extrusionOk="0">
                  <a:moveTo>
                    <a:pt x="378556" y="22219"/>
                  </a:moveTo>
                  <a:lnTo>
                    <a:pt x="385301" y="28802"/>
                  </a:lnTo>
                  <a:lnTo>
                    <a:pt x="383615" y="30448"/>
                  </a:lnTo>
                  <a:lnTo>
                    <a:pt x="395418" y="37031"/>
                  </a:lnTo>
                  <a:lnTo>
                    <a:pt x="407222" y="28802"/>
                  </a:lnTo>
                  <a:lnTo>
                    <a:pt x="412281" y="32094"/>
                  </a:lnTo>
                  <a:lnTo>
                    <a:pt x="417339" y="28802"/>
                  </a:lnTo>
                  <a:lnTo>
                    <a:pt x="417339" y="25510"/>
                  </a:lnTo>
                  <a:lnTo>
                    <a:pt x="430829" y="17281"/>
                  </a:lnTo>
                  <a:lnTo>
                    <a:pt x="435888" y="18927"/>
                  </a:lnTo>
                  <a:lnTo>
                    <a:pt x="429143" y="37031"/>
                  </a:lnTo>
                  <a:lnTo>
                    <a:pt x="440947" y="51844"/>
                  </a:lnTo>
                  <a:lnTo>
                    <a:pt x="437574" y="51844"/>
                  </a:lnTo>
                  <a:lnTo>
                    <a:pt x="429143" y="63365"/>
                  </a:lnTo>
                  <a:lnTo>
                    <a:pt x="479730" y="101220"/>
                  </a:lnTo>
                  <a:lnTo>
                    <a:pt x="464554" y="122616"/>
                  </a:lnTo>
                  <a:lnTo>
                    <a:pt x="461181" y="119324"/>
                  </a:lnTo>
                  <a:lnTo>
                    <a:pt x="447691" y="122616"/>
                  </a:lnTo>
                  <a:lnTo>
                    <a:pt x="444319" y="132491"/>
                  </a:lnTo>
                  <a:lnTo>
                    <a:pt x="447691" y="144012"/>
                  </a:lnTo>
                  <a:lnTo>
                    <a:pt x="454436" y="148950"/>
                  </a:lnTo>
                  <a:lnTo>
                    <a:pt x="464554" y="183513"/>
                  </a:lnTo>
                  <a:lnTo>
                    <a:pt x="467926" y="209847"/>
                  </a:lnTo>
                  <a:lnTo>
                    <a:pt x="476357" y="223014"/>
                  </a:lnTo>
                  <a:lnTo>
                    <a:pt x="479730" y="219722"/>
                  </a:lnTo>
                  <a:lnTo>
                    <a:pt x="484788" y="226306"/>
                  </a:lnTo>
                  <a:lnTo>
                    <a:pt x="481416" y="227951"/>
                  </a:lnTo>
                  <a:lnTo>
                    <a:pt x="483102" y="232889"/>
                  </a:lnTo>
                  <a:lnTo>
                    <a:pt x="486474" y="231243"/>
                  </a:lnTo>
                  <a:lnTo>
                    <a:pt x="488161" y="236181"/>
                  </a:lnTo>
                  <a:lnTo>
                    <a:pt x="494906" y="236181"/>
                  </a:lnTo>
                  <a:lnTo>
                    <a:pt x="491533" y="241118"/>
                  </a:lnTo>
                  <a:lnTo>
                    <a:pt x="496592" y="242764"/>
                  </a:lnTo>
                  <a:lnTo>
                    <a:pt x="498278" y="250993"/>
                  </a:lnTo>
                  <a:lnTo>
                    <a:pt x="494906" y="249348"/>
                  </a:lnTo>
                  <a:lnTo>
                    <a:pt x="499964" y="260869"/>
                  </a:lnTo>
                  <a:lnTo>
                    <a:pt x="506709" y="269098"/>
                  </a:lnTo>
                  <a:lnTo>
                    <a:pt x="501651" y="272390"/>
                  </a:lnTo>
                  <a:lnTo>
                    <a:pt x="540434" y="282265"/>
                  </a:lnTo>
                  <a:lnTo>
                    <a:pt x="537061" y="288848"/>
                  </a:lnTo>
                  <a:lnTo>
                    <a:pt x="540434" y="293786"/>
                  </a:lnTo>
                  <a:lnTo>
                    <a:pt x="538747" y="298723"/>
                  </a:lnTo>
                  <a:lnTo>
                    <a:pt x="542120" y="302015"/>
                  </a:lnTo>
                  <a:lnTo>
                    <a:pt x="540434" y="305307"/>
                  </a:lnTo>
                  <a:lnTo>
                    <a:pt x="547179" y="315182"/>
                  </a:lnTo>
                  <a:lnTo>
                    <a:pt x="538747" y="318474"/>
                  </a:lnTo>
                  <a:lnTo>
                    <a:pt x="548865" y="331641"/>
                  </a:lnTo>
                  <a:lnTo>
                    <a:pt x="537061" y="339870"/>
                  </a:lnTo>
                  <a:lnTo>
                    <a:pt x="538747" y="346453"/>
                  </a:lnTo>
                  <a:lnTo>
                    <a:pt x="562355" y="362912"/>
                  </a:lnTo>
                  <a:lnTo>
                    <a:pt x="552237" y="379371"/>
                  </a:lnTo>
                  <a:lnTo>
                    <a:pt x="548865" y="389246"/>
                  </a:lnTo>
                  <a:lnTo>
                    <a:pt x="543806" y="390892"/>
                  </a:lnTo>
                  <a:lnTo>
                    <a:pt x="543806" y="394183"/>
                  </a:lnTo>
                  <a:lnTo>
                    <a:pt x="542120" y="394183"/>
                  </a:lnTo>
                  <a:lnTo>
                    <a:pt x="538747" y="399121"/>
                  </a:lnTo>
                  <a:lnTo>
                    <a:pt x="526944" y="402413"/>
                  </a:lnTo>
                  <a:lnTo>
                    <a:pt x="520199" y="407350"/>
                  </a:lnTo>
                  <a:lnTo>
                    <a:pt x="508395" y="402413"/>
                  </a:lnTo>
                  <a:lnTo>
                    <a:pt x="505023" y="405704"/>
                  </a:lnTo>
                  <a:lnTo>
                    <a:pt x="499964" y="404059"/>
                  </a:lnTo>
                  <a:lnTo>
                    <a:pt x="499964" y="402413"/>
                  </a:lnTo>
                  <a:lnTo>
                    <a:pt x="472985" y="400767"/>
                  </a:lnTo>
                  <a:lnTo>
                    <a:pt x="451064" y="377725"/>
                  </a:lnTo>
                  <a:lnTo>
                    <a:pt x="444319" y="384308"/>
                  </a:lnTo>
                  <a:lnTo>
                    <a:pt x="437574" y="382662"/>
                  </a:lnTo>
                  <a:lnTo>
                    <a:pt x="435888" y="385954"/>
                  </a:lnTo>
                  <a:lnTo>
                    <a:pt x="432515" y="382662"/>
                  </a:lnTo>
                  <a:lnTo>
                    <a:pt x="419026" y="389246"/>
                  </a:lnTo>
                  <a:lnTo>
                    <a:pt x="429143" y="392538"/>
                  </a:lnTo>
                  <a:lnTo>
                    <a:pt x="432515" y="412288"/>
                  </a:lnTo>
                  <a:lnTo>
                    <a:pt x="419026" y="413934"/>
                  </a:lnTo>
                  <a:lnTo>
                    <a:pt x="407222" y="408996"/>
                  </a:lnTo>
                  <a:lnTo>
                    <a:pt x="398791" y="412288"/>
                  </a:lnTo>
                  <a:lnTo>
                    <a:pt x="395418" y="408996"/>
                  </a:lnTo>
                  <a:lnTo>
                    <a:pt x="395418" y="404059"/>
                  </a:lnTo>
                  <a:lnTo>
                    <a:pt x="402163" y="399121"/>
                  </a:lnTo>
                  <a:lnTo>
                    <a:pt x="402163" y="394183"/>
                  </a:lnTo>
                  <a:lnTo>
                    <a:pt x="376870" y="397475"/>
                  </a:lnTo>
                  <a:lnTo>
                    <a:pt x="336401" y="395829"/>
                  </a:lnTo>
                  <a:lnTo>
                    <a:pt x="348204" y="371141"/>
                  </a:lnTo>
                  <a:lnTo>
                    <a:pt x="336401" y="361266"/>
                  </a:lnTo>
                  <a:lnTo>
                    <a:pt x="334714" y="356329"/>
                  </a:lnTo>
                  <a:lnTo>
                    <a:pt x="322911" y="351391"/>
                  </a:lnTo>
                  <a:lnTo>
                    <a:pt x="304362" y="354683"/>
                  </a:lnTo>
                  <a:lnTo>
                    <a:pt x="287500" y="364558"/>
                  </a:lnTo>
                  <a:lnTo>
                    <a:pt x="282441" y="353037"/>
                  </a:lnTo>
                  <a:lnTo>
                    <a:pt x="262207" y="374433"/>
                  </a:lnTo>
                  <a:lnTo>
                    <a:pt x="255462" y="372787"/>
                  </a:lnTo>
                  <a:lnTo>
                    <a:pt x="248717" y="377725"/>
                  </a:lnTo>
                  <a:lnTo>
                    <a:pt x="238599" y="374433"/>
                  </a:lnTo>
                  <a:lnTo>
                    <a:pt x="231855" y="367850"/>
                  </a:lnTo>
                  <a:lnTo>
                    <a:pt x="225110" y="367850"/>
                  </a:lnTo>
                  <a:lnTo>
                    <a:pt x="221737" y="369496"/>
                  </a:lnTo>
                  <a:lnTo>
                    <a:pt x="218365" y="369496"/>
                  </a:lnTo>
                  <a:lnTo>
                    <a:pt x="214992" y="376079"/>
                  </a:lnTo>
                  <a:lnTo>
                    <a:pt x="228482" y="381017"/>
                  </a:lnTo>
                  <a:lnTo>
                    <a:pt x="228482" y="384308"/>
                  </a:lnTo>
                  <a:lnTo>
                    <a:pt x="223424" y="385954"/>
                  </a:lnTo>
                  <a:lnTo>
                    <a:pt x="218365" y="395829"/>
                  </a:lnTo>
                  <a:lnTo>
                    <a:pt x="213306" y="392538"/>
                  </a:lnTo>
                  <a:lnTo>
                    <a:pt x="208247" y="392538"/>
                  </a:lnTo>
                  <a:lnTo>
                    <a:pt x="209934" y="387600"/>
                  </a:lnTo>
                  <a:lnTo>
                    <a:pt x="208247" y="384308"/>
                  </a:lnTo>
                  <a:lnTo>
                    <a:pt x="198130" y="384308"/>
                  </a:lnTo>
                  <a:lnTo>
                    <a:pt x="194758" y="381017"/>
                  </a:lnTo>
                  <a:lnTo>
                    <a:pt x="194758" y="379371"/>
                  </a:lnTo>
                  <a:lnTo>
                    <a:pt x="196444" y="374433"/>
                  </a:lnTo>
                  <a:lnTo>
                    <a:pt x="191385" y="366204"/>
                  </a:lnTo>
                  <a:lnTo>
                    <a:pt x="191385" y="371141"/>
                  </a:lnTo>
                  <a:lnTo>
                    <a:pt x="184640" y="367850"/>
                  </a:lnTo>
                  <a:lnTo>
                    <a:pt x="176209" y="377725"/>
                  </a:lnTo>
                  <a:lnTo>
                    <a:pt x="189699" y="384308"/>
                  </a:lnTo>
                  <a:lnTo>
                    <a:pt x="188013" y="395829"/>
                  </a:lnTo>
                  <a:lnTo>
                    <a:pt x="179582" y="390892"/>
                  </a:lnTo>
                  <a:lnTo>
                    <a:pt x="164406" y="389246"/>
                  </a:lnTo>
                  <a:lnTo>
                    <a:pt x="159347" y="390892"/>
                  </a:lnTo>
                  <a:lnTo>
                    <a:pt x="149230" y="385954"/>
                  </a:lnTo>
                  <a:lnTo>
                    <a:pt x="115505" y="389246"/>
                  </a:lnTo>
                  <a:lnTo>
                    <a:pt x="98643" y="385954"/>
                  </a:lnTo>
                  <a:lnTo>
                    <a:pt x="81781" y="389246"/>
                  </a:lnTo>
                  <a:lnTo>
                    <a:pt x="83467" y="357975"/>
                  </a:lnTo>
                  <a:lnTo>
                    <a:pt x="80094" y="349745"/>
                  </a:lnTo>
                  <a:lnTo>
                    <a:pt x="80094" y="344807"/>
                  </a:lnTo>
                  <a:lnTo>
                    <a:pt x="86839" y="341516"/>
                  </a:lnTo>
                  <a:lnTo>
                    <a:pt x="78408" y="339870"/>
                  </a:lnTo>
                  <a:lnTo>
                    <a:pt x="78408" y="329995"/>
                  </a:lnTo>
                  <a:lnTo>
                    <a:pt x="71663" y="331641"/>
                  </a:lnTo>
                  <a:lnTo>
                    <a:pt x="75036" y="325057"/>
                  </a:lnTo>
                  <a:lnTo>
                    <a:pt x="80094" y="323411"/>
                  </a:lnTo>
                  <a:lnTo>
                    <a:pt x="81781" y="306953"/>
                  </a:lnTo>
                  <a:lnTo>
                    <a:pt x="86839" y="305307"/>
                  </a:lnTo>
                  <a:lnTo>
                    <a:pt x="86839" y="298723"/>
                  </a:lnTo>
                  <a:lnTo>
                    <a:pt x="96957" y="298723"/>
                  </a:lnTo>
                  <a:lnTo>
                    <a:pt x="105388" y="290494"/>
                  </a:lnTo>
                  <a:lnTo>
                    <a:pt x="105388" y="287203"/>
                  </a:lnTo>
                  <a:lnTo>
                    <a:pt x="102015" y="285557"/>
                  </a:lnTo>
                  <a:lnTo>
                    <a:pt x="105388" y="278973"/>
                  </a:lnTo>
                  <a:lnTo>
                    <a:pt x="102015" y="277327"/>
                  </a:lnTo>
                  <a:lnTo>
                    <a:pt x="103701" y="274035"/>
                  </a:lnTo>
                  <a:lnTo>
                    <a:pt x="100329" y="272390"/>
                  </a:lnTo>
                  <a:lnTo>
                    <a:pt x="105388" y="264160"/>
                  </a:lnTo>
                  <a:lnTo>
                    <a:pt x="102015" y="262514"/>
                  </a:lnTo>
                  <a:lnTo>
                    <a:pt x="103701" y="244410"/>
                  </a:lnTo>
                  <a:lnTo>
                    <a:pt x="90212" y="250993"/>
                  </a:lnTo>
                  <a:lnTo>
                    <a:pt x="78408" y="249348"/>
                  </a:lnTo>
                  <a:lnTo>
                    <a:pt x="71663" y="241118"/>
                  </a:lnTo>
                  <a:lnTo>
                    <a:pt x="63232" y="237827"/>
                  </a:lnTo>
                  <a:lnTo>
                    <a:pt x="58173" y="241118"/>
                  </a:lnTo>
                  <a:lnTo>
                    <a:pt x="49742" y="252639"/>
                  </a:lnTo>
                  <a:lnTo>
                    <a:pt x="34566" y="257577"/>
                  </a:lnTo>
                  <a:lnTo>
                    <a:pt x="22763" y="257577"/>
                  </a:lnTo>
                  <a:lnTo>
                    <a:pt x="10959" y="252639"/>
                  </a:lnTo>
                  <a:lnTo>
                    <a:pt x="5900" y="244410"/>
                  </a:lnTo>
                  <a:lnTo>
                    <a:pt x="4214" y="234535"/>
                  </a:lnTo>
                  <a:lnTo>
                    <a:pt x="9273" y="224660"/>
                  </a:lnTo>
                  <a:lnTo>
                    <a:pt x="19390" y="214785"/>
                  </a:lnTo>
                  <a:lnTo>
                    <a:pt x="39625" y="203264"/>
                  </a:lnTo>
                  <a:lnTo>
                    <a:pt x="48056" y="191742"/>
                  </a:lnTo>
                  <a:lnTo>
                    <a:pt x="59860" y="183513"/>
                  </a:lnTo>
                  <a:lnTo>
                    <a:pt x="78408" y="163763"/>
                  </a:lnTo>
                  <a:lnTo>
                    <a:pt x="90212" y="155533"/>
                  </a:lnTo>
                  <a:lnTo>
                    <a:pt x="95270" y="145658"/>
                  </a:lnTo>
                  <a:lnTo>
                    <a:pt x="98643" y="125908"/>
                  </a:lnTo>
                  <a:lnTo>
                    <a:pt x="103701" y="120970"/>
                  </a:lnTo>
                  <a:lnTo>
                    <a:pt x="123936" y="119324"/>
                  </a:lnTo>
                  <a:lnTo>
                    <a:pt x="139112" y="112741"/>
                  </a:lnTo>
                  <a:lnTo>
                    <a:pt x="154288" y="116033"/>
                  </a:lnTo>
                  <a:lnTo>
                    <a:pt x="162719" y="109449"/>
                  </a:lnTo>
                  <a:lnTo>
                    <a:pt x="166092" y="102866"/>
                  </a:lnTo>
                  <a:lnTo>
                    <a:pt x="167778" y="106157"/>
                  </a:lnTo>
                  <a:lnTo>
                    <a:pt x="164406" y="114387"/>
                  </a:lnTo>
                  <a:lnTo>
                    <a:pt x="167778" y="116033"/>
                  </a:lnTo>
                  <a:lnTo>
                    <a:pt x="166092" y="122616"/>
                  </a:lnTo>
                  <a:lnTo>
                    <a:pt x="171151" y="124262"/>
                  </a:lnTo>
                  <a:lnTo>
                    <a:pt x="167778" y="116033"/>
                  </a:lnTo>
                  <a:lnTo>
                    <a:pt x="169464" y="96282"/>
                  </a:lnTo>
                  <a:lnTo>
                    <a:pt x="176209" y="97928"/>
                  </a:lnTo>
                  <a:lnTo>
                    <a:pt x="176209" y="94636"/>
                  </a:lnTo>
                  <a:lnTo>
                    <a:pt x="172837" y="81470"/>
                  </a:lnTo>
                  <a:lnTo>
                    <a:pt x="177895" y="81470"/>
                  </a:lnTo>
                  <a:lnTo>
                    <a:pt x="179582" y="74886"/>
                  </a:lnTo>
                  <a:lnTo>
                    <a:pt x="188013" y="71594"/>
                  </a:lnTo>
                  <a:lnTo>
                    <a:pt x="189699" y="65011"/>
                  </a:lnTo>
                  <a:lnTo>
                    <a:pt x="193071" y="63365"/>
                  </a:lnTo>
                  <a:lnTo>
                    <a:pt x="226796" y="71594"/>
                  </a:lnTo>
                  <a:lnTo>
                    <a:pt x="245344" y="68303"/>
                  </a:lnTo>
                  <a:lnTo>
                    <a:pt x="255462" y="43615"/>
                  </a:lnTo>
                  <a:lnTo>
                    <a:pt x="272324" y="33739"/>
                  </a:lnTo>
                  <a:lnTo>
                    <a:pt x="277383" y="35385"/>
                  </a:lnTo>
                  <a:lnTo>
                    <a:pt x="275697" y="32094"/>
                  </a:lnTo>
                  <a:lnTo>
                    <a:pt x="280755" y="28802"/>
                  </a:lnTo>
                  <a:lnTo>
                    <a:pt x="300990" y="22219"/>
                  </a:lnTo>
                  <a:lnTo>
                    <a:pt x="333028" y="4114"/>
                  </a:lnTo>
                  <a:lnTo>
                    <a:pt x="376870" y="9052"/>
                  </a:lnTo>
                  <a:lnTo>
                    <a:pt x="378556" y="2221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0" name="Zwartewaterland">
              <a:extLst>
                <a:ext uri="{FF2B5EF4-FFF2-40B4-BE49-F238E27FC236}">
                  <a16:creationId xmlns:a16="http://schemas.microsoft.com/office/drawing/2014/main" id="{4CFCF93B-26B5-420B-8A47-7987FDF8E67B}"/>
                </a:ext>
              </a:extLst>
            </p:cNvPr>
            <p:cNvSpPr/>
            <p:nvPr/>
          </p:nvSpPr>
          <p:spPr>
            <a:xfrm>
              <a:off x="6834226" y="2599985"/>
              <a:ext cx="196060" cy="185643"/>
            </a:xfrm>
            <a:custGeom>
              <a:avLst/>
              <a:gdLst/>
              <a:ahLst/>
              <a:cxnLst/>
              <a:rect l="l" t="t" r="r" b="b"/>
              <a:pathLst>
                <a:path w="292704" h="285750" extrusionOk="0">
                  <a:moveTo>
                    <a:pt x="75036" y="65011"/>
                  </a:moveTo>
                  <a:lnTo>
                    <a:pt x="78408" y="71594"/>
                  </a:lnTo>
                  <a:lnTo>
                    <a:pt x="73349" y="68303"/>
                  </a:lnTo>
                  <a:lnTo>
                    <a:pt x="75036" y="66657"/>
                  </a:lnTo>
                  <a:lnTo>
                    <a:pt x="73349" y="66657"/>
                  </a:lnTo>
                  <a:lnTo>
                    <a:pt x="75036" y="65011"/>
                  </a:lnTo>
                  <a:close/>
                  <a:moveTo>
                    <a:pt x="226796" y="12343"/>
                  </a:moveTo>
                  <a:lnTo>
                    <a:pt x="206561" y="32094"/>
                  </a:lnTo>
                  <a:lnTo>
                    <a:pt x="203189" y="32094"/>
                  </a:lnTo>
                  <a:lnTo>
                    <a:pt x="203189" y="55136"/>
                  </a:lnTo>
                  <a:lnTo>
                    <a:pt x="199816" y="71594"/>
                  </a:lnTo>
                  <a:lnTo>
                    <a:pt x="193071" y="83115"/>
                  </a:lnTo>
                  <a:lnTo>
                    <a:pt x="191385" y="94636"/>
                  </a:lnTo>
                  <a:lnTo>
                    <a:pt x="194758" y="107803"/>
                  </a:lnTo>
                  <a:lnTo>
                    <a:pt x="203189" y="107803"/>
                  </a:lnTo>
                  <a:lnTo>
                    <a:pt x="204875" y="117678"/>
                  </a:lnTo>
                  <a:lnTo>
                    <a:pt x="208247" y="117678"/>
                  </a:lnTo>
                  <a:lnTo>
                    <a:pt x="206561" y="122616"/>
                  </a:lnTo>
                  <a:lnTo>
                    <a:pt x="209934" y="124262"/>
                  </a:lnTo>
                  <a:lnTo>
                    <a:pt x="208247" y="134137"/>
                  </a:lnTo>
                  <a:lnTo>
                    <a:pt x="203189" y="139075"/>
                  </a:lnTo>
                  <a:lnTo>
                    <a:pt x="208247" y="152242"/>
                  </a:lnTo>
                  <a:lnTo>
                    <a:pt x="203189" y="155533"/>
                  </a:lnTo>
                  <a:lnTo>
                    <a:pt x="206561" y="160471"/>
                  </a:lnTo>
                  <a:lnTo>
                    <a:pt x="228482" y="175284"/>
                  </a:lnTo>
                  <a:lnTo>
                    <a:pt x="235227" y="183513"/>
                  </a:lnTo>
                  <a:lnTo>
                    <a:pt x="236913" y="186805"/>
                  </a:lnTo>
                  <a:lnTo>
                    <a:pt x="235227" y="191742"/>
                  </a:lnTo>
                  <a:lnTo>
                    <a:pt x="245344" y="214784"/>
                  </a:lnTo>
                  <a:lnTo>
                    <a:pt x="270638" y="206555"/>
                  </a:lnTo>
                  <a:lnTo>
                    <a:pt x="282441" y="211493"/>
                  </a:lnTo>
                  <a:lnTo>
                    <a:pt x="285814" y="214784"/>
                  </a:lnTo>
                  <a:lnTo>
                    <a:pt x="287500" y="227951"/>
                  </a:lnTo>
                  <a:lnTo>
                    <a:pt x="299303" y="252639"/>
                  </a:lnTo>
                  <a:lnTo>
                    <a:pt x="260520" y="283911"/>
                  </a:lnTo>
                  <a:lnTo>
                    <a:pt x="241972" y="274035"/>
                  </a:lnTo>
                  <a:lnTo>
                    <a:pt x="226796" y="272390"/>
                  </a:lnTo>
                  <a:lnTo>
                    <a:pt x="221737" y="264160"/>
                  </a:lnTo>
                  <a:lnTo>
                    <a:pt x="213306" y="262514"/>
                  </a:lnTo>
                  <a:lnTo>
                    <a:pt x="214992" y="247702"/>
                  </a:lnTo>
                  <a:lnTo>
                    <a:pt x="204875" y="247702"/>
                  </a:lnTo>
                  <a:lnTo>
                    <a:pt x="196444" y="269098"/>
                  </a:lnTo>
                  <a:lnTo>
                    <a:pt x="182954" y="285557"/>
                  </a:lnTo>
                  <a:lnTo>
                    <a:pt x="161033" y="275681"/>
                  </a:lnTo>
                  <a:lnTo>
                    <a:pt x="162719" y="274035"/>
                  </a:lnTo>
                  <a:lnTo>
                    <a:pt x="159347" y="267452"/>
                  </a:lnTo>
                  <a:lnTo>
                    <a:pt x="154288" y="270744"/>
                  </a:lnTo>
                  <a:lnTo>
                    <a:pt x="144171" y="249347"/>
                  </a:lnTo>
                  <a:lnTo>
                    <a:pt x="98643" y="269098"/>
                  </a:lnTo>
                  <a:lnTo>
                    <a:pt x="66605" y="203263"/>
                  </a:lnTo>
                  <a:lnTo>
                    <a:pt x="22763" y="224660"/>
                  </a:lnTo>
                  <a:lnTo>
                    <a:pt x="4214" y="185159"/>
                  </a:lnTo>
                  <a:lnTo>
                    <a:pt x="17704" y="158825"/>
                  </a:lnTo>
                  <a:lnTo>
                    <a:pt x="34566" y="137429"/>
                  </a:lnTo>
                  <a:lnTo>
                    <a:pt x="34566" y="117678"/>
                  </a:lnTo>
                  <a:lnTo>
                    <a:pt x="26135" y="111095"/>
                  </a:lnTo>
                  <a:lnTo>
                    <a:pt x="29507" y="109449"/>
                  </a:lnTo>
                  <a:lnTo>
                    <a:pt x="27821" y="104511"/>
                  </a:lnTo>
                  <a:lnTo>
                    <a:pt x="31194" y="109449"/>
                  </a:lnTo>
                  <a:lnTo>
                    <a:pt x="63232" y="81469"/>
                  </a:lnTo>
                  <a:lnTo>
                    <a:pt x="64918" y="88053"/>
                  </a:lnTo>
                  <a:lnTo>
                    <a:pt x="64918" y="79824"/>
                  </a:lnTo>
                  <a:lnTo>
                    <a:pt x="76722" y="84761"/>
                  </a:lnTo>
                  <a:lnTo>
                    <a:pt x="78408" y="79824"/>
                  </a:lnTo>
                  <a:lnTo>
                    <a:pt x="66605" y="74886"/>
                  </a:lnTo>
                  <a:lnTo>
                    <a:pt x="78408" y="79824"/>
                  </a:lnTo>
                  <a:lnTo>
                    <a:pt x="80094" y="74886"/>
                  </a:lnTo>
                  <a:lnTo>
                    <a:pt x="78408" y="69949"/>
                  </a:lnTo>
                  <a:lnTo>
                    <a:pt x="83467" y="68303"/>
                  </a:lnTo>
                  <a:lnTo>
                    <a:pt x="103701" y="50198"/>
                  </a:lnTo>
                  <a:lnTo>
                    <a:pt x="128995" y="48552"/>
                  </a:lnTo>
                  <a:lnTo>
                    <a:pt x="174523" y="17281"/>
                  </a:lnTo>
                  <a:lnTo>
                    <a:pt x="193071" y="13989"/>
                  </a:lnTo>
                  <a:lnTo>
                    <a:pt x="196444" y="22218"/>
                  </a:lnTo>
                  <a:lnTo>
                    <a:pt x="199816" y="15635"/>
                  </a:lnTo>
                  <a:lnTo>
                    <a:pt x="213306" y="9052"/>
                  </a:lnTo>
                  <a:lnTo>
                    <a:pt x="226796" y="4114"/>
                  </a:lnTo>
                  <a:lnTo>
                    <a:pt x="226796" y="1234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1" name="Den Haag">
              <a:extLst>
                <a:ext uri="{FF2B5EF4-FFF2-40B4-BE49-F238E27FC236}">
                  <a16:creationId xmlns:a16="http://schemas.microsoft.com/office/drawing/2014/main" id="{F8236EE2-99D4-426B-BBF4-0A9DA6690CA3}"/>
                </a:ext>
              </a:extLst>
            </p:cNvPr>
            <p:cNvSpPr/>
            <p:nvPr/>
          </p:nvSpPr>
          <p:spPr>
            <a:xfrm>
              <a:off x="4990335" y="3475958"/>
              <a:ext cx="236034" cy="181893"/>
            </a:xfrm>
            <a:custGeom>
              <a:avLst/>
              <a:gdLst/>
              <a:ahLst/>
              <a:cxnLst/>
              <a:rect l="l" t="t" r="r" b="b"/>
              <a:pathLst>
                <a:path w="351245" h="274320" extrusionOk="0">
                  <a:moveTo>
                    <a:pt x="171150" y="4114"/>
                  </a:moveTo>
                  <a:lnTo>
                    <a:pt x="214992" y="58427"/>
                  </a:lnTo>
                  <a:lnTo>
                    <a:pt x="211620" y="61719"/>
                  </a:lnTo>
                  <a:lnTo>
                    <a:pt x="213306" y="65011"/>
                  </a:lnTo>
                  <a:lnTo>
                    <a:pt x="199816" y="73240"/>
                  </a:lnTo>
                  <a:lnTo>
                    <a:pt x="206561" y="83116"/>
                  </a:lnTo>
                  <a:lnTo>
                    <a:pt x="221737" y="74886"/>
                  </a:lnTo>
                  <a:lnTo>
                    <a:pt x="223423" y="78178"/>
                  </a:lnTo>
                  <a:lnTo>
                    <a:pt x="226796" y="76532"/>
                  </a:lnTo>
                  <a:lnTo>
                    <a:pt x="228482" y="78178"/>
                  </a:lnTo>
                  <a:lnTo>
                    <a:pt x="253775" y="58427"/>
                  </a:lnTo>
                  <a:lnTo>
                    <a:pt x="275696" y="84761"/>
                  </a:lnTo>
                  <a:lnTo>
                    <a:pt x="274010" y="88053"/>
                  </a:lnTo>
                  <a:lnTo>
                    <a:pt x="275696" y="91345"/>
                  </a:lnTo>
                  <a:lnTo>
                    <a:pt x="216678" y="132492"/>
                  </a:lnTo>
                  <a:lnTo>
                    <a:pt x="248717" y="148950"/>
                  </a:lnTo>
                  <a:lnTo>
                    <a:pt x="226796" y="165409"/>
                  </a:lnTo>
                  <a:lnTo>
                    <a:pt x="236913" y="176930"/>
                  </a:lnTo>
                  <a:lnTo>
                    <a:pt x="243658" y="170346"/>
                  </a:lnTo>
                  <a:lnTo>
                    <a:pt x="250403" y="178576"/>
                  </a:lnTo>
                  <a:lnTo>
                    <a:pt x="253775" y="175284"/>
                  </a:lnTo>
                  <a:lnTo>
                    <a:pt x="255462" y="171992"/>
                  </a:lnTo>
                  <a:lnTo>
                    <a:pt x="248717" y="165409"/>
                  </a:lnTo>
                  <a:lnTo>
                    <a:pt x="285814" y="134137"/>
                  </a:lnTo>
                  <a:lnTo>
                    <a:pt x="292559" y="130845"/>
                  </a:lnTo>
                  <a:lnTo>
                    <a:pt x="299304" y="137429"/>
                  </a:lnTo>
                  <a:lnTo>
                    <a:pt x="307735" y="130845"/>
                  </a:lnTo>
                  <a:lnTo>
                    <a:pt x="311107" y="134137"/>
                  </a:lnTo>
                  <a:lnTo>
                    <a:pt x="322911" y="125908"/>
                  </a:lnTo>
                  <a:lnTo>
                    <a:pt x="346518" y="162117"/>
                  </a:lnTo>
                  <a:lnTo>
                    <a:pt x="349890" y="176930"/>
                  </a:lnTo>
                  <a:lnTo>
                    <a:pt x="338087" y="176930"/>
                  </a:lnTo>
                  <a:lnTo>
                    <a:pt x="348204" y="190097"/>
                  </a:lnTo>
                  <a:lnTo>
                    <a:pt x="317852" y="185159"/>
                  </a:lnTo>
                  <a:lnTo>
                    <a:pt x="312793" y="190097"/>
                  </a:lnTo>
                  <a:lnTo>
                    <a:pt x="307735" y="183513"/>
                  </a:lnTo>
                  <a:lnTo>
                    <a:pt x="299304" y="193389"/>
                  </a:lnTo>
                  <a:lnTo>
                    <a:pt x="297617" y="190097"/>
                  </a:lnTo>
                  <a:lnTo>
                    <a:pt x="274010" y="214785"/>
                  </a:lnTo>
                  <a:lnTo>
                    <a:pt x="284128" y="227952"/>
                  </a:lnTo>
                  <a:lnTo>
                    <a:pt x="295931" y="221368"/>
                  </a:lnTo>
                  <a:lnTo>
                    <a:pt x="306048" y="234535"/>
                  </a:lnTo>
                  <a:lnTo>
                    <a:pt x="284128" y="249348"/>
                  </a:lnTo>
                  <a:lnTo>
                    <a:pt x="274010" y="234535"/>
                  </a:lnTo>
                  <a:lnTo>
                    <a:pt x="253775" y="249348"/>
                  </a:lnTo>
                  <a:lnTo>
                    <a:pt x="250403" y="249348"/>
                  </a:lnTo>
                  <a:lnTo>
                    <a:pt x="243658" y="239473"/>
                  </a:lnTo>
                  <a:lnTo>
                    <a:pt x="238599" y="218076"/>
                  </a:lnTo>
                  <a:lnTo>
                    <a:pt x="233541" y="209847"/>
                  </a:lnTo>
                  <a:lnTo>
                    <a:pt x="233541" y="204910"/>
                  </a:lnTo>
                  <a:lnTo>
                    <a:pt x="243658" y="195034"/>
                  </a:lnTo>
                  <a:lnTo>
                    <a:pt x="230168" y="183513"/>
                  </a:lnTo>
                  <a:lnTo>
                    <a:pt x="235227" y="176930"/>
                  </a:lnTo>
                  <a:lnTo>
                    <a:pt x="225110" y="163763"/>
                  </a:lnTo>
                  <a:lnTo>
                    <a:pt x="206561" y="176930"/>
                  </a:lnTo>
                  <a:lnTo>
                    <a:pt x="194758" y="181867"/>
                  </a:lnTo>
                  <a:lnTo>
                    <a:pt x="196444" y="185159"/>
                  </a:lnTo>
                  <a:lnTo>
                    <a:pt x="193071" y="186805"/>
                  </a:lnTo>
                  <a:lnTo>
                    <a:pt x="159347" y="201618"/>
                  </a:lnTo>
                  <a:lnTo>
                    <a:pt x="159347" y="206555"/>
                  </a:lnTo>
                  <a:lnTo>
                    <a:pt x="149229" y="211493"/>
                  </a:lnTo>
                  <a:lnTo>
                    <a:pt x="159347" y="241118"/>
                  </a:lnTo>
                  <a:lnTo>
                    <a:pt x="172837" y="269098"/>
                  </a:lnTo>
                  <a:lnTo>
                    <a:pt x="166092" y="272390"/>
                  </a:lnTo>
                  <a:lnTo>
                    <a:pt x="162719" y="269098"/>
                  </a:lnTo>
                  <a:lnTo>
                    <a:pt x="154288" y="275682"/>
                  </a:lnTo>
                  <a:lnTo>
                    <a:pt x="145857" y="269098"/>
                  </a:lnTo>
                  <a:lnTo>
                    <a:pt x="152602" y="265807"/>
                  </a:lnTo>
                  <a:lnTo>
                    <a:pt x="140798" y="255931"/>
                  </a:lnTo>
                  <a:lnTo>
                    <a:pt x="144171" y="254285"/>
                  </a:lnTo>
                  <a:lnTo>
                    <a:pt x="139112" y="250994"/>
                  </a:lnTo>
                  <a:lnTo>
                    <a:pt x="139112" y="246056"/>
                  </a:lnTo>
                  <a:lnTo>
                    <a:pt x="137426" y="247702"/>
                  </a:lnTo>
                  <a:lnTo>
                    <a:pt x="134053" y="246056"/>
                  </a:lnTo>
                  <a:lnTo>
                    <a:pt x="128995" y="232889"/>
                  </a:lnTo>
                  <a:lnTo>
                    <a:pt x="125622" y="236181"/>
                  </a:lnTo>
                  <a:lnTo>
                    <a:pt x="120564" y="224660"/>
                  </a:lnTo>
                  <a:lnTo>
                    <a:pt x="83467" y="250994"/>
                  </a:lnTo>
                  <a:lnTo>
                    <a:pt x="63232" y="216431"/>
                  </a:lnTo>
                  <a:lnTo>
                    <a:pt x="53115" y="227952"/>
                  </a:lnTo>
                  <a:lnTo>
                    <a:pt x="39625" y="229597"/>
                  </a:lnTo>
                  <a:lnTo>
                    <a:pt x="27821" y="236181"/>
                  </a:lnTo>
                  <a:lnTo>
                    <a:pt x="24449" y="229597"/>
                  </a:lnTo>
                  <a:lnTo>
                    <a:pt x="27821" y="227952"/>
                  </a:lnTo>
                  <a:lnTo>
                    <a:pt x="9273" y="190097"/>
                  </a:lnTo>
                  <a:lnTo>
                    <a:pt x="7587" y="178576"/>
                  </a:lnTo>
                  <a:lnTo>
                    <a:pt x="4214" y="175284"/>
                  </a:lnTo>
                  <a:lnTo>
                    <a:pt x="7587" y="176930"/>
                  </a:lnTo>
                  <a:lnTo>
                    <a:pt x="12645" y="171992"/>
                  </a:lnTo>
                  <a:lnTo>
                    <a:pt x="10959" y="168700"/>
                  </a:lnTo>
                  <a:lnTo>
                    <a:pt x="12645" y="171992"/>
                  </a:lnTo>
                  <a:lnTo>
                    <a:pt x="16018" y="170346"/>
                  </a:lnTo>
                  <a:lnTo>
                    <a:pt x="17704" y="167055"/>
                  </a:lnTo>
                  <a:lnTo>
                    <a:pt x="16018" y="165409"/>
                  </a:lnTo>
                  <a:lnTo>
                    <a:pt x="17704" y="167055"/>
                  </a:lnTo>
                  <a:lnTo>
                    <a:pt x="26135" y="157179"/>
                  </a:lnTo>
                  <a:lnTo>
                    <a:pt x="24449" y="155534"/>
                  </a:lnTo>
                  <a:lnTo>
                    <a:pt x="26135" y="157179"/>
                  </a:lnTo>
                  <a:lnTo>
                    <a:pt x="31194" y="152242"/>
                  </a:lnTo>
                  <a:lnTo>
                    <a:pt x="29508" y="150596"/>
                  </a:lnTo>
                  <a:lnTo>
                    <a:pt x="31194" y="152242"/>
                  </a:lnTo>
                  <a:lnTo>
                    <a:pt x="34566" y="147304"/>
                  </a:lnTo>
                  <a:lnTo>
                    <a:pt x="32880" y="145658"/>
                  </a:lnTo>
                  <a:lnTo>
                    <a:pt x="36252" y="147304"/>
                  </a:lnTo>
                  <a:lnTo>
                    <a:pt x="39625" y="142367"/>
                  </a:lnTo>
                  <a:lnTo>
                    <a:pt x="37939" y="140721"/>
                  </a:lnTo>
                  <a:lnTo>
                    <a:pt x="39625" y="142367"/>
                  </a:lnTo>
                  <a:lnTo>
                    <a:pt x="44684" y="137429"/>
                  </a:lnTo>
                  <a:lnTo>
                    <a:pt x="42997" y="135783"/>
                  </a:lnTo>
                  <a:lnTo>
                    <a:pt x="44684" y="137429"/>
                  </a:lnTo>
                  <a:lnTo>
                    <a:pt x="48056" y="134137"/>
                  </a:lnTo>
                  <a:lnTo>
                    <a:pt x="44684" y="132492"/>
                  </a:lnTo>
                  <a:lnTo>
                    <a:pt x="48056" y="134137"/>
                  </a:lnTo>
                  <a:lnTo>
                    <a:pt x="51428" y="130845"/>
                  </a:lnTo>
                  <a:lnTo>
                    <a:pt x="48056" y="129200"/>
                  </a:lnTo>
                  <a:lnTo>
                    <a:pt x="51428" y="130845"/>
                  </a:lnTo>
                  <a:lnTo>
                    <a:pt x="53115" y="127554"/>
                  </a:lnTo>
                  <a:lnTo>
                    <a:pt x="51428" y="125908"/>
                  </a:lnTo>
                  <a:lnTo>
                    <a:pt x="53115" y="127554"/>
                  </a:lnTo>
                  <a:lnTo>
                    <a:pt x="59860" y="120971"/>
                  </a:lnTo>
                  <a:lnTo>
                    <a:pt x="56487" y="119324"/>
                  </a:lnTo>
                  <a:lnTo>
                    <a:pt x="59860" y="120971"/>
                  </a:lnTo>
                  <a:lnTo>
                    <a:pt x="80094" y="97928"/>
                  </a:lnTo>
                  <a:lnTo>
                    <a:pt x="98643" y="71595"/>
                  </a:lnTo>
                  <a:lnTo>
                    <a:pt x="91898" y="60074"/>
                  </a:lnTo>
                  <a:lnTo>
                    <a:pt x="95270" y="68303"/>
                  </a:lnTo>
                  <a:lnTo>
                    <a:pt x="100329" y="73240"/>
                  </a:lnTo>
                  <a:lnTo>
                    <a:pt x="103701" y="73240"/>
                  </a:lnTo>
                  <a:lnTo>
                    <a:pt x="102015" y="76532"/>
                  </a:lnTo>
                  <a:lnTo>
                    <a:pt x="110446" y="78178"/>
                  </a:lnTo>
                  <a:lnTo>
                    <a:pt x="110446" y="73240"/>
                  </a:lnTo>
                  <a:lnTo>
                    <a:pt x="113819" y="76532"/>
                  </a:lnTo>
                  <a:lnTo>
                    <a:pt x="108760" y="83116"/>
                  </a:lnTo>
                  <a:lnTo>
                    <a:pt x="110446" y="84761"/>
                  </a:lnTo>
                  <a:lnTo>
                    <a:pt x="122250" y="71595"/>
                  </a:lnTo>
                  <a:lnTo>
                    <a:pt x="120564" y="69949"/>
                  </a:lnTo>
                  <a:lnTo>
                    <a:pt x="113819" y="76532"/>
                  </a:lnTo>
                  <a:lnTo>
                    <a:pt x="112133" y="73240"/>
                  </a:lnTo>
                  <a:lnTo>
                    <a:pt x="117191" y="68303"/>
                  </a:lnTo>
                  <a:lnTo>
                    <a:pt x="115505" y="65011"/>
                  </a:lnTo>
                  <a:lnTo>
                    <a:pt x="108760" y="73240"/>
                  </a:lnTo>
                  <a:lnTo>
                    <a:pt x="105388" y="71595"/>
                  </a:lnTo>
                  <a:lnTo>
                    <a:pt x="105388" y="68303"/>
                  </a:lnTo>
                  <a:lnTo>
                    <a:pt x="100329" y="66657"/>
                  </a:lnTo>
                  <a:lnTo>
                    <a:pt x="100329" y="61719"/>
                  </a:lnTo>
                  <a:lnTo>
                    <a:pt x="96956" y="60074"/>
                  </a:lnTo>
                  <a:lnTo>
                    <a:pt x="100329" y="61719"/>
                  </a:lnTo>
                  <a:lnTo>
                    <a:pt x="102015" y="66657"/>
                  </a:lnTo>
                  <a:lnTo>
                    <a:pt x="108760" y="63365"/>
                  </a:lnTo>
                  <a:lnTo>
                    <a:pt x="127309" y="45261"/>
                  </a:lnTo>
                  <a:lnTo>
                    <a:pt x="128995" y="41969"/>
                  </a:lnTo>
                  <a:lnTo>
                    <a:pt x="125622" y="40323"/>
                  </a:lnTo>
                  <a:lnTo>
                    <a:pt x="128995" y="41969"/>
                  </a:lnTo>
                  <a:lnTo>
                    <a:pt x="139112" y="32094"/>
                  </a:lnTo>
                  <a:lnTo>
                    <a:pt x="132367" y="28802"/>
                  </a:lnTo>
                  <a:lnTo>
                    <a:pt x="135740" y="27156"/>
                  </a:lnTo>
                  <a:lnTo>
                    <a:pt x="139112" y="32094"/>
                  </a:lnTo>
                  <a:lnTo>
                    <a:pt x="144171" y="27156"/>
                  </a:lnTo>
                  <a:lnTo>
                    <a:pt x="142485" y="23865"/>
                  </a:lnTo>
                  <a:lnTo>
                    <a:pt x="144171" y="27156"/>
                  </a:lnTo>
                  <a:lnTo>
                    <a:pt x="147543" y="25510"/>
                  </a:lnTo>
                  <a:lnTo>
                    <a:pt x="171150"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2" name="Staphorst">
              <a:extLst>
                <a:ext uri="{FF2B5EF4-FFF2-40B4-BE49-F238E27FC236}">
                  <a16:creationId xmlns:a16="http://schemas.microsoft.com/office/drawing/2014/main" id="{19CC40AA-3929-4AFA-BC14-F5D8808746AB}"/>
                </a:ext>
              </a:extLst>
            </p:cNvPr>
            <p:cNvSpPr/>
            <p:nvPr/>
          </p:nvSpPr>
          <p:spPr>
            <a:xfrm>
              <a:off x="6971559" y="2536681"/>
              <a:ext cx="218889" cy="183798"/>
            </a:xfrm>
            <a:custGeom>
              <a:avLst/>
              <a:gdLst/>
              <a:ahLst/>
              <a:cxnLst/>
              <a:rect l="l" t="t" r="r" b="b"/>
              <a:pathLst>
                <a:path w="351245" h="274320" extrusionOk="0">
                  <a:moveTo>
                    <a:pt x="103701" y="5760"/>
                  </a:moveTo>
                  <a:lnTo>
                    <a:pt x="113819" y="17281"/>
                  </a:lnTo>
                  <a:lnTo>
                    <a:pt x="103701" y="32094"/>
                  </a:lnTo>
                  <a:lnTo>
                    <a:pt x="134053" y="43615"/>
                  </a:lnTo>
                  <a:lnTo>
                    <a:pt x="132367" y="40323"/>
                  </a:lnTo>
                  <a:lnTo>
                    <a:pt x="135740" y="38677"/>
                  </a:lnTo>
                  <a:lnTo>
                    <a:pt x="130681" y="28802"/>
                  </a:lnTo>
                  <a:lnTo>
                    <a:pt x="137426" y="25510"/>
                  </a:lnTo>
                  <a:lnTo>
                    <a:pt x="140798" y="33740"/>
                  </a:lnTo>
                  <a:lnTo>
                    <a:pt x="145857" y="33740"/>
                  </a:lnTo>
                  <a:lnTo>
                    <a:pt x="147543" y="40323"/>
                  </a:lnTo>
                  <a:lnTo>
                    <a:pt x="150916" y="40323"/>
                  </a:lnTo>
                  <a:lnTo>
                    <a:pt x="152602" y="33740"/>
                  </a:lnTo>
                  <a:lnTo>
                    <a:pt x="162719" y="20573"/>
                  </a:lnTo>
                  <a:lnTo>
                    <a:pt x="177895" y="20573"/>
                  </a:lnTo>
                  <a:lnTo>
                    <a:pt x="181268" y="15635"/>
                  </a:lnTo>
                  <a:lnTo>
                    <a:pt x="189699" y="17281"/>
                  </a:lnTo>
                  <a:lnTo>
                    <a:pt x="188013" y="20573"/>
                  </a:lnTo>
                  <a:lnTo>
                    <a:pt x="191385" y="25510"/>
                  </a:lnTo>
                  <a:lnTo>
                    <a:pt x="199816" y="28802"/>
                  </a:lnTo>
                  <a:lnTo>
                    <a:pt x="208247" y="28802"/>
                  </a:lnTo>
                  <a:lnTo>
                    <a:pt x="209934" y="30448"/>
                  </a:lnTo>
                  <a:lnTo>
                    <a:pt x="208247" y="33740"/>
                  </a:lnTo>
                  <a:lnTo>
                    <a:pt x="214992" y="37031"/>
                  </a:lnTo>
                  <a:lnTo>
                    <a:pt x="225110" y="33740"/>
                  </a:lnTo>
                  <a:lnTo>
                    <a:pt x="231855" y="41969"/>
                  </a:lnTo>
                  <a:lnTo>
                    <a:pt x="233541" y="46906"/>
                  </a:lnTo>
                  <a:lnTo>
                    <a:pt x="230168" y="48552"/>
                  </a:lnTo>
                  <a:lnTo>
                    <a:pt x="233541" y="51844"/>
                  </a:lnTo>
                  <a:lnTo>
                    <a:pt x="236913" y="51844"/>
                  </a:lnTo>
                  <a:lnTo>
                    <a:pt x="238599" y="55136"/>
                  </a:lnTo>
                  <a:lnTo>
                    <a:pt x="250403" y="53490"/>
                  </a:lnTo>
                  <a:lnTo>
                    <a:pt x="258834" y="56782"/>
                  </a:lnTo>
                  <a:lnTo>
                    <a:pt x="258834" y="63365"/>
                  </a:lnTo>
                  <a:lnTo>
                    <a:pt x="265579" y="68303"/>
                  </a:lnTo>
                  <a:lnTo>
                    <a:pt x="270638" y="68303"/>
                  </a:lnTo>
                  <a:lnTo>
                    <a:pt x="275696" y="58428"/>
                  </a:lnTo>
                  <a:lnTo>
                    <a:pt x="279069" y="56782"/>
                  </a:lnTo>
                  <a:lnTo>
                    <a:pt x="289186" y="61719"/>
                  </a:lnTo>
                  <a:lnTo>
                    <a:pt x="287500" y="66657"/>
                  </a:lnTo>
                  <a:lnTo>
                    <a:pt x="290872" y="69949"/>
                  </a:lnTo>
                  <a:lnTo>
                    <a:pt x="302676" y="73240"/>
                  </a:lnTo>
                  <a:lnTo>
                    <a:pt x="306048" y="63365"/>
                  </a:lnTo>
                  <a:lnTo>
                    <a:pt x="309421" y="65011"/>
                  </a:lnTo>
                  <a:lnTo>
                    <a:pt x="314480" y="60073"/>
                  </a:lnTo>
                  <a:lnTo>
                    <a:pt x="319538" y="63365"/>
                  </a:lnTo>
                  <a:lnTo>
                    <a:pt x="324597" y="61719"/>
                  </a:lnTo>
                  <a:lnTo>
                    <a:pt x="339773" y="53490"/>
                  </a:lnTo>
                  <a:lnTo>
                    <a:pt x="351576" y="56782"/>
                  </a:lnTo>
                  <a:lnTo>
                    <a:pt x="354949" y="65011"/>
                  </a:lnTo>
                  <a:lnTo>
                    <a:pt x="349890" y="71595"/>
                  </a:lnTo>
                  <a:lnTo>
                    <a:pt x="351576" y="76532"/>
                  </a:lnTo>
                  <a:lnTo>
                    <a:pt x="349890" y="78178"/>
                  </a:lnTo>
                  <a:lnTo>
                    <a:pt x="351576" y="81470"/>
                  </a:lnTo>
                  <a:lnTo>
                    <a:pt x="317852" y="229597"/>
                  </a:lnTo>
                  <a:lnTo>
                    <a:pt x="292559" y="236181"/>
                  </a:lnTo>
                  <a:lnTo>
                    <a:pt x="292559" y="232889"/>
                  </a:lnTo>
                  <a:lnTo>
                    <a:pt x="287500" y="234535"/>
                  </a:lnTo>
                  <a:lnTo>
                    <a:pt x="287500" y="236181"/>
                  </a:lnTo>
                  <a:lnTo>
                    <a:pt x="274010" y="239473"/>
                  </a:lnTo>
                  <a:lnTo>
                    <a:pt x="274010" y="236181"/>
                  </a:lnTo>
                  <a:lnTo>
                    <a:pt x="268951" y="236181"/>
                  </a:lnTo>
                  <a:lnTo>
                    <a:pt x="250403" y="239473"/>
                  </a:lnTo>
                  <a:lnTo>
                    <a:pt x="250403" y="244410"/>
                  </a:lnTo>
                  <a:lnTo>
                    <a:pt x="233541" y="247702"/>
                  </a:lnTo>
                  <a:lnTo>
                    <a:pt x="154288" y="264160"/>
                  </a:lnTo>
                  <a:lnTo>
                    <a:pt x="130681" y="254285"/>
                  </a:lnTo>
                  <a:lnTo>
                    <a:pt x="83467" y="262515"/>
                  </a:lnTo>
                  <a:lnTo>
                    <a:pt x="81780" y="264160"/>
                  </a:lnTo>
                  <a:lnTo>
                    <a:pt x="58173" y="272390"/>
                  </a:lnTo>
                  <a:lnTo>
                    <a:pt x="48056" y="249348"/>
                  </a:lnTo>
                  <a:lnTo>
                    <a:pt x="49742" y="244410"/>
                  </a:lnTo>
                  <a:lnTo>
                    <a:pt x="48056" y="241118"/>
                  </a:lnTo>
                  <a:lnTo>
                    <a:pt x="41311" y="232889"/>
                  </a:lnTo>
                  <a:lnTo>
                    <a:pt x="19390" y="218076"/>
                  </a:lnTo>
                  <a:lnTo>
                    <a:pt x="16018" y="213139"/>
                  </a:lnTo>
                  <a:lnTo>
                    <a:pt x="21076" y="209847"/>
                  </a:lnTo>
                  <a:lnTo>
                    <a:pt x="16018" y="196680"/>
                  </a:lnTo>
                  <a:lnTo>
                    <a:pt x="21076" y="191742"/>
                  </a:lnTo>
                  <a:lnTo>
                    <a:pt x="22763" y="181867"/>
                  </a:lnTo>
                  <a:lnTo>
                    <a:pt x="19390" y="180221"/>
                  </a:lnTo>
                  <a:lnTo>
                    <a:pt x="21076" y="175284"/>
                  </a:lnTo>
                  <a:lnTo>
                    <a:pt x="17704" y="175284"/>
                  </a:lnTo>
                  <a:lnTo>
                    <a:pt x="16018" y="165409"/>
                  </a:lnTo>
                  <a:lnTo>
                    <a:pt x="7587" y="165409"/>
                  </a:lnTo>
                  <a:lnTo>
                    <a:pt x="4214" y="152242"/>
                  </a:lnTo>
                  <a:lnTo>
                    <a:pt x="5900" y="140721"/>
                  </a:lnTo>
                  <a:lnTo>
                    <a:pt x="12645" y="129200"/>
                  </a:lnTo>
                  <a:lnTo>
                    <a:pt x="16018" y="114387"/>
                  </a:lnTo>
                  <a:lnTo>
                    <a:pt x="16018" y="89699"/>
                  </a:lnTo>
                  <a:lnTo>
                    <a:pt x="19390" y="89699"/>
                  </a:lnTo>
                  <a:lnTo>
                    <a:pt x="39625" y="69949"/>
                  </a:lnTo>
                  <a:lnTo>
                    <a:pt x="39625" y="61719"/>
                  </a:lnTo>
                  <a:lnTo>
                    <a:pt x="42997" y="61719"/>
                  </a:lnTo>
                  <a:lnTo>
                    <a:pt x="51428" y="51844"/>
                  </a:lnTo>
                  <a:lnTo>
                    <a:pt x="56487" y="53490"/>
                  </a:lnTo>
                  <a:lnTo>
                    <a:pt x="63232" y="46906"/>
                  </a:lnTo>
                  <a:lnTo>
                    <a:pt x="63232" y="40323"/>
                  </a:lnTo>
                  <a:lnTo>
                    <a:pt x="78408" y="32094"/>
                  </a:lnTo>
                  <a:lnTo>
                    <a:pt x="86839" y="22218"/>
                  </a:lnTo>
                  <a:lnTo>
                    <a:pt x="91898" y="7406"/>
                  </a:lnTo>
                  <a:lnTo>
                    <a:pt x="98643" y="4114"/>
                  </a:lnTo>
                  <a:lnTo>
                    <a:pt x="103701" y="576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3" name="Brunssum">
              <a:extLst>
                <a:ext uri="{FF2B5EF4-FFF2-40B4-BE49-F238E27FC236}">
                  <a16:creationId xmlns:a16="http://schemas.microsoft.com/office/drawing/2014/main" id="{A6EA8EA2-C9DD-411E-BF09-374F655ECA7D}"/>
                </a:ext>
              </a:extLst>
            </p:cNvPr>
            <p:cNvSpPr/>
            <p:nvPr/>
          </p:nvSpPr>
          <p:spPr>
            <a:xfrm>
              <a:off x="6809294" y="5377270"/>
              <a:ext cx="107368" cy="56676"/>
            </a:xfrm>
            <a:custGeom>
              <a:avLst/>
              <a:gdLst/>
              <a:ahLst/>
              <a:cxnLst/>
              <a:rect l="l" t="t" r="r" b="b"/>
              <a:pathLst>
                <a:path w="140498" h="91440" extrusionOk="0">
                  <a:moveTo>
                    <a:pt x="66605" y="9052"/>
                  </a:moveTo>
                  <a:lnTo>
                    <a:pt x="75036" y="12344"/>
                  </a:lnTo>
                  <a:lnTo>
                    <a:pt x="75036" y="15635"/>
                  </a:lnTo>
                  <a:lnTo>
                    <a:pt x="85153" y="9052"/>
                  </a:lnTo>
                  <a:lnTo>
                    <a:pt x="125622" y="15635"/>
                  </a:lnTo>
                  <a:lnTo>
                    <a:pt x="123936" y="18927"/>
                  </a:lnTo>
                  <a:lnTo>
                    <a:pt x="142485" y="28803"/>
                  </a:lnTo>
                  <a:lnTo>
                    <a:pt x="139112" y="40323"/>
                  </a:lnTo>
                  <a:lnTo>
                    <a:pt x="144171" y="71595"/>
                  </a:lnTo>
                  <a:lnTo>
                    <a:pt x="134053" y="91345"/>
                  </a:lnTo>
                  <a:lnTo>
                    <a:pt x="76722" y="86407"/>
                  </a:lnTo>
                  <a:lnTo>
                    <a:pt x="59860" y="74887"/>
                  </a:lnTo>
                  <a:lnTo>
                    <a:pt x="54801" y="73240"/>
                  </a:lnTo>
                  <a:lnTo>
                    <a:pt x="44684" y="74887"/>
                  </a:lnTo>
                  <a:lnTo>
                    <a:pt x="26135" y="91345"/>
                  </a:lnTo>
                  <a:lnTo>
                    <a:pt x="7587" y="74887"/>
                  </a:lnTo>
                  <a:lnTo>
                    <a:pt x="4214" y="68303"/>
                  </a:lnTo>
                  <a:lnTo>
                    <a:pt x="14332" y="63365"/>
                  </a:lnTo>
                  <a:lnTo>
                    <a:pt x="9273" y="55136"/>
                  </a:lnTo>
                  <a:lnTo>
                    <a:pt x="16018" y="43615"/>
                  </a:lnTo>
                  <a:lnTo>
                    <a:pt x="41311" y="28803"/>
                  </a:lnTo>
                  <a:lnTo>
                    <a:pt x="58174" y="13990"/>
                  </a:lnTo>
                  <a:lnTo>
                    <a:pt x="61546" y="5760"/>
                  </a:lnTo>
                  <a:lnTo>
                    <a:pt x="68291" y="4114"/>
                  </a:lnTo>
                  <a:lnTo>
                    <a:pt x="66605" y="905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4" name="Kaag en Braassem">
              <a:extLst>
                <a:ext uri="{FF2B5EF4-FFF2-40B4-BE49-F238E27FC236}">
                  <a16:creationId xmlns:a16="http://schemas.microsoft.com/office/drawing/2014/main" id="{94B704E5-85C6-40E1-9585-F728E385DA54}"/>
                </a:ext>
              </a:extLst>
            </p:cNvPr>
            <p:cNvSpPr/>
            <p:nvPr/>
          </p:nvSpPr>
          <p:spPr>
            <a:xfrm>
              <a:off x="5349577" y="3299699"/>
              <a:ext cx="191903" cy="142303"/>
            </a:xfrm>
            <a:custGeom>
              <a:avLst/>
              <a:gdLst/>
              <a:ahLst/>
              <a:cxnLst/>
              <a:rect l="l" t="t" r="r" b="b"/>
              <a:pathLst>
                <a:path w="292704" h="194310" extrusionOk="0">
                  <a:moveTo>
                    <a:pt x="282441" y="7405"/>
                  </a:moveTo>
                  <a:lnTo>
                    <a:pt x="287500" y="9052"/>
                  </a:lnTo>
                  <a:lnTo>
                    <a:pt x="285814" y="37031"/>
                  </a:lnTo>
                  <a:lnTo>
                    <a:pt x="287500" y="53490"/>
                  </a:lnTo>
                  <a:lnTo>
                    <a:pt x="295931" y="61719"/>
                  </a:lnTo>
                  <a:lnTo>
                    <a:pt x="285814" y="58427"/>
                  </a:lnTo>
                  <a:lnTo>
                    <a:pt x="282441" y="83115"/>
                  </a:lnTo>
                  <a:lnTo>
                    <a:pt x="262207" y="73240"/>
                  </a:lnTo>
                  <a:lnTo>
                    <a:pt x="243658" y="111095"/>
                  </a:lnTo>
                  <a:lnTo>
                    <a:pt x="233541" y="104512"/>
                  </a:lnTo>
                  <a:lnTo>
                    <a:pt x="218365" y="175284"/>
                  </a:lnTo>
                  <a:lnTo>
                    <a:pt x="161033" y="176929"/>
                  </a:lnTo>
                  <a:lnTo>
                    <a:pt x="54801" y="198326"/>
                  </a:lnTo>
                  <a:lnTo>
                    <a:pt x="39625" y="178575"/>
                  </a:lnTo>
                  <a:lnTo>
                    <a:pt x="39625" y="176929"/>
                  </a:lnTo>
                  <a:lnTo>
                    <a:pt x="37939" y="170346"/>
                  </a:lnTo>
                  <a:lnTo>
                    <a:pt x="39625" y="165409"/>
                  </a:lnTo>
                  <a:lnTo>
                    <a:pt x="37939" y="163763"/>
                  </a:lnTo>
                  <a:lnTo>
                    <a:pt x="26135" y="171992"/>
                  </a:lnTo>
                  <a:lnTo>
                    <a:pt x="21076" y="168700"/>
                  </a:lnTo>
                  <a:lnTo>
                    <a:pt x="9273" y="148950"/>
                  </a:lnTo>
                  <a:lnTo>
                    <a:pt x="4214" y="129199"/>
                  </a:lnTo>
                  <a:lnTo>
                    <a:pt x="12645" y="112741"/>
                  </a:lnTo>
                  <a:lnTo>
                    <a:pt x="17704" y="84761"/>
                  </a:lnTo>
                  <a:lnTo>
                    <a:pt x="32880" y="88053"/>
                  </a:lnTo>
                  <a:lnTo>
                    <a:pt x="29507" y="84761"/>
                  </a:lnTo>
                  <a:lnTo>
                    <a:pt x="36252" y="81470"/>
                  </a:lnTo>
                  <a:lnTo>
                    <a:pt x="39625" y="74886"/>
                  </a:lnTo>
                  <a:lnTo>
                    <a:pt x="34566" y="69949"/>
                  </a:lnTo>
                  <a:lnTo>
                    <a:pt x="36252" y="58427"/>
                  </a:lnTo>
                  <a:lnTo>
                    <a:pt x="29507" y="53490"/>
                  </a:lnTo>
                  <a:lnTo>
                    <a:pt x="34566" y="46906"/>
                  </a:lnTo>
                  <a:lnTo>
                    <a:pt x="36252" y="37031"/>
                  </a:lnTo>
                  <a:lnTo>
                    <a:pt x="54801" y="41969"/>
                  </a:lnTo>
                  <a:lnTo>
                    <a:pt x="73349" y="38677"/>
                  </a:lnTo>
                  <a:lnTo>
                    <a:pt x="102015" y="48552"/>
                  </a:lnTo>
                  <a:lnTo>
                    <a:pt x="128995" y="48552"/>
                  </a:lnTo>
                  <a:lnTo>
                    <a:pt x="149229" y="45260"/>
                  </a:lnTo>
                  <a:lnTo>
                    <a:pt x="186326" y="22218"/>
                  </a:lnTo>
                  <a:lnTo>
                    <a:pt x="198130" y="18926"/>
                  </a:lnTo>
                  <a:lnTo>
                    <a:pt x="206561" y="10697"/>
                  </a:lnTo>
                  <a:lnTo>
                    <a:pt x="214992" y="22218"/>
                  </a:lnTo>
                  <a:lnTo>
                    <a:pt x="230168" y="20573"/>
                  </a:lnTo>
                  <a:lnTo>
                    <a:pt x="245344" y="7405"/>
                  </a:lnTo>
                  <a:lnTo>
                    <a:pt x="257148" y="4114"/>
                  </a:lnTo>
                  <a:lnTo>
                    <a:pt x="282441" y="740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5" name="Oss">
              <a:extLst>
                <a:ext uri="{FF2B5EF4-FFF2-40B4-BE49-F238E27FC236}">
                  <a16:creationId xmlns:a16="http://schemas.microsoft.com/office/drawing/2014/main" id="{0D602CBC-B883-42F6-B179-BD110BFED0C4}"/>
                </a:ext>
              </a:extLst>
            </p:cNvPr>
            <p:cNvSpPr/>
            <p:nvPr/>
          </p:nvSpPr>
          <p:spPr>
            <a:xfrm>
              <a:off x="6189465" y="3946226"/>
              <a:ext cx="390996" cy="180106"/>
            </a:xfrm>
            <a:custGeom>
              <a:avLst/>
              <a:gdLst/>
              <a:ahLst/>
              <a:cxnLst/>
              <a:rect l="l" t="t" r="r" b="b"/>
              <a:pathLst>
                <a:path w="550283" h="251460" extrusionOk="0">
                  <a:moveTo>
                    <a:pt x="285813" y="38677"/>
                  </a:moveTo>
                  <a:lnTo>
                    <a:pt x="299303" y="33739"/>
                  </a:lnTo>
                  <a:lnTo>
                    <a:pt x="307734" y="17281"/>
                  </a:lnTo>
                  <a:lnTo>
                    <a:pt x="314479" y="12343"/>
                  </a:lnTo>
                  <a:lnTo>
                    <a:pt x="341459" y="10697"/>
                  </a:lnTo>
                  <a:lnTo>
                    <a:pt x="361694" y="5760"/>
                  </a:lnTo>
                  <a:lnTo>
                    <a:pt x="385301" y="12343"/>
                  </a:lnTo>
                  <a:lnTo>
                    <a:pt x="410594" y="30448"/>
                  </a:lnTo>
                  <a:lnTo>
                    <a:pt x="434201" y="30448"/>
                  </a:lnTo>
                  <a:lnTo>
                    <a:pt x="442632" y="32094"/>
                  </a:lnTo>
                  <a:lnTo>
                    <a:pt x="451064" y="40323"/>
                  </a:lnTo>
                  <a:lnTo>
                    <a:pt x="461181" y="69949"/>
                  </a:lnTo>
                  <a:lnTo>
                    <a:pt x="474671" y="86407"/>
                  </a:lnTo>
                  <a:lnTo>
                    <a:pt x="484788" y="94636"/>
                  </a:lnTo>
                  <a:lnTo>
                    <a:pt x="506709" y="96282"/>
                  </a:lnTo>
                  <a:lnTo>
                    <a:pt x="520199" y="102866"/>
                  </a:lnTo>
                  <a:lnTo>
                    <a:pt x="528630" y="111095"/>
                  </a:lnTo>
                  <a:lnTo>
                    <a:pt x="538747" y="130845"/>
                  </a:lnTo>
                  <a:lnTo>
                    <a:pt x="552237" y="137429"/>
                  </a:lnTo>
                  <a:lnTo>
                    <a:pt x="537061" y="152242"/>
                  </a:lnTo>
                  <a:lnTo>
                    <a:pt x="528630" y="170346"/>
                  </a:lnTo>
                  <a:lnTo>
                    <a:pt x="523571" y="175284"/>
                  </a:lnTo>
                  <a:lnTo>
                    <a:pt x="513454" y="175284"/>
                  </a:lnTo>
                  <a:lnTo>
                    <a:pt x="505023" y="170346"/>
                  </a:lnTo>
                  <a:lnTo>
                    <a:pt x="496591" y="153887"/>
                  </a:lnTo>
                  <a:lnTo>
                    <a:pt x="489847" y="167054"/>
                  </a:lnTo>
                  <a:lnTo>
                    <a:pt x="484788" y="193388"/>
                  </a:lnTo>
                  <a:lnTo>
                    <a:pt x="474671" y="185159"/>
                  </a:lnTo>
                  <a:lnTo>
                    <a:pt x="456122" y="163763"/>
                  </a:lnTo>
                  <a:lnTo>
                    <a:pt x="451064" y="167054"/>
                  </a:lnTo>
                  <a:lnTo>
                    <a:pt x="434201" y="171992"/>
                  </a:lnTo>
                  <a:lnTo>
                    <a:pt x="437574" y="178575"/>
                  </a:lnTo>
                  <a:lnTo>
                    <a:pt x="435887" y="178575"/>
                  </a:lnTo>
                  <a:lnTo>
                    <a:pt x="407222" y="186805"/>
                  </a:lnTo>
                  <a:lnTo>
                    <a:pt x="405535" y="183513"/>
                  </a:lnTo>
                  <a:lnTo>
                    <a:pt x="378556" y="196680"/>
                  </a:lnTo>
                  <a:lnTo>
                    <a:pt x="376870" y="204909"/>
                  </a:lnTo>
                  <a:lnTo>
                    <a:pt x="346518" y="211493"/>
                  </a:lnTo>
                  <a:lnTo>
                    <a:pt x="348204" y="232889"/>
                  </a:lnTo>
                  <a:lnTo>
                    <a:pt x="351576" y="239472"/>
                  </a:lnTo>
                  <a:lnTo>
                    <a:pt x="354949" y="239472"/>
                  </a:lnTo>
                  <a:lnTo>
                    <a:pt x="353262" y="242764"/>
                  </a:lnTo>
                  <a:lnTo>
                    <a:pt x="338086" y="244410"/>
                  </a:lnTo>
                  <a:lnTo>
                    <a:pt x="321224" y="241118"/>
                  </a:lnTo>
                  <a:lnTo>
                    <a:pt x="290872" y="224660"/>
                  </a:lnTo>
                  <a:lnTo>
                    <a:pt x="280755" y="221368"/>
                  </a:lnTo>
                  <a:lnTo>
                    <a:pt x="272324" y="221368"/>
                  </a:lnTo>
                  <a:lnTo>
                    <a:pt x="241972" y="229597"/>
                  </a:lnTo>
                  <a:lnTo>
                    <a:pt x="240286" y="227951"/>
                  </a:lnTo>
                  <a:lnTo>
                    <a:pt x="172836" y="257577"/>
                  </a:lnTo>
                  <a:lnTo>
                    <a:pt x="167778" y="246056"/>
                  </a:lnTo>
                  <a:lnTo>
                    <a:pt x="164405" y="247702"/>
                  </a:lnTo>
                  <a:lnTo>
                    <a:pt x="154288" y="237826"/>
                  </a:lnTo>
                  <a:lnTo>
                    <a:pt x="157661" y="234535"/>
                  </a:lnTo>
                  <a:lnTo>
                    <a:pt x="142484" y="196680"/>
                  </a:lnTo>
                  <a:lnTo>
                    <a:pt x="142484" y="191742"/>
                  </a:lnTo>
                  <a:lnTo>
                    <a:pt x="134053" y="162117"/>
                  </a:lnTo>
                  <a:lnTo>
                    <a:pt x="61546" y="175284"/>
                  </a:lnTo>
                  <a:lnTo>
                    <a:pt x="34566" y="191742"/>
                  </a:lnTo>
                  <a:lnTo>
                    <a:pt x="17704" y="195034"/>
                  </a:lnTo>
                  <a:lnTo>
                    <a:pt x="7586" y="195034"/>
                  </a:lnTo>
                  <a:lnTo>
                    <a:pt x="4214" y="185159"/>
                  </a:lnTo>
                  <a:lnTo>
                    <a:pt x="14331" y="171992"/>
                  </a:lnTo>
                  <a:lnTo>
                    <a:pt x="16018" y="139075"/>
                  </a:lnTo>
                  <a:lnTo>
                    <a:pt x="22763" y="112741"/>
                  </a:lnTo>
                  <a:lnTo>
                    <a:pt x="49742" y="66657"/>
                  </a:lnTo>
                  <a:lnTo>
                    <a:pt x="66604" y="46906"/>
                  </a:lnTo>
                  <a:lnTo>
                    <a:pt x="80094" y="25510"/>
                  </a:lnTo>
                  <a:lnTo>
                    <a:pt x="86839" y="23864"/>
                  </a:lnTo>
                  <a:lnTo>
                    <a:pt x="95270" y="25510"/>
                  </a:lnTo>
                  <a:lnTo>
                    <a:pt x="110446" y="45260"/>
                  </a:lnTo>
                  <a:lnTo>
                    <a:pt x="123936" y="51844"/>
                  </a:lnTo>
                  <a:lnTo>
                    <a:pt x="144170" y="55136"/>
                  </a:lnTo>
                  <a:lnTo>
                    <a:pt x="164405" y="53490"/>
                  </a:lnTo>
                  <a:lnTo>
                    <a:pt x="177895" y="50198"/>
                  </a:lnTo>
                  <a:lnTo>
                    <a:pt x="186326" y="45260"/>
                  </a:lnTo>
                  <a:lnTo>
                    <a:pt x="193071" y="37031"/>
                  </a:lnTo>
                  <a:lnTo>
                    <a:pt x="196443" y="18926"/>
                  </a:lnTo>
                  <a:lnTo>
                    <a:pt x="201502" y="10697"/>
                  </a:lnTo>
                  <a:lnTo>
                    <a:pt x="211620" y="5760"/>
                  </a:lnTo>
                  <a:lnTo>
                    <a:pt x="220051" y="4114"/>
                  </a:lnTo>
                  <a:lnTo>
                    <a:pt x="235227" y="10697"/>
                  </a:lnTo>
                  <a:lnTo>
                    <a:pt x="253775" y="30448"/>
                  </a:lnTo>
                  <a:lnTo>
                    <a:pt x="285813" y="38677"/>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6" name="Rhenen">
              <a:extLst>
                <a:ext uri="{FF2B5EF4-FFF2-40B4-BE49-F238E27FC236}">
                  <a16:creationId xmlns:a16="http://schemas.microsoft.com/office/drawing/2014/main" id="{AAC3FDD1-A938-4BA1-B915-4D40C43F7F38}"/>
                </a:ext>
              </a:extLst>
            </p:cNvPr>
            <p:cNvSpPr/>
            <p:nvPr/>
          </p:nvSpPr>
          <p:spPr>
            <a:xfrm>
              <a:off x="6331759" y="3658208"/>
              <a:ext cx="152276" cy="109976"/>
            </a:xfrm>
            <a:custGeom>
              <a:avLst/>
              <a:gdLst/>
              <a:ahLst/>
              <a:cxnLst/>
              <a:rect l="l" t="t" r="r" b="b"/>
              <a:pathLst>
                <a:path w="234163" h="182880" extrusionOk="0">
                  <a:moveTo>
                    <a:pt x="117191" y="50198"/>
                  </a:moveTo>
                  <a:lnTo>
                    <a:pt x="120564" y="51844"/>
                  </a:lnTo>
                  <a:lnTo>
                    <a:pt x="127309" y="40323"/>
                  </a:lnTo>
                  <a:lnTo>
                    <a:pt x="145857" y="56782"/>
                  </a:lnTo>
                  <a:lnTo>
                    <a:pt x="174523" y="27156"/>
                  </a:lnTo>
                  <a:lnTo>
                    <a:pt x="179582" y="45261"/>
                  </a:lnTo>
                  <a:lnTo>
                    <a:pt x="196443" y="61719"/>
                  </a:lnTo>
                  <a:lnTo>
                    <a:pt x="206561" y="65011"/>
                  </a:lnTo>
                  <a:lnTo>
                    <a:pt x="213306" y="73240"/>
                  </a:lnTo>
                  <a:lnTo>
                    <a:pt x="214992" y="91345"/>
                  </a:lnTo>
                  <a:lnTo>
                    <a:pt x="221737" y="104512"/>
                  </a:lnTo>
                  <a:lnTo>
                    <a:pt x="231854" y="111095"/>
                  </a:lnTo>
                  <a:lnTo>
                    <a:pt x="230168" y="120970"/>
                  </a:lnTo>
                  <a:lnTo>
                    <a:pt x="220051" y="130845"/>
                  </a:lnTo>
                  <a:lnTo>
                    <a:pt x="223423" y="130845"/>
                  </a:lnTo>
                  <a:lnTo>
                    <a:pt x="233541" y="158825"/>
                  </a:lnTo>
                  <a:lnTo>
                    <a:pt x="233541" y="163763"/>
                  </a:lnTo>
                  <a:lnTo>
                    <a:pt x="223423" y="167055"/>
                  </a:lnTo>
                  <a:lnTo>
                    <a:pt x="223423" y="173638"/>
                  </a:lnTo>
                  <a:lnTo>
                    <a:pt x="216678" y="171992"/>
                  </a:lnTo>
                  <a:lnTo>
                    <a:pt x="201502" y="186805"/>
                  </a:lnTo>
                  <a:lnTo>
                    <a:pt x="177895" y="170346"/>
                  </a:lnTo>
                  <a:lnTo>
                    <a:pt x="123936" y="155533"/>
                  </a:lnTo>
                  <a:lnTo>
                    <a:pt x="115505" y="147304"/>
                  </a:lnTo>
                  <a:lnTo>
                    <a:pt x="103701" y="132491"/>
                  </a:lnTo>
                  <a:lnTo>
                    <a:pt x="96956" y="125908"/>
                  </a:lnTo>
                  <a:lnTo>
                    <a:pt x="58173" y="114387"/>
                  </a:lnTo>
                  <a:lnTo>
                    <a:pt x="17704" y="88053"/>
                  </a:lnTo>
                  <a:lnTo>
                    <a:pt x="4214" y="89699"/>
                  </a:lnTo>
                  <a:lnTo>
                    <a:pt x="4214" y="79824"/>
                  </a:lnTo>
                  <a:lnTo>
                    <a:pt x="9273" y="76532"/>
                  </a:lnTo>
                  <a:lnTo>
                    <a:pt x="7586" y="69949"/>
                  </a:lnTo>
                  <a:lnTo>
                    <a:pt x="16018" y="79824"/>
                  </a:lnTo>
                  <a:lnTo>
                    <a:pt x="16018" y="71594"/>
                  </a:lnTo>
                  <a:lnTo>
                    <a:pt x="24449" y="58427"/>
                  </a:lnTo>
                  <a:lnTo>
                    <a:pt x="29507" y="61719"/>
                  </a:lnTo>
                  <a:lnTo>
                    <a:pt x="58173" y="4114"/>
                  </a:lnTo>
                  <a:lnTo>
                    <a:pt x="90211" y="18927"/>
                  </a:lnTo>
                  <a:lnTo>
                    <a:pt x="88525" y="23864"/>
                  </a:lnTo>
                  <a:lnTo>
                    <a:pt x="93584" y="25510"/>
                  </a:lnTo>
                  <a:lnTo>
                    <a:pt x="91898" y="28802"/>
                  </a:lnTo>
                  <a:lnTo>
                    <a:pt x="100329" y="32094"/>
                  </a:lnTo>
                  <a:lnTo>
                    <a:pt x="117191" y="5019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7" name="Heerenveen">
              <a:extLst>
                <a:ext uri="{FF2B5EF4-FFF2-40B4-BE49-F238E27FC236}">
                  <a16:creationId xmlns:a16="http://schemas.microsoft.com/office/drawing/2014/main" id="{572C06B6-6165-42A0-AA09-156B3EBB9800}"/>
                </a:ext>
              </a:extLst>
            </p:cNvPr>
            <p:cNvSpPr/>
            <p:nvPr/>
          </p:nvSpPr>
          <p:spPr>
            <a:xfrm>
              <a:off x="6647291" y="1915084"/>
              <a:ext cx="417287" cy="276373"/>
            </a:xfrm>
            <a:custGeom>
              <a:avLst/>
              <a:gdLst/>
              <a:ahLst/>
              <a:cxnLst/>
              <a:rect l="l" t="t" r="r" b="b"/>
              <a:pathLst>
                <a:path w="608824" h="422910" extrusionOk="0">
                  <a:moveTo>
                    <a:pt x="120564" y="4114"/>
                  </a:moveTo>
                  <a:lnTo>
                    <a:pt x="115505" y="13989"/>
                  </a:lnTo>
                  <a:lnTo>
                    <a:pt x="117191" y="30448"/>
                  </a:lnTo>
                  <a:lnTo>
                    <a:pt x="152602" y="25510"/>
                  </a:lnTo>
                  <a:lnTo>
                    <a:pt x="152602" y="18927"/>
                  </a:lnTo>
                  <a:lnTo>
                    <a:pt x="155974" y="18927"/>
                  </a:lnTo>
                  <a:lnTo>
                    <a:pt x="209934" y="20573"/>
                  </a:lnTo>
                  <a:lnTo>
                    <a:pt x="209934" y="25510"/>
                  </a:lnTo>
                  <a:lnTo>
                    <a:pt x="213306" y="30448"/>
                  </a:lnTo>
                  <a:lnTo>
                    <a:pt x="208247" y="32094"/>
                  </a:lnTo>
                  <a:lnTo>
                    <a:pt x="206561" y="38677"/>
                  </a:lnTo>
                  <a:lnTo>
                    <a:pt x="216678" y="51844"/>
                  </a:lnTo>
                  <a:lnTo>
                    <a:pt x="221737" y="55136"/>
                  </a:lnTo>
                  <a:lnTo>
                    <a:pt x="226796" y="51844"/>
                  </a:lnTo>
                  <a:lnTo>
                    <a:pt x="230168" y="58427"/>
                  </a:lnTo>
                  <a:lnTo>
                    <a:pt x="223423" y="79824"/>
                  </a:lnTo>
                  <a:lnTo>
                    <a:pt x="247030" y="79824"/>
                  </a:lnTo>
                  <a:lnTo>
                    <a:pt x="243658" y="83115"/>
                  </a:lnTo>
                  <a:lnTo>
                    <a:pt x="240286" y="83115"/>
                  </a:lnTo>
                  <a:lnTo>
                    <a:pt x="238599" y="88053"/>
                  </a:lnTo>
                  <a:lnTo>
                    <a:pt x="226796" y="91345"/>
                  </a:lnTo>
                  <a:lnTo>
                    <a:pt x="226796" y="102866"/>
                  </a:lnTo>
                  <a:lnTo>
                    <a:pt x="216678" y="102866"/>
                  </a:lnTo>
                  <a:lnTo>
                    <a:pt x="220051" y="107803"/>
                  </a:lnTo>
                  <a:lnTo>
                    <a:pt x="240286" y="116033"/>
                  </a:lnTo>
                  <a:lnTo>
                    <a:pt x="238599" y="119324"/>
                  </a:lnTo>
                  <a:lnTo>
                    <a:pt x="275696" y="135783"/>
                  </a:lnTo>
                  <a:lnTo>
                    <a:pt x="279069" y="139075"/>
                  </a:lnTo>
                  <a:lnTo>
                    <a:pt x="279069" y="140721"/>
                  </a:lnTo>
                  <a:lnTo>
                    <a:pt x="285814" y="145658"/>
                  </a:lnTo>
                  <a:lnTo>
                    <a:pt x="275696" y="185159"/>
                  </a:lnTo>
                  <a:lnTo>
                    <a:pt x="268951" y="185159"/>
                  </a:lnTo>
                  <a:lnTo>
                    <a:pt x="272324" y="199972"/>
                  </a:lnTo>
                  <a:lnTo>
                    <a:pt x="280755" y="214784"/>
                  </a:lnTo>
                  <a:lnTo>
                    <a:pt x="272324" y="223014"/>
                  </a:lnTo>
                  <a:lnTo>
                    <a:pt x="275696" y="226305"/>
                  </a:lnTo>
                  <a:lnTo>
                    <a:pt x="255462" y="254285"/>
                  </a:lnTo>
                  <a:lnTo>
                    <a:pt x="258834" y="259223"/>
                  </a:lnTo>
                  <a:lnTo>
                    <a:pt x="248716" y="274035"/>
                  </a:lnTo>
                  <a:lnTo>
                    <a:pt x="343145" y="290494"/>
                  </a:lnTo>
                  <a:lnTo>
                    <a:pt x="351576" y="293786"/>
                  </a:lnTo>
                  <a:lnTo>
                    <a:pt x="378556" y="288848"/>
                  </a:lnTo>
                  <a:lnTo>
                    <a:pt x="412280" y="272390"/>
                  </a:lnTo>
                  <a:lnTo>
                    <a:pt x="437574" y="247702"/>
                  </a:lnTo>
                  <a:lnTo>
                    <a:pt x="451064" y="244410"/>
                  </a:lnTo>
                  <a:lnTo>
                    <a:pt x="456122" y="239472"/>
                  </a:lnTo>
                  <a:lnTo>
                    <a:pt x="454436" y="236181"/>
                  </a:lnTo>
                  <a:lnTo>
                    <a:pt x="457808" y="232889"/>
                  </a:lnTo>
                  <a:lnTo>
                    <a:pt x="459495" y="232889"/>
                  </a:lnTo>
                  <a:lnTo>
                    <a:pt x="454436" y="224660"/>
                  </a:lnTo>
                  <a:lnTo>
                    <a:pt x="471298" y="208201"/>
                  </a:lnTo>
                  <a:lnTo>
                    <a:pt x="505023" y="185159"/>
                  </a:lnTo>
                  <a:lnTo>
                    <a:pt x="503337" y="181867"/>
                  </a:lnTo>
                  <a:lnTo>
                    <a:pt x="506709" y="178576"/>
                  </a:lnTo>
                  <a:lnTo>
                    <a:pt x="574158" y="155533"/>
                  </a:lnTo>
                  <a:lnTo>
                    <a:pt x="594393" y="139075"/>
                  </a:lnTo>
                  <a:lnTo>
                    <a:pt x="607883" y="122616"/>
                  </a:lnTo>
                  <a:lnTo>
                    <a:pt x="609569" y="117679"/>
                  </a:lnTo>
                  <a:lnTo>
                    <a:pt x="616314" y="114387"/>
                  </a:lnTo>
                  <a:lnTo>
                    <a:pt x="612941" y="229597"/>
                  </a:lnTo>
                  <a:lnTo>
                    <a:pt x="611255" y="232889"/>
                  </a:lnTo>
                  <a:lnTo>
                    <a:pt x="545492" y="265806"/>
                  </a:lnTo>
                  <a:lnTo>
                    <a:pt x="526944" y="282265"/>
                  </a:lnTo>
                  <a:lnTo>
                    <a:pt x="501650" y="320120"/>
                  </a:lnTo>
                  <a:lnTo>
                    <a:pt x="484788" y="325057"/>
                  </a:lnTo>
                  <a:lnTo>
                    <a:pt x="451064" y="346453"/>
                  </a:lnTo>
                  <a:lnTo>
                    <a:pt x="429143" y="372787"/>
                  </a:lnTo>
                  <a:lnTo>
                    <a:pt x="376870" y="405705"/>
                  </a:lnTo>
                  <a:lnTo>
                    <a:pt x="368439" y="405705"/>
                  </a:lnTo>
                  <a:lnTo>
                    <a:pt x="314480" y="367850"/>
                  </a:lnTo>
                  <a:lnTo>
                    <a:pt x="282441" y="384308"/>
                  </a:lnTo>
                  <a:lnTo>
                    <a:pt x="263893" y="382663"/>
                  </a:lnTo>
                  <a:lnTo>
                    <a:pt x="248716" y="385954"/>
                  </a:lnTo>
                  <a:lnTo>
                    <a:pt x="241972" y="390892"/>
                  </a:lnTo>
                  <a:lnTo>
                    <a:pt x="220051" y="422163"/>
                  </a:lnTo>
                  <a:lnTo>
                    <a:pt x="213306" y="413934"/>
                  </a:lnTo>
                  <a:lnTo>
                    <a:pt x="181268" y="353037"/>
                  </a:lnTo>
                  <a:lnTo>
                    <a:pt x="182954" y="348099"/>
                  </a:lnTo>
                  <a:lnTo>
                    <a:pt x="169464" y="320120"/>
                  </a:lnTo>
                  <a:lnTo>
                    <a:pt x="171150" y="316828"/>
                  </a:lnTo>
                  <a:lnTo>
                    <a:pt x="166092" y="313536"/>
                  </a:lnTo>
                  <a:lnTo>
                    <a:pt x="157661" y="298723"/>
                  </a:lnTo>
                  <a:lnTo>
                    <a:pt x="149230" y="302015"/>
                  </a:lnTo>
                  <a:lnTo>
                    <a:pt x="144171" y="293786"/>
                  </a:lnTo>
                  <a:lnTo>
                    <a:pt x="140798" y="292140"/>
                  </a:lnTo>
                  <a:lnTo>
                    <a:pt x="144171" y="290494"/>
                  </a:lnTo>
                  <a:lnTo>
                    <a:pt x="142484" y="288848"/>
                  </a:lnTo>
                  <a:lnTo>
                    <a:pt x="118877" y="295432"/>
                  </a:lnTo>
                  <a:lnTo>
                    <a:pt x="112132" y="262515"/>
                  </a:lnTo>
                  <a:lnTo>
                    <a:pt x="142484" y="252639"/>
                  </a:lnTo>
                  <a:lnTo>
                    <a:pt x="139112" y="246056"/>
                  </a:lnTo>
                  <a:lnTo>
                    <a:pt x="110446" y="209847"/>
                  </a:lnTo>
                  <a:lnTo>
                    <a:pt x="98643" y="168700"/>
                  </a:lnTo>
                  <a:lnTo>
                    <a:pt x="85153" y="152242"/>
                  </a:lnTo>
                  <a:lnTo>
                    <a:pt x="48056" y="117679"/>
                  </a:lnTo>
                  <a:lnTo>
                    <a:pt x="12645" y="96282"/>
                  </a:lnTo>
                  <a:lnTo>
                    <a:pt x="5900" y="83115"/>
                  </a:lnTo>
                  <a:lnTo>
                    <a:pt x="4214" y="78178"/>
                  </a:lnTo>
                  <a:lnTo>
                    <a:pt x="9273" y="74886"/>
                  </a:lnTo>
                  <a:lnTo>
                    <a:pt x="5900" y="68303"/>
                  </a:lnTo>
                  <a:lnTo>
                    <a:pt x="41311" y="25510"/>
                  </a:lnTo>
                  <a:lnTo>
                    <a:pt x="56487" y="18927"/>
                  </a:lnTo>
                  <a:lnTo>
                    <a:pt x="58173" y="22218"/>
                  </a:lnTo>
                  <a:lnTo>
                    <a:pt x="75036" y="15635"/>
                  </a:lnTo>
                  <a:lnTo>
                    <a:pt x="78408" y="18927"/>
                  </a:lnTo>
                  <a:lnTo>
                    <a:pt x="91898" y="10697"/>
                  </a:lnTo>
                  <a:lnTo>
                    <a:pt x="100329" y="12343"/>
                  </a:lnTo>
                  <a:lnTo>
                    <a:pt x="120564"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8" name="Sittard-Geleen">
              <a:extLst>
                <a:ext uri="{FF2B5EF4-FFF2-40B4-BE49-F238E27FC236}">
                  <a16:creationId xmlns:a16="http://schemas.microsoft.com/office/drawing/2014/main" id="{45C23349-6907-4C0D-8938-119A8FC4F504}"/>
                </a:ext>
              </a:extLst>
            </p:cNvPr>
            <p:cNvSpPr/>
            <p:nvPr/>
          </p:nvSpPr>
          <p:spPr>
            <a:xfrm>
              <a:off x="6627717" y="5210263"/>
              <a:ext cx="169073" cy="183619"/>
            </a:xfrm>
            <a:custGeom>
              <a:avLst/>
              <a:gdLst/>
              <a:ahLst/>
              <a:cxnLst/>
              <a:rect l="l" t="t" r="r" b="b"/>
              <a:pathLst>
                <a:path w="234163" h="308610" extrusionOk="0">
                  <a:moveTo>
                    <a:pt x="105388" y="15635"/>
                  </a:moveTo>
                  <a:lnTo>
                    <a:pt x="108760" y="32094"/>
                  </a:lnTo>
                  <a:lnTo>
                    <a:pt x="110446" y="65011"/>
                  </a:lnTo>
                  <a:lnTo>
                    <a:pt x="123936" y="61720"/>
                  </a:lnTo>
                  <a:lnTo>
                    <a:pt x="132367" y="68302"/>
                  </a:lnTo>
                  <a:lnTo>
                    <a:pt x="144171" y="66657"/>
                  </a:lnTo>
                  <a:lnTo>
                    <a:pt x="150916" y="86407"/>
                  </a:lnTo>
                  <a:lnTo>
                    <a:pt x="145857" y="91345"/>
                  </a:lnTo>
                  <a:lnTo>
                    <a:pt x="150916" y="107804"/>
                  </a:lnTo>
                  <a:lnTo>
                    <a:pt x="157661" y="111095"/>
                  </a:lnTo>
                  <a:lnTo>
                    <a:pt x="166092" y="107804"/>
                  </a:lnTo>
                  <a:lnTo>
                    <a:pt x="169464" y="109449"/>
                  </a:lnTo>
                  <a:lnTo>
                    <a:pt x="188013" y="101220"/>
                  </a:lnTo>
                  <a:lnTo>
                    <a:pt x="184640" y="107804"/>
                  </a:lnTo>
                  <a:lnTo>
                    <a:pt x="191385" y="135783"/>
                  </a:lnTo>
                  <a:lnTo>
                    <a:pt x="199816" y="145659"/>
                  </a:lnTo>
                  <a:lnTo>
                    <a:pt x="206561" y="145659"/>
                  </a:lnTo>
                  <a:lnTo>
                    <a:pt x="218365" y="152242"/>
                  </a:lnTo>
                  <a:lnTo>
                    <a:pt x="218365" y="167054"/>
                  </a:lnTo>
                  <a:lnTo>
                    <a:pt x="233541" y="173638"/>
                  </a:lnTo>
                  <a:lnTo>
                    <a:pt x="231855" y="209847"/>
                  </a:lnTo>
                  <a:lnTo>
                    <a:pt x="213306" y="226306"/>
                  </a:lnTo>
                  <a:lnTo>
                    <a:pt x="221737" y="239473"/>
                  </a:lnTo>
                  <a:lnTo>
                    <a:pt x="211620" y="241118"/>
                  </a:lnTo>
                  <a:lnTo>
                    <a:pt x="211620" y="246056"/>
                  </a:lnTo>
                  <a:lnTo>
                    <a:pt x="193071" y="265806"/>
                  </a:lnTo>
                  <a:lnTo>
                    <a:pt x="189699" y="264160"/>
                  </a:lnTo>
                  <a:lnTo>
                    <a:pt x="184640" y="269098"/>
                  </a:lnTo>
                  <a:lnTo>
                    <a:pt x="177895" y="259223"/>
                  </a:lnTo>
                  <a:lnTo>
                    <a:pt x="172837" y="265806"/>
                  </a:lnTo>
                  <a:lnTo>
                    <a:pt x="161033" y="259223"/>
                  </a:lnTo>
                  <a:lnTo>
                    <a:pt x="157661" y="264160"/>
                  </a:lnTo>
                  <a:lnTo>
                    <a:pt x="150916" y="255931"/>
                  </a:lnTo>
                  <a:lnTo>
                    <a:pt x="137426" y="267452"/>
                  </a:lnTo>
                  <a:lnTo>
                    <a:pt x="132367" y="282265"/>
                  </a:lnTo>
                  <a:lnTo>
                    <a:pt x="130681" y="308599"/>
                  </a:lnTo>
                  <a:lnTo>
                    <a:pt x="118878" y="305307"/>
                  </a:lnTo>
                  <a:lnTo>
                    <a:pt x="88525" y="287203"/>
                  </a:lnTo>
                  <a:lnTo>
                    <a:pt x="73349" y="306953"/>
                  </a:lnTo>
                  <a:lnTo>
                    <a:pt x="59859" y="295432"/>
                  </a:lnTo>
                  <a:lnTo>
                    <a:pt x="51428" y="305307"/>
                  </a:lnTo>
                  <a:lnTo>
                    <a:pt x="44684" y="254286"/>
                  </a:lnTo>
                  <a:lnTo>
                    <a:pt x="48056" y="250993"/>
                  </a:lnTo>
                  <a:lnTo>
                    <a:pt x="48056" y="242764"/>
                  </a:lnTo>
                  <a:lnTo>
                    <a:pt x="41311" y="214785"/>
                  </a:lnTo>
                  <a:lnTo>
                    <a:pt x="51428" y="176930"/>
                  </a:lnTo>
                  <a:lnTo>
                    <a:pt x="29507" y="170346"/>
                  </a:lnTo>
                  <a:lnTo>
                    <a:pt x="48056" y="132492"/>
                  </a:lnTo>
                  <a:lnTo>
                    <a:pt x="27821" y="134137"/>
                  </a:lnTo>
                  <a:lnTo>
                    <a:pt x="31194" y="125908"/>
                  </a:lnTo>
                  <a:lnTo>
                    <a:pt x="29507" y="117679"/>
                  </a:lnTo>
                  <a:lnTo>
                    <a:pt x="21076" y="109449"/>
                  </a:lnTo>
                  <a:lnTo>
                    <a:pt x="7587" y="107804"/>
                  </a:lnTo>
                  <a:lnTo>
                    <a:pt x="4214" y="102866"/>
                  </a:lnTo>
                  <a:lnTo>
                    <a:pt x="4214" y="94637"/>
                  </a:lnTo>
                  <a:lnTo>
                    <a:pt x="16018" y="76532"/>
                  </a:lnTo>
                  <a:lnTo>
                    <a:pt x="22763" y="61720"/>
                  </a:lnTo>
                  <a:lnTo>
                    <a:pt x="26135" y="43615"/>
                  </a:lnTo>
                  <a:lnTo>
                    <a:pt x="24449" y="35385"/>
                  </a:lnTo>
                  <a:lnTo>
                    <a:pt x="27821" y="27156"/>
                  </a:lnTo>
                  <a:lnTo>
                    <a:pt x="37939" y="28802"/>
                  </a:lnTo>
                  <a:lnTo>
                    <a:pt x="53115" y="37031"/>
                  </a:lnTo>
                  <a:lnTo>
                    <a:pt x="61546" y="37031"/>
                  </a:lnTo>
                  <a:lnTo>
                    <a:pt x="66605" y="33740"/>
                  </a:lnTo>
                  <a:lnTo>
                    <a:pt x="73349" y="40323"/>
                  </a:lnTo>
                  <a:lnTo>
                    <a:pt x="78408" y="40323"/>
                  </a:lnTo>
                  <a:lnTo>
                    <a:pt x="98643" y="4114"/>
                  </a:lnTo>
                  <a:lnTo>
                    <a:pt x="105388" y="4114"/>
                  </a:lnTo>
                  <a:lnTo>
                    <a:pt x="105388" y="1563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49" name="Venray">
              <a:extLst>
                <a:ext uri="{FF2B5EF4-FFF2-40B4-BE49-F238E27FC236}">
                  <a16:creationId xmlns:a16="http://schemas.microsoft.com/office/drawing/2014/main" id="{31C86DFB-B2AB-4506-B30C-A65FA19707F8}"/>
                </a:ext>
              </a:extLst>
            </p:cNvPr>
            <p:cNvSpPr/>
            <p:nvPr/>
          </p:nvSpPr>
          <p:spPr>
            <a:xfrm>
              <a:off x="6704912" y="4385571"/>
              <a:ext cx="325508" cy="205068"/>
            </a:xfrm>
            <a:custGeom>
              <a:avLst/>
              <a:gdLst/>
              <a:ahLst/>
              <a:cxnLst/>
              <a:rect l="l" t="t" r="r" b="b"/>
              <a:pathLst>
                <a:path w="468326" h="297180" extrusionOk="0">
                  <a:moveTo>
                    <a:pt x="280755" y="20573"/>
                  </a:moveTo>
                  <a:lnTo>
                    <a:pt x="302676" y="46906"/>
                  </a:lnTo>
                  <a:lnTo>
                    <a:pt x="306048" y="38677"/>
                  </a:lnTo>
                  <a:lnTo>
                    <a:pt x="304362" y="35385"/>
                  </a:lnTo>
                  <a:lnTo>
                    <a:pt x="311107" y="32094"/>
                  </a:lnTo>
                  <a:lnTo>
                    <a:pt x="317852" y="35385"/>
                  </a:lnTo>
                  <a:lnTo>
                    <a:pt x="321224" y="33739"/>
                  </a:lnTo>
                  <a:lnTo>
                    <a:pt x="319538" y="30448"/>
                  </a:lnTo>
                  <a:lnTo>
                    <a:pt x="322911" y="30448"/>
                  </a:lnTo>
                  <a:lnTo>
                    <a:pt x="324597" y="33739"/>
                  </a:lnTo>
                  <a:lnTo>
                    <a:pt x="327969" y="32094"/>
                  </a:lnTo>
                  <a:lnTo>
                    <a:pt x="339773" y="33739"/>
                  </a:lnTo>
                  <a:lnTo>
                    <a:pt x="349890" y="37031"/>
                  </a:lnTo>
                  <a:lnTo>
                    <a:pt x="375184" y="58427"/>
                  </a:lnTo>
                  <a:lnTo>
                    <a:pt x="412280" y="55136"/>
                  </a:lnTo>
                  <a:lnTo>
                    <a:pt x="425770" y="60073"/>
                  </a:lnTo>
                  <a:lnTo>
                    <a:pt x="439260" y="94636"/>
                  </a:lnTo>
                  <a:lnTo>
                    <a:pt x="471298" y="124262"/>
                  </a:lnTo>
                  <a:lnTo>
                    <a:pt x="457808" y="144012"/>
                  </a:lnTo>
                  <a:lnTo>
                    <a:pt x="449378" y="137429"/>
                  </a:lnTo>
                  <a:lnTo>
                    <a:pt x="442633" y="147304"/>
                  </a:lnTo>
                  <a:lnTo>
                    <a:pt x="419026" y="127554"/>
                  </a:lnTo>
                  <a:lnTo>
                    <a:pt x="420712" y="120970"/>
                  </a:lnTo>
                  <a:lnTo>
                    <a:pt x="415653" y="117678"/>
                  </a:lnTo>
                  <a:lnTo>
                    <a:pt x="402163" y="119324"/>
                  </a:lnTo>
                  <a:lnTo>
                    <a:pt x="388673" y="116033"/>
                  </a:lnTo>
                  <a:lnTo>
                    <a:pt x="376870" y="116033"/>
                  </a:lnTo>
                  <a:lnTo>
                    <a:pt x="371811" y="112741"/>
                  </a:lnTo>
                  <a:lnTo>
                    <a:pt x="356635" y="114387"/>
                  </a:lnTo>
                  <a:lnTo>
                    <a:pt x="353262" y="134137"/>
                  </a:lnTo>
                  <a:lnTo>
                    <a:pt x="356635" y="153888"/>
                  </a:lnTo>
                  <a:lnTo>
                    <a:pt x="368439" y="183513"/>
                  </a:lnTo>
                  <a:lnTo>
                    <a:pt x="360008" y="201617"/>
                  </a:lnTo>
                  <a:lnTo>
                    <a:pt x="349890" y="203264"/>
                  </a:lnTo>
                  <a:lnTo>
                    <a:pt x="344832" y="199972"/>
                  </a:lnTo>
                  <a:lnTo>
                    <a:pt x="334714" y="198326"/>
                  </a:lnTo>
                  <a:lnTo>
                    <a:pt x="331341" y="195034"/>
                  </a:lnTo>
                  <a:lnTo>
                    <a:pt x="316166" y="201617"/>
                  </a:lnTo>
                  <a:lnTo>
                    <a:pt x="309421" y="214784"/>
                  </a:lnTo>
                  <a:lnTo>
                    <a:pt x="300989" y="221368"/>
                  </a:lnTo>
                  <a:lnTo>
                    <a:pt x="245344" y="232889"/>
                  </a:lnTo>
                  <a:lnTo>
                    <a:pt x="182954" y="262514"/>
                  </a:lnTo>
                  <a:lnTo>
                    <a:pt x="61546" y="303661"/>
                  </a:lnTo>
                  <a:lnTo>
                    <a:pt x="56487" y="295432"/>
                  </a:lnTo>
                  <a:lnTo>
                    <a:pt x="39625" y="195034"/>
                  </a:lnTo>
                  <a:lnTo>
                    <a:pt x="26135" y="165409"/>
                  </a:lnTo>
                  <a:lnTo>
                    <a:pt x="4214" y="13989"/>
                  </a:lnTo>
                  <a:lnTo>
                    <a:pt x="85153" y="28802"/>
                  </a:lnTo>
                  <a:lnTo>
                    <a:pt x="108760" y="48552"/>
                  </a:lnTo>
                  <a:lnTo>
                    <a:pt x="154288" y="45260"/>
                  </a:lnTo>
                  <a:lnTo>
                    <a:pt x="216678" y="25510"/>
                  </a:lnTo>
                  <a:lnTo>
                    <a:pt x="258834" y="4114"/>
                  </a:lnTo>
                  <a:lnTo>
                    <a:pt x="280755" y="2057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0" name="Purmerend">
              <a:extLst>
                <a:ext uri="{FF2B5EF4-FFF2-40B4-BE49-F238E27FC236}">
                  <a16:creationId xmlns:a16="http://schemas.microsoft.com/office/drawing/2014/main" id="{C1AD8FFC-E6DF-41BD-B14B-94B2525D7129}"/>
                </a:ext>
              </a:extLst>
            </p:cNvPr>
            <p:cNvSpPr/>
            <p:nvPr/>
          </p:nvSpPr>
          <p:spPr>
            <a:xfrm>
              <a:off x="5761355" y="2820884"/>
              <a:ext cx="106212" cy="94480"/>
            </a:xfrm>
            <a:custGeom>
              <a:avLst/>
              <a:gdLst/>
              <a:ahLst/>
              <a:cxnLst/>
              <a:rect l="l" t="t" r="r" b="b"/>
              <a:pathLst>
                <a:path w="163914" h="148590" extrusionOk="0">
                  <a:moveTo>
                    <a:pt x="98643" y="20573"/>
                  </a:moveTo>
                  <a:lnTo>
                    <a:pt x="112133" y="27156"/>
                  </a:lnTo>
                  <a:lnTo>
                    <a:pt x="120564" y="18927"/>
                  </a:lnTo>
                  <a:lnTo>
                    <a:pt x="125622" y="10697"/>
                  </a:lnTo>
                  <a:lnTo>
                    <a:pt x="137426" y="9052"/>
                  </a:lnTo>
                  <a:lnTo>
                    <a:pt x="161033" y="22219"/>
                  </a:lnTo>
                  <a:lnTo>
                    <a:pt x="83467" y="147304"/>
                  </a:lnTo>
                  <a:lnTo>
                    <a:pt x="59860" y="144013"/>
                  </a:lnTo>
                  <a:lnTo>
                    <a:pt x="53115" y="134137"/>
                  </a:lnTo>
                  <a:lnTo>
                    <a:pt x="53115" y="116033"/>
                  </a:lnTo>
                  <a:lnTo>
                    <a:pt x="44684" y="112741"/>
                  </a:lnTo>
                  <a:lnTo>
                    <a:pt x="46370" y="107803"/>
                  </a:lnTo>
                  <a:lnTo>
                    <a:pt x="37939" y="104512"/>
                  </a:lnTo>
                  <a:lnTo>
                    <a:pt x="34566" y="109449"/>
                  </a:lnTo>
                  <a:lnTo>
                    <a:pt x="17704" y="104512"/>
                  </a:lnTo>
                  <a:lnTo>
                    <a:pt x="17704" y="101220"/>
                  </a:lnTo>
                  <a:lnTo>
                    <a:pt x="4214" y="97928"/>
                  </a:lnTo>
                  <a:lnTo>
                    <a:pt x="7587" y="91345"/>
                  </a:lnTo>
                  <a:lnTo>
                    <a:pt x="12645" y="74886"/>
                  </a:lnTo>
                  <a:lnTo>
                    <a:pt x="10959" y="61719"/>
                  </a:lnTo>
                  <a:lnTo>
                    <a:pt x="24449" y="50198"/>
                  </a:lnTo>
                  <a:lnTo>
                    <a:pt x="24449" y="46906"/>
                  </a:lnTo>
                  <a:lnTo>
                    <a:pt x="42997" y="45261"/>
                  </a:lnTo>
                  <a:lnTo>
                    <a:pt x="54801" y="35386"/>
                  </a:lnTo>
                  <a:lnTo>
                    <a:pt x="58173" y="4114"/>
                  </a:lnTo>
                  <a:lnTo>
                    <a:pt x="98643" y="2057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1" name="Rozendaal">
              <a:extLst>
                <a:ext uri="{FF2B5EF4-FFF2-40B4-BE49-F238E27FC236}">
                  <a16:creationId xmlns:a16="http://schemas.microsoft.com/office/drawing/2014/main" id="{8ADA4279-D7EA-490E-925E-6492F5F871AE}"/>
                </a:ext>
              </a:extLst>
            </p:cNvPr>
            <p:cNvSpPr/>
            <p:nvPr/>
          </p:nvSpPr>
          <p:spPr>
            <a:xfrm>
              <a:off x="6808497" y="3547705"/>
              <a:ext cx="77669" cy="140398"/>
            </a:xfrm>
            <a:custGeom>
              <a:avLst/>
              <a:gdLst/>
              <a:ahLst/>
              <a:cxnLst/>
              <a:rect l="l" t="t" r="r" b="b"/>
              <a:pathLst>
                <a:path w="105373" h="194310" extrusionOk="0">
                  <a:moveTo>
                    <a:pt x="102015" y="61719"/>
                  </a:moveTo>
                  <a:lnTo>
                    <a:pt x="96957" y="65011"/>
                  </a:lnTo>
                  <a:lnTo>
                    <a:pt x="83467" y="63365"/>
                  </a:lnTo>
                  <a:lnTo>
                    <a:pt x="66605" y="65011"/>
                  </a:lnTo>
                  <a:lnTo>
                    <a:pt x="93584" y="132491"/>
                  </a:lnTo>
                  <a:lnTo>
                    <a:pt x="69977" y="152242"/>
                  </a:lnTo>
                  <a:lnTo>
                    <a:pt x="68291" y="173638"/>
                  </a:lnTo>
                  <a:lnTo>
                    <a:pt x="61546" y="188451"/>
                  </a:lnTo>
                  <a:lnTo>
                    <a:pt x="44684" y="195034"/>
                  </a:lnTo>
                  <a:lnTo>
                    <a:pt x="36252" y="193388"/>
                  </a:lnTo>
                  <a:lnTo>
                    <a:pt x="26135" y="196680"/>
                  </a:lnTo>
                  <a:lnTo>
                    <a:pt x="21076" y="180221"/>
                  </a:lnTo>
                  <a:lnTo>
                    <a:pt x="14332" y="171992"/>
                  </a:lnTo>
                  <a:lnTo>
                    <a:pt x="17704" y="170346"/>
                  </a:lnTo>
                  <a:lnTo>
                    <a:pt x="10959" y="168700"/>
                  </a:lnTo>
                  <a:lnTo>
                    <a:pt x="9273" y="150596"/>
                  </a:lnTo>
                  <a:lnTo>
                    <a:pt x="4214" y="79824"/>
                  </a:lnTo>
                  <a:lnTo>
                    <a:pt x="12645" y="45260"/>
                  </a:lnTo>
                  <a:lnTo>
                    <a:pt x="31194" y="18927"/>
                  </a:lnTo>
                  <a:lnTo>
                    <a:pt x="44684" y="12343"/>
                  </a:lnTo>
                  <a:lnTo>
                    <a:pt x="85153" y="4114"/>
                  </a:lnTo>
                  <a:lnTo>
                    <a:pt x="112133" y="17281"/>
                  </a:lnTo>
                  <a:lnTo>
                    <a:pt x="107074" y="53490"/>
                  </a:lnTo>
                  <a:lnTo>
                    <a:pt x="102015" y="6171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2" name="Waterland">
              <a:extLst>
                <a:ext uri="{FF2B5EF4-FFF2-40B4-BE49-F238E27FC236}">
                  <a16:creationId xmlns:a16="http://schemas.microsoft.com/office/drawing/2014/main" id="{BFD88255-C503-443B-9901-0B9C20551118}"/>
                </a:ext>
              </a:extLst>
            </p:cNvPr>
            <p:cNvSpPr/>
            <p:nvPr/>
          </p:nvSpPr>
          <p:spPr>
            <a:xfrm>
              <a:off x="5761169" y="2859264"/>
              <a:ext cx="220825" cy="142303"/>
            </a:xfrm>
            <a:custGeom>
              <a:avLst/>
              <a:gdLst/>
              <a:ahLst/>
              <a:cxnLst/>
              <a:rect l="l" t="t" r="r" b="b"/>
              <a:pathLst>
                <a:path w="292704" h="194310" extrusionOk="0">
                  <a:moveTo>
                    <a:pt x="122250" y="28802"/>
                  </a:moveTo>
                  <a:lnTo>
                    <a:pt x="130681" y="22218"/>
                  </a:lnTo>
                  <a:lnTo>
                    <a:pt x="132367" y="18927"/>
                  </a:lnTo>
                  <a:lnTo>
                    <a:pt x="142484" y="20573"/>
                  </a:lnTo>
                  <a:lnTo>
                    <a:pt x="174523" y="13989"/>
                  </a:lnTo>
                  <a:lnTo>
                    <a:pt x="176209" y="48552"/>
                  </a:lnTo>
                  <a:lnTo>
                    <a:pt x="186326" y="58427"/>
                  </a:lnTo>
                  <a:lnTo>
                    <a:pt x="188013" y="66657"/>
                  </a:lnTo>
                  <a:lnTo>
                    <a:pt x="177895" y="69949"/>
                  </a:lnTo>
                  <a:lnTo>
                    <a:pt x="161033" y="65011"/>
                  </a:lnTo>
                  <a:lnTo>
                    <a:pt x="142484" y="76532"/>
                  </a:lnTo>
                  <a:lnTo>
                    <a:pt x="142484" y="73240"/>
                  </a:lnTo>
                  <a:lnTo>
                    <a:pt x="134053" y="71595"/>
                  </a:lnTo>
                  <a:lnTo>
                    <a:pt x="135740" y="78178"/>
                  </a:lnTo>
                  <a:lnTo>
                    <a:pt x="142484" y="79824"/>
                  </a:lnTo>
                  <a:lnTo>
                    <a:pt x="139112" y="79824"/>
                  </a:lnTo>
                  <a:lnTo>
                    <a:pt x="142484" y="86407"/>
                  </a:lnTo>
                  <a:lnTo>
                    <a:pt x="135740" y="79824"/>
                  </a:lnTo>
                  <a:lnTo>
                    <a:pt x="144171" y="92991"/>
                  </a:lnTo>
                  <a:lnTo>
                    <a:pt x="144171" y="86407"/>
                  </a:lnTo>
                  <a:lnTo>
                    <a:pt x="147543" y="88053"/>
                  </a:lnTo>
                  <a:lnTo>
                    <a:pt x="145857" y="92991"/>
                  </a:lnTo>
                  <a:lnTo>
                    <a:pt x="149230" y="94637"/>
                  </a:lnTo>
                  <a:lnTo>
                    <a:pt x="154288" y="84761"/>
                  </a:lnTo>
                  <a:lnTo>
                    <a:pt x="159347" y="81470"/>
                  </a:lnTo>
                  <a:lnTo>
                    <a:pt x="167778" y="84761"/>
                  </a:lnTo>
                  <a:lnTo>
                    <a:pt x="161033" y="97928"/>
                  </a:lnTo>
                  <a:lnTo>
                    <a:pt x="157661" y="99574"/>
                  </a:lnTo>
                  <a:lnTo>
                    <a:pt x="155974" y="116033"/>
                  </a:lnTo>
                  <a:lnTo>
                    <a:pt x="159347" y="124262"/>
                  </a:lnTo>
                  <a:lnTo>
                    <a:pt x="155974" y="130845"/>
                  </a:lnTo>
                  <a:lnTo>
                    <a:pt x="159347" y="139075"/>
                  </a:lnTo>
                  <a:lnTo>
                    <a:pt x="171150" y="139075"/>
                  </a:lnTo>
                  <a:lnTo>
                    <a:pt x="172836" y="140721"/>
                  </a:lnTo>
                  <a:lnTo>
                    <a:pt x="181268" y="144013"/>
                  </a:lnTo>
                  <a:lnTo>
                    <a:pt x="186326" y="139075"/>
                  </a:lnTo>
                  <a:lnTo>
                    <a:pt x="201502" y="145658"/>
                  </a:lnTo>
                  <a:lnTo>
                    <a:pt x="214992" y="144013"/>
                  </a:lnTo>
                  <a:lnTo>
                    <a:pt x="216678" y="148950"/>
                  </a:lnTo>
                  <a:lnTo>
                    <a:pt x="221737" y="144013"/>
                  </a:lnTo>
                  <a:lnTo>
                    <a:pt x="226796" y="116033"/>
                  </a:lnTo>
                  <a:lnTo>
                    <a:pt x="223423" y="109449"/>
                  </a:lnTo>
                  <a:lnTo>
                    <a:pt x="233541" y="91345"/>
                  </a:lnTo>
                  <a:lnTo>
                    <a:pt x="235227" y="96282"/>
                  </a:lnTo>
                  <a:lnTo>
                    <a:pt x="235227" y="78178"/>
                  </a:lnTo>
                  <a:lnTo>
                    <a:pt x="238599" y="71595"/>
                  </a:lnTo>
                  <a:lnTo>
                    <a:pt x="226796" y="18927"/>
                  </a:lnTo>
                  <a:lnTo>
                    <a:pt x="241972" y="69949"/>
                  </a:lnTo>
                  <a:lnTo>
                    <a:pt x="245344" y="69949"/>
                  </a:lnTo>
                  <a:lnTo>
                    <a:pt x="255462" y="84761"/>
                  </a:lnTo>
                  <a:lnTo>
                    <a:pt x="287500" y="81470"/>
                  </a:lnTo>
                  <a:lnTo>
                    <a:pt x="294245" y="89699"/>
                  </a:lnTo>
                  <a:lnTo>
                    <a:pt x="290872" y="88053"/>
                  </a:lnTo>
                  <a:lnTo>
                    <a:pt x="282441" y="89699"/>
                  </a:lnTo>
                  <a:lnTo>
                    <a:pt x="267265" y="99574"/>
                  </a:lnTo>
                  <a:lnTo>
                    <a:pt x="252089" y="102866"/>
                  </a:lnTo>
                  <a:lnTo>
                    <a:pt x="243658" y="112741"/>
                  </a:lnTo>
                  <a:lnTo>
                    <a:pt x="233541" y="112741"/>
                  </a:lnTo>
                  <a:lnTo>
                    <a:pt x="226796" y="116033"/>
                  </a:lnTo>
                  <a:lnTo>
                    <a:pt x="223423" y="144013"/>
                  </a:lnTo>
                  <a:lnTo>
                    <a:pt x="214992" y="155533"/>
                  </a:lnTo>
                  <a:lnTo>
                    <a:pt x="216678" y="150596"/>
                  </a:lnTo>
                  <a:lnTo>
                    <a:pt x="213306" y="148950"/>
                  </a:lnTo>
                  <a:lnTo>
                    <a:pt x="206561" y="158825"/>
                  </a:lnTo>
                  <a:lnTo>
                    <a:pt x="199816" y="163763"/>
                  </a:lnTo>
                  <a:lnTo>
                    <a:pt x="199816" y="168700"/>
                  </a:lnTo>
                  <a:lnTo>
                    <a:pt x="196444" y="163763"/>
                  </a:lnTo>
                  <a:lnTo>
                    <a:pt x="194757" y="167055"/>
                  </a:lnTo>
                  <a:lnTo>
                    <a:pt x="198130" y="168700"/>
                  </a:lnTo>
                  <a:lnTo>
                    <a:pt x="196444" y="173638"/>
                  </a:lnTo>
                  <a:lnTo>
                    <a:pt x="198130" y="175284"/>
                  </a:lnTo>
                  <a:lnTo>
                    <a:pt x="194757" y="175284"/>
                  </a:lnTo>
                  <a:lnTo>
                    <a:pt x="194757" y="183513"/>
                  </a:lnTo>
                  <a:lnTo>
                    <a:pt x="186326" y="193388"/>
                  </a:lnTo>
                  <a:lnTo>
                    <a:pt x="182954" y="191742"/>
                  </a:lnTo>
                  <a:lnTo>
                    <a:pt x="157661" y="196680"/>
                  </a:lnTo>
                  <a:lnTo>
                    <a:pt x="137426" y="188451"/>
                  </a:lnTo>
                  <a:lnTo>
                    <a:pt x="128995" y="195034"/>
                  </a:lnTo>
                  <a:lnTo>
                    <a:pt x="125622" y="186805"/>
                  </a:lnTo>
                  <a:lnTo>
                    <a:pt x="115505" y="181867"/>
                  </a:lnTo>
                  <a:lnTo>
                    <a:pt x="110446" y="186805"/>
                  </a:lnTo>
                  <a:lnTo>
                    <a:pt x="83467" y="171992"/>
                  </a:lnTo>
                  <a:lnTo>
                    <a:pt x="69977" y="170346"/>
                  </a:lnTo>
                  <a:lnTo>
                    <a:pt x="66605" y="176930"/>
                  </a:lnTo>
                  <a:lnTo>
                    <a:pt x="64918" y="176930"/>
                  </a:lnTo>
                  <a:lnTo>
                    <a:pt x="58173" y="168700"/>
                  </a:lnTo>
                  <a:lnTo>
                    <a:pt x="42997" y="176930"/>
                  </a:lnTo>
                  <a:lnTo>
                    <a:pt x="17704" y="180221"/>
                  </a:lnTo>
                  <a:lnTo>
                    <a:pt x="12645" y="178575"/>
                  </a:lnTo>
                  <a:lnTo>
                    <a:pt x="12645" y="175284"/>
                  </a:lnTo>
                  <a:lnTo>
                    <a:pt x="10959" y="180221"/>
                  </a:lnTo>
                  <a:lnTo>
                    <a:pt x="4214" y="180221"/>
                  </a:lnTo>
                  <a:lnTo>
                    <a:pt x="9273" y="175284"/>
                  </a:lnTo>
                  <a:lnTo>
                    <a:pt x="9273" y="144013"/>
                  </a:lnTo>
                  <a:lnTo>
                    <a:pt x="5900" y="106157"/>
                  </a:lnTo>
                  <a:lnTo>
                    <a:pt x="9273" y="91345"/>
                  </a:lnTo>
                  <a:lnTo>
                    <a:pt x="4214" y="66657"/>
                  </a:lnTo>
                  <a:lnTo>
                    <a:pt x="5900" y="28802"/>
                  </a:lnTo>
                  <a:lnTo>
                    <a:pt x="14332" y="32094"/>
                  </a:lnTo>
                  <a:lnTo>
                    <a:pt x="14332" y="50198"/>
                  </a:lnTo>
                  <a:lnTo>
                    <a:pt x="21076" y="60074"/>
                  </a:lnTo>
                  <a:lnTo>
                    <a:pt x="29507" y="60074"/>
                  </a:lnTo>
                  <a:lnTo>
                    <a:pt x="42997" y="63365"/>
                  </a:lnTo>
                  <a:lnTo>
                    <a:pt x="44684" y="63365"/>
                  </a:lnTo>
                  <a:lnTo>
                    <a:pt x="81780" y="4114"/>
                  </a:lnTo>
                  <a:lnTo>
                    <a:pt x="122250" y="2880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3" name="Hendrik-Ido-Ambacht">
              <a:extLst>
                <a:ext uri="{FF2B5EF4-FFF2-40B4-BE49-F238E27FC236}">
                  <a16:creationId xmlns:a16="http://schemas.microsoft.com/office/drawing/2014/main" id="{7D351586-3FC1-48D3-96E9-99DDC74EC3AA}"/>
                </a:ext>
              </a:extLst>
            </p:cNvPr>
            <p:cNvSpPr/>
            <p:nvPr/>
          </p:nvSpPr>
          <p:spPr>
            <a:xfrm>
              <a:off x="5418231" y="3904579"/>
              <a:ext cx="64709" cy="64178"/>
            </a:xfrm>
            <a:custGeom>
              <a:avLst/>
              <a:gdLst/>
              <a:ahLst/>
              <a:cxnLst/>
              <a:rect l="l" t="t" r="r" b="b"/>
              <a:pathLst>
                <a:path w="117081" h="114300" extrusionOk="0">
                  <a:moveTo>
                    <a:pt x="95270" y="50198"/>
                  </a:moveTo>
                  <a:lnTo>
                    <a:pt x="112133" y="71595"/>
                  </a:lnTo>
                  <a:lnTo>
                    <a:pt x="115505" y="79824"/>
                  </a:lnTo>
                  <a:lnTo>
                    <a:pt x="110446" y="101220"/>
                  </a:lnTo>
                  <a:lnTo>
                    <a:pt x="112133" y="116033"/>
                  </a:lnTo>
                  <a:lnTo>
                    <a:pt x="98643" y="96282"/>
                  </a:lnTo>
                  <a:lnTo>
                    <a:pt x="61546" y="111095"/>
                  </a:lnTo>
                  <a:lnTo>
                    <a:pt x="4214" y="78178"/>
                  </a:lnTo>
                  <a:lnTo>
                    <a:pt x="12645" y="55136"/>
                  </a:lnTo>
                  <a:lnTo>
                    <a:pt x="32880" y="48552"/>
                  </a:lnTo>
                  <a:lnTo>
                    <a:pt x="46370" y="40323"/>
                  </a:lnTo>
                  <a:lnTo>
                    <a:pt x="56487" y="51844"/>
                  </a:lnTo>
                  <a:lnTo>
                    <a:pt x="59860" y="53490"/>
                  </a:lnTo>
                  <a:lnTo>
                    <a:pt x="76722" y="37031"/>
                  </a:lnTo>
                  <a:lnTo>
                    <a:pt x="64918" y="18927"/>
                  </a:lnTo>
                  <a:lnTo>
                    <a:pt x="59860" y="4114"/>
                  </a:lnTo>
                  <a:lnTo>
                    <a:pt x="80094" y="23864"/>
                  </a:lnTo>
                  <a:lnTo>
                    <a:pt x="95270" y="5019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4" name="Tilburg">
              <a:extLst>
                <a:ext uri="{FF2B5EF4-FFF2-40B4-BE49-F238E27FC236}">
                  <a16:creationId xmlns:a16="http://schemas.microsoft.com/office/drawing/2014/main" id="{CE0B6ACC-752E-4362-AF68-6C809A67F865}"/>
                </a:ext>
              </a:extLst>
            </p:cNvPr>
            <p:cNvSpPr/>
            <p:nvPr/>
          </p:nvSpPr>
          <p:spPr>
            <a:xfrm>
              <a:off x="5768347" y="4267990"/>
              <a:ext cx="255458" cy="185703"/>
            </a:xfrm>
            <a:custGeom>
              <a:avLst/>
              <a:gdLst/>
              <a:ahLst/>
              <a:cxnLst/>
              <a:rect l="l" t="t" r="r" b="b"/>
              <a:pathLst>
                <a:path w="362953" h="274320" extrusionOk="0">
                  <a:moveTo>
                    <a:pt x="309421" y="4114"/>
                  </a:moveTo>
                  <a:lnTo>
                    <a:pt x="321224" y="18927"/>
                  </a:lnTo>
                  <a:lnTo>
                    <a:pt x="321224" y="20573"/>
                  </a:lnTo>
                  <a:lnTo>
                    <a:pt x="322911" y="18927"/>
                  </a:lnTo>
                  <a:lnTo>
                    <a:pt x="338087" y="43615"/>
                  </a:lnTo>
                  <a:lnTo>
                    <a:pt x="336400" y="48552"/>
                  </a:lnTo>
                  <a:lnTo>
                    <a:pt x="338087" y="50198"/>
                  </a:lnTo>
                  <a:lnTo>
                    <a:pt x="339773" y="48552"/>
                  </a:lnTo>
                  <a:lnTo>
                    <a:pt x="344832" y="56782"/>
                  </a:lnTo>
                  <a:lnTo>
                    <a:pt x="343145" y="63365"/>
                  </a:lnTo>
                  <a:lnTo>
                    <a:pt x="339773" y="66657"/>
                  </a:lnTo>
                  <a:lnTo>
                    <a:pt x="341459" y="68303"/>
                  </a:lnTo>
                  <a:lnTo>
                    <a:pt x="339773" y="71595"/>
                  </a:lnTo>
                  <a:lnTo>
                    <a:pt x="343145" y="74886"/>
                  </a:lnTo>
                  <a:lnTo>
                    <a:pt x="348204" y="73240"/>
                  </a:lnTo>
                  <a:lnTo>
                    <a:pt x="354949" y="78178"/>
                  </a:lnTo>
                  <a:lnTo>
                    <a:pt x="344832" y="92991"/>
                  </a:lnTo>
                  <a:lnTo>
                    <a:pt x="361694" y="107803"/>
                  </a:lnTo>
                  <a:lnTo>
                    <a:pt x="317852" y="148950"/>
                  </a:lnTo>
                  <a:lnTo>
                    <a:pt x="311107" y="158825"/>
                  </a:lnTo>
                  <a:lnTo>
                    <a:pt x="312793" y="160471"/>
                  </a:lnTo>
                  <a:lnTo>
                    <a:pt x="309421" y="160471"/>
                  </a:lnTo>
                  <a:lnTo>
                    <a:pt x="307734" y="163763"/>
                  </a:lnTo>
                  <a:lnTo>
                    <a:pt x="302676" y="178576"/>
                  </a:lnTo>
                  <a:lnTo>
                    <a:pt x="304362" y="178576"/>
                  </a:lnTo>
                  <a:lnTo>
                    <a:pt x="300989" y="180221"/>
                  </a:lnTo>
                  <a:lnTo>
                    <a:pt x="295931" y="191742"/>
                  </a:lnTo>
                  <a:lnTo>
                    <a:pt x="299303" y="195034"/>
                  </a:lnTo>
                  <a:lnTo>
                    <a:pt x="295931" y="214785"/>
                  </a:lnTo>
                  <a:lnTo>
                    <a:pt x="299303" y="221368"/>
                  </a:lnTo>
                  <a:lnTo>
                    <a:pt x="311107" y="229597"/>
                  </a:lnTo>
                  <a:lnTo>
                    <a:pt x="297617" y="231243"/>
                  </a:lnTo>
                  <a:lnTo>
                    <a:pt x="302676" y="241118"/>
                  </a:lnTo>
                  <a:lnTo>
                    <a:pt x="289186" y="257577"/>
                  </a:lnTo>
                  <a:lnTo>
                    <a:pt x="292559" y="262515"/>
                  </a:lnTo>
                  <a:lnTo>
                    <a:pt x="284128" y="269098"/>
                  </a:lnTo>
                  <a:lnTo>
                    <a:pt x="279069" y="264160"/>
                  </a:lnTo>
                  <a:lnTo>
                    <a:pt x="267265" y="231243"/>
                  </a:lnTo>
                  <a:lnTo>
                    <a:pt x="258834" y="241118"/>
                  </a:lnTo>
                  <a:lnTo>
                    <a:pt x="257148" y="246056"/>
                  </a:lnTo>
                  <a:lnTo>
                    <a:pt x="253775" y="247702"/>
                  </a:lnTo>
                  <a:lnTo>
                    <a:pt x="252089" y="254286"/>
                  </a:lnTo>
                  <a:lnTo>
                    <a:pt x="247030" y="262515"/>
                  </a:lnTo>
                  <a:lnTo>
                    <a:pt x="245344" y="260869"/>
                  </a:lnTo>
                  <a:lnTo>
                    <a:pt x="238599" y="267452"/>
                  </a:lnTo>
                  <a:lnTo>
                    <a:pt x="216678" y="264160"/>
                  </a:lnTo>
                  <a:lnTo>
                    <a:pt x="213306" y="267452"/>
                  </a:lnTo>
                  <a:lnTo>
                    <a:pt x="198130" y="269098"/>
                  </a:lnTo>
                  <a:lnTo>
                    <a:pt x="196444" y="262515"/>
                  </a:lnTo>
                  <a:lnTo>
                    <a:pt x="201503" y="255931"/>
                  </a:lnTo>
                  <a:lnTo>
                    <a:pt x="196444" y="254286"/>
                  </a:lnTo>
                  <a:lnTo>
                    <a:pt x="176209" y="250994"/>
                  </a:lnTo>
                  <a:lnTo>
                    <a:pt x="162719" y="257577"/>
                  </a:lnTo>
                  <a:lnTo>
                    <a:pt x="164405" y="270744"/>
                  </a:lnTo>
                  <a:lnTo>
                    <a:pt x="147543" y="267452"/>
                  </a:lnTo>
                  <a:lnTo>
                    <a:pt x="130681" y="270744"/>
                  </a:lnTo>
                  <a:lnTo>
                    <a:pt x="118877" y="249348"/>
                  </a:lnTo>
                  <a:lnTo>
                    <a:pt x="86839" y="250994"/>
                  </a:lnTo>
                  <a:lnTo>
                    <a:pt x="64918" y="244410"/>
                  </a:lnTo>
                  <a:lnTo>
                    <a:pt x="46370" y="244410"/>
                  </a:lnTo>
                  <a:lnTo>
                    <a:pt x="53115" y="234535"/>
                  </a:lnTo>
                  <a:lnTo>
                    <a:pt x="46370" y="229597"/>
                  </a:lnTo>
                  <a:lnTo>
                    <a:pt x="32880" y="221368"/>
                  </a:lnTo>
                  <a:lnTo>
                    <a:pt x="12645" y="219722"/>
                  </a:lnTo>
                  <a:lnTo>
                    <a:pt x="9273" y="195034"/>
                  </a:lnTo>
                  <a:lnTo>
                    <a:pt x="29507" y="183513"/>
                  </a:lnTo>
                  <a:lnTo>
                    <a:pt x="32880" y="178576"/>
                  </a:lnTo>
                  <a:lnTo>
                    <a:pt x="36252" y="168700"/>
                  </a:lnTo>
                  <a:lnTo>
                    <a:pt x="32880" y="163763"/>
                  </a:lnTo>
                  <a:lnTo>
                    <a:pt x="37939" y="155534"/>
                  </a:lnTo>
                  <a:lnTo>
                    <a:pt x="42997" y="119324"/>
                  </a:lnTo>
                  <a:lnTo>
                    <a:pt x="42997" y="106158"/>
                  </a:lnTo>
                  <a:lnTo>
                    <a:pt x="34566" y="106158"/>
                  </a:lnTo>
                  <a:lnTo>
                    <a:pt x="34566" y="92991"/>
                  </a:lnTo>
                  <a:lnTo>
                    <a:pt x="4214" y="73240"/>
                  </a:lnTo>
                  <a:lnTo>
                    <a:pt x="12645" y="65011"/>
                  </a:lnTo>
                  <a:lnTo>
                    <a:pt x="31194" y="68303"/>
                  </a:lnTo>
                  <a:lnTo>
                    <a:pt x="49742" y="78178"/>
                  </a:lnTo>
                  <a:lnTo>
                    <a:pt x="58173" y="79824"/>
                  </a:lnTo>
                  <a:lnTo>
                    <a:pt x="59859" y="83116"/>
                  </a:lnTo>
                  <a:lnTo>
                    <a:pt x="69977" y="81470"/>
                  </a:lnTo>
                  <a:lnTo>
                    <a:pt x="91898" y="83116"/>
                  </a:lnTo>
                  <a:lnTo>
                    <a:pt x="91898" y="81470"/>
                  </a:lnTo>
                  <a:lnTo>
                    <a:pt x="150916" y="86407"/>
                  </a:lnTo>
                  <a:lnTo>
                    <a:pt x="154288" y="73240"/>
                  </a:lnTo>
                  <a:lnTo>
                    <a:pt x="172837" y="74886"/>
                  </a:lnTo>
                  <a:lnTo>
                    <a:pt x="177895" y="74886"/>
                  </a:lnTo>
                  <a:lnTo>
                    <a:pt x="179582" y="78178"/>
                  </a:lnTo>
                  <a:lnTo>
                    <a:pt x="193071" y="76532"/>
                  </a:lnTo>
                  <a:lnTo>
                    <a:pt x="194757" y="81470"/>
                  </a:lnTo>
                  <a:lnTo>
                    <a:pt x="198130" y="78178"/>
                  </a:lnTo>
                  <a:lnTo>
                    <a:pt x="198130" y="88053"/>
                  </a:lnTo>
                  <a:lnTo>
                    <a:pt x="201503" y="86407"/>
                  </a:lnTo>
                  <a:lnTo>
                    <a:pt x="201503" y="79824"/>
                  </a:lnTo>
                  <a:lnTo>
                    <a:pt x="208247" y="78178"/>
                  </a:lnTo>
                  <a:lnTo>
                    <a:pt x="206561" y="74886"/>
                  </a:lnTo>
                  <a:lnTo>
                    <a:pt x="228482" y="73240"/>
                  </a:lnTo>
                  <a:lnTo>
                    <a:pt x="231855" y="71595"/>
                  </a:lnTo>
                  <a:lnTo>
                    <a:pt x="236913" y="58427"/>
                  </a:lnTo>
                  <a:lnTo>
                    <a:pt x="243658" y="60074"/>
                  </a:lnTo>
                  <a:lnTo>
                    <a:pt x="238599" y="33740"/>
                  </a:lnTo>
                  <a:lnTo>
                    <a:pt x="235227" y="33740"/>
                  </a:lnTo>
                  <a:lnTo>
                    <a:pt x="241972" y="18927"/>
                  </a:lnTo>
                  <a:lnTo>
                    <a:pt x="250403" y="13989"/>
                  </a:lnTo>
                  <a:lnTo>
                    <a:pt x="255462" y="13989"/>
                  </a:lnTo>
                  <a:lnTo>
                    <a:pt x="255462" y="15635"/>
                  </a:lnTo>
                  <a:lnTo>
                    <a:pt x="263893" y="10698"/>
                  </a:lnTo>
                  <a:lnTo>
                    <a:pt x="282441" y="10698"/>
                  </a:lnTo>
                  <a:lnTo>
                    <a:pt x="295931" y="4114"/>
                  </a:lnTo>
                  <a:lnTo>
                    <a:pt x="309421"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5" name="Heeze-Leende">
              <a:extLst>
                <a:ext uri="{FF2B5EF4-FFF2-40B4-BE49-F238E27FC236}">
                  <a16:creationId xmlns:a16="http://schemas.microsoft.com/office/drawing/2014/main" id="{36B71DE5-761C-40C2-A605-CC36AAC0B29F}"/>
                </a:ext>
              </a:extLst>
            </p:cNvPr>
            <p:cNvSpPr/>
            <p:nvPr/>
          </p:nvSpPr>
          <p:spPr>
            <a:xfrm>
              <a:off x="6329457" y="4632487"/>
              <a:ext cx="191876" cy="216006"/>
            </a:xfrm>
            <a:custGeom>
              <a:avLst/>
              <a:gdLst/>
              <a:ahLst/>
              <a:cxnLst/>
              <a:rect l="l" t="t" r="r" b="b"/>
              <a:pathLst>
                <a:path w="280996" h="308610" extrusionOk="0">
                  <a:moveTo>
                    <a:pt x="258834" y="5760"/>
                  </a:moveTo>
                  <a:lnTo>
                    <a:pt x="257148" y="35385"/>
                  </a:lnTo>
                  <a:lnTo>
                    <a:pt x="258834" y="83115"/>
                  </a:lnTo>
                  <a:lnTo>
                    <a:pt x="284128" y="168700"/>
                  </a:lnTo>
                  <a:lnTo>
                    <a:pt x="272324" y="173638"/>
                  </a:lnTo>
                  <a:lnTo>
                    <a:pt x="275696" y="178575"/>
                  </a:lnTo>
                  <a:lnTo>
                    <a:pt x="262207" y="186805"/>
                  </a:lnTo>
                  <a:lnTo>
                    <a:pt x="262207" y="203263"/>
                  </a:lnTo>
                  <a:lnTo>
                    <a:pt x="257148" y="199972"/>
                  </a:lnTo>
                  <a:lnTo>
                    <a:pt x="257148" y="208201"/>
                  </a:lnTo>
                  <a:lnTo>
                    <a:pt x="268951" y="211493"/>
                  </a:lnTo>
                  <a:lnTo>
                    <a:pt x="267265" y="218076"/>
                  </a:lnTo>
                  <a:lnTo>
                    <a:pt x="263893" y="216430"/>
                  </a:lnTo>
                  <a:lnTo>
                    <a:pt x="258834" y="221368"/>
                  </a:lnTo>
                  <a:lnTo>
                    <a:pt x="253776" y="218076"/>
                  </a:lnTo>
                  <a:lnTo>
                    <a:pt x="250403" y="223014"/>
                  </a:lnTo>
                  <a:lnTo>
                    <a:pt x="253776" y="226305"/>
                  </a:lnTo>
                  <a:lnTo>
                    <a:pt x="248717" y="232889"/>
                  </a:lnTo>
                  <a:lnTo>
                    <a:pt x="231855" y="223014"/>
                  </a:lnTo>
                  <a:lnTo>
                    <a:pt x="230168" y="229597"/>
                  </a:lnTo>
                  <a:lnTo>
                    <a:pt x="208247" y="223014"/>
                  </a:lnTo>
                  <a:lnTo>
                    <a:pt x="147543" y="249347"/>
                  </a:lnTo>
                  <a:lnTo>
                    <a:pt x="96957" y="285557"/>
                  </a:lnTo>
                  <a:lnTo>
                    <a:pt x="69977" y="310244"/>
                  </a:lnTo>
                  <a:lnTo>
                    <a:pt x="21076" y="298723"/>
                  </a:lnTo>
                  <a:lnTo>
                    <a:pt x="27821" y="283911"/>
                  </a:lnTo>
                  <a:lnTo>
                    <a:pt x="31194" y="264160"/>
                  </a:lnTo>
                  <a:lnTo>
                    <a:pt x="27821" y="255931"/>
                  </a:lnTo>
                  <a:lnTo>
                    <a:pt x="14332" y="241118"/>
                  </a:lnTo>
                  <a:lnTo>
                    <a:pt x="4214" y="218076"/>
                  </a:lnTo>
                  <a:lnTo>
                    <a:pt x="16018" y="201617"/>
                  </a:lnTo>
                  <a:lnTo>
                    <a:pt x="37939" y="186805"/>
                  </a:lnTo>
                  <a:lnTo>
                    <a:pt x="39625" y="171992"/>
                  </a:lnTo>
                  <a:lnTo>
                    <a:pt x="36252" y="170346"/>
                  </a:lnTo>
                  <a:lnTo>
                    <a:pt x="34566" y="165408"/>
                  </a:lnTo>
                  <a:lnTo>
                    <a:pt x="86839" y="137429"/>
                  </a:lnTo>
                  <a:lnTo>
                    <a:pt x="63232" y="96282"/>
                  </a:lnTo>
                  <a:lnTo>
                    <a:pt x="51428" y="58427"/>
                  </a:lnTo>
                  <a:lnTo>
                    <a:pt x="53115" y="48552"/>
                  </a:lnTo>
                  <a:lnTo>
                    <a:pt x="90212" y="46906"/>
                  </a:lnTo>
                  <a:lnTo>
                    <a:pt x="100329" y="46906"/>
                  </a:lnTo>
                  <a:lnTo>
                    <a:pt x="100329" y="50198"/>
                  </a:lnTo>
                  <a:lnTo>
                    <a:pt x="112132" y="48552"/>
                  </a:lnTo>
                  <a:lnTo>
                    <a:pt x="113819" y="50198"/>
                  </a:lnTo>
                  <a:lnTo>
                    <a:pt x="112132" y="46906"/>
                  </a:lnTo>
                  <a:lnTo>
                    <a:pt x="139112" y="43615"/>
                  </a:lnTo>
                  <a:lnTo>
                    <a:pt x="139112" y="46906"/>
                  </a:lnTo>
                  <a:lnTo>
                    <a:pt x="144171" y="46906"/>
                  </a:lnTo>
                  <a:lnTo>
                    <a:pt x="147543" y="43615"/>
                  </a:lnTo>
                  <a:lnTo>
                    <a:pt x="145857" y="40323"/>
                  </a:lnTo>
                  <a:lnTo>
                    <a:pt x="149230" y="38677"/>
                  </a:lnTo>
                  <a:lnTo>
                    <a:pt x="193071" y="13989"/>
                  </a:lnTo>
                  <a:lnTo>
                    <a:pt x="258834" y="4114"/>
                  </a:lnTo>
                  <a:lnTo>
                    <a:pt x="258834" y="5760"/>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6" name="Maassluis">
              <a:extLst>
                <a:ext uri="{FF2B5EF4-FFF2-40B4-BE49-F238E27FC236}">
                  <a16:creationId xmlns:a16="http://schemas.microsoft.com/office/drawing/2014/main" id="{5C0F3F91-200C-4849-A370-EACF905E246A}"/>
                </a:ext>
              </a:extLst>
            </p:cNvPr>
            <p:cNvSpPr/>
            <p:nvPr/>
          </p:nvSpPr>
          <p:spPr>
            <a:xfrm>
              <a:off x="4998436" y="3763158"/>
              <a:ext cx="93658" cy="75667"/>
            </a:xfrm>
            <a:custGeom>
              <a:avLst/>
              <a:gdLst/>
              <a:ahLst/>
              <a:cxnLst/>
              <a:rect l="l" t="t" r="r" b="b"/>
              <a:pathLst>
                <a:path w="128789" h="102870" extrusionOk="0">
                  <a:moveTo>
                    <a:pt x="32880" y="12343"/>
                  </a:moveTo>
                  <a:lnTo>
                    <a:pt x="34566" y="15635"/>
                  </a:lnTo>
                  <a:lnTo>
                    <a:pt x="46370" y="13989"/>
                  </a:lnTo>
                  <a:lnTo>
                    <a:pt x="73349" y="50198"/>
                  </a:lnTo>
                  <a:lnTo>
                    <a:pt x="83467" y="58427"/>
                  </a:lnTo>
                  <a:lnTo>
                    <a:pt x="93584" y="63365"/>
                  </a:lnTo>
                  <a:lnTo>
                    <a:pt x="127309" y="69949"/>
                  </a:lnTo>
                  <a:lnTo>
                    <a:pt x="86839" y="107803"/>
                  </a:lnTo>
                  <a:lnTo>
                    <a:pt x="44684" y="81470"/>
                  </a:lnTo>
                  <a:lnTo>
                    <a:pt x="22763" y="51844"/>
                  </a:lnTo>
                  <a:lnTo>
                    <a:pt x="4214" y="37031"/>
                  </a:lnTo>
                  <a:lnTo>
                    <a:pt x="16018" y="18927"/>
                  </a:lnTo>
                  <a:lnTo>
                    <a:pt x="29508" y="4114"/>
                  </a:lnTo>
                  <a:lnTo>
                    <a:pt x="32880" y="12343"/>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7" name="Zaltbommel">
              <a:extLst>
                <a:ext uri="{FF2B5EF4-FFF2-40B4-BE49-F238E27FC236}">
                  <a16:creationId xmlns:a16="http://schemas.microsoft.com/office/drawing/2014/main" id="{F3584F43-0869-4318-889F-718FAAD0E36F}"/>
                </a:ext>
              </a:extLst>
            </p:cNvPr>
            <p:cNvSpPr/>
            <p:nvPr/>
          </p:nvSpPr>
          <p:spPr>
            <a:xfrm>
              <a:off x="5837350" y="3965004"/>
              <a:ext cx="293931" cy="159328"/>
            </a:xfrm>
            <a:custGeom>
              <a:avLst/>
              <a:gdLst/>
              <a:ahLst/>
              <a:cxnLst/>
              <a:rect l="l" t="t" r="r" b="b"/>
              <a:pathLst>
                <a:path w="444910" h="217170" extrusionOk="0">
                  <a:moveTo>
                    <a:pt x="177895" y="22218"/>
                  </a:moveTo>
                  <a:lnTo>
                    <a:pt x="193071" y="30448"/>
                  </a:lnTo>
                  <a:lnTo>
                    <a:pt x="206561" y="35385"/>
                  </a:lnTo>
                  <a:lnTo>
                    <a:pt x="218365" y="35385"/>
                  </a:lnTo>
                  <a:lnTo>
                    <a:pt x="263893" y="28802"/>
                  </a:lnTo>
                  <a:lnTo>
                    <a:pt x="282441" y="32094"/>
                  </a:lnTo>
                  <a:lnTo>
                    <a:pt x="306049" y="43615"/>
                  </a:lnTo>
                  <a:lnTo>
                    <a:pt x="321224" y="45260"/>
                  </a:lnTo>
                  <a:lnTo>
                    <a:pt x="341459" y="43615"/>
                  </a:lnTo>
                  <a:lnTo>
                    <a:pt x="388674" y="27156"/>
                  </a:lnTo>
                  <a:lnTo>
                    <a:pt x="434202" y="18927"/>
                  </a:lnTo>
                  <a:lnTo>
                    <a:pt x="439260" y="27156"/>
                  </a:lnTo>
                  <a:lnTo>
                    <a:pt x="437574" y="28802"/>
                  </a:lnTo>
                  <a:lnTo>
                    <a:pt x="437574" y="40323"/>
                  </a:lnTo>
                  <a:lnTo>
                    <a:pt x="434202" y="45260"/>
                  </a:lnTo>
                  <a:lnTo>
                    <a:pt x="439260" y="53490"/>
                  </a:lnTo>
                  <a:lnTo>
                    <a:pt x="437574" y="55136"/>
                  </a:lnTo>
                  <a:lnTo>
                    <a:pt x="437574" y="61719"/>
                  </a:lnTo>
                  <a:lnTo>
                    <a:pt x="434202" y="65011"/>
                  </a:lnTo>
                  <a:lnTo>
                    <a:pt x="446005" y="71594"/>
                  </a:lnTo>
                  <a:lnTo>
                    <a:pt x="425770" y="81470"/>
                  </a:lnTo>
                  <a:lnTo>
                    <a:pt x="412281" y="86407"/>
                  </a:lnTo>
                  <a:lnTo>
                    <a:pt x="417339" y="132491"/>
                  </a:lnTo>
                  <a:lnTo>
                    <a:pt x="405536" y="130845"/>
                  </a:lnTo>
                  <a:lnTo>
                    <a:pt x="403849" y="134137"/>
                  </a:lnTo>
                  <a:lnTo>
                    <a:pt x="383615" y="139075"/>
                  </a:lnTo>
                  <a:lnTo>
                    <a:pt x="371811" y="139075"/>
                  </a:lnTo>
                  <a:lnTo>
                    <a:pt x="366753" y="137429"/>
                  </a:lnTo>
                  <a:lnTo>
                    <a:pt x="339773" y="144012"/>
                  </a:lnTo>
                  <a:lnTo>
                    <a:pt x="321224" y="144012"/>
                  </a:lnTo>
                  <a:lnTo>
                    <a:pt x="297617" y="148950"/>
                  </a:lnTo>
                  <a:lnTo>
                    <a:pt x="297617" y="150596"/>
                  </a:lnTo>
                  <a:lnTo>
                    <a:pt x="292559" y="152242"/>
                  </a:lnTo>
                  <a:lnTo>
                    <a:pt x="279069" y="150596"/>
                  </a:lnTo>
                  <a:lnTo>
                    <a:pt x="268951" y="157179"/>
                  </a:lnTo>
                  <a:lnTo>
                    <a:pt x="270638" y="163763"/>
                  </a:lnTo>
                  <a:lnTo>
                    <a:pt x="279069" y="170346"/>
                  </a:lnTo>
                  <a:lnTo>
                    <a:pt x="285814" y="180221"/>
                  </a:lnTo>
                  <a:lnTo>
                    <a:pt x="287500" y="209847"/>
                  </a:lnTo>
                  <a:lnTo>
                    <a:pt x="257148" y="208201"/>
                  </a:lnTo>
                  <a:lnTo>
                    <a:pt x="198130" y="219722"/>
                  </a:lnTo>
                  <a:lnTo>
                    <a:pt x="194758" y="214785"/>
                  </a:lnTo>
                  <a:lnTo>
                    <a:pt x="196444" y="201617"/>
                  </a:lnTo>
                  <a:lnTo>
                    <a:pt x="214992" y="188450"/>
                  </a:lnTo>
                  <a:lnTo>
                    <a:pt x="221737" y="176930"/>
                  </a:lnTo>
                  <a:lnTo>
                    <a:pt x="213306" y="171992"/>
                  </a:lnTo>
                  <a:lnTo>
                    <a:pt x="211620" y="165408"/>
                  </a:lnTo>
                  <a:lnTo>
                    <a:pt x="216678" y="144012"/>
                  </a:lnTo>
                  <a:lnTo>
                    <a:pt x="213306" y="134137"/>
                  </a:lnTo>
                  <a:lnTo>
                    <a:pt x="182954" y="122616"/>
                  </a:lnTo>
                  <a:lnTo>
                    <a:pt x="164405" y="104512"/>
                  </a:lnTo>
                  <a:lnTo>
                    <a:pt x="152602" y="99574"/>
                  </a:lnTo>
                  <a:lnTo>
                    <a:pt x="139112" y="102866"/>
                  </a:lnTo>
                  <a:lnTo>
                    <a:pt x="125622" y="117678"/>
                  </a:lnTo>
                  <a:lnTo>
                    <a:pt x="117191" y="119324"/>
                  </a:lnTo>
                  <a:lnTo>
                    <a:pt x="107074" y="117678"/>
                  </a:lnTo>
                  <a:lnTo>
                    <a:pt x="96957" y="106157"/>
                  </a:lnTo>
                  <a:lnTo>
                    <a:pt x="80094" y="76532"/>
                  </a:lnTo>
                  <a:lnTo>
                    <a:pt x="71663" y="71594"/>
                  </a:lnTo>
                  <a:lnTo>
                    <a:pt x="44684" y="60073"/>
                  </a:lnTo>
                  <a:lnTo>
                    <a:pt x="27821" y="48552"/>
                  </a:lnTo>
                  <a:lnTo>
                    <a:pt x="19390" y="38677"/>
                  </a:lnTo>
                  <a:lnTo>
                    <a:pt x="17704" y="27156"/>
                  </a:lnTo>
                  <a:lnTo>
                    <a:pt x="4214" y="17281"/>
                  </a:lnTo>
                  <a:lnTo>
                    <a:pt x="22763" y="18927"/>
                  </a:lnTo>
                  <a:lnTo>
                    <a:pt x="68291" y="27156"/>
                  </a:lnTo>
                  <a:lnTo>
                    <a:pt x="83467" y="23864"/>
                  </a:lnTo>
                  <a:lnTo>
                    <a:pt x="117191" y="7405"/>
                  </a:lnTo>
                  <a:lnTo>
                    <a:pt x="137426" y="4114"/>
                  </a:lnTo>
                  <a:lnTo>
                    <a:pt x="154288" y="9052"/>
                  </a:lnTo>
                  <a:lnTo>
                    <a:pt x="177895" y="2221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8" name="Hilversum">
              <a:extLst>
                <a:ext uri="{FF2B5EF4-FFF2-40B4-BE49-F238E27FC236}">
                  <a16:creationId xmlns:a16="http://schemas.microsoft.com/office/drawing/2014/main" id="{DE3AE4F8-4ADB-4A21-8B45-9FF3D9583E34}"/>
                </a:ext>
              </a:extLst>
            </p:cNvPr>
            <p:cNvSpPr/>
            <p:nvPr/>
          </p:nvSpPr>
          <p:spPr>
            <a:xfrm>
              <a:off x="5939114" y="3219134"/>
              <a:ext cx="117672" cy="181952"/>
            </a:xfrm>
            <a:custGeom>
              <a:avLst/>
              <a:gdLst/>
              <a:ahLst/>
              <a:cxnLst/>
              <a:rect l="l" t="t" r="r" b="b"/>
              <a:pathLst>
                <a:path w="175622" h="262890" extrusionOk="0">
                  <a:moveTo>
                    <a:pt x="39625" y="20573"/>
                  </a:moveTo>
                  <a:lnTo>
                    <a:pt x="51428" y="20573"/>
                  </a:lnTo>
                  <a:lnTo>
                    <a:pt x="53115" y="23864"/>
                  </a:lnTo>
                  <a:lnTo>
                    <a:pt x="56487" y="22218"/>
                  </a:lnTo>
                  <a:lnTo>
                    <a:pt x="63232" y="12343"/>
                  </a:lnTo>
                  <a:lnTo>
                    <a:pt x="64918" y="5760"/>
                  </a:lnTo>
                  <a:lnTo>
                    <a:pt x="71663" y="10697"/>
                  </a:lnTo>
                  <a:lnTo>
                    <a:pt x="63232" y="23864"/>
                  </a:lnTo>
                  <a:lnTo>
                    <a:pt x="66605" y="25510"/>
                  </a:lnTo>
                  <a:lnTo>
                    <a:pt x="63232" y="30448"/>
                  </a:lnTo>
                  <a:lnTo>
                    <a:pt x="66605" y="32094"/>
                  </a:lnTo>
                  <a:lnTo>
                    <a:pt x="68291" y="38677"/>
                  </a:lnTo>
                  <a:lnTo>
                    <a:pt x="58174" y="58427"/>
                  </a:lnTo>
                  <a:lnTo>
                    <a:pt x="58174" y="66657"/>
                  </a:lnTo>
                  <a:lnTo>
                    <a:pt x="95270" y="76532"/>
                  </a:lnTo>
                  <a:lnTo>
                    <a:pt x="122250" y="56782"/>
                  </a:lnTo>
                  <a:lnTo>
                    <a:pt x="127309" y="55136"/>
                  </a:lnTo>
                  <a:lnTo>
                    <a:pt x="127309" y="56782"/>
                  </a:lnTo>
                  <a:lnTo>
                    <a:pt x="154288" y="46906"/>
                  </a:lnTo>
                  <a:lnTo>
                    <a:pt x="157661" y="50198"/>
                  </a:lnTo>
                  <a:lnTo>
                    <a:pt x="135740" y="96282"/>
                  </a:lnTo>
                  <a:lnTo>
                    <a:pt x="150916" y="112741"/>
                  </a:lnTo>
                  <a:lnTo>
                    <a:pt x="181268" y="181867"/>
                  </a:lnTo>
                  <a:lnTo>
                    <a:pt x="177895" y="196680"/>
                  </a:lnTo>
                  <a:lnTo>
                    <a:pt x="140799" y="265806"/>
                  </a:lnTo>
                  <a:lnTo>
                    <a:pt x="36253" y="257577"/>
                  </a:lnTo>
                  <a:lnTo>
                    <a:pt x="32880" y="246056"/>
                  </a:lnTo>
                  <a:lnTo>
                    <a:pt x="54801" y="234535"/>
                  </a:lnTo>
                  <a:lnTo>
                    <a:pt x="69977" y="216430"/>
                  </a:lnTo>
                  <a:lnTo>
                    <a:pt x="69977" y="209847"/>
                  </a:lnTo>
                  <a:lnTo>
                    <a:pt x="61546" y="193388"/>
                  </a:lnTo>
                  <a:lnTo>
                    <a:pt x="64918" y="190096"/>
                  </a:lnTo>
                  <a:lnTo>
                    <a:pt x="59860" y="191742"/>
                  </a:lnTo>
                  <a:lnTo>
                    <a:pt x="51428" y="176930"/>
                  </a:lnTo>
                  <a:lnTo>
                    <a:pt x="34566" y="165409"/>
                  </a:lnTo>
                  <a:lnTo>
                    <a:pt x="34566" y="160471"/>
                  </a:lnTo>
                  <a:lnTo>
                    <a:pt x="46370" y="158825"/>
                  </a:lnTo>
                  <a:lnTo>
                    <a:pt x="46370" y="157179"/>
                  </a:lnTo>
                  <a:lnTo>
                    <a:pt x="42997" y="157179"/>
                  </a:lnTo>
                  <a:lnTo>
                    <a:pt x="42997" y="152242"/>
                  </a:lnTo>
                  <a:lnTo>
                    <a:pt x="61546" y="152242"/>
                  </a:lnTo>
                  <a:lnTo>
                    <a:pt x="63232" y="150596"/>
                  </a:lnTo>
                  <a:lnTo>
                    <a:pt x="64918" y="106157"/>
                  </a:lnTo>
                  <a:lnTo>
                    <a:pt x="61546" y="101220"/>
                  </a:lnTo>
                  <a:lnTo>
                    <a:pt x="59860" y="81470"/>
                  </a:lnTo>
                  <a:lnTo>
                    <a:pt x="56487" y="81470"/>
                  </a:lnTo>
                  <a:lnTo>
                    <a:pt x="56487" y="66657"/>
                  </a:lnTo>
                  <a:lnTo>
                    <a:pt x="39625" y="66657"/>
                  </a:lnTo>
                  <a:lnTo>
                    <a:pt x="29508" y="33739"/>
                  </a:lnTo>
                  <a:lnTo>
                    <a:pt x="5901" y="23864"/>
                  </a:lnTo>
                  <a:lnTo>
                    <a:pt x="4214" y="13989"/>
                  </a:lnTo>
                  <a:lnTo>
                    <a:pt x="7587" y="5760"/>
                  </a:lnTo>
                  <a:lnTo>
                    <a:pt x="12645" y="4114"/>
                  </a:lnTo>
                  <a:lnTo>
                    <a:pt x="19390" y="10697"/>
                  </a:lnTo>
                  <a:lnTo>
                    <a:pt x="34566" y="13989"/>
                  </a:lnTo>
                  <a:lnTo>
                    <a:pt x="39625" y="2057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59" name="Haaren">
              <a:extLst>
                <a:ext uri="{FF2B5EF4-FFF2-40B4-BE49-F238E27FC236}">
                  <a16:creationId xmlns:a16="http://schemas.microsoft.com/office/drawing/2014/main" id="{391322DC-08F5-4EA7-895C-2FDC461EE8AA}"/>
                </a:ext>
              </a:extLst>
            </p:cNvPr>
            <p:cNvSpPr/>
            <p:nvPr/>
          </p:nvSpPr>
          <p:spPr>
            <a:xfrm>
              <a:off x="5979413" y="4228795"/>
              <a:ext cx="181629" cy="120855"/>
            </a:xfrm>
            <a:custGeom>
              <a:avLst/>
              <a:gdLst/>
              <a:ahLst/>
              <a:cxnLst/>
              <a:rect l="l" t="t" r="r" b="b"/>
              <a:pathLst>
                <a:path w="269287" h="205740" extrusionOk="0">
                  <a:moveTo>
                    <a:pt x="100329" y="5760"/>
                  </a:moveTo>
                  <a:lnTo>
                    <a:pt x="113819" y="22218"/>
                  </a:lnTo>
                  <a:lnTo>
                    <a:pt x="122250" y="22218"/>
                  </a:lnTo>
                  <a:lnTo>
                    <a:pt x="123936" y="27156"/>
                  </a:lnTo>
                  <a:lnTo>
                    <a:pt x="134054" y="35385"/>
                  </a:lnTo>
                  <a:lnTo>
                    <a:pt x="137426" y="43615"/>
                  </a:lnTo>
                  <a:lnTo>
                    <a:pt x="135740" y="50198"/>
                  </a:lnTo>
                  <a:lnTo>
                    <a:pt x="145857" y="48552"/>
                  </a:lnTo>
                  <a:lnTo>
                    <a:pt x="147543" y="51844"/>
                  </a:lnTo>
                  <a:lnTo>
                    <a:pt x="147543" y="48552"/>
                  </a:lnTo>
                  <a:lnTo>
                    <a:pt x="149230" y="53490"/>
                  </a:lnTo>
                  <a:lnTo>
                    <a:pt x="152602" y="51844"/>
                  </a:lnTo>
                  <a:lnTo>
                    <a:pt x="157661" y="56781"/>
                  </a:lnTo>
                  <a:lnTo>
                    <a:pt x="162720" y="66657"/>
                  </a:lnTo>
                  <a:lnTo>
                    <a:pt x="157661" y="69949"/>
                  </a:lnTo>
                  <a:lnTo>
                    <a:pt x="159347" y="69949"/>
                  </a:lnTo>
                  <a:lnTo>
                    <a:pt x="167778" y="78178"/>
                  </a:lnTo>
                  <a:lnTo>
                    <a:pt x="161033" y="92991"/>
                  </a:lnTo>
                  <a:lnTo>
                    <a:pt x="182954" y="104512"/>
                  </a:lnTo>
                  <a:lnTo>
                    <a:pt x="208247" y="125908"/>
                  </a:lnTo>
                  <a:lnTo>
                    <a:pt x="213306" y="120970"/>
                  </a:lnTo>
                  <a:lnTo>
                    <a:pt x="213306" y="117678"/>
                  </a:lnTo>
                  <a:lnTo>
                    <a:pt x="235227" y="120970"/>
                  </a:lnTo>
                  <a:lnTo>
                    <a:pt x="238599" y="112741"/>
                  </a:lnTo>
                  <a:lnTo>
                    <a:pt x="241972" y="111095"/>
                  </a:lnTo>
                  <a:lnTo>
                    <a:pt x="250403" y="112741"/>
                  </a:lnTo>
                  <a:lnTo>
                    <a:pt x="255462" y="92991"/>
                  </a:lnTo>
                  <a:lnTo>
                    <a:pt x="260520" y="91345"/>
                  </a:lnTo>
                  <a:lnTo>
                    <a:pt x="268952" y="130845"/>
                  </a:lnTo>
                  <a:lnTo>
                    <a:pt x="255462" y="137429"/>
                  </a:lnTo>
                  <a:lnTo>
                    <a:pt x="243658" y="157179"/>
                  </a:lnTo>
                  <a:lnTo>
                    <a:pt x="233541" y="165409"/>
                  </a:lnTo>
                  <a:lnTo>
                    <a:pt x="230168" y="163763"/>
                  </a:lnTo>
                  <a:lnTo>
                    <a:pt x="225110" y="167054"/>
                  </a:lnTo>
                  <a:lnTo>
                    <a:pt x="214993" y="163763"/>
                  </a:lnTo>
                  <a:lnTo>
                    <a:pt x="214993" y="160471"/>
                  </a:lnTo>
                  <a:lnTo>
                    <a:pt x="208247" y="160471"/>
                  </a:lnTo>
                  <a:lnTo>
                    <a:pt x="194758" y="170346"/>
                  </a:lnTo>
                  <a:lnTo>
                    <a:pt x="186327" y="171992"/>
                  </a:lnTo>
                  <a:lnTo>
                    <a:pt x="174523" y="188451"/>
                  </a:lnTo>
                  <a:lnTo>
                    <a:pt x="164406" y="195034"/>
                  </a:lnTo>
                  <a:lnTo>
                    <a:pt x="161033" y="203264"/>
                  </a:lnTo>
                  <a:lnTo>
                    <a:pt x="110447" y="206555"/>
                  </a:lnTo>
                  <a:lnTo>
                    <a:pt x="103702" y="193388"/>
                  </a:lnTo>
                  <a:lnTo>
                    <a:pt x="95270" y="198326"/>
                  </a:lnTo>
                  <a:lnTo>
                    <a:pt x="81781" y="183513"/>
                  </a:lnTo>
                  <a:lnTo>
                    <a:pt x="78408" y="188451"/>
                  </a:lnTo>
                  <a:lnTo>
                    <a:pt x="75036" y="176930"/>
                  </a:lnTo>
                  <a:lnTo>
                    <a:pt x="68291" y="168700"/>
                  </a:lnTo>
                  <a:lnTo>
                    <a:pt x="58174" y="178575"/>
                  </a:lnTo>
                  <a:lnTo>
                    <a:pt x="41311" y="163763"/>
                  </a:lnTo>
                  <a:lnTo>
                    <a:pt x="51429" y="148950"/>
                  </a:lnTo>
                  <a:lnTo>
                    <a:pt x="44684" y="144012"/>
                  </a:lnTo>
                  <a:lnTo>
                    <a:pt x="39625" y="145658"/>
                  </a:lnTo>
                  <a:lnTo>
                    <a:pt x="36253" y="142367"/>
                  </a:lnTo>
                  <a:lnTo>
                    <a:pt x="37939" y="139075"/>
                  </a:lnTo>
                  <a:lnTo>
                    <a:pt x="36253" y="137429"/>
                  </a:lnTo>
                  <a:lnTo>
                    <a:pt x="39625" y="134137"/>
                  </a:lnTo>
                  <a:lnTo>
                    <a:pt x="41311" y="127554"/>
                  </a:lnTo>
                  <a:lnTo>
                    <a:pt x="36253" y="119324"/>
                  </a:lnTo>
                  <a:lnTo>
                    <a:pt x="34566" y="120970"/>
                  </a:lnTo>
                  <a:lnTo>
                    <a:pt x="32880" y="119324"/>
                  </a:lnTo>
                  <a:lnTo>
                    <a:pt x="34566" y="114387"/>
                  </a:lnTo>
                  <a:lnTo>
                    <a:pt x="19390" y="89699"/>
                  </a:lnTo>
                  <a:lnTo>
                    <a:pt x="16018" y="89699"/>
                  </a:lnTo>
                  <a:lnTo>
                    <a:pt x="17704" y="89699"/>
                  </a:lnTo>
                  <a:lnTo>
                    <a:pt x="10959" y="78178"/>
                  </a:lnTo>
                  <a:lnTo>
                    <a:pt x="7587" y="78178"/>
                  </a:lnTo>
                  <a:lnTo>
                    <a:pt x="4214" y="74886"/>
                  </a:lnTo>
                  <a:lnTo>
                    <a:pt x="27822" y="76532"/>
                  </a:lnTo>
                  <a:lnTo>
                    <a:pt x="19390" y="40323"/>
                  </a:lnTo>
                  <a:lnTo>
                    <a:pt x="22763" y="32094"/>
                  </a:lnTo>
                  <a:lnTo>
                    <a:pt x="24449" y="18927"/>
                  </a:lnTo>
                  <a:lnTo>
                    <a:pt x="31194" y="18927"/>
                  </a:lnTo>
                  <a:lnTo>
                    <a:pt x="37939" y="5760"/>
                  </a:lnTo>
                  <a:lnTo>
                    <a:pt x="96957" y="4114"/>
                  </a:lnTo>
                  <a:lnTo>
                    <a:pt x="100329"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0" name="Landgraaf">
              <a:extLst>
                <a:ext uri="{FF2B5EF4-FFF2-40B4-BE49-F238E27FC236}">
                  <a16:creationId xmlns:a16="http://schemas.microsoft.com/office/drawing/2014/main" id="{E411BE97-702E-4E76-BE4F-BB0BD8DC3CEF}"/>
                </a:ext>
              </a:extLst>
            </p:cNvPr>
            <p:cNvSpPr/>
            <p:nvPr/>
          </p:nvSpPr>
          <p:spPr>
            <a:xfrm>
              <a:off x="6885601" y="5429528"/>
              <a:ext cx="106212" cy="106284"/>
            </a:xfrm>
            <a:custGeom>
              <a:avLst/>
              <a:gdLst/>
              <a:ahLst/>
              <a:cxnLst/>
              <a:rect l="l" t="t" r="r" b="b"/>
              <a:pathLst>
                <a:path w="163914" h="160020" extrusionOk="0">
                  <a:moveTo>
                    <a:pt x="88525" y="17281"/>
                  </a:moveTo>
                  <a:lnTo>
                    <a:pt x="90212" y="18927"/>
                  </a:lnTo>
                  <a:lnTo>
                    <a:pt x="98643" y="15635"/>
                  </a:lnTo>
                  <a:lnTo>
                    <a:pt x="107074" y="22219"/>
                  </a:lnTo>
                  <a:lnTo>
                    <a:pt x="103701" y="33740"/>
                  </a:lnTo>
                  <a:lnTo>
                    <a:pt x="115505" y="35385"/>
                  </a:lnTo>
                  <a:lnTo>
                    <a:pt x="117191" y="33740"/>
                  </a:lnTo>
                  <a:lnTo>
                    <a:pt x="125622" y="37032"/>
                  </a:lnTo>
                  <a:lnTo>
                    <a:pt x="130681" y="30448"/>
                  </a:lnTo>
                  <a:lnTo>
                    <a:pt x="139112" y="32094"/>
                  </a:lnTo>
                  <a:lnTo>
                    <a:pt x="157661" y="41969"/>
                  </a:lnTo>
                  <a:lnTo>
                    <a:pt x="164405" y="35385"/>
                  </a:lnTo>
                  <a:lnTo>
                    <a:pt x="166092" y="37032"/>
                  </a:lnTo>
                  <a:lnTo>
                    <a:pt x="154288" y="51845"/>
                  </a:lnTo>
                  <a:lnTo>
                    <a:pt x="154288" y="56782"/>
                  </a:lnTo>
                  <a:lnTo>
                    <a:pt x="145857" y="63365"/>
                  </a:lnTo>
                  <a:lnTo>
                    <a:pt x="144171" y="73240"/>
                  </a:lnTo>
                  <a:lnTo>
                    <a:pt x="122250" y="76532"/>
                  </a:lnTo>
                  <a:lnTo>
                    <a:pt x="118878" y="78178"/>
                  </a:lnTo>
                  <a:lnTo>
                    <a:pt x="118878" y="81470"/>
                  </a:lnTo>
                  <a:lnTo>
                    <a:pt x="112133" y="84762"/>
                  </a:lnTo>
                  <a:lnTo>
                    <a:pt x="110446" y="81470"/>
                  </a:lnTo>
                  <a:lnTo>
                    <a:pt x="107074" y="83116"/>
                  </a:lnTo>
                  <a:lnTo>
                    <a:pt x="107074" y="88053"/>
                  </a:lnTo>
                  <a:lnTo>
                    <a:pt x="95270" y="88053"/>
                  </a:lnTo>
                  <a:lnTo>
                    <a:pt x="86839" y="86407"/>
                  </a:lnTo>
                  <a:lnTo>
                    <a:pt x="85153" y="104512"/>
                  </a:lnTo>
                  <a:lnTo>
                    <a:pt x="81780" y="106158"/>
                  </a:lnTo>
                  <a:lnTo>
                    <a:pt x="90212" y="111095"/>
                  </a:lnTo>
                  <a:lnTo>
                    <a:pt x="86839" y="117679"/>
                  </a:lnTo>
                  <a:lnTo>
                    <a:pt x="81780" y="116033"/>
                  </a:lnTo>
                  <a:lnTo>
                    <a:pt x="76722" y="120971"/>
                  </a:lnTo>
                  <a:lnTo>
                    <a:pt x="68291" y="155534"/>
                  </a:lnTo>
                  <a:lnTo>
                    <a:pt x="54801" y="155534"/>
                  </a:lnTo>
                  <a:lnTo>
                    <a:pt x="44684" y="158825"/>
                  </a:lnTo>
                  <a:lnTo>
                    <a:pt x="42997" y="152242"/>
                  </a:lnTo>
                  <a:lnTo>
                    <a:pt x="34566" y="142367"/>
                  </a:lnTo>
                  <a:lnTo>
                    <a:pt x="32880" y="122617"/>
                  </a:lnTo>
                  <a:lnTo>
                    <a:pt x="16018" y="107804"/>
                  </a:lnTo>
                  <a:lnTo>
                    <a:pt x="17704" y="104512"/>
                  </a:lnTo>
                  <a:lnTo>
                    <a:pt x="14332" y="106158"/>
                  </a:lnTo>
                  <a:lnTo>
                    <a:pt x="10959" y="97929"/>
                  </a:lnTo>
                  <a:lnTo>
                    <a:pt x="10959" y="79824"/>
                  </a:lnTo>
                  <a:lnTo>
                    <a:pt x="5900" y="76532"/>
                  </a:lnTo>
                  <a:lnTo>
                    <a:pt x="7587" y="73240"/>
                  </a:lnTo>
                  <a:lnTo>
                    <a:pt x="4214" y="73240"/>
                  </a:lnTo>
                  <a:lnTo>
                    <a:pt x="7587" y="63365"/>
                  </a:lnTo>
                  <a:lnTo>
                    <a:pt x="27821" y="41969"/>
                  </a:lnTo>
                  <a:lnTo>
                    <a:pt x="46370" y="4114"/>
                  </a:lnTo>
                  <a:lnTo>
                    <a:pt x="80094" y="12343"/>
                  </a:lnTo>
                  <a:lnTo>
                    <a:pt x="88525" y="17281"/>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1" name="Borsele">
              <a:extLst>
                <a:ext uri="{FF2B5EF4-FFF2-40B4-BE49-F238E27FC236}">
                  <a16:creationId xmlns:a16="http://schemas.microsoft.com/office/drawing/2014/main" id="{CC333743-9029-4512-A493-651A513EADFF}"/>
                </a:ext>
              </a:extLst>
            </p:cNvPr>
            <p:cNvSpPr/>
            <p:nvPr/>
          </p:nvSpPr>
          <p:spPr>
            <a:xfrm>
              <a:off x="4435779" y="4490791"/>
              <a:ext cx="249743" cy="176118"/>
            </a:xfrm>
            <a:custGeom>
              <a:avLst/>
              <a:gdLst/>
              <a:ahLst/>
              <a:cxnLst/>
              <a:rect l="l" t="t" r="r" b="b"/>
              <a:pathLst>
                <a:path w="362953" h="285750" extrusionOk="0">
                  <a:moveTo>
                    <a:pt x="21076" y="79823"/>
                  </a:moveTo>
                  <a:lnTo>
                    <a:pt x="9273" y="83115"/>
                  </a:lnTo>
                  <a:lnTo>
                    <a:pt x="4214" y="79823"/>
                  </a:lnTo>
                  <a:lnTo>
                    <a:pt x="14332" y="69949"/>
                  </a:lnTo>
                  <a:lnTo>
                    <a:pt x="21076" y="79823"/>
                  </a:lnTo>
                  <a:close/>
                  <a:moveTo>
                    <a:pt x="41311" y="5760"/>
                  </a:moveTo>
                  <a:lnTo>
                    <a:pt x="127309" y="18927"/>
                  </a:lnTo>
                  <a:lnTo>
                    <a:pt x="140798" y="25510"/>
                  </a:lnTo>
                  <a:lnTo>
                    <a:pt x="166092" y="46906"/>
                  </a:lnTo>
                  <a:lnTo>
                    <a:pt x="181268" y="53490"/>
                  </a:lnTo>
                  <a:lnTo>
                    <a:pt x="193071" y="55136"/>
                  </a:lnTo>
                  <a:lnTo>
                    <a:pt x="230168" y="50198"/>
                  </a:lnTo>
                  <a:lnTo>
                    <a:pt x="274010" y="56781"/>
                  </a:lnTo>
                  <a:lnTo>
                    <a:pt x="280755" y="63365"/>
                  </a:lnTo>
                  <a:lnTo>
                    <a:pt x="290872" y="61719"/>
                  </a:lnTo>
                  <a:lnTo>
                    <a:pt x="339773" y="66657"/>
                  </a:lnTo>
                  <a:lnTo>
                    <a:pt x="339773" y="69949"/>
                  </a:lnTo>
                  <a:lnTo>
                    <a:pt x="331342" y="89699"/>
                  </a:lnTo>
                  <a:lnTo>
                    <a:pt x="344832" y="104512"/>
                  </a:lnTo>
                  <a:lnTo>
                    <a:pt x="363380" y="116033"/>
                  </a:lnTo>
                  <a:lnTo>
                    <a:pt x="358321" y="134137"/>
                  </a:lnTo>
                  <a:lnTo>
                    <a:pt x="353263" y="137429"/>
                  </a:lnTo>
                  <a:lnTo>
                    <a:pt x="356635" y="148950"/>
                  </a:lnTo>
                  <a:lnTo>
                    <a:pt x="349890" y="152242"/>
                  </a:lnTo>
                  <a:lnTo>
                    <a:pt x="354949" y="162117"/>
                  </a:lnTo>
                  <a:lnTo>
                    <a:pt x="361694" y="168700"/>
                  </a:lnTo>
                  <a:lnTo>
                    <a:pt x="356635" y="167054"/>
                  </a:lnTo>
                  <a:lnTo>
                    <a:pt x="358321" y="175284"/>
                  </a:lnTo>
                  <a:lnTo>
                    <a:pt x="346518" y="191742"/>
                  </a:lnTo>
                  <a:lnTo>
                    <a:pt x="346518" y="196680"/>
                  </a:lnTo>
                  <a:lnTo>
                    <a:pt x="343145" y="195034"/>
                  </a:lnTo>
                  <a:lnTo>
                    <a:pt x="346518" y="196680"/>
                  </a:lnTo>
                  <a:lnTo>
                    <a:pt x="343145" y="213138"/>
                  </a:lnTo>
                  <a:lnTo>
                    <a:pt x="343145" y="208201"/>
                  </a:lnTo>
                  <a:lnTo>
                    <a:pt x="339773" y="208201"/>
                  </a:lnTo>
                  <a:lnTo>
                    <a:pt x="339773" y="214785"/>
                  </a:lnTo>
                  <a:lnTo>
                    <a:pt x="334714" y="219722"/>
                  </a:lnTo>
                  <a:lnTo>
                    <a:pt x="327969" y="242764"/>
                  </a:lnTo>
                  <a:lnTo>
                    <a:pt x="322911" y="249348"/>
                  </a:lnTo>
                  <a:lnTo>
                    <a:pt x="322911" y="257577"/>
                  </a:lnTo>
                  <a:lnTo>
                    <a:pt x="316166" y="269098"/>
                  </a:lnTo>
                  <a:lnTo>
                    <a:pt x="306048" y="272390"/>
                  </a:lnTo>
                  <a:lnTo>
                    <a:pt x="289186" y="269098"/>
                  </a:lnTo>
                  <a:lnTo>
                    <a:pt x="285814" y="264160"/>
                  </a:lnTo>
                  <a:lnTo>
                    <a:pt x="277383" y="262514"/>
                  </a:lnTo>
                  <a:lnTo>
                    <a:pt x="277383" y="264160"/>
                  </a:lnTo>
                  <a:lnTo>
                    <a:pt x="272324" y="262514"/>
                  </a:lnTo>
                  <a:lnTo>
                    <a:pt x="260520" y="267452"/>
                  </a:lnTo>
                  <a:lnTo>
                    <a:pt x="250403" y="277327"/>
                  </a:lnTo>
                  <a:lnTo>
                    <a:pt x="243658" y="277327"/>
                  </a:lnTo>
                  <a:lnTo>
                    <a:pt x="193071" y="287203"/>
                  </a:lnTo>
                  <a:lnTo>
                    <a:pt x="188013" y="290494"/>
                  </a:lnTo>
                  <a:lnTo>
                    <a:pt x="186326" y="288848"/>
                  </a:lnTo>
                  <a:lnTo>
                    <a:pt x="186326" y="290494"/>
                  </a:lnTo>
                  <a:lnTo>
                    <a:pt x="186326" y="288848"/>
                  </a:lnTo>
                  <a:lnTo>
                    <a:pt x="179581" y="288848"/>
                  </a:lnTo>
                  <a:lnTo>
                    <a:pt x="157661" y="265806"/>
                  </a:lnTo>
                  <a:lnTo>
                    <a:pt x="147543" y="259223"/>
                  </a:lnTo>
                  <a:lnTo>
                    <a:pt x="144171" y="254285"/>
                  </a:lnTo>
                  <a:lnTo>
                    <a:pt x="123936" y="241118"/>
                  </a:lnTo>
                  <a:lnTo>
                    <a:pt x="127309" y="231243"/>
                  </a:lnTo>
                  <a:lnTo>
                    <a:pt x="125622" y="229597"/>
                  </a:lnTo>
                  <a:lnTo>
                    <a:pt x="105388" y="229597"/>
                  </a:lnTo>
                  <a:lnTo>
                    <a:pt x="107074" y="227951"/>
                  </a:lnTo>
                  <a:lnTo>
                    <a:pt x="91898" y="216430"/>
                  </a:lnTo>
                  <a:lnTo>
                    <a:pt x="73349" y="226306"/>
                  </a:lnTo>
                  <a:lnTo>
                    <a:pt x="61546" y="224660"/>
                  </a:lnTo>
                  <a:lnTo>
                    <a:pt x="48056" y="216430"/>
                  </a:lnTo>
                  <a:lnTo>
                    <a:pt x="42997" y="203264"/>
                  </a:lnTo>
                  <a:lnTo>
                    <a:pt x="41311" y="203264"/>
                  </a:lnTo>
                  <a:lnTo>
                    <a:pt x="42997" y="201617"/>
                  </a:lnTo>
                  <a:lnTo>
                    <a:pt x="39625" y="203264"/>
                  </a:lnTo>
                  <a:lnTo>
                    <a:pt x="42997" y="201617"/>
                  </a:lnTo>
                  <a:lnTo>
                    <a:pt x="39625" y="188451"/>
                  </a:lnTo>
                  <a:lnTo>
                    <a:pt x="31194" y="193388"/>
                  </a:lnTo>
                  <a:lnTo>
                    <a:pt x="37939" y="186805"/>
                  </a:lnTo>
                  <a:lnTo>
                    <a:pt x="36252" y="185159"/>
                  </a:lnTo>
                  <a:lnTo>
                    <a:pt x="29507" y="195034"/>
                  </a:lnTo>
                  <a:lnTo>
                    <a:pt x="34566" y="186805"/>
                  </a:lnTo>
                  <a:lnTo>
                    <a:pt x="26135" y="191742"/>
                  </a:lnTo>
                  <a:lnTo>
                    <a:pt x="36252" y="185159"/>
                  </a:lnTo>
                  <a:lnTo>
                    <a:pt x="4214" y="140720"/>
                  </a:lnTo>
                  <a:lnTo>
                    <a:pt x="16018" y="129199"/>
                  </a:lnTo>
                  <a:lnTo>
                    <a:pt x="19390" y="134137"/>
                  </a:lnTo>
                  <a:lnTo>
                    <a:pt x="10959" y="147304"/>
                  </a:lnTo>
                  <a:lnTo>
                    <a:pt x="14332" y="150596"/>
                  </a:lnTo>
                  <a:lnTo>
                    <a:pt x="26135" y="139075"/>
                  </a:lnTo>
                  <a:lnTo>
                    <a:pt x="37939" y="148950"/>
                  </a:lnTo>
                  <a:lnTo>
                    <a:pt x="41311" y="147304"/>
                  </a:lnTo>
                  <a:lnTo>
                    <a:pt x="37939" y="145658"/>
                  </a:lnTo>
                  <a:lnTo>
                    <a:pt x="41311" y="147304"/>
                  </a:lnTo>
                  <a:lnTo>
                    <a:pt x="41311" y="144012"/>
                  </a:lnTo>
                  <a:lnTo>
                    <a:pt x="42997" y="145658"/>
                  </a:lnTo>
                  <a:lnTo>
                    <a:pt x="42997" y="144012"/>
                  </a:lnTo>
                  <a:lnTo>
                    <a:pt x="29507" y="129199"/>
                  </a:lnTo>
                  <a:lnTo>
                    <a:pt x="51428" y="116033"/>
                  </a:lnTo>
                  <a:lnTo>
                    <a:pt x="49742" y="111095"/>
                  </a:lnTo>
                  <a:lnTo>
                    <a:pt x="24449" y="122616"/>
                  </a:lnTo>
                  <a:lnTo>
                    <a:pt x="32880" y="97928"/>
                  </a:lnTo>
                  <a:lnTo>
                    <a:pt x="36252" y="96282"/>
                  </a:lnTo>
                  <a:lnTo>
                    <a:pt x="34566" y="91345"/>
                  </a:lnTo>
                  <a:lnTo>
                    <a:pt x="36252" y="84761"/>
                  </a:lnTo>
                  <a:lnTo>
                    <a:pt x="42997" y="74886"/>
                  </a:lnTo>
                  <a:lnTo>
                    <a:pt x="39625" y="69949"/>
                  </a:lnTo>
                  <a:lnTo>
                    <a:pt x="32880" y="81470"/>
                  </a:lnTo>
                  <a:lnTo>
                    <a:pt x="26135" y="78178"/>
                  </a:lnTo>
                  <a:lnTo>
                    <a:pt x="19390" y="65011"/>
                  </a:lnTo>
                  <a:lnTo>
                    <a:pt x="21076" y="61719"/>
                  </a:lnTo>
                  <a:lnTo>
                    <a:pt x="17704" y="55136"/>
                  </a:lnTo>
                  <a:lnTo>
                    <a:pt x="10959" y="50198"/>
                  </a:lnTo>
                  <a:lnTo>
                    <a:pt x="10959" y="27156"/>
                  </a:lnTo>
                  <a:lnTo>
                    <a:pt x="21076" y="4114"/>
                  </a:lnTo>
                  <a:lnTo>
                    <a:pt x="41311"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2" name="Hollands Kroon">
              <a:extLst>
                <a:ext uri="{FF2B5EF4-FFF2-40B4-BE49-F238E27FC236}">
                  <a16:creationId xmlns:a16="http://schemas.microsoft.com/office/drawing/2014/main" id="{2F75206A-F78A-4EB1-A309-B17D29FD85BC}"/>
                </a:ext>
              </a:extLst>
            </p:cNvPr>
            <p:cNvSpPr/>
            <p:nvPr/>
          </p:nvSpPr>
          <p:spPr>
            <a:xfrm>
              <a:off x="5579955" y="2062220"/>
              <a:ext cx="427161" cy="471542"/>
            </a:xfrm>
            <a:custGeom>
              <a:avLst/>
              <a:gdLst/>
              <a:ahLst/>
              <a:cxnLst/>
              <a:rect l="l" t="t" r="r" b="b"/>
              <a:pathLst>
                <a:path w="608824" h="708660" extrusionOk="0">
                  <a:moveTo>
                    <a:pt x="274010" y="227951"/>
                  </a:moveTo>
                  <a:lnTo>
                    <a:pt x="280755" y="219722"/>
                  </a:lnTo>
                  <a:lnTo>
                    <a:pt x="277383" y="226306"/>
                  </a:lnTo>
                  <a:lnTo>
                    <a:pt x="274010" y="227951"/>
                  </a:lnTo>
                  <a:close/>
                  <a:moveTo>
                    <a:pt x="435888" y="157179"/>
                  </a:moveTo>
                  <a:lnTo>
                    <a:pt x="434202" y="157179"/>
                  </a:lnTo>
                  <a:lnTo>
                    <a:pt x="435888" y="157179"/>
                  </a:lnTo>
                  <a:lnTo>
                    <a:pt x="435888" y="157179"/>
                  </a:lnTo>
                  <a:close/>
                  <a:moveTo>
                    <a:pt x="439260" y="155533"/>
                  </a:moveTo>
                  <a:lnTo>
                    <a:pt x="437574" y="155533"/>
                  </a:lnTo>
                  <a:lnTo>
                    <a:pt x="437574" y="153888"/>
                  </a:lnTo>
                  <a:lnTo>
                    <a:pt x="439260" y="155533"/>
                  </a:lnTo>
                  <a:close/>
                  <a:moveTo>
                    <a:pt x="430829" y="158825"/>
                  </a:moveTo>
                  <a:lnTo>
                    <a:pt x="446005" y="180221"/>
                  </a:lnTo>
                  <a:lnTo>
                    <a:pt x="442632" y="185159"/>
                  </a:lnTo>
                  <a:lnTo>
                    <a:pt x="446005" y="180221"/>
                  </a:lnTo>
                  <a:lnTo>
                    <a:pt x="429143" y="162117"/>
                  </a:lnTo>
                  <a:lnTo>
                    <a:pt x="425771" y="153888"/>
                  </a:lnTo>
                  <a:lnTo>
                    <a:pt x="430829" y="158825"/>
                  </a:lnTo>
                  <a:close/>
                  <a:moveTo>
                    <a:pt x="403850" y="142367"/>
                  </a:moveTo>
                  <a:lnTo>
                    <a:pt x="410594" y="145658"/>
                  </a:lnTo>
                  <a:lnTo>
                    <a:pt x="412281" y="142367"/>
                  </a:lnTo>
                  <a:lnTo>
                    <a:pt x="407222" y="139075"/>
                  </a:lnTo>
                  <a:lnTo>
                    <a:pt x="419025" y="145658"/>
                  </a:lnTo>
                  <a:lnTo>
                    <a:pt x="424084" y="142367"/>
                  </a:lnTo>
                  <a:lnTo>
                    <a:pt x="420712" y="147304"/>
                  </a:lnTo>
                  <a:lnTo>
                    <a:pt x="422398" y="148950"/>
                  </a:lnTo>
                  <a:lnTo>
                    <a:pt x="415653" y="144012"/>
                  </a:lnTo>
                  <a:lnTo>
                    <a:pt x="412281" y="144012"/>
                  </a:lnTo>
                  <a:lnTo>
                    <a:pt x="410594" y="147304"/>
                  </a:lnTo>
                  <a:lnTo>
                    <a:pt x="417339" y="152242"/>
                  </a:lnTo>
                  <a:lnTo>
                    <a:pt x="420712" y="150596"/>
                  </a:lnTo>
                  <a:lnTo>
                    <a:pt x="413967" y="155533"/>
                  </a:lnTo>
                  <a:lnTo>
                    <a:pt x="415653" y="157179"/>
                  </a:lnTo>
                  <a:lnTo>
                    <a:pt x="417339" y="153888"/>
                  </a:lnTo>
                  <a:lnTo>
                    <a:pt x="424084" y="165409"/>
                  </a:lnTo>
                  <a:lnTo>
                    <a:pt x="425771" y="163763"/>
                  </a:lnTo>
                  <a:lnTo>
                    <a:pt x="420712" y="153888"/>
                  </a:lnTo>
                  <a:lnTo>
                    <a:pt x="434202" y="170346"/>
                  </a:lnTo>
                  <a:lnTo>
                    <a:pt x="437574" y="170346"/>
                  </a:lnTo>
                  <a:lnTo>
                    <a:pt x="440946" y="180221"/>
                  </a:lnTo>
                  <a:lnTo>
                    <a:pt x="429143" y="167054"/>
                  </a:lnTo>
                  <a:lnTo>
                    <a:pt x="427457" y="168700"/>
                  </a:lnTo>
                  <a:lnTo>
                    <a:pt x="424084" y="170346"/>
                  </a:lnTo>
                  <a:lnTo>
                    <a:pt x="425771" y="175284"/>
                  </a:lnTo>
                  <a:lnTo>
                    <a:pt x="424084" y="176930"/>
                  </a:lnTo>
                  <a:lnTo>
                    <a:pt x="424084" y="190097"/>
                  </a:lnTo>
                  <a:lnTo>
                    <a:pt x="417339" y="191742"/>
                  </a:lnTo>
                  <a:lnTo>
                    <a:pt x="422398" y="191742"/>
                  </a:lnTo>
                  <a:lnTo>
                    <a:pt x="425771" y="193388"/>
                  </a:lnTo>
                  <a:lnTo>
                    <a:pt x="435888" y="188451"/>
                  </a:lnTo>
                  <a:lnTo>
                    <a:pt x="435888" y="186805"/>
                  </a:lnTo>
                  <a:lnTo>
                    <a:pt x="429143" y="190097"/>
                  </a:lnTo>
                  <a:lnTo>
                    <a:pt x="434202" y="185159"/>
                  </a:lnTo>
                  <a:lnTo>
                    <a:pt x="437574" y="185159"/>
                  </a:lnTo>
                  <a:lnTo>
                    <a:pt x="435888" y="188451"/>
                  </a:lnTo>
                  <a:lnTo>
                    <a:pt x="440946" y="186805"/>
                  </a:lnTo>
                  <a:lnTo>
                    <a:pt x="439260" y="188451"/>
                  </a:lnTo>
                  <a:lnTo>
                    <a:pt x="476357" y="260869"/>
                  </a:lnTo>
                  <a:lnTo>
                    <a:pt x="481416" y="262515"/>
                  </a:lnTo>
                  <a:lnTo>
                    <a:pt x="484788" y="269098"/>
                  </a:lnTo>
                  <a:lnTo>
                    <a:pt x="484788" y="275681"/>
                  </a:lnTo>
                  <a:lnTo>
                    <a:pt x="518513" y="341516"/>
                  </a:lnTo>
                  <a:lnTo>
                    <a:pt x="530316" y="348099"/>
                  </a:lnTo>
                  <a:lnTo>
                    <a:pt x="521885" y="343162"/>
                  </a:lnTo>
                  <a:lnTo>
                    <a:pt x="520199" y="344808"/>
                  </a:lnTo>
                  <a:lnTo>
                    <a:pt x="523571" y="349745"/>
                  </a:lnTo>
                  <a:lnTo>
                    <a:pt x="526944" y="349745"/>
                  </a:lnTo>
                  <a:lnTo>
                    <a:pt x="530316" y="354683"/>
                  </a:lnTo>
                  <a:lnTo>
                    <a:pt x="530316" y="349745"/>
                  </a:lnTo>
                  <a:lnTo>
                    <a:pt x="533689" y="354683"/>
                  </a:lnTo>
                  <a:lnTo>
                    <a:pt x="526944" y="357975"/>
                  </a:lnTo>
                  <a:lnTo>
                    <a:pt x="530316" y="364558"/>
                  </a:lnTo>
                  <a:lnTo>
                    <a:pt x="535375" y="362912"/>
                  </a:lnTo>
                  <a:lnTo>
                    <a:pt x="532003" y="356329"/>
                  </a:lnTo>
                  <a:lnTo>
                    <a:pt x="535375" y="362912"/>
                  </a:lnTo>
                  <a:lnTo>
                    <a:pt x="530316" y="366204"/>
                  </a:lnTo>
                  <a:lnTo>
                    <a:pt x="537061" y="377725"/>
                  </a:lnTo>
                  <a:lnTo>
                    <a:pt x="521885" y="548895"/>
                  </a:lnTo>
                  <a:lnTo>
                    <a:pt x="515140" y="550541"/>
                  </a:lnTo>
                  <a:lnTo>
                    <a:pt x="503337" y="562062"/>
                  </a:lnTo>
                  <a:lnTo>
                    <a:pt x="484788" y="560416"/>
                  </a:lnTo>
                  <a:lnTo>
                    <a:pt x="469612" y="563708"/>
                  </a:lnTo>
                  <a:lnTo>
                    <a:pt x="451064" y="588396"/>
                  </a:lnTo>
                  <a:lnTo>
                    <a:pt x="427457" y="601562"/>
                  </a:lnTo>
                  <a:lnTo>
                    <a:pt x="397105" y="603208"/>
                  </a:lnTo>
                  <a:lnTo>
                    <a:pt x="297617" y="598271"/>
                  </a:lnTo>
                  <a:lnTo>
                    <a:pt x="295931" y="593333"/>
                  </a:lnTo>
                  <a:lnTo>
                    <a:pt x="280755" y="598271"/>
                  </a:lnTo>
                  <a:lnTo>
                    <a:pt x="275696" y="606500"/>
                  </a:lnTo>
                  <a:lnTo>
                    <a:pt x="263893" y="609792"/>
                  </a:lnTo>
                  <a:lnTo>
                    <a:pt x="260520" y="627896"/>
                  </a:lnTo>
                  <a:lnTo>
                    <a:pt x="221737" y="695377"/>
                  </a:lnTo>
                  <a:lnTo>
                    <a:pt x="211620" y="710189"/>
                  </a:lnTo>
                  <a:lnTo>
                    <a:pt x="209934" y="710189"/>
                  </a:lnTo>
                  <a:lnTo>
                    <a:pt x="179582" y="697022"/>
                  </a:lnTo>
                  <a:lnTo>
                    <a:pt x="171150" y="687147"/>
                  </a:lnTo>
                  <a:lnTo>
                    <a:pt x="155975" y="677272"/>
                  </a:lnTo>
                  <a:lnTo>
                    <a:pt x="150916" y="670689"/>
                  </a:lnTo>
                  <a:lnTo>
                    <a:pt x="142485" y="672334"/>
                  </a:lnTo>
                  <a:lnTo>
                    <a:pt x="135740" y="677272"/>
                  </a:lnTo>
                  <a:lnTo>
                    <a:pt x="139112" y="665751"/>
                  </a:lnTo>
                  <a:lnTo>
                    <a:pt x="130681" y="647647"/>
                  </a:lnTo>
                  <a:lnTo>
                    <a:pt x="123936" y="642709"/>
                  </a:lnTo>
                  <a:lnTo>
                    <a:pt x="110446" y="614729"/>
                  </a:lnTo>
                  <a:lnTo>
                    <a:pt x="76722" y="565353"/>
                  </a:lnTo>
                  <a:lnTo>
                    <a:pt x="75036" y="557124"/>
                  </a:lnTo>
                  <a:lnTo>
                    <a:pt x="85153" y="553832"/>
                  </a:lnTo>
                  <a:lnTo>
                    <a:pt x="88525" y="557124"/>
                  </a:lnTo>
                  <a:lnTo>
                    <a:pt x="95270" y="558770"/>
                  </a:lnTo>
                  <a:lnTo>
                    <a:pt x="95270" y="547249"/>
                  </a:lnTo>
                  <a:lnTo>
                    <a:pt x="108760" y="543957"/>
                  </a:lnTo>
                  <a:lnTo>
                    <a:pt x="105388" y="524207"/>
                  </a:lnTo>
                  <a:lnTo>
                    <a:pt x="112133" y="524207"/>
                  </a:lnTo>
                  <a:lnTo>
                    <a:pt x="113819" y="484706"/>
                  </a:lnTo>
                  <a:lnTo>
                    <a:pt x="117191" y="466602"/>
                  </a:lnTo>
                  <a:lnTo>
                    <a:pt x="80094" y="395829"/>
                  </a:lnTo>
                  <a:lnTo>
                    <a:pt x="58173" y="369496"/>
                  </a:lnTo>
                  <a:lnTo>
                    <a:pt x="39625" y="359620"/>
                  </a:lnTo>
                  <a:lnTo>
                    <a:pt x="4214" y="366204"/>
                  </a:lnTo>
                  <a:lnTo>
                    <a:pt x="22763" y="297078"/>
                  </a:lnTo>
                  <a:lnTo>
                    <a:pt x="59860" y="213139"/>
                  </a:lnTo>
                  <a:lnTo>
                    <a:pt x="75036" y="218076"/>
                  </a:lnTo>
                  <a:lnTo>
                    <a:pt x="80094" y="208201"/>
                  </a:lnTo>
                  <a:lnTo>
                    <a:pt x="85153" y="211493"/>
                  </a:lnTo>
                  <a:lnTo>
                    <a:pt x="83467" y="213139"/>
                  </a:lnTo>
                  <a:lnTo>
                    <a:pt x="80094" y="213139"/>
                  </a:lnTo>
                  <a:lnTo>
                    <a:pt x="81781" y="214784"/>
                  </a:lnTo>
                  <a:lnTo>
                    <a:pt x="91898" y="223014"/>
                  </a:lnTo>
                  <a:lnTo>
                    <a:pt x="132367" y="246056"/>
                  </a:lnTo>
                  <a:lnTo>
                    <a:pt x="142485" y="246056"/>
                  </a:lnTo>
                  <a:lnTo>
                    <a:pt x="142485" y="249348"/>
                  </a:lnTo>
                  <a:lnTo>
                    <a:pt x="137426" y="246056"/>
                  </a:lnTo>
                  <a:lnTo>
                    <a:pt x="135740" y="249348"/>
                  </a:lnTo>
                  <a:lnTo>
                    <a:pt x="167778" y="267452"/>
                  </a:lnTo>
                  <a:lnTo>
                    <a:pt x="177895" y="272390"/>
                  </a:lnTo>
                  <a:lnTo>
                    <a:pt x="186327" y="272390"/>
                  </a:lnTo>
                  <a:lnTo>
                    <a:pt x="226796" y="259223"/>
                  </a:lnTo>
                  <a:lnTo>
                    <a:pt x="245344" y="246056"/>
                  </a:lnTo>
                  <a:lnTo>
                    <a:pt x="275696" y="232889"/>
                  </a:lnTo>
                  <a:lnTo>
                    <a:pt x="299304" y="204909"/>
                  </a:lnTo>
                  <a:lnTo>
                    <a:pt x="304362" y="185159"/>
                  </a:lnTo>
                  <a:lnTo>
                    <a:pt x="319538" y="170346"/>
                  </a:lnTo>
                  <a:lnTo>
                    <a:pt x="348204" y="168700"/>
                  </a:lnTo>
                  <a:lnTo>
                    <a:pt x="371811" y="158825"/>
                  </a:lnTo>
                  <a:lnTo>
                    <a:pt x="385301" y="163763"/>
                  </a:lnTo>
                  <a:lnTo>
                    <a:pt x="398791" y="160471"/>
                  </a:lnTo>
                  <a:lnTo>
                    <a:pt x="405536" y="155533"/>
                  </a:lnTo>
                  <a:lnTo>
                    <a:pt x="408908" y="148950"/>
                  </a:lnTo>
                  <a:lnTo>
                    <a:pt x="403850" y="142367"/>
                  </a:lnTo>
                  <a:lnTo>
                    <a:pt x="405536" y="139075"/>
                  </a:lnTo>
                  <a:lnTo>
                    <a:pt x="403850" y="142367"/>
                  </a:lnTo>
                  <a:close/>
                  <a:moveTo>
                    <a:pt x="432515" y="137429"/>
                  </a:moveTo>
                  <a:lnTo>
                    <a:pt x="437574" y="137429"/>
                  </a:lnTo>
                  <a:lnTo>
                    <a:pt x="430829" y="137429"/>
                  </a:lnTo>
                  <a:lnTo>
                    <a:pt x="424084" y="134137"/>
                  </a:lnTo>
                  <a:lnTo>
                    <a:pt x="432515" y="137429"/>
                  </a:lnTo>
                  <a:close/>
                  <a:moveTo>
                    <a:pt x="451064" y="145658"/>
                  </a:moveTo>
                  <a:lnTo>
                    <a:pt x="446005" y="157179"/>
                  </a:lnTo>
                  <a:lnTo>
                    <a:pt x="439260" y="153888"/>
                  </a:lnTo>
                  <a:lnTo>
                    <a:pt x="439260" y="147304"/>
                  </a:lnTo>
                  <a:lnTo>
                    <a:pt x="447691" y="145658"/>
                  </a:lnTo>
                  <a:lnTo>
                    <a:pt x="614628" y="4114"/>
                  </a:lnTo>
                  <a:lnTo>
                    <a:pt x="616314" y="5760"/>
                  </a:lnTo>
                  <a:lnTo>
                    <a:pt x="451064" y="14565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3" name="Oldenzaal">
              <a:extLst>
                <a:ext uri="{FF2B5EF4-FFF2-40B4-BE49-F238E27FC236}">
                  <a16:creationId xmlns:a16="http://schemas.microsoft.com/office/drawing/2014/main" id="{B6D3CF38-2CA5-4770-86FF-EB7B8360213E}"/>
                </a:ext>
              </a:extLst>
            </p:cNvPr>
            <p:cNvSpPr/>
            <p:nvPr/>
          </p:nvSpPr>
          <p:spPr>
            <a:xfrm>
              <a:off x="7764188" y="3115817"/>
              <a:ext cx="82603" cy="91223"/>
            </a:xfrm>
            <a:custGeom>
              <a:avLst/>
              <a:gdLst/>
              <a:ahLst/>
              <a:cxnLst/>
              <a:rect l="l" t="t" r="r" b="b"/>
              <a:pathLst>
                <a:path w="140498" h="125730" extrusionOk="0">
                  <a:moveTo>
                    <a:pt x="80094" y="10697"/>
                  </a:moveTo>
                  <a:lnTo>
                    <a:pt x="110447" y="13989"/>
                  </a:lnTo>
                  <a:lnTo>
                    <a:pt x="112132" y="5760"/>
                  </a:lnTo>
                  <a:lnTo>
                    <a:pt x="120563" y="5760"/>
                  </a:lnTo>
                  <a:lnTo>
                    <a:pt x="115505" y="28802"/>
                  </a:lnTo>
                  <a:lnTo>
                    <a:pt x="128995" y="30448"/>
                  </a:lnTo>
                  <a:lnTo>
                    <a:pt x="132367" y="33739"/>
                  </a:lnTo>
                  <a:lnTo>
                    <a:pt x="132367" y="37031"/>
                  </a:lnTo>
                  <a:lnTo>
                    <a:pt x="139112" y="37031"/>
                  </a:lnTo>
                  <a:lnTo>
                    <a:pt x="139112" y="45260"/>
                  </a:lnTo>
                  <a:lnTo>
                    <a:pt x="137426" y="45260"/>
                  </a:lnTo>
                  <a:lnTo>
                    <a:pt x="135740" y="50198"/>
                  </a:lnTo>
                  <a:lnTo>
                    <a:pt x="140798" y="63365"/>
                  </a:lnTo>
                  <a:lnTo>
                    <a:pt x="128995" y="88053"/>
                  </a:lnTo>
                  <a:lnTo>
                    <a:pt x="135740" y="101220"/>
                  </a:lnTo>
                  <a:lnTo>
                    <a:pt x="127309" y="107803"/>
                  </a:lnTo>
                  <a:lnTo>
                    <a:pt x="118878" y="106157"/>
                  </a:lnTo>
                  <a:lnTo>
                    <a:pt x="125622" y="122616"/>
                  </a:lnTo>
                  <a:lnTo>
                    <a:pt x="93584" y="124262"/>
                  </a:lnTo>
                  <a:lnTo>
                    <a:pt x="86839" y="127554"/>
                  </a:lnTo>
                  <a:lnTo>
                    <a:pt x="83467" y="119324"/>
                  </a:lnTo>
                  <a:lnTo>
                    <a:pt x="56487" y="101220"/>
                  </a:lnTo>
                  <a:lnTo>
                    <a:pt x="49742" y="104512"/>
                  </a:lnTo>
                  <a:lnTo>
                    <a:pt x="41311" y="101220"/>
                  </a:lnTo>
                  <a:lnTo>
                    <a:pt x="34566" y="101220"/>
                  </a:lnTo>
                  <a:lnTo>
                    <a:pt x="34566" y="97928"/>
                  </a:lnTo>
                  <a:lnTo>
                    <a:pt x="26135" y="92991"/>
                  </a:lnTo>
                  <a:lnTo>
                    <a:pt x="12645" y="92991"/>
                  </a:lnTo>
                  <a:lnTo>
                    <a:pt x="4214" y="89699"/>
                  </a:lnTo>
                  <a:lnTo>
                    <a:pt x="5901" y="71594"/>
                  </a:lnTo>
                  <a:lnTo>
                    <a:pt x="14332" y="68302"/>
                  </a:lnTo>
                  <a:lnTo>
                    <a:pt x="14332" y="61719"/>
                  </a:lnTo>
                  <a:lnTo>
                    <a:pt x="17704" y="56781"/>
                  </a:lnTo>
                  <a:lnTo>
                    <a:pt x="29508" y="56781"/>
                  </a:lnTo>
                  <a:lnTo>
                    <a:pt x="32880" y="40323"/>
                  </a:lnTo>
                  <a:lnTo>
                    <a:pt x="39625" y="41969"/>
                  </a:lnTo>
                  <a:lnTo>
                    <a:pt x="42997" y="32094"/>
                  </a:lnTo>
                  <a:lnTo>
                    <a:pt x="54801" y="25510"/>
                  </a:lnTo>
                  <a:lnTo>
                    <a:pt x="63232" y="4114"/>
                  </a:lnTo>
                  <a:lnTo>
                    <a:pt x="80094" y="1069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4" name="Oegstgeest">
              <a:extLst>
                <a:ext uri="{FF2B5EF4-FFF2-40B4-BE49-F238E27FC236}">
                  <a16:creationId xmlns:a16="http://schemas.microsoft.com/office/drawing/2014/main" id="{5716F6B1-BEE1-48F3-BBC0-34972CC05887}"/>
                </a:ext>
              </a:extLst>
            </p:cNvPr>
            <p:cNvSpPr/>
            <p:nvPr/>
          </p:nvSpPr>
          <p:spPr>
            <a:xfrm>
              <a:off x="5236781" y="3343680"/>
              <a:ext cx="65863" cy="58522"/>
            </a:xfrm>
            <a:custGeom>
              <a:avLst/>
              <a:gdLst/>
              <a:ahLst/>
              <a:cxnLst/>
              <a:rect l="l" t="t" r="r" b="b"/>
              <a:pathLst>
                <a:path w="93665" h="102870" extrusionOk="0">
                  <a:moveTo>
                    <a:pt x="73349" y="10697"/>
                  </a:moveTo>
                  <a:lnTo>
                    <a:pt x="83467" y="5760"/>
                  </a:lnTo>
                  <a:lnTo>
                    <a:pt x="85153" y="9052"/>
                  </a:lnTo>
                  <a:lnTo>
                    <a:pt x="90212" y="7406"/>
                  </a:lnTo>
                  <a:lnTo>
                    <a:pt x="93584" y="28802"/>
                  </a:lnTo>
                  <a:lnTo>
                    <a:pt x="83467" y="40323"/>
                  </a:lnTo>
                  <a:lnTo>
                    <a:pt x="88525" y="50198"/>
                  </a:lnTo>
                  <a:lnTo>
                    <a:pt x="86839" y="60073"/>
                  </a:lnTo>
                  <a:lnTo>
                    <a:pt x="90212" y="61719"/>
                  </a:lnTo>
                  <a:lnTo>
                    <a:pt x="93584" y="60073"/>
                  </a:lnTo>
                  <a:lnTo>
                    <a:pt x="95270" y="55136"/>
                  </a:lnTo>
                  <a:lnTo>
                    <a:pt x="98643" y="55136"/>
                  </a:lnTo>
                  <a:lnTo>
                    <a:pt x="95270" y="69949"/>
                  </a:lnTo>
                  <a:lnTo>
                    <a:pt x="90212" y="74886"/>
                  </a:lnTo>
                  <a:lnTo>
                    <a:pt x="83467" y="68302"/>
                  </a:lnTo>
                  <a:lnTo>
                    <a:pt x="83467" y="71594"/>
                  </a:lnTo>
                  <a:lnTo>
                    <a:pt x="69977" y="65011"/>
                  </a:lnTo>
                  <a:lnTo>
                    <a:pt x="54801" y="79823"/>
                  </a:lnTo>
                  <a:lnTo>
                    <a:pt x="51428" y="88053"/>
                  </a:lnTo>
                  <a:lnTo>
                    <a:pt x="32880" y="84761"/>
                  </a:lnTo>
                  <a:lnTo>
                    <a:pt x="22763" y="106157"/>
                  </a:lnTo>
                  <a:lnTo>
                    <a:pt x="19390" y="92991"/>
                  </a:lnTo>
                  <a:lnTo>
                    <a:pt x="24449" y="79823"/>
                  </a:lnTo>
                  <a:lnTo>
                    <a:pt x="22763" y="69949"/>
                  </a:lnTo>
                  <a:lnTo>
                    <a:pt x="19390" y="66657"/>
                  </a:lnTo>
                  <a:lnTo>
                    <a:pt x="4214" y="61719"/>
                  </a:lnTo>
                  <a:lnTo>
                    <a:pt x="39625" y="55136"/>
                  </a:lnTo>
                  <a:lnTo>
                    <a:pt x="46370" y="32094"/>
                  </a:lnTo>
                  <a:lnTo>
                    <a:pt x="51428" y="23864"/>
                  </a:lnTo>
                  <a:lnTo>
                    <a:pt x="44683" y="22218"/>
                  </a:lnTo>
                  <a:lnTo>
                    <a:pt x="48056" y="15635"/>
                  </a:lnTo>
                  <a:lnTo>
                    <a:pt x="54801" y="10697"/>
                  </a:lnTo>
                  <a:lnTo>
                    <a:pt x="59860" y="12343"/>
                  </a:lnTo>
                  <a:lnTo>
                    <a:pt x="69977" y="4114"/>
                  </a:lnTo>
                  <a:lnTo>
                    <a:pt x="73349" y="1069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5" name="Berg en Dal">
              <a:extLst>
                <a:ext uri="{FF2B5EF4-FFF2-40B4-BE49-F238E27FC236}">
                  <a16:creationId xmlns:a16="http://schemas.microsoft.com/office/drawing/2014/main" id="{8CFAE481-F990-460A-84FA-1BC14AB66309}"/>
                </a:ext>
              </a:extLst>
            </p:cNvPr>
            <p:cNvSpPr/>
            <p:nvPr/>
          </p:nvSpPr>
          <p:spPr>
            <a:xfrm>
              <a:off x="6750927" y="3871919"/>
              <a:ext cx="197591" cy="234878"/>
            </a:xfrm>
            <a:custGeom>
              <a:avLst/>
              <a:gdLst/>
              <a:ahLst/>
              <a:cxnLst/>
              <a:rect l="l" t="t" r="r" b="b"/>
              <a:pathLst>
                <a:path w="280996" h="342900" extrusionOk="0">
                  <a:moveTo>
                    <a:pt x="282441" y="50198"/>
                  </a:moveTo>
                  <a:lnTo>
                    <a:pt x="279069" y="61719"/>
                  </a:lnTo>
                  <a:lnTo>
                    <a:pt x="267265" y="63365"/>
                  </a:lnTo>
                  <a:lnTo>
                    <a:pt x="272324" y="73240"/>
                  </a:lnTo>
                  <a:lnTo>
                    <a:pt x="252089" y="86407"/>
                  </a:lnTo>
                  <a:lnTo>
                    <a:pt x="243658" y="97928"/>
                  </a:lnTo>
                  <a:lnTo>
                    <a:pt x="240286" y="96282"/>
                  </a:lnTo>
                  <a:lnTo>
                    <a:pt x="238599" y="97928"/>
                  </a:lnTo>
                  <a:lnTo>
                    <a:pt x="233541" y="91345"/>
                  </a:lnTo>
                  <a:lnTo>
                    <a:pt x="214992" y="101220"/>
                  </a:lnTo>
                  <a:lnTo>
                    <a:pt x="213306" y="109449"/>
                  </a:lnTo>
                  <a:lnTo>
                    <a:pt x="203189" y="116033"/>
                  </a:lnTo>
                  <a:lnTo>
                    <a:pt x="179582" y="125908"/>
                  </a:lnTo>
                  <a:lnTo>
                    <a:pt x="167778" y="127554"/>
                  </a:lnTo>
                  <a:lnTo>
                    <a:pt x="144171" y="120971"/>
                  </a:lnTo>
                  <a:lnTo>
                    <a:pt x="132367" y="112741"/>
                  </a:lnTo>
                  <a:lnTo>
                    <a:pt x="105388" y="144013"/>
                  </a:lnTo>
                  <a:lnTo>
                    <a:pt x="103701" y="145658"/>
                  </a:lnTo>
                  <a:lnTo>
                    <a:pt x="123936" y="160471"/>
                  </a:lnTo>
                  <a:lnTo>
                    <a:pt x="117191" y="165409"/>
                  </a:lnTo>
                  <a:lnTo>
                    <a:pt x="108760" y="162117"/>
                  </a:lnTo>
                  <a:lnTo>
                    <a:pt x="105388" y="165409"/>
                  </a:lnTo>
                  <a:lnTo>
                    <a:pt x="107074" y="168700"/>
                  </a:lnTo>
                  <a:lnTo>
                    <a:pt x="112132" y="171992"/>
                  </a:lnTo>
                  <a:lnTo>
                    <a:pt x="108760" y="173638"/>
                  </a:lnTo>
                  <a:lnTo>
                    <a:pt x="122250" y="176930"/>
                  </a:lnTo>
                  <a:lnTo>
                    <a:pt x="157661" y="206555"/>
                  </a:lnTo>
                  <a:lnTo>
                    <a:pt x="149230" y="211493"/>
                  </a:lnTo>
                  <a:lnTo>
                    <a:pt x="154288" y="214785"/>
                  </a:lnTo>
                  <a:lnTo>
                    <a:pt x="147543" y="226306"/>
                  </a:lnTo>
                  <a:lnTo>
                    <a:pt x="150916" y="227952"/>
                  </a:lnTo>
                  <a:lnTo>
                    <a:pt x="150916" y="237827"/>
                  </a:lnTo>
                  <a:lnTo>
                    <a:pt x="157661" y="234535"/>
                  </a:lnTo>
                  <a:lnTo>
                    <a:pt x="161033" y="239473"/>
                  </a:lnTo>
                  <a:lnTo>
                    <a:pt x="166092" y="237827"/>
                  </a:lnTo>
                  <a:lnTo>
                    <a:pt x="171150" y="242764"/>
                  </a:lnTo>
                  <a:lnTo>
                    <a:pt x="174523" y="241118"/>
                  </a:lnTo>
                  <a:lnTo>
                    <a:pt x="164405" y="252639"/>
                  </a:lnTo>
                  <a:lnTo>
                    <a:pt x="166092" y="254286"/>
                  </a:lnTo>
                  <a:lnTo>
                    <a:pt x="162719" y="264160"/>
                  </a:lnTo>
                  <a:lnTo>
                    <a:pt x="176209" y="274036"/>
                  </a:lnTo>
                  <a:lnTo>
                    <a:pt x="177895" y="272390"/>
                  </a:lnTo>
                  <a:lnTo>
                    <a:pt x="174523" y="282265"/>
                  </a:lnTo>
                  <a:lnTo>
                    <a:pt x="157661" y="297078"/>
                  </a:lnTo>
                  <a:lnTo>
                    <a:pt x="150916" y="300369"/>
                  </a:lnTo>
                  <a:lnTo>
                    <a:pt x="117191" y="325057"/>
                  </a:lnTo>
                  <a:lnTo>
                    <a:pt x="118877" y="326704"/>
                  </a:lnTo>
                  <a:lnTo>
                    <a:pt x="117191" y="334933"/>
                  </a:lnTo>
                  <a:lnTo>
                    <a:pt x="103701" y="341516"/>
                  </a:lnTo>
                  <a:lnTo>
                    <a:pt x="91898" y="344808"/>
                  </a:lnTo>
                  <a:lnTo>
                    <a:pt x="86839" y="341516"/>
                  </a:lnTo>
                  <a:lnTo>
                    <a:pt x="83467" y="336579"/>
                  </a:lnTo>
                  <a:lnTo>
                    <a:pt x="88525" y="326704"/>
                  </a:lnTo>
                  <a:lnTo>
                    <a:pt x="59859" y="316828"/>
                  </a:lnTo>
                  <a:lnTo>
                    <a:pt x="53115" y="293786"/>
                  </a:lnTo>
                  <a:lnTo>
                    <a:pt x="44684" y="285557"/>
                  </a:lnTo>
                  <a:lnTo>
                    <a:pt x="17704" y="242764"/>
                  </a:lnTo>
                  <a:lnTo>
                    <a:pt x="16018" y="213139"/>
                  </a:lnTo>
                  <a:lnTo>
                    <a:pt x="5900" y="198326"/>
                  </a:lnTo>
                  <a:lnTo>
                    <a:pt x="4214" y="178576"/>
                  </a:lnTo>
                  <a:lnTo>
                    <a:pt x="17704" y="178576"/>
                  </a:lnTo>
                  <a:lnTo>
                    <a:pt x="10959" y="168700"/>
                  </a:lnTo>
                  <a:lnTo>
                    <a:pt x="5900" y="152242"/>
                  </a:lnTo>
                  <a:lnTo>
                    <a:pt x="42997" y="135783"/>
                  </a:lnTo>
                  <a:lnTo>
                    <a:pt x="48056" y="130846"/>
                  </a:lnTo>
                  <a:lnTo>
                    <a:pt x="42997" y="127554"/>
                  </a:lnTo>
                  <a:lnTo>
                    <a:pt x="29507" y="124262"/>
                  </a:lnTo>
                  <a:lnTo>
                    <a:pt x="32880" y="114387"/>
                  </a:lnTo>
                  <a:lnTo>
                    <a:pt x="24449" y="107804"/>
                  </a:lnTo>
                  <a:lnTo>
                    <a:pt x="26135" y="102866"/>
                  </a:lnTo>
                  <a:lnTo>
                    <a:pt x="17704" y="101220"/>
                  </a:lnTo>
                  <a:lnTo>
                    <a:pt x="4214" y="94637"/>
                  </a:lnTo>
                  <a:lnTo>
                    <a:pt x="16018" y="83116"/>
                  </a:lnTo>
                  <a:lnTo>
                    <a:pt x="10959" y="81470"/>
                  </a:lnTo>
                  <a:lnTo>
                    <a:pt x="16018" y="71595"/>
                  </a:lnTo>
                  <a:lnTo>
                    <a:pt x="16018" y="60074"/>
                  </a:lnTo>
                  <a:lnTo>
                    <a:pt x="5900" y="60074"/>
                  </a:lnTo>
                  <a:lnTo>
                    <a:pt x="14332" y="45261"/>
                  </a:lnTo>
                  <a:lnTo>
                    <a:pt x="27821" y="32094"/>
                  </a:lnTo>
                  <a:lnTo>
                    <a:pt x="48056" y="23865"/>
                  </a:lnTo>
                  <a:lnTo>
                    <a:pt x="66605" y="22219"/>
                  </a:lnTo>
                  <a:lnTo>
                    <a:pt x="83467" y="23865"/>
                  </a:lnTo>
                  <a:lnTo>
                    <a:pt x="91898" y="28802"/>
                  </a:lnTo>
                  <a:lnTo>
                    <a:pt x="120563" y="65011"/>
                  </a:lnTo>
                  <a:lnTo>
                    <a:pt x="130681" y="69949"/>
                  </a:lnTo>
                  <a:lnTo>
                    <a:pt x="142484" y="69949"/>
                  </a:lnTo>
                  <a:lnTo>
                    <a:pt x="150916" y="65011"/>
                  </a:lnTo>
                  <a:lnTo>
                    <a:pt x="159347" y="56782"/>
                  </a:lnTo>
                  <a:lnTo>
                    <a:pt x="171150" y="28802"/>
                  </a:lnTo>
                  <a:lnTo>
                    <a:pt x="179582" y="15635"/>
                  </a:lnTo>
                  <a:lnTo>
                    <a:pt x="189699" y="7406"/>
                  </a:lnTo>
                  <a:lnTo>
                    <a:pt x="206561" y="4114"/>
                  </a:lnTo>
                  <a:lnTo>
                    <a:pt x="216678" y="7406"/>
                  </a:lnTo>
                  <a:lnTo>
                    <a:pt x="241972" y="23865"/>
                  </a:lnTo>
                  <a:lnTo>
                    <a:pt x="277382" y="37031"/>
                  </a:lnTo>
                  <a:lnTo>
                    <a:pt x="285814" y="41969"/>
                  </a:lnTo>
                  <a:lnTo>
                    <a:pt x="282441" y="5019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6" name="Den Helder">
              <a:extLst>
                <a:ext uri="{FF2B5EF4-FFF2-40B4-BE49-F238E27FC236}">
                  <a16:creationId xmlns:a16="http://schemas.microsoft.com/office/drawing/2014/main" id="{2FE36029-4944-4CB4-95B1-E3AE6171F3DF}"/>
                </a:ext>
              </a:extLst>
            </p:cNvPr>
            <p:cNvSpPr/>
            <p:nvPr/>
          </p:nvSpPr>
          <p:spPr>
            <a:xfrm>
              <a:off x="5532348" y="2097334"/>
              <a:ext cx="123733" cy="147898"/>
            </a:xfrm>
            <a:custGeom>
              <a:avLst/>
              <a:gdLst/>
              <a:ahLst/>
              <a:cxnLst/>
              <a:rect l="l" t="t" r="r" b="b"/>
              <a:pathLst>
                <a:path w="175622" h="217170" extrusionOk="0">
                  <a:moveTo>
                    <a:pt x="149229" y="37031"/>
                  </a:moveTo>
                  <a:lnTo>
                    <a:pt x="177895" y="40323"/>
                  </a:lnTo>
                  <a:lnTo>
                    <a:pt x="182954" y="46906"/>
                  </a:lnTo>
                  <a:lnTo>
                    <a:pt x="177895" y="40323"/>
                  </a:lnTo>
                  <a:lnTo>
                    <a:pt x="149229" y="37031"/>
                  </a:lnTo>
                  <a:close/>
                  <a:moveTo>
                    <a:pt x="117191" y="7406"/>
                  </a:moveTo>
                  <a:lnTo>
                    <a:pt x="117191" y="13989"/>
                  </a:lnTo>
                  <a:lnTo>
                    <a:pt x="112133" y="12343"/>
                  </a:lnTo>
                  <a:lnTo>
                    <a:pt x="115505" y="15635"/>
                  </a:lnTo>
                  <a:lnTo>
                    <a:pt x="112133" y="12343"/>
                  </a:lnTo>
                  <a:lnTo>
                    <a:pt x="112133" y="15635"/>
                  </a:lnTo>
                  <a:lnTo>
                    <a:pt x="110446" y="13989"/>
                  </a:lnTo>
                  <a:lnTo>
                    <a:pt x="102015" y="17281"/>
                  </a:lnTo>
                  <a:lnTo>
                    <a:pt x="108760" y="32094"/>
                  </a:lnTo>
                  <a:lnTo>
                    <a:pt x="122250" y="45261"/>
                  </a:lnTo>
                  <a:lnTo>
                    <a:pt x="120564" y="51844"/>
                  </a:lnTo>
                  <a:lnTo>
                    <a:pt x="125622" y="46906"/>
                  </a:lnTo>
                  <a:lnTo>
                    <a:pt x="123936" y="51844"/>
                  </a:lnTo>
                  <a:lnTo>
                    <a:pt x="127309" y="45261"/>
                  </a:lnTo>
                  <a:lnTo>
                    <a:pt x="112133" y="30448"/>
                  </a:lnTo>
                  <a:lnTo>
                    <a:pt x="108760" y="20573"/>
                  </a:lnTo>
                  <a:lnTo>
                    <a:pt x="110446" y="23864"/>
                  </a:lnTo>
                  <a:lnTo>
                    <a:pt x="110446" y="18927"/>
                  </a:lnTo>
                  <a:lnTo>
                    <a:pt x="113819" y="20573"/>
                  </a:lnTo>
                  <a:lnTo>
                    <a:pt x="112133" y="22219"/>
                  </a:lnTo>
                  <a:lnTo>
                    <a:pt x="115505" y="20573"/>
                  </a:lnTo>
                  <a:lnTo>
                    <a:pt x="112133" y="22219"/>
                  </a:lnTo>
                  <a:lnTo>
                    <a:pt x="117191" y="22219"/>
                  </a:lnTo>
                  <a:lnTo>
                    <a:pt x="113819" y="23864"/>
                  </a:lnTo>
                  <a:lnTo>
                    <a:pt x="117191" y="23864"/>
                  </a:lnTo>
                  <a:lnTo>
                    <a:pt x="113819" y="25510"/>
                  </a:lnTo>
                  <a:lnTo>
                    <a:pt x="118877" y="27156"/>
                  </a:lnTo>
                  <a:lnTo>
                    <a:pt x="118877" y="32094"/>
                  </a:lnTo>
                  <a:lnTo>
                    <a:pt x="122250" y="32094"/>
                  </a:lnTo>
                  <a:lnTo>
                    <a:pt x="120564" y="25510"/>
                  </a:lnTo>
                  <a:lnTo>
                    <a:pt x="122250" y="32094"/>
                  </a:lnTo>
                  <a:lnTo>
                    <a:pt x="128995" y="30448"/>
                  </a:lnTo>
                  <a:lnTo>
                    <a:pt x="128995" y="25510"/>
                  </a:lnTo>
                  <a:lnTo>
                    <a:pt x="130681" y="30448"/>
                  </a:lnTo>
                  <a:lnTo>
                    <a:pt x="132367" y="30448"/>
                  </a:lnTo>
                  <a:lnTo>
                    <a:pt x="130681" y="25510"/>
                  </a:lnTo>
                  <a:lnTo>
                    <a:pt x="132367" y="27156"/>
                  </a:lnTo>
                  <a:lnTo>
                    <a:pt x="137426" y="25510"/>
                  </a:lnTo>
                  <a:lnTo>
                    <a:pt x="134053" y="22219"/>
                  </a:lnTo>
                  <a:lnTo>
                    <a:pt x="130681" y="22219"/>
                  </a:lnTo>
                  <a:lnTo>
                    <a:pt x="137426" y="20573"/>
                  </a:lnTo>
                  <a:lnTo>
                    <a:pt x="137426" y="18927"/>
                  </a:lnTo>
                  <a:lnTo>
                    <a:pt x="135740" y="13989"/>
                  </a:lnTo>
                  <a:lnTo>
                    <a:pt x="135740" y="17281"/>
                  </a:lnTo>
                  <a:lnTo>
                    <a:pt x="132367" y="15635"/>
                  </a:lnTo>
                  <a:lnTo>
                    <a:pt x="132367" y="18927"/>
                  </a:lnTo>
                  <a:lnTo>
                    <a:pt x="130681" y="18927"/>
                  </a:lnTo>
                  <a:lnTo>
                    <a:pt x="128995" y="13989"/>
                  </a:lnTo>
                  <a:lnTo>
                    <a:pt x="125622" y="12343"/>
                  </a:lnTo>
                  <a:lnTo>
                    <a:pt x="134053" y="9052"/>
                  </a:lnTo>
                  <a:lnTo>
                    <a:pt x="144171" y="9052"/>
                  </a:lnTo>
                  <a:lnTo>
                    <a:pt x="145857" y="20573"/>
                  </a:lnTo>
                  <a:lnTo>
                    <a:pt x="144171" y="35385"/>
                  </a:lnTo>
                  <a:lnTo>
                    <a:pt x="130681" y="56782"/>
                  </a:lnTo>
                  <a:lnTo>
                    <a:pt x="127309" y="78178"/>
                  </a:lnTo>
                  <a:lnTo>
                    <a:pt x="128995" y="84761"/>
                  </a:lnTo>
                  <a:lnTo>
                    <a:pt x="130681" y="79824"/>
                  </a:lnTo>
                  <a:lnTo>
                    <a:pt x="130681" y="84761"/>
                  </a:lnTo>
                  <a:lnTo>
                    <a:pt x="132367" y="83115"/>
                  </a:lnTo>
                  <a:lnTo>
                    <a:pt x="132367" y="91345"/>
                  </a:lnTo>
                  <a:lnTo>
                    <a:pt x="144171" y="119324"/>
                  </a:lnTo>
                  <a:lnTo>
                    <a:pt x="157661" y="132491"/>
                  </a:lnTo>
                  <a:lnTo>
                    <a:pt x="152602" y="129200"/>
                  </a:lnTo>
                  <a:lnTo>
                    <a:pt x="147543" y="139075"/>
                  </a:lnTo>
                  <a:lnTo>
                    <a:pt x="132367" y="134137"/>
                  </a:lnTo>
                  <a:lnTo>
                    <a:pt x="95270" y="214785"/>
                  </a:lnTo>
                  <a:lnTo>
                    <a:pt x="4214" y="203264"/>
                  </a:lnTo>
                  <a:lnTo>
                    <a:pt x="9273" y="170346"/>
                  </a:lnTo>
                  <a:lnTo>
                    <a:pt x="9273" y="135783"/>
                  </a:lnTo>
                  <a:lnTo>
                    <a:pt x="7587" y="132491"/>
                  </a:lnTo>
                  <a:lnTo>
                    <a:pt x="9273" y="130845"/>
                  </a:lnTo>
                  <a:lnTo>
                    <a:pt x="10959" y="84761"/>
                  </a:lnTo>
                  <a:lnTo>
                    <a:pt x="16018" y="56782"/>
                  </a:lnTo>
                  <a:lnTo>
                    <a:pt x="12645" y="55136"/>
                  </a:lnTo>
                  <a:lnTo>
                    <a:pt x="16018" y="55136"/>
                  </a:lnTo>
                  <a:lnTo>
                    <a:pt x="16018" y="46906"/>
                  </a:lnTo>
                  <a:lnTo>
                    <a:pt x="17704" y="48552"/>
                  </a:lnTo>
                  <a:lnTo>
                    <a:pt x="21076" y="35385"/>
                  </a:lnTo>
                  <a:lnTo>
                    <a:pt x="37939" y="12343"/>
                  </a:lnTo>
                  <a:lnTo>
                    <a:pt x="54801" y="9052"/>
                  </a:lnTo>
                  <a:lnTo>
                    <a:pt x="75036" y="9052"/>
                  </a:lnTo>
                  <a:lnTo>
                    <a:pt x="85153" y="5760"/>
                  </a:lnTo>
                  <a:lnTo>
                    <a:pt x="110446" y="5760"/>
                  </a:lnTo>
                  <a:lnTo>
                    <a:pt x="108760" y="12343"/>
                  </a:lnTo>
                  <a:lnTo>
                    <a:pt x="117191" y="4114"/>
                  </a:lnTo>
                  <a:lnTo>
                    <a:pt x="117191"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7" name="Almelo">
              <a:extLst>
                <a:ext uri="{FF2B5EF4-FFF2-40B4-BE49-F238E27FC236}">
                  <a16:creationId xmlns:a16="http://schemas.microsoft.com/office/drawing/2014/main" id="{B7522D43-3ED0-4F8C-B753-87D04D795684}"/>
                </a:ext>
              </a:extLst>
            </p:cNvPr>
            <p:cNvSpPr/>
            <p:nvPr/>
          </p:nvSpPr>
          <p:spPr>
            <a:xfrm>
              <a:off x="7504637" y="3019464"/>
              <a:ext cx="114583" cy="164808"/>
            </a:xfrm>
            <a:custGeom>
              <a:avLst/>
              <a:gdLst/>
              <a:ahLst/>
              <a:cxnLst/>
              <a:rect l="l" t="t" r="r" b="b"/>
              <a:pathLst>
                <a:path w="187330" h="262890" extrusionOk="0">
                  <a:moveTo>
                    <a:pt x="73349" y="10698"/>
                  </a:moveTo>
                  <a:lnTo>
                    <a:pt x="78408" y="13989"/>
                  </a:lnTo>
                  <a:lnTo>
                    <a:pt x="83467" y="5760"/>
                  </a:lnTo>
                  <a:lnTo>
                    <a:pt x="103701" y="27156"/>
                  </a:lnTo>
                  <a:lnTo>
                    <a:pt x="113819" y="28802"/>
                  </a:lnTo>
                  <a:lnTo>
                    <a:pt x="120564" y="10698"/>
                  </a:lnTo>
                  <a:lnTo>
                    <a:pt x="134053" y="23864"/>
                  </a:lnTo>
                  <a:lnTo>
                    <a:pt x="134053" y="18927"/>
                  </a:lnTo>
                  <a:lnTo>
                    <a:pt x="154288" y="15635"/>
                  </a:lnTo>
                  <a:lnTo>
                    <a:pt x="154288" y="22219"/>
                  </a:lnTo>
                  <a:lnTo>
                    <a:pt x="166092" y="53490"/>
                  </a:lnTo>
                  <a:lnTo>
                    <a:pt x="177895" y="56782"/>
                  </a:lnTo>
                  <a:lnTo>
                    <a:pt x="176209" y="63365"/>
                  </a:lnTo>
                  <a:lnTo>
                    <a:pt x="181268" y="81470"/>
                  </a:lnTo>
                  <a:lnTo>
                    <a:pt x="188013" y="94637"/>
                  </a:lnTo>
                  <a:lnTo>
                    <a:pt x="189699" y="116033"/>
                  </a:lnTo>
                  <a:lnTo>
                    <a:pt x="179582" y="129200"/>
                  </a:lnTo>
                  <a:lnTo>
                    <a:pt x="181268" y="130845"/>
                  </a:lnTo>
                  <a:lnTo>
                    <a:pt x="174523" y="137429"/>
                  </a:lnTo>
                  <a:lnTo>
                    <a:pt x="191385" y="142367"/>
                  </a:lnTo>
                  <a:lnTo>
                    <a:pt x="191385" y="145658"/>
                  </a:lnTo>
                  <a:lnTo>
                    <a:pt x="174523" y="168700"/>
                  </a:lnTo>
                  <a:lnTo>
                    <a:pt x="169464" y="163763"/>
                  </a:lnTo>
                  <a:lnTo>
                    <a:pt x="155974" y="170346"/>
                  </a:lnTo>
                  <a:lnTo>
                    <a:pt x="152602" y="178576"/>
                  </a:lnTo>
                  <a:lnTo>
                    <a:pt x="171150" y="191742"/>
                  </a:lnTo>
                  <a:lnTo>
                    <a:pt x="166092" y="195034"/>
                  </a:lnTo>
                  <a:lnTo>
                    <a:pt x="169464" y="198326"/>
                  </a:lnTo>
                  <a:lnTo>
                    <a:pt x="152602" y="206555"/>
                  </a:lnTo>
                  <a:lnTo>
                    <a:pt x="145857" y="206555"/>
                  </a:lnTo>
                  <a:lnTo>
                    <a:pt x="149230" y="209847"/>
                  </a:lnTo>
                  <a:lnTo>
                    <a:pt x="145857" y="211493"/>
                  </a:lnTo>
                  <a:lnTo>
                    <a:pt x="147543" y="214785"/>
                  </a:lnTo>
                  <a:lnTo>
                    <a:pt x="144170" y="219722"/>
                  </a:lnTo>
                  <a:lnTo>
                    <a:pt x="147543" y="223014"/>
                  </a:lnTo>
                  <a:lnTo>
                    <a:pt x="96957" y="255931"/>
                  </a:lnTo>
                  <a:lnTo>
                    <a:pt x="81780" y="259223"/>
                  </a:lnTo>
                  <a:lnTo>
                    <a:pt x="73349" y="264160"/>
                  </a:lnTo>
                  <a:lnTo>
                    <a:pt x="66604" y="264160"/>
                  </a:lnTo>
                  <a:lnTo>
                    <a:pt x="64918" y="267452"/>
                  </a:lnTo>
                  <a:lnTo>
                    <a:pt x="59859" y="265806"/>
                  </a:lnTo>
                  <a:lnTo>
                    <a:pt x="49742" y="269098"/>
                  </a:lnTo>
                  <a:lnTo>
                    <a:pt x="58173" y="239473"/>
                  </a:lnTo>
                  <a:lnTo>
                    <a:pt x="37939" y="229597"/>
                  </a:lnTo>
                  <a:lnTo>
                    <a:pt x="21076" y="226306"/>
                  </a:lnTo>
                  <a:lnTo>
                    <a:pt x="34566" y="223014"/>
                  </a:lnTo>
                  <a:lnTo>
                    <a:pt x="29507" y="221368"/>
                  </a:lnTo>
                  <a:lnTo>
                    <a:pt x="31194" y="216431"/>
                  </a:lnTo>
                  <a:lnTo>
                    <a:pt x="26135" y="213139"/>
                  </a:lnTo>
                  <a:lnTo>
                    <a:pt x="16018" y="214785"/>
                  </a:lnTo>
                  <a:lnTo>
                    <a:pt x="24449" y="204909"/>
                  </a:lnTo>
                  <a:lnTo>
                    <a:pt x="24449" y="203264"/>
                  </a:lnTo>
                  <a:lnTo>
                    <a:pt x="27821" y="199972"/>
                  </a:lnTo>
                  <a:lnTo>
                    <a:pt x="37939" y="181867"/>
                  </a:lnTo>
                  <a:lnTo>
                    <a:pt x="32880" y="173638"/>
                  </a:lnTo>
                  <a:lnTo>
                    <a:pt x="12645" y="158825"/>
                  </a:lnTo>
                  <a:lnTo>
                    <a:pt x="4214" y="142367"/>
                  </a:lnTo>
                  <a:lnTo>
                    <a:pt x="14331" y="137429"/>
                  </a:lnTo>
                  <a:lnTo>
                    <a:pt x="22763" y="112741"/>
                  </a:lnTo>
                  <a:lnTo>
                    <a:pt x="29507" y="107803"/>
                  </a:lnTo>
                  <a:lnTo>
                    <a:pt x="31194" y="96282"/>
                  </a:lnTo>
                  <a:lnTo>
                    <a:pt x="27821" y="88053"/>
                  </a:lnTo>
                  <a:lnTo>
                    <a:pt x="19390" y="83116"/>
                  </a:lnTo>
                  <a:lnTo>
                    <a:pt x="4214" y="43615"/>
                  </a:lnTo>
                  <a:lnTo>
                    <a:pt x="19390" y="28802"/>
                  </a:lnTo>
                  <a:lnTo>
                    <a:pt x="27821" y="37031"/>
                  </a:lnTo>
                  <a:lnTo>
                    <a:pt x="34566" y="27156"/>
                  </a:lnTo>
                  <a:lnTo>
                    <a:pt x="37939" y="28802"/>
                  </a:lnTo>
                  <a:lnTo>
                    <a:pt x="59859" y="13989"/>
                  </a:lnTo>
                  <a:lnTo>
                    <a:pt x="66604" y="4114"/>
                  </a:lnTo>
                  <a:lnTo>
                    <a:pt x="73349" y="1069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8" name="Terneuzen">
              <a:extLst>
                <a:ext uri="{FF2B5EF4-FFF2-40B4-BE49-F238E27FC236}">
                  <a16:creationId xmlns:a16="http://schemas.microsoft.com/office/drawing/2014/main" id="{D28BEFC7-BCBC-4E15-860B-8A7A8619FBAE}"/>
                </a:ext>
              </a:extLst>
            </p:cNvPr>
            <p:cNvSpPr/>
            <p:nvPr/>
          </p:nvSpPr>
          <p:spPr>
            <a:xfrm>
              <a:off x="4370190" y="4708969"/>
              <a:ext cx="391023" cy="282581"/>
            </a:xfrm>
            <a:custGeom>
              <a:avLst/>
              <a:gdLst/>
              <a:ahLst/>
              <a:cxnLst/>
              <a:rect l="l" t="t" r="r" b="b"/>
              <a:pathLst>
                <a:path w="561992" h="411480" extrusionOk="0">
                  <a:moveTo>
                    <a:pt x="81780" y="5760"/>
                  </a:moveTo>
                  <a:lnTo>
                    <a:pt x="91898" y="17281"/>
                  </a:lnTo>
                  <a:lnTo>
                    <a:pt x="96956" y="13989"/>
                  </a:lnTo>
                  <a:lnTo>
                    <a:pt x="95270" y="18926"/>
                  </a:lnTo>
                  <a:lnTo>
                    <a:pt x="108760" y="28802"/>
                  </a:lnTo>
                  <a:lnTo>
                    <a:pt x="112133" y="22218"/>
                  </a:lnTo>
                  <a:lnTo>
                    <a:pt x="108760" y="28802"/>
                  </a:lnTo>
                  <a:lnTo>
                    <a:pt x="112133" y="33739"/>
                  </a:lnTo>
                  <a:lnTo>
                    <a:pt x="113819" y="35385"/>
                  </a:lnTo>
                  <a:lnTo>
                    <a:pt x="113819" y="33739"/>
                  </a:lnTo>
                  <a:lnTo>
                    <a:pt x="117191" y="33739"/>
                  </a:lnTo>
                  <a:lnTo>
                    <a:pt x="127309" y="45260"/>
                  </a:lnTo>
                  <a:lnTo>
                    <a:pt x="181268" y="50198"/>
                  </a:lnTo>
                  <a:lnTo>
                    <a:pt x="181268" y="53490"/>
                  </a:lnTo>
                  <a:lnTo>
                    <a:pt x="186326" y="53490"/>
                  </a:lnTo>
                  <a:lnTo>
                    <a:pt x="184640" y="56781"/>
                  </a:lnTo>
                  <a:lnTo>
                    <a:pt x="184640" y="53490"/>
                  </a:lnTo>
                  <a:lnTo>
                    <a:pt x="181268" y="53490"/>
                  </a:lnTo>
                  <a:lnTo>
                    <a:pt x="177895" y="58427"/>
                  </a:lnTo>
                  <a:lnTo>
                    <a:pt x="176209" y="68302"/>
                  </a:lnTo>
                  <a:lnTo>
                    <a:pt x="198130" y="78178"/>
                  </a:lnTo>
                  <a:lnTo>
                    <a:pt x="201502" y="78178"/>
                  </a:lnTo>
                  <a:lnTo>
                    <a:pt x="199816" y="71594"/>
                  </a:lnTo>
                  <a:lnTo>
                    <a:pt x="191385" y="68302"/>
                  </a:lnTo>
                  <a:lnTo>
                    <a:pt x="199816" y="69949"/>
                  </a:lnTo>
                  <a:lnTo>
                    <a:pt x="199816" y="55136"/>
                  </a:lnTo>
                  <a:lnTo>
                    <a:pt x="196444" y="56781"/>
                  </a:lnTo>
                  <a:lnTo>
                    <a:pt x="196444" y="50198"/>
                  </a:lnTo>
                  <a:lnTo>
                    <a:pt x="196444" y="55136"/>
                  </a:lnTo>
                  <a:lnTo>
                    <a:pt x="199816" y="55136"/>
                  </a:lnTo>
                  <a:lnTo>
                    <a:pt x="201502" y="43615"/>
                  </a:lnTo>
                  <a:lnTo>
                    <a:pt x="211620" y="45260"/>
                  </a:lnTo>
                  <a:lnTo>
                    <a:pt x="213306" y="41969"/>
                  </a:lnTo>
                  <a:lnTo>
                    <a:pt x="213306" y="45260"/>
                  </a:lnTo>
                  <a:lnTo>
                    <a:pt x="228482" y="46906"/>
                  </a:lnTo>
                  <a:lnTo>
                    <a:pt x="233541" y="53490"/>
                  </a:lnTo>
                  <a:lnTo>
                    <a:pt x="245344" y="58427"/>
                  </a:lnTo>
                  <a:lnTo>
                    <a:pt x="248717" y="60073"/>
                  </a:lnTo>
                  <a:lnTo>
                    <a:pt x="248717" y="56781"/>
                  </a:lnTo>
                  <a:lnTo>
                    <a:pt x="248717" y="60073"/>
                  </a:lnTo>
                  <a:lnTo>
                    <a:pt x="252089" y="58427"/>
                  </a:lnTo>
                  <a:lnTo>
                    <a:pt x="250403" y="60073"/>
                  </a:lnTo>
                  <a:lnTo>
                    <a:pt x="257148" y="60073"/>
                  </a:lnTo>
                  <a:lnTo>
                    <a:pt x="260520" y="61719"/>
                  </a:lnTo>
                  <a:lnTo>
                    <a:pt x="257148" y="68302"/>
                  </a:lnTo>
                  <a:lnTo>
                    <a:pt x="257148" y="74886"/>
                  </a:lnTo>
                  <a:lnTo>
                    <a:pt x="268951" y="96282"/>
                  </a:lnTo>
                  <a:lnTo>
                    <a:pt x="270638" y="92991"/>
                  </a:lnTo>
                  <a:lnTo>
                    <a:pt x="265579" y="78178"/>
                  </a:lnTo>
                  <a:lnTo>
                    <a:pt x="268951" y="79823"/>
                  </a:lnTo>
                  <a:lnTo>
                    <a:pt x="270638" y="78178"/>
                  </a:lnTo>
                  <a:lnTo>
                    <a:pt x="270638" y="81469"/>
                  </a:lnTo>
                  <a:lnTo>
                    <a:pt x="272324" y="76532"/>
                  </a:lnTo>
                  <a:lnTo>
                    <a:pt x="267265" y="63365"/>
                  </a:lnTo>
                  <a:lnTo>
                    <a:pt x="274010" y="63365"/>
                  </a:lnTo>
                  <a:lnTo>
                    <a:pt x="272324" y="68302"/>
                  </a:lnTo>
                  <a:lnTo>
                    <a:pt x="275696" y="79823"/>
                  </a:lnTo>
                  <a:lnTo>
                    <a:pt x="279069" y="69949"/>
                  </a:lnTo>
                  <a:lnTo>
                    <a:pt x="277383" y="65011"/>
                  </a:lnTo>
                  <a:lnTo>
                    <a:pt x="282441" y="68302"/>
                  </a:lnTo>
                  <a:lnTo>
                    <a:pt x="285814" y="65011"/>
                  </a:lnTo>
                  <a:lnTo>
                    <a:pt x="282441" y="65011"/>
                  </a:lnTo>
                  <a:lnTo>
                    <a:pt x="287500" y="63365"/>
                  </a:lnTo>
                  <a:lnTo>
                    <a:pt x="284127" y="68302"/>
                  </a:lnTo>
                  <a:lnTo>
                    <a:pt x="285814" y="68302"/>
                  </a:lnTo>
                  <a:lnTo>
                    <a:pt x="285814" y="69949"/>
                  </a:lnTo>
                  <a:lnTo>
                    <a:pt x="290872" y="71594"/>
                  </a:lnTo>
                  <a:lnTo>
                    <a:pt x="290872" y="65011"/>
                  </a:lnTo>
                  <a:lnTo>
                    <a:pt x="292559" y="69949"/>
                  </a:lnTo>
                  <a:lnTo>
                    <a:pt x="294245" y="68302"/>
                  </a:lnTo>
                  <a:lnTo>
                    <a:pt x="292559" y="73240"/>
                  </a:lnTo>
                  <a:lnTo>
                    <a:pt x="295931" y="69949"/>
                  </a:lnTo>
                  <a:lnTo>
                    <a:pt x="294245" y="73240"/>
                  </a:lnTo>
                  <a:lnTo>
                    <a:pt x="297617" y="73240"/>
                  </a:lnTo>
                  <a:lnTo>
                    <a:pt x="297617" y="71594"/>
                  </a:lnTo>
                  <a:lnTo>
                    <a:pt x="299303" y="73240"/>
                  </a:lnTo>
                  <a:lnTo>
                    <a:pt x="300990" y="71594"/>
                  </a:lnTo>
                  <a:lnTo>
                    <a:pt x="300990" y="74886"/>
                  </a:lnTo>
                  <a:lnTo>
                    <a:pt x="302676" y="71594"/>
                  </a:lnTo>
                  <a:lnTo>
                    <a:pt x="300990" y="78178"/>
                  </a:lnTo>
                  <a:lnTo>
                    <a:pt x="311107" y="81469"/>
                  </a:lnTo>
                  <a:lnTo>
                    <a:pt x="319538" y="81469"/>
                  </a:lnTo>
                  <a:lnTo>
                    <a:pt x="319538" y="78178"/>
                  </a:lnTo>
                  <a:lnTo>
                    <a:pt x="319538" y="81469"/>
                  </a:lnTo>
                  <a:lnTo>
                    <a:pt x="348204" y="81469"/>
                  </a:lnTo>
                  <a:lnTo>
                    <a:pt x="351576" y="74886"/>
                  </a:lnTo>
                  <a:lnTo>
                    <a:pt x="349890" y="68302"/>
                  </a:lnTo>
                  <a:lnTo>
                    <a:pt x="353263" y="74886"/>
                  </a:lnTo>
                  <a:lnTo>
                    <a:pt x="351576" y="68302"/>
                  </a:lnTo>
                  <a:lnTo>
                    <a:pt x="353263" y="73240"/>
                  </a:lnTo>
                  <a:lnTo>
                    <a:pt x="353263" y="68302"/>
                  </a:lnTo>
                  <a:lnTo>
                    <a:pt x="354949" y="71594"/>
                  </a:lnTo>
                  <a:lnTo>
                    <a:pt x="353263" y="66657"/>
                  </a:lnTo>
                  <a:lnTo>
                    <a:pt x="356635" y="69949"/>
                  </a:lnTo>
                  <a:lnTo>
                    <a:pt x="354949" y="66657"/>
                  </a:lnTo>
                  <a:lnTo>
                    <a:pt x="358321" y="68302"/>
                  </a:lnTo>
                  <a:lnTo>
                    <a:pt x="356635" y="65011"/>
                  </a:lnTo>
                  <a:lnTo>
                    <a:pt x="358321" y="68302"/>
                  </a:lnTo>
                  <a:lnTo>
                    <a:pt x="356635" y="63365"/>
                  </a:lnTo>
                  <a:lnTo>
                    <a:pt x="360008" y="68302"/>
                  </a:lnTo>
                  <a:lnTo>
                    <a:pt x="358321" y="63365"/>
                  </a:lnTo>
                  <a:lnTo>
                    <a:pt x="360008" y="66657"/>
                  </a:lnTo>
                  <a:lnTo>
                    <a:pt x="360008" y="61719"/>
                  </a:lnTo>
                  <a:lnTo>
                    <a:pt x="361694" y="65011"/>
                  </a:lnTo>
                  <a:lnTo>
                    <a:pt x="363380" y="56781"/>
                  </a:lnTo>
                  <a:lnTo>
                    <a:pt x="375184" y="55136"/>
                  </a:lnTo>
                  <a:lnTo>
                    <a:pt x="375184" y="53490"/>
                  </a:lnTo>
                  <a:lnTo>
                    <a:pt x="376870" y="55136"/>
                  </a:lnTo>
                  <a:lnTo>
                    <a:pt x="378556" y="50198"/>
                  </a:lnTo>
                  <a:lnTo>
                    <a:pt x="378556" y="53490"/>
                  </a:lnTo>
                  <a:lnTo>
                    <a:pt x="380242" y="51844"/>
                  </a:lnTo>
                  <a:lnTo>
                    <a:pt x="380242" y="53490"/>
                  </a:lnTo>
                  <a:lnTo>
                    <a:pt x="386987" y="51844"/>
                  </a:lnTo>
                  <a:lnTo>
                    <a:pt x="390360" y="48552"/>
                  </a:lnTo>
                  <a:lnTo>
                    <a:pt x="388673" y="46906"/>
                  </a:lnTo>
                  <a:lnTo>
                    <a:pt x="390360" y="48552"/>
                  </a:lnTo>
                  <a:lnTo>
                    <a:pt x="393732" y="41969"/>
                  </a:lnTo>
                  <a:lnTo>
                    <a:pt x="405536" y="37031"/>
                  </a:lnTo>
                  <a:lnTo>
                    <a:pt x="413967" y="28802"/>
                  </a:lnTo>
                  <a:lnTo>
                    <a:pt x="420712" y="25510"/>
                  </a:lnTo>
                  <a:lnTo>
                    <a:pt x="420712" y="23864"/>
                  </a:lnTo>
                  <a:lnTo>
                    <a:pt x="420712" y="25510"/>
                  </a:lnTo>
                  <a:lnTo>
                    <a:pt x="425770" y="23864"/>
                  </a:lnTo>
                  <a:lnTo>
                    <a:pt x="425770" y="20573"/>
                  </a:lnTo>
                  <a:lnTo>
                    <a:pt x="427457" y="23864"/>
                  </a:lnTo>
                  <a:lnTo>
                    <a:pt x="425770" y="20573"/>
                  </a:lnTo>
                  <a:lnTo>
                    <a:pt x="429143" y="22218"/>
                  </a:lnTo>
                  <a:lnTo>
                    <a:pt x="427457" y="20573"/>
                  </a:lnTo>
                  <a:lnTo>
                    <a:pt x="429143" y="22218"/>
                  </a:lnTo>
                  <a:lnTo>
                    <a:pt x="447691" y="18926"/>
                  </a:lnTo>
                  <a:lnTo>
                    <a:pt x="446005" y="12343"/>
                  </a:lnTo>
                  <a:lnTo>
                    <a:pt x="447691" y="18926"/>
                  </a:lnTo>
                  <a:lnTo>
                    <a:pt x="457809" y="17281"/>
                  </a:lnTo>
                  <a:lnTo>
                    <a:pt x="466240" y="12343"/>
                  </a:lnTo>
                  <a:lnTo>
                    <a:pt x="489847" y="15635"/>
                  </a:lnTo>
                  <a:lnTo>
                    <a:pt x="486475" y="33739"/>
                  </a:lnTo>
                  <a:lnTo>
                    <a:pt x="493219" y="46906"/>
                  </a:lnTo>
                  <a:lnTo>
                    <a:pt x="496592" y="92991"/>
                  </a:lnTo>
                  <a:lnTo>
                    <a:pt x="488161" y="117678"/>
                  </a:lnTo>
                  <a:lnTo>
                    <a:pt x="481416" y="150596"/>
                  </a:lnTo>
                  <a:lnTo>
                    <a:pt x="486475" y="160471"/>
                  </a:lnTo>
                  <a:lnTo>
                    <a:pt x="510081" y="170346"/>
                  </a:lnTo>
                  <a:lnTo>
                    <a:pt x="520199" y="168700"/>
                  </a:lnTo>
                  <a:lnTo>
                    <a:pt x="520199" y="170346"/>
                  </a:lnTo>
                  <a:lnTo>
                    <a:pt x="523571" y="295431"/>
                  </a:lnTo>
                  <a:lnTo>
                    <a:pt x="532003" y="293786"/>
                  </a:lnTo>
                  <a:lnTo>
                    <a:pt x="532003" y="295431"/>
                  </a:lnTo>
                  <a:lnTo>
                    <a:pt x="540434" y="298724"/>
                  </a:lnTo>
                  <a:lnTo>
                    <a:pt x="542120" y="302015"/>
                  </a:lnTo>
                  <a:lnTo>
                    <a:pt x="540434" y="305307"/>
                  </a:lnTo>
                  <a:lnTo>
                    <a:pt x="542120" y="310244"/>
                  </a:lnTo>
                  <a:lnTo>
                    <a:pt x="543806" y="310244"/>
                  </a:lnTo>
                  <a:lnTo>
                    <a:pt x="545492" y="315182"/>
                  </a:lnTo>
                  <a:lnTo>
                    <a:pt x="555610" y="310244"/>
                  </a:lnTo>
                  <a:lnTo>
                    <a:pt x="558982" y="313536"/>
                  </a:lnTo>
                  <a:lnTo>
                    <a:pt x="550551" y="318474"/>
                  </a:lnTo>
                  <a:lnTo>
                    <a:pt x="550551" y="323411"/>
                  </a:lnTo>
                  <a:lnTo>
                    <a:pt x="538747" y="326703"/>
                  </a:lnTo>
                  <a:lnTo>
                    <a:pt x="532003" y="333286"/>
                  </a:lnTo>
                  <a:lnTo>
                    <a:pt x="528630" y="331641"/>
                  </a:lnTo>
                  <a:lnTo>
                    <a:pt x="516827" y="353037"/>
                  </a:lnTo>
                  <a:lnTo>
                    <a:pt x="494905" y="354683"/>
                  </a:lnTo>
                  <a:lnTo>
                    <a:pt x="493219" y="362912"/>
                  </a:lnTo>
                  <a:lnTo>
                    <a:pt x="489847" y="364558"/>
                  </a:lnTo>
                  <a:lnTo>
                    <a:pt x="484788" y="374433"/>
                  </a:lnTo>
                  <a:lnTo>
                    <a:pt x="476357" y="372787"/>
                  </a:lnTo>
                  <a:lnTo>
                    <a:pt x="466240" y="374433"/>
                  </a:lnTo>
                  <a:lnTo>
                    <a:pt x="449378" y="382663"/>
                  </a:lnTo>
                  <a:lnTo>
                    <a:pt x="440946" y="362912"/>
                  </a:lnTo>
                  <a:lnTo>
                    <a:pt x="434202" y="371141"/>
                  </a:lnTo>
                  <a:lnTo>
                    <a:pt x="424084" y="371141"/>
                  </a:lnTo>
                  <a:lnTo>
                    <a:pt x="422398" y="376079"/>
                  </a:lnTo>
                  <a:lnTo>
                    <a:pt x="419025" y="376079"/>
                  </a:lnTo>
                  <a:lnTo>
                    <a:pt x="422398" y="392538"/>
                  </a:lnTo>
                  <a:lnTo>
                    <a:pt x="417339" y="392538"/>
                  </a:lnTo>
                  <a:lnTo>
                    <a:pt x="412281" y="397475"/>
                  </a:lnTo>
                  <a:lnTo>
                    <a:pt x="392046" y="407350"/>
                  </a:lnTo>
                  <a:lnTo>
                    <a:pt x="385301" y="402413"/>
                  </a:lnTo>
                  <a:lnTo>
                    <a:pt x="371811" y="410642"/>
                  </a:lnTo>
                  <a:lnTo>
                    <a:pt x="368439" y="402413"/>
                  </a:lnTo>
                  <a:lnTo>
                    <a:pt x="358321" y="390892"/>
                  </a:lnTo>
                  <a:lnTo>
                    <a:pt x="378556" y="377725"/>
                  </a:lnTo>
                  <a:lnTo>
                    <a:pt x="383615" y="366204"/>
                  </a:lnTo>
                  <a:lnTo>
                    <a:pt x="376870" y="354683"/>
                  </a:lnTo>
                  <a:lnTo>
                    <a:pt x="348204" y="371141"/>
                  </a:lnTo>
                  <a:lnTo>
                    <a:pt x="331342" y="384308"/>
                  </a:lnTo>
                  <a:lnTo>
                    <a:pt x="326283" y="382663"/>
                  </a:lnTo>
                  <a:lnTo>
                    <a:pt x="319538" y="377725"/>
                  </a:lnTo>
                  <a:lnTo>
                    <a:pt x="316166" y="381016"/>
                  </a:lnTo>
                  <a:lnTo>
                    <a:pt x="309421" y="377725"/>
                  </a:lnTo>
                  <a:lnTo>
                    <a:pt x="304362" y="379371"/>
                  </a:lnTo>
                  <a:lnTo>
                    <a:pt x="295931" y="376079"/>
                  </a:lnTo>
                  <a:lnTo>
                    <a:pt x="292559" y="379371"/>
                  </a:lnTo>
                  <a:lnTo>
                    <a:pt x="277383" y="387600"/>
                  </a:lnTo>
                  <a:lnTo>
                    <a:pt x="248717" y="376079"/>
                  </a:lnTo>
                  <a:lnTo>
                    <a:pt x="245344" y="376079"/>
                  </a:lnTo>
                  <a:lnTo>
                    <a:pt x="247030" y="384308"/>
                  </a:lnTo>
                  <a:lnTo>
                    <a:pt x="240286" y="382663"/>
                  </a:lnTo>
                  <a:lnTo>
                    <a:pt x="233541" y="376079"/>
                  </a:lnTo>
                  <a:lnTo>
                    <a:pt x="225110" y="374433"/>
                  </a:lnTo>
                  <a:lnTo>
                    <a:pt x="223423" y="369496"/>
                  </a:lnTo>
                  <a:lnTo>
                    <a:pt x="221737" y="343161"/>
                  </a:lnTo>
                  <a:lnTo>
                    <a:pt x="223423" y="297077"/>
                  </a:lnTo>
                  <a:lnTo>
                    <a:pt x="233541" y="272389"/>
                  </a:lnTo>
                  <a:lnTo>
                    <a:pt x="218365" y="265806"/>
                  </a:lnTo>
                  <a:lnTo>
                    <a:pt x="201502" y="252639"/>
                  </a:lnTo>
                  <a:lnTo>
                    <a:pt x="199816" y="257577"/>
                  </a:lnTo>
                  <a:lnTo>
                    <a:pt x="193071" y="262514"/>
                  </a:lnTo>
                  <a:lnTo>
                    <a:pt x="182954" y="257577"/>
                  </a:lnTo>
                  <a:lnTo>
                    <a:pt x="172837" y="239472"/>
                  </a:lnTo>
                  <a:lnTo>
                    <a:pt x="167778" y="236181"/>
                  </a:lnTo>
                  <a:lnTo>
                    <a:pt x="167778" y="239472"/>
                  </a:lnTo>
                  <a:lnTo>
                    <a:pt x="122250" y="227951"/>
                  </a:lnTo>
                  <a:lnTo>
                    <a:pt x="117191" y="229597"/>
                  </a:lnTo>
                  <a:lnTo>
                    <a:pt x="115505" y="232889"/>
                  </a:lnTo>
                  <a:lnTo>
                    <a:pt x="107074" y="231243"/>
                  </a:lnTo>
                  <a:lnTo>
                    <a:pt x="78408" y="221368"/>
                  </a:lnTo>
                  <a:lnTo>
                    <a:pt x="85153" y="204909"/>
                  </a:lnTo>
                  <a:lnTo>
                    <a:pt x="90212" y="204909"/>
                  </a:lnTo>
                  <a:lnTo>
                    <a:pt x="85153" y="199972"/>
                  </a:lnTo>
                  <a:lnTo>
                    <a:pt x="98643" y="190096"/>
                  </a:lnTo>
                  <a:lnTo>
                    <a:pt x="95270" y="173638"/>
                  </a:lnTo>
                  <a:lnTo>
                    <a:pt x="96956" y="162117"/>
                  </a:lnTo>
                  <a:lnTo>
                    <a:pt x="95270" y="157179"/>
                  </a:lnTo>
                  <a:lnTo>
                    <a:pt x="100329" y="147304"/>
                  </a:lnTo>
                  <a:lnTo>
                    <a:pt x="95270" y="139075"/>
                  </a:lnTo>
                  <a:lnTo>
                    <a:pt x="108760" y="125908"/>
                  </a:lnTo>
                  <a:lnTo>
                    <a:pt x="68291" y="111095"/>
                  </a:lnTo>
                  <a:lnTo>
                    <a:pt x="37939" y="114387"/>
                  </a:lnTo>
                  <a:lnTo>
                    <a:pt x="34566" y="101220"/>
                  </a:lnTo>
                  <a:lnTo>
                    <a:pt x="27821" y="101220"/>
                  </a:lnTo>
                  <a:lnTo>
                    <a:pt x="24449" y="81469"/>
                  </a:lnTo>
                  <a:lnTo>
                    <a:pt x="17704" y="84761"/>
                  </a:lnTo>
                  <a:lnTo>
                    <a:pt x="4214" y="60073"/>
                  </a:lnTo>
                  <a:lnTo>
                    <a:pt x="12645" y="58427"/>
                  </a:lnTo>
                  <a:lnTo>
                    <a:pt x="9273" y="40323"/>
                  </a:lnTo>
                  <a:lnTo>
                    <a:pt x="21076" y="45260"/>
                  </a:lnTo>
                  <a:lnTo>
                    <a:pt x="27821" y="40323"/>
                  </a:lnTo>
                  <a:lnTo>
                    <a:pt x="27821" y="38677"/>
                  </a:lnTo>
                  <a:lnTo>
                    <a:pt x="64918" y="33739"/>
                  </a:lnTo>
                  <a:lnTo>
                    <a:pt x="64918" y="28802"/>
                  </a:lnTo>
                  <a:lnTo>
                    <a:pt x="73349" y="28802"/>
                  </a:lnTo>
                  <a:lnTo>
                    <a:pt x="75036" y="33739"/>
                  </a:lnTo>
                  <a:lnTo>
                    <a:pt x="81780" y="37031"/>
                  </a:lnTo>
                  <a:lnTo>
                    <a:pt x="81780" y="5760"/>
                  </a:lnTo>
                  <a:close/>
                  <a:moveTo>
                    <a:pt x="442633" y="12343"/>
                  </a:moveTo>
                  <a:lnTo>
                    <a:pt x="457809" y="4114"/>
                  </a:lnTo>
                  <a:lnTo>
                    <a:pt x="451064" y="9052"/>
                  </a:lnTo>
                  <a:lnTo>
                    <a:pt x="442633" y="12343"/>
                  </a:lnTo>
                  <a:close/>
                  <a:moveTo>
                    <a:pt x="81780" y="4114"/>
                  </a:moveTo>
                  <a:lnTo>
                    <a:pt x="8178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69" name="Culemborg">
              <a:extLst>
                <a:ext uri="{FF2B5EF4-FFF2-40B4-BE49-F238E27FC236}">
                  <a16:creationId xmlns:a16="http://schemas.microsoft.com/office/drawing/2014/main" id="{54EBFC22-B710-4DA5-8D46-7BB7039BFFB8}"/>
                </a:ext>
              </a:extLst>
            </p:cNvPr>
            <p:cNvSpPr/>
            <p:nvPr/>
          </p:nvSpPr>
          <p:spPr>
            <a:xfrm>
              <a:off x="5978263" y="3727503"/>
              <a:ext cx="127946" cy="75430"/>
            </a:xfrm>
            <a:custGeom>
              <a:avLst/>
              <a:gdLst/>
              <a:ahLst/>
              <a:cxnLst/>
              <a:rect l="l" t="t" r="r" b="b"/>
              <a:pathLst>
                <a:path w="199038" h="148590" extrusionOk="0">
                  <a:moveTo>
                    <a:pt x="199816" y="37031"/>
                  </a:moveTo>
                  <a:lnTo>
                    <a:pt x="177895" y="65011"/>
                  </a:lnTo>
                  <a:lnTo>
                    <a:pt x="184640" y="69949"/>
                  </a:lnTo>
                  <a:lnTo>
                    <a:pt x="157661" y="84761"/>
                  </a:lnTo>
                  <a:lnTo>
                    <a:pt x="177895" y="109449"/>
                  </a:lnTo>
                  <a:lnTo>
                    <a:pt x="159347" y="129199"/>
                  </a:lnTo>
                  <a:lnTo>
                    <a:pt x="144171" y="139075"/>
                  </a:lnTo>
                  <a:lnTo>
                    <a:pt x="110446" y="147304"/>
                  </a:lnTo>
                  <a:lnTo>
                    <a:pt x="105388" y="132491"/>
                  </a:lnTo>
                  <a:lnTo>
                    <a:pt x="96957" y="135783"/>
                  </a:lnTo>
                  <a:lnTo>
                    <a:pt x="73349" y="137429"/>
                  </a:lnTo>
                  <a:lnTo>
                    <a:pt x="56487" y="144012"/>
                  </a:lnTo>
                  <a:lnTo>
                    <a:pt x="31194" y="147304"/>
                  </a:lnTo>
                  <a:lnTo>
                    <a:pt x="41311" y="132491"/>
                  </a:lnTo>
                  <a:lnTo>
                    <a:pt x="29508" y="125908"/>
                  </a:lnTo>
                  <a:lnTo>
                    <a:pt x="17704" y="127554"/>
                  </a:lnTo>
                  <a:lnTo>
                    <a:pt x="4214" y="134137"/>
                  </a:lnTo>
                  <a:lnTo>
                    <a:pt x="14332" y="124262"/>
                  </a:lnTo>
                  <a:lnTo>
                    <a:pt x="14332" y="116033"/>
                  </a:lnTo>
                  <a:lnTo>
                    <a:pt x="19390" y="114387"/>
                  </a:lnTo>
                  <a:lnTo>
                    <a:pt x="63232" y="32094"/>
                  </a:lnTo>
                  <a:lnTo>
                    <a:pt x="90212" y="48552"/>
                  </a:lnTo>
                  <a:lnTo>
                    <a:pt x="108760" y="50198"/>
                  </a:lnTo>
                  <a:lnTo>
                    <a:pt x="123936" y="41969"/>
                  </a:lnTo>
                  <a:lnTo>
                    <a:pt x="142485" y="9052"/>
                  </a:lnTo>
                  <a:lnTo>
                    <a:pt x="154288" y="4114"/>
                  </a:lnTo>
                  <a:lnTo>
                    <a:pt x="164406" y="9052"/>
                  </a:lnTo>
                  <a:lnTo>
                    <a:pt x="182954" y="27156"/>
                  </a:lnTo>
                  <a:lnTo>
                    <a:pt x="199816" y="37031"/>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0" name="Sluis">
              <a:extLst>
                <a:ext uri="{FF2B5EF4-FFF2-40B4-BE49-F238E27FC236}">
                  <a16:creationId xmlns:a16="http://schemas.microsoft.com/office/drawing/2014/main" id="{9D42BCE6-2C5E-48BE-AE2E-CE015358404C}"/>
                </a:ext>
              </a:extLst>
            </p:cNvPr>
            <p:cNvSpPr/>
            <p:nvPr/>
          </p:nvSpPr>
          <p:spPr>
            <a:xfrm>
              <a:off x="4066215" y="4630310"/>
              <a:ext cx="390996" cy="261252"/>
            </a:xfrm>
            <a:custGeom>
              <a:avLst/>
              <a:gdLst/>
              <a:ahLst/>
              <a:cxnLst/>
              <a:rect l="l" t="t" r="r" b="b"/>
              <a:pathLst>
                <a:path w="550283" h="400050" extrusionOk="0">
                  <a:moveTo>
                    <a:pt x="105388" y="45261"/>
                  </a:moveTo>
                  <a:lnTo>
                    <a:pt x="105388" y="43615"/>
                  </a:lnTo>
                  <a:lnTo>
                    <a:pt x="105388" y="45261"/>
                  </a:lnTo>
                  <a:close/>
                  <a:moveTo>
                    <a:pt x="102015" y="48552"/>
                  </a:moveTo>
                  <a:lnTo>
                    <a:pt x="100329" y="46906"/>
                  </a:lnTo>
                  <a:lnTo>
                    <a:pt x="102015" y="48552"/>
                  </a:lnTo>
                  <a:close/>
                  <a:moveTo>
                    <a:pt x="422398" y="55136"/>
                  </a:moveTo>
                  <a:lnTo>
                    <a:pt x="415653" y="53490"/>
                  </a:lnTo>
                  <a:lnTo>
                    <a:pt x="412280" y="45261"/>
                  </a:lnTo>
                  <a:lnTo>
                    <a:pt x="417339" y="53490"/>
                  </a:lnTo>
                  <a:lnTo>
                    <a:pt x="420712" y="51844"/>
                  </a:lnTo>
                  <a:lnTo>
                    <a:pt x="422398" y="55136"/>
                  </a:lnTo>
                  <a:close/>
                  <a:moveTo>
                    <a:pt x="22763" y="97928"/>
                  </a:moveTo>
                  <a:lnTo>
                    <a:pt x="21076" y="94636"/>
                  </a:lnTo>
                  <a:lnTo>
                    <a:pt x="22763" y="94636"/>
                  </a:lnTo>
                  <a:lnTo>
                    <a:pt x="22763" y="97928"/>
                  </a:lnTo>
                  <a:close/>
                  <a:moveTo>
                    <a:pt x="27821" y="107803"/>
                  </a:moveTo>
                  <a:lnTo>
                    <a:pt x="24449" y="101220"/>
                  </a:lnTo>
                  <a:lnTo>
                    <a:pt x="27821" y="101220"/>
                  </a:lnTo>
                  <a:lnTo>
                    <a:pt x="27821" y="107803"/>
                  </a:lnTo>
                  <a:close/>
                  <a:moveTo>
                    <a:pt x="139112" y="405704"/>
                  </a:moveTo>
                  <a:lnTo>
                    <a:pt x="115505" y="394184"/>
                  </a:lnTo>
                  <a:lnTo>
                    <a:pt x="107074" y="397475"/>
                  </a:lnTo>
                  <a:lnTo>
                    <a:pt x="103701" y="372787"/>
                  </a:lnTo>
                  <a:lnTo>
                    <a:pt x="93584" y="364558"/>
                  </a:lnTo>
                  <a:lnTo>
                    <a:pt x="91898" y="359620"/>
                  </a:lnTo>
                  <a:lnTo>
                    <a:pt x="83467" y="366204"/>
                  </a:lnTo>
                  <a:lnTo>
                    <a:pt x="76722" y="366204"/>
                  </a:lnTo>
                  <a:lnTo>
                    <a:pt x="71663" y="353037"/>
                  </a:lnTo>
                  <a:lnTo>
                    <a:pt x="58173" y="344807"/>
                  </a:lnTo>
                  <a:lnTo>
                    <a:pt x="48056" y="326703"/>
                  </a:lnTo>
                  <a:lnTo>
                    <a:pt x="32880" y="321765"/>
                  </a:lnTo>
                  <a:lnTo>
                    <a:pt x="29507" y="311890"/>
                  </a:lnTo>
                  <a:lnTo>
                    <a:pt x="39625" y="305307"/>
                  </a:lnTo>
                  <a:lnTo>
                    <a:pt x="37939" y="292140"/>
                  </a:lnTo>
                  <a:lnTo>
                    <a:pt x="22763" y="280619"/>
                  </a:lnTo>
                  <a:lnTo>
                    <a:pt x="16018" y="270744"/>
                  </a:lnTo>
                  <a:lnTo>
                    <a:pt x="17704" y="262514"/>
                  </a:lnTo>
                  <a:lnTo>
                    <a:pt x="34566" y="254285"/>
                  </a:lnTo>
                  <a:lnTo>
                    <a:pt x="32880" y="254285"/>
                  </a:lnTo>
                  <a:lnTo>
                    <a:pt x="4214" y="224660"/>
                  </a:lnTo>
                  <a:lnTo>
                    <a:pt x="48056" y="178575"/>
                  </a:lnTo>
                  <a:lnTo>
                    <a:pt x="46370" y="162117"/>
                  </a:lnTo>
                  <a:lnTo>
                    <a:pt x="31194" y="144012"/>
                  </a:lnTo>
                  <a:lnTo>
                    <a:pt x="34566" y="119324"/>
                  </a:lnTo>
                  <a:lnTo>
                    <a:pt x="29507" y="111095"/>
                  </a:lnTo>
                  <a:lnTo>
                    <a:pt x="31194" y="104512"/>
                  </a:lnTo>
                  <a:lnTo>
                    <a:pt x="24449" y="91345"/>
                  </a:lnTo>
                  <a:lnTo>
                    <a:pt x="34566" y="78178"/>
                  </a:lnTo>
                  <a:lnTo>
                    <a:pt x="46370" y="71594"/>
                  </a:lnTo>
                  <a:lnTo>
                    <a:pt x="46370" y="66657"/>
                  </a:lnTo>
                  <a:lnTo>
                    <a:pt x="46370" y="74886"/>
                  </a:lnTo>
                  <a:lnTo>
                    <a:pt x="46370" y="66657"/>
                  </a:lnTo>
                  <a:lnTo>
                    <a:pt x="48056" y="71594"/>
                  </a:lnTo>
                  <a:lnTo>
                    <a:pt x="51428" y="69949"/>
                  </a:lnTo>
                  <a:lnTo>
                    <a:pt x="49742" y="65011"/>
                  </a:lnTo>
                  <a:lnTo>
                    <a:pt x="51428" y="69949"/>
                  </a:lnTo>
                  <a:lnTo>
                    <a:pt x="78408" y="61719"/>
                  </a:lnTo>
                  <a:lnTo>
                    <a:pt x="110446" y="45261"/>
                  </a:lnTo>
                  <a:lnTo>
                    <a:pt x="108760" y="41969"/>
                  </a:lnTo>
                  <a:lnTo>
                    <a:pt x="112132" y="45261"/>
                  </a:lnTo>
                  <a:lnTo>
                    <a:pt x="115505" y="43615"/>
                  </a:lnTo>
                  <a:lnTo>
                    <a:pt x="113819" y="41969"/>
                  </a:lnTo>
                  <a:lnTo>
                    <a:pt x="115505" y="43615"/>
                  </a:lnTo>
                  <a:lnTo>
                    <a:pt x="118877" y="43615"/>
                  </a:lnTo>
                  <a:lnTo>
                    <a:pt x="117191" y="40323"/>
                  </a:lnTo>
                  <a:lnTo>
                    <a:pt x="120564" y="41969"/>
                  </a:lnTo>
                  <a:lnTo>
                    <a:pt x="120564" y="40323"/>
                  </a:lnTo>
                  <a:lnTo>
                    <a:pt x="122250" y="43615"/>
                  </a:lnTo>
                  <a:lnTo>
                    <a:pt x="125622" y="43615"/>
                  </a:lnTo>
                  <a:lnTo>
                    <a:pt x="125622" y="40323"/>
                  </a:lnTo>
                  <a:lnTo>
                    <a:pt x="125622" y="43615"/>
                  </a:lnTo>
                  <a:lnTo>
                    <a:pt x="128995" y="41969"/>
                  </a:lnTo>
                  <a:lnTo>
                    <a:pt x="128995" y="40323"/>
                  </a:lnTo>
                  <a:lnTo>
                    <a:pt x="128995" y="41969"/>
                  </a:lnTo>
                  <a:lnTo>
                    <a:pt x="122250" y="43615"/>
                  </a:lnTo>
                  <a:lnTo>
                    <a:pt x="135740" y="48552"/>
                  </a:lnTo>
                  <a:lnTo>
                    <a:pt x="137426" y="46906"/>
                  </a:lnTo>
                  <a:lnTo>
                    <a:pt x="137426" y="43615"/>
                  </a:lnTo>
                  <a:lnTo>
                    <a:pt x="137426" y="46906"/>
                  </a:lnTo>
                  <a:lnTo>
                    <a:pt x="140798" y="46906"/>
                  </a:lnTo>
                  <a:lnTo>
                    <a:pt x="149229" y="43615"/>
                  </a:lnTo>
                  <a:lnTo>
                    <a:pt x="149229" y="41969"/>
                  </a:lnTo>
                  <a:lnTo>
                    <a:pt x="149229" y="43615"/>
                  </a:lnTo>
                  <a:lnTo>
                    <a:pt x="154288" y="41969"/>
                  </a:lnTo>
                  <a:lnTo>
                    <a:pt x="154288" y="38677"/>
                  </a:lnTo>
                  <a:lnTo>
                    <a:pt x="155974" y="41969"/>
                  </a:lnTo>
                  <a:lnTo>
                    <a:pt x="161033" y="38677"/>
                  </a:lnTo>
                  <a:lnTo>
                    <a:pt x="161033" y="35385"/>
                  </a:lnTo>
                  <a:lnTo>
                    <a:pt x="164405" y="38677"/>
                  </a:lnTo>
                  <a:lnTo>
                    <a:pt x="166092" y="33739"/>
                  </a:lnTo>
                  <a:lnTo>
                    <a:pt x="166092" y="37031"/>
                  </a:lnTo>
                  <a:lnTo>
                    <a:pt x="167778" y="37031"/>
                  </a:lnTo>
                  <a:lnTo>
                    <a:pt x="169464" y="33739"/>
                  </a:lnTo>
                  <a:lnTo>
                    <a:pt x="169464" y="37031"/>
                  </a:lnTo>
                  <a:lnTo>
                    <a:pt x="171150" y="37031"/>
                  </a:lnTo>
                  <a:lnTo>
                    <a:pt x="171150" y="33739"/>
                  </a:lnTo>
                  <a:lnTo>
                    <a:pt x="171150" y="37031"/>
                  </a:lnTo>
                  <a:lnTo>
                    <a:pt x="174523" y="37031"/>
                  </a:lnTo>
                  <a:lnTo>
                    <a:pt x="176209" y="33739"/>
                  </a:lnTo>
                  <a:lnTo>
                    <a:pt x="176209" y="37031"/>
                  </a:lnTo>
                  <a:lnTo>
                    <a:pt x="181268" y="35385"/>
                  </a:lnTo>
                  <a:lnTo>
                    <a:pt x="181268" y="30448"/>
                  </a:lnTo>
                  <a:lnTo>
                    <a:pt x="181268" y="35385"/>
                  </a:lnTo>
                  <a:lnTo>
                    <a:pt x="184640" y="35385"/>
                  </a:lnTo>
                  <a:lnTo>
                    <a:pt x="184640" y="30448"/>
                  </a:lnTo>
                  <a:lnTo>
                    <a:pt x="184640" y="35385"/>
                  </a:lnTo>
                  <a:lnTo>
                    <a:pt x="189699" y="32094"/>
                  </a:lnTo>
                  <a:lnTo>
                    <a:pt x="189699" y="27156"/>
                  </a:lnTo>
                  <a:lnTo>
                    <a:pt x="189699" y="32094"/>
                  </a:lnTo>
                  <a:lnTo>
                    <a:pt x="194757" y="32094"/>
                  </a:lnTo>
                  <a:lnTo>
                    <a:pt x="194757" y="27156"/>
                  </a:lnTo>
                  <a:lnTo>
                    <a:pt x="194757" y="32094"/>
                  </a:lnTo>
                  <a:lnTo>
                    <a:pt x="199816" y="30448"/>
                  </a:lnTo>
                  <a:lnTo>
                    <a:pt x="199816" y="25510"/>
                  </a:lnTo>
                  <a:lnTo>
                    <a:pt x="199816" y="30448"/>
                  </a:lnTo>
                  <a:lnTo>
                    <a:pt x="201502" y="30448"/>
                  </a:lnTo>
                  <a:lnTo>
                    <a:pt x="203189" y="25510"/>
                  </a:lnTo>
                  <a:lnTo>
                    <a:pt x="203189" y="28802"/>
                  </a:lnTo>
                  <a:lnTo>
                    <a:pt x="208247" y="27156"/>
                  </a:lnTo>
                  <a:lnTo>
                    <a:pt x="206561" y="23864"/>
                  </a:lnTo>
                  <a:lnTo>
                    <a:pt x="208247" y="27156"/>
                  </a:lnTo>
                  <a:lnTo>
                    <a:pt x="213306" y="25510"/>
                  </a:lnTo>
                  <a:lnTo>
                    <a:pt x="211620" y="20573"/>
                  </a:lnTo>
                  <a:lnTo>
                    <a:pt x="213306" y="25510"/>
                  </a:lnTo>
                  <a:lnTo>
                    <a:pt x="218365" y="23864"/>
                  </a:lnTo>
                  <a:lnTo>
                    <a:pt x="216678" y="18927"/>
                  </a:lnTo>
                  <a:lnTo>
                    <a:pt x="218365" y="23864"/>
                  </a:lnTo>
                  <a:lnTo>
                    <a:pt x="223423" y="20573"/>
                  </a:lnTo>
                  <a:lnTo>
                    <a:pt x="220051" y="17281"/>
                  </a:lnTo>
                  <a:lnTo>
                    <a:pt x="223423" y="20573"/>
                  </a:lnTo>
                  <a:lnTo>
                    <a:pt x="226796" y="18927"/>
                  </a:lnTo>
                  <a:lnTo>
                    <a:pt x="223423" y="15635"/>
                  </a:lnTo>
                  <a:lnTo>
                    <a:pt x="226796" y="18927"/>
                  </a:lnTo>
                  <a:lnTo>
                    <a:pt x="228482" y="17281"/>
                  </a:lnTo>
                  <a:lnTo>
                    <a:pt x="226796" y="13989"/>
                  </a:lnTo>
                  <a:lnTo>
                    <a:pt x="228482" y="17281"/>
                  </a:lnTo>
                  <a:lnTo>
                    <a:pt x="230168" y="17281"/>
                  </a:lnTo>
                  <a:lnTo>
                    <a:pt x="230168" y="12343"/>
                  </a:lnTo>
                  <a:lnTo>
                    <a:pt x="231854" y="17281"/>
                  </a:lnTo>
                  <a:lnTo>
                    <a:pt x="233541" y="13989"/>
                  </a:lnTo>
                  <a:lnTo>
                    <a:pt x="233541" y="12343"/>
                  </a:lnTo>
                  <a:lnTo>
                    <a:pt x="230168" y="10697"/>
                  </a:lnTo>
                  <a:lnTo>
                    <a:pt x="235227" y="10697"/>
                  </a:lnTo>
                  <a:lnTo>
                    <a:pt x="235227" y="5760"/>
                  </a:lnTo>
                  <a:lnTo>
                    <a:pt x="235227" y="9052"/>
                  </a:lnTo>
                  <a:lnTo>
                    <a:pt x="238599" y="5760"/>
                  </a:lnTo>
                  <a:lnTo>
                    <a:pt x="236913" y="9052"/>
                  </a:lnTo>
                  <a:lnTo>
                    <a:pt x="238599" y="10697"/>
                  </a:lnTo>
                  <a:lnTo>
                    <a:pt x="240286" y="5760"/>
                  </a:lnTo>
                  <a:lnTo>
                    <a:pt x="243658" y="9052"/>
                  </a:lnTo>
                  <a:lnTo>
                    <a:pt x="243658" y="5760"/>
                  </a:lnTo>
                  <a:lnTo>
                    <a:pt x="243658" y="9052"/>
                  </a:lnTo>
                  <a:lnTo>
                    <a:pt x="248717" y="7406"/>
                  </a:lnTo>
                  <a:lnTo>
                    <a:pt x="248717" y="4114"/>
                  </a:lnTo>
                  <a:lnTo>
                    <a:pt x="248717" y="7406"/>
                  </a:lnTo>
                  <a:lnTo>
                    <a:pt x="253775" y="7406"/>
                  </a:lnTo>
                  <a:lnTo>
                    <a:pt x="253775" y="4114"/>
                  </a:lnTo>
                  <a:lnTo>
                    <a:pt x="253775" y="7406"/>
                  </a:lnTo>
                  <a:lnTo>
                    <a:pt x="258834" y="7406"/>
                  </a:lnTo>
                  <a:lnTo>
                    <a:pt x="258834" y="4114"/>
                  </a:lnTo>
                  <a:lnTo>
                    <a:pt x="258834" y="7406"/>
                  </a:lnTo>
                  <a:lnTo>
                    <a:pt x="263893" y="7406"/>
                  </a:lnTo>
                  <a:lnTo>
                    <a:pt x="263893" y="4114"/>
                  </a:lnTo>
                  <a:lnTo>
                    <a:pt x="263893" y="7406"/>
                  </a:lnTo>
                  <a:lnTo>
                    <a:pt x="267265" y="9052"/>
                  </a:lnTo>
                  <a:lnTo>
                    <a:pt x="268951" y="4114"/>
                  </a:lnTo>
                  <a:lnTo>
                    <a:pt x="268951" y="9052"/>
                  </a:lnTo>
                  <a:lnTo>
                    <a:pt x="272324" y="10697"/>
                  </a:lnTo>
                  <a:lnTo>
                    <a:pt x="272324" y="5760"/>
                  </a:lnTo>
                  <a:lnTo>
                    <a:pt x="272324" y="10697"/>
                  </a:lnTo>
                  <a:lnTo>
                    <a:pt x="275696" y="10697"/>
                  </a:lnTo>
                  <a:lnTo>
                    <a:pt x="275696" y="5760"/>
                  </a:lnTo>
                  <a:lnTo>
                    <a:pt x="275696" y="10697"/>
                  </a:lnTo>
                  <a:lnTo>
                    <a:pt x="280755" y="10697"/>
                  </a:lnTo>
                  <a:lnTo>
                    <a:pt x="280755" y="7406"/>
                  </a:lnTo>
                  <a:lnTo>
                    <a:pt x="280755" y="10697"/>
                  </a:lnTo>
                  <a:lnTo>
                    <a:pt x="285814" y="12343"/>
                  </a:lnTo>
                  <a:lnTo>
                    <a:pt x="285814" y="7406"/>
                  </a:lnTo>
                  <a:lnTo>
                    <a:pt x="285814" y="12343"/>
                  </a:lnTo>
                  <a:lnTo>
                    <a:pt x="289186" y="12343"/>
                  </a:lnTo>
                  <a:lnTo>
                    <a:pt x="290872" y="9052"/>
                  </a:lnTo>
                  <a:lnTo>
                    <a:pt x="290872" y="12343"/>
                  </a:lnTo>
                  <a:lnTo>
                    <a:pt x="294245" y="12343"/>
                  </a:lnTo>
                  <a:lnTo>
                    <a:pt x="294245" y="9052"/>
                  </a:lnTo>
                  <a:lnTo>
                    <a:pt x="294245" y="12343"/>
                  </a:lnTo>
                  <a:lnTo>
                    <a:pt x="295931" y="12343"/>
                  </a:lnTo>
                  <a:lnTo>
                    <a:pt x="297617" y="10697"/>
                  </a:lnTo>
                  <a:lnTo>
                    <a:pt x="297617" y="12343"/>
                  </a:lnTo>
                  <a:lnTo>
                    <a:pt x="299303" y="13989"/>
                  </a:lnTo>
                  <a:lnTo>
                    <a:pt x="300990" y="10697"/>
                  </a:lnTo>
                  <a:lnTo>
                    <a:pt x="299303" y="13989"/>
                  </a:lnTo>
                  <a:lnTo>
                    <a:pt x="302676" y="13989"/>
                  </a:lnTo>
                  <a:lnTo>
                    <a:pt x="309421" y="12343"/>
                  </a:lnTo>
                  <a:lnTo>
                    <a:pt x="302676" y="17281"/>
                  </a:lnTo>
                  <a:lnTo>
                    <a:pt x="302676" y="22219"/>
                  </a:lnTo>
                  <a:lnTo>
                    <a:pt x="304362" y="20573"/>
                  </a:lnTo>
                  <a:lnTo>
                    <a:pt x="302676" y="23864"/>
                  </a:lnTo>
                  <a:lnTo>
                    <a:pt x="304362" y="22219"/>
                  </a:lnTo>
                  <a:lnTo>
                    <a:pt x="309421" y="23864"/>
                  </a:lnTo>
                  <a:lnTo>
                    <a:pt x="312793" y="15635"/>
                  </a:lnTo>
                  <a:lnTo>
                    <a:pt x="311107" y="22219"/>
                  </a:lnTo>
                  <a:lnTo>
                    <a:pt x="314479" y="22219"/>
                  </a:lnTo>
                  <a:lnTo>
                    <a:pt x="314479" y="27156"/>
                  </a:lnTo>
                  <a:lnTo>
                    <a:pt x="319538" y="20573"/>
                  </a:lnTo>
                  <a:lnTo>
                    <a:pt x="316166" y="28802"/>
                  </a:lnTo>
                  <a:lnTo>
                    <a:pt x="317852" y="25510"/>
                  </a:lnTo>
                  <a:lnTo>
                    <a:pt x="316166" y="28802"/>
                  </a:lnTo>
                  <a:lnTo>
                    <a:pt x="319538" y="28802"/>
                  </a:lnTo>
                  <a:lnTo>
                    <a:pt x="322911" y="22219"/>
                  </a:lnTo>
                  <a:lnTo>
                    <a:pt x="319538" y="28802"/>
                  </a:lnTo>
                  <a:lnTo>
                    <a:pt x="329655" y="30448"/>
                  </a:lnTo>
                  <a:lnTo>
                    <a:pt x="334714" y="25510"/>
                  </a:lnTo>
                  <a:lnTo>
                    <a:pt x="326283" y="37031"/>
                  </a:lnTo>
                  <a:lnTo>
                    <a:pt x="333028" y="30448"/>
                  </a:lnTo>
                  <a:lnTo>
                    <a:pt x="329655" y="38677"/>
                  </a:lnTo>
                  <a:lnTo>
                    <a:pt x="334714" y="35385"/>
                  </a:lnTo>
                  <a:lnTo>
                    <a:pt x="336400" y="38677"/>
                  </a:lnTo>
                  <a:lnTo>
                    <a:pt x="339773" y="37031"/>
                  </a:lnTo>
                  <a:lnTo>
                    <a:pt x="343145" y="40323"/>
                  </a:lnTo>
                  <a:lnTo>
                    <a:pt x="344831" y="38677"/>
                  </a:lnTo>
                  <a:lnTo>
                    <a:pt x="334714" y="28802"/>
                  </a:lnTo>
                  <a:lnTo>
                    <a:pt x="349890" y="41969"/>
                  </a:lnTo>
                  <a:lnTo>
                    <a:pt x="351576" y="46906"/>
                  </a:lnTo>
                  <a:lnTo>
                    <a:pt x="361694" y="58427"/>
                  </a:lnTo>
                  <a:lnTo>
                    <a:pt x="380242" y="63365"/>
                  </a:lnTo>
                  <a:lnTo>
                    <a:pt x="383615" y="61719"/>
                  </a:lnTo>
                  <a:lnTo>
                    <a:pt x="381928" y="58427"/>
                  </a:lnTo>
                  <a:lnTo>
                    <a:pt x="383615" y="61719"/>
                  </a:lnTo>
                  <a:lnTo>
                    <a:pt x="385301" y="58427"/>
                  </a:lnTo>
                  <a:lnTo>
                    <a:pt x="383615" y="63365"/>
                  </a:lnTo>
                  <a:lnTo>
                    <a:pt x="385301" y="61719"/>
                  </a:lnTo>
                  <a:lnTo>
                    <a:pt x="395418" y="65011"/>
                  </a:lnTo>
                  <a:lnTo>
                    <a:pt x="395418" y="68303"/>
                  </a:lnTo>
                  <a:lnTo>
                    <a:pt x="405536" y="71594"/>
                  </a:lnTo>
                  <a:lnTo>
                    <a:pt x="407222" y="76532"/>
                  </a:lnTo>
                  <a:lnTo>
                    <a:pt x="420712" y="79823"/>
                  </a:lnTo>
                  <a:lnTo>
                    <a:pt x="422398" y="78178"/>
                  </a:lnTo>
                  <a:lnTo>
                    <a:pt x="420712" y="79823"/>
                  </a:lnTo>
                  <a:lnTo>
                    <a:pt x="425770" y="81470"/>
                  </a:lnTo>
                  <a:lnTo>
                    <a:pt x="427457" y="79823"/>
                  </a:lnTo>
                  <a:lnTo>
                    <a:pt x="425770" y="81470"/>
                  </a:lnTo>
                  <a:lnTo>
                    <a:pt x="446005" y="88053"/>
                  </a:lnTo>
                  <a:lnTo>
                    <a:pt x="467926" y="91345"/>
                  </a:lnTo>
                  <a:lnTo>
                    <a:pt x="469612" y="89699"/>
                  </a:lnTo>
                  <a:lnTo>
                    <a:pt x="467926" y="91345"/>
                  </a:lnTo>
                  <a:lnTo>
                    <a:pt x="479730" y="94636"/>
                  </a:lnTo>
                  <a:lnTo>
                    <a:pt x="483102" y="91345"/>
                  </a:lnTo>
                  <a:lnTo>
                    <a:pt x="483102" y="94636"/>
                  </a:lnTo>
                  <a:lnTo>
                    <a:pt x="518513" y="101220"/>
                  </a:lnTo>
                  <a:lnTo>
                    <a:pt x="515140" y="96282"/>
                  </a:lnTo>
                  <a:lnTo>
                    <a:pt x="518513" y="99574"/>
                  </a:lnTo>
                  <a:lnTo>
                    <a:pt x="523571" y="114387"/>
                  </a:lnTo>
                  <a:lnTo>
                    <a:pt x="525257" y="109449"/>
                  </a:lnTo>
                  <a:lnTo>
                    <a:pt x="525257" y="114387"/>
                  </a:lnTo>
                  <a:lnTo>
                    <a:pt x="526944" y="114387"/>
                  </a:lnTo>
                  <a:lnTo>
                    <a:pt x="526944" y="147304"/>
                  </a:lnTo>
                  <a:lnTo>
                    <a:pt x="520199" y="144012"/>
                  </a:lnTo>
                  <a:lnTo>
                    <a:pt x="518513" y="139075"/>
                  </a:lnTo>
                  <a:lnTo>
                    <a:pt x="510081" y="139075"/>
                  </a:lnTo>
                  <a:lnTo>
                    <a:pt x="510081" y="144012"/>
                  </a:lnTo>
                  <a:lnTo>
                    <a:pt x="472984" y="148950"/>
                  </a:lnTo>
                  <a:lnTo>
                    <a:pt x="472984" y="150596"/>
                  </a:lnTo>
                  <a:lnTo>
                    <a:pt x="466240" y="155533"/>
                  </a:lnTo>
                  <a:lnTo>
                    <a:pt x="454436" y="150596"/>
                  </a:lnTo>
                  <a:lnTo>
                    <a:pt x="457808" y="168700"/>
                  </a:lnTo>
                  <a:lnTo>
                    <a:pt x="449377" y="170346"/>
                  </a:lnTo>
                  <a:lnTo>
                    <a:pt x="462867" y="195034"/>
                  </a:lnTo>
                  <a:lnTo>
                    <a:pt x="469612" y="191742"/>
                  </a:lnTo>
                  <a:lnTo>
                    <a:pt x="472984" y="211493"/>
                  </a:lnTo>
                  <a:lnTo>
                    <a:pt x="479730" y="211493"/>
                  </a:lnTo>
                  <a:lnTo>
                    <a:pt x="483102" y="224660"/>
                  </a:lnTo>
                  <a:lnTo>
                    <a:pt x="513454" y="221368"/>
                  </a:lnTo>
                  <a:lnTo>
                    <a:pt x="553923" y="236181"/>
                  </a:lnTo>
                  <a:lnTo>
                    <a:pt x="540433" y="249348"/>
                  </a:lnTo>
                  <a:lnTo>
                    <a:pt x="545492" y="257577"/>
                  </a:lnTo>
                  <a:lnTo>
                    <a:pt x="540433" y="267452"/>
                  </a:lnTo>
                  <a:lnTo>
                    <a:pt x="542120" y="272390"/>
                  </a:lnTo>
                  <a:lnTo>
                    <a:pt x="540433" y="283911"/>
                  </a:lnTo>
                  <a:lnTo>
                    <a:pt x="543806" y="300369"/>
                  </a:lnTo>
                  <a:lnTo>
                    <a:pt x="530316" y="310245"/>
                  </a:lnTo>
                  <a:lnTo>
                    <a:pt x="535375" y="315182"/>
                  </a:lnTo>
                  <a:lnTo>
                    <a:pt x="530316" y="315182"/>
                  </a:lnTo>
                  <a:lnTo>
                    <a:pt x="523571" y="331641"/>
                  </a:lnTo>
                  <a:lnTo>
                    <a:pt x="516826" y="320120"/>
                  </a:lnTo>
                  <a:lnTo>
                    <a:pt x="498278" y="320120"/>
                  </a:lnTo>
                  <a:lnTo>
                    <a:pt x="496592" y="313536"/>
                  </a:lnTo>
                  <a:lnTo>
                    <a:pt x="467926" y="295432"/>
                  </a:lnTo>
                  <a:lnTo>
                    <a:pt x="447691" y="295432"/>
                  </a:lnTo>
                  <a:lnTo>
                    <a:pt x="440946" y="300369"/>
                  </a:lnTo>
                  <a:lnTo>
                    <a:pt x="417339" y="287203"/>
                  </a:lnTo>
                  <a:lnTo>
                    <a:pt x="410594" y="287203"/>
                  </a:lnTo>
                  <a:lnTo>
                    <a:pt x="407222" y="280619"/>
                  </a:lnTo>
                  <a:lnTo>
                    <a:pt x="400477" y="275681"/>
                  </a:lnTo>
                  <a:lnTo>
                    <a:pt x="365066" y="259223"/>
                  </a:lnTo>
                  <a:lnTo>
                    <a:pt x="366752" y="255931"/>
                  </a:lnTo>
                  <a:lnTo>
                    <a:pt x="363380" y="254285"/>
                  </a:lnTo>
                  <a:lnTo>
                    <a:pt x="349890" y="272390"/>
                  </a:lnTo>
                  <a:lnTo>
                    <a:pt x="360008" y="285557"/>
                  </a:lnTo>
                  <a:lnTo>
                    <a:pt x="351576" y="287203"/>
                  </a:lnTo>
                  <a:lnTo>
                    <a:pt x="353263" y="295432"/>
                  </a:lnTo>
                  <a:lnTo>
                    <a:pt x="349890" y="300369"/>
                  </a:lnTo>
                  <a:lnTo>
                    <a:pt x="346518" y="295432"/>
                  </a:lnTo>
                  <a:lnTo>
                    <a:pt x="341459" y="297078"/>
                  </a:lnTo>
                  <a:lnTo>
                    <a:pt x="334714" y="290494"/>
                  </a:lnTo>
                  <a:lnTo>
                    <a:pt x="334714" y="288848"/>
                  </a:lnTo>
                  <a:lnTo>
                    <a:pt x="321224" y="278973"/>
                  </a:lnTo>
                  <a:lnTo>
                    <a:pt x="316166" y="278973"/>
                  </a:lnTo>
                  <a:lnTo>
                    <a:pt x="312793" y="288848"/>
                  </a:lnTo>
                  <a:lnTo>
                    <a:pt x="307735" y="293786"/>
                  </a:lnTo>
                  <a:lnTo>
                    <a:pt x="300990" y="288848"/>
                  </a:lnTo>
                  <a:lnTo>
                    <a:pt x="290872" y="288848"/>
                  </a:lnTo>
                  <a:lnTo>
                    <a:pt x="282441" y="306953"/>
                  </a:lnTo>
                  <a:lnTo>
                    <a:pt x="274010" y="306953"/>
                  </a:lnTo>
                  <a:lnTo>
                    <a:pt x="267265" y="293786"/>
                  </a:lnTo>
                  <a:lnTo>
                    <a:pt x="247030" y="297078"/>
                  </a:lnTo>
                  <a:lnTo>
                    <a:pt x="262206" y="397475"/>
                  </a:lnTo>
                  <a:lnTo>
                    <a:pt x="139112" y="405704"/>
                  </a:lnTo>
                  <a:close/>
                  <a:moveTo>
                    <a:pt x="351576" y="46906"/>
                  </a:moveTo>
                  <a:lnTo>
                    <a:pt x="353263" y="45261"/>
                  </a:lnTo>
                  <a:lnTo>
                    <a:pt x="349890" y="43615"/>
                  </a:lnTo>
                  <a:lnTo>
                    <a:pt x="351576" y="469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1" name="Aa en Hunze">
              <a:extLst>
                <a:ext uri="{FF2B5EF4-FFF2-40B4-BE49-F238E27FC236}">
                  <a16:creationId xmlns:a16="http://schemas.microsoft.com/office/drawing/2014/main" id="{E79DCA2B-5729-42A7-8D83-F733FC4C92FE}"/>
                </a:ext>
              </a:extLst>
            </p:cNvPr>
            <p:cNvSpPr/>
            <p:nvPr/>
          </p:nvSpPr>
          <p:spPr>
            <a:xfrm>
              <a:off x="7437184" y="1877524"/>
              <a:ext cx="389466" cy="367595"/>
            </a:xfrm>
            <a:custGeom>
              <a:avLst/>
              <a:gdLst/>
              <a:ahLst/>
              <a:cxnLst/>
              <a:rect l="l" t="t" r="r" b="b"/>
              <a:pathLst>
                <a:path w="561992" h="548640" extrusionOk="0">
                  <a:moveTo>
                    <a:pt x="317852" y="4114"/>
                  </a:moveTo>
                  <a:lnTo>
                    <a:pt x="560669" y="244410"/>
                  </a:lnTo>
                  <a:lnTo>
                    <a:pt x="415653" y="283911"/>
                  </a:lnTo>
                  <a:lnTo>
                    <a:pt x="343145" y="321766"/>
                  </a:lnTo>
                  <a:lnTo>
                    <a:pt x="252089" y="343162"/>
                  </a:lnTo>
                  <a:lnTo>
                    <a:pt x="258834" y="384308"/>
                  </a:lnTo>
                  <a:lnTo>
                    <a:pt x="247031" y="385954"/>
                  </a:lnTo>
                  <a:lnTo>
                    <a:pt x="255462" y="458372"/>
                  </a:lnTo>
                  <a:lnTo>
                    <a:pt x="268951" y="525853"/>
                  </a:lnTo>
                  <a:lnTo>
                    <a:pt x="236913" y="552187"/>
                  </a:lnTo>
                  <a:lnTo>
                    <a:pt x="194758" y="535728"/>
                  </a:lnTo>
                  <a:lnTo>
                    <a:pt x="176209" y="464956"/>
                  </a:lnTo>
                  <a:lnTo>
                    <a:pt x="162719" y="453435"/>
                  </a:lnTo>
                  <a:lnTo>
                    <a:pt x="102015" y="446851"/>
                  </a:lnTo>
                  <a:lnTo>
                    <a:pt x="85153" y="433684"/>
                  </a:lnTo>
                  <a:lnTo>
                    <a:pt x="41311" y="432039"/>
                  </a:lnTo>
                  <a:lnTo>
                    <a:pt x="9273" y="371142"/>
                  </a:lnTo>
                  <a:lnTo>
                    <a:pt x="4214" y="366204"/>
                  </a:lnTo>
                  <a:lnTo>
                    <a:pt x="12645" y="353037"/>
                  </a:lnTo>
                  <a:lnTo>
                    <a:pt x="17704" y="338224"/>
                  </a:lnTo>
                  <a:lnTo>
                    <a:pt x="32880" y="316828"/>
                  </a:lnTo>
                  <a:lnTo>
                    <a:pt x="54801" y="303661"/>
                  </a:lnTo>
                  <a:lnTo>
                    <a:pt x="54801" y="287203"/>
                  </a:lnTo>
                  <a:lnTo>
                    <a:pt x="59860" y="282265"/>
                  </a:lnTo>
                  <a:lnTo>
                    <a:pt x="68291" y="277327"/>
                  </a:lnTo>
                  <a:lnTo>
                    <a:pt x="71663" y="267452"/>
                  </a:lnTo>
                  <a:lnTo>
                    <a:pt x="71663" y="249348"/>
                  </a:lnTo>
                  <a:lnTo>
                    <a:pt x="75036" y="239472"/>
                  </a:lnTo>
                  <a:lnTo>
                    <a:pt x="78408" y="239472"/>
                  </a:lnTo>
                  <a:lnTo>
                    <a:pt x="76722" y="237827"/>
                  </a:lnTo>
                  <a:lnTo>
                    <a:pt x="78408" y="234535"/>
                  </a:lnTo>
                  <a:lnTo>
                    <a:pt x="76722" y="231243"/>
                  </a:lnTo>
                  <a:lnTo>
                    <a:pt x="80094" y="227952"/>
                  </a:lnTo>
                  <a:lnTo>
                    <a:pt x="76722" y="224660"/>
                  </a:lnTo>
                  <a:lnTo>
                    <a:pt x="83467" y="221368"/>
                  </a:lnTo>
                  <a:lnTo>
                    <a:pt x="83467" y="216430"/>
                  </a:lnTo>
                  <a:lnTo>
                    <a:pt x="86839" y="214785"/>
                  </a:lnTo>
                  <a:lnTo>
                    <a:pt x="90212" y="214785"/>
                  </a:lnTo>
                  <a:lnTo>
                    <a:pt x="90212" y="206555"/>
                  </a:lnTo>
                  <a:lnTo>
                    <a:pt x="96957" y="199972"/>
                  </a:lnTo>
                  <a:lnTo>
                    <a:pt x="107074" y="195034"/>
                  </a:lnTo>
                  <a:lnTo>
                    <a:pt x="105388" y="191743"/>
                  </a:lnTo>
                  <a:lnTo>
                    <a:pt x="107074" y="183513"/>
                  </a:lnTo>
                  <a:lnTo>
                    <a:pt x="103701" y="178576"/>
                  </a:lnTo>
                  <a:lnTo>
                    <a:pt x="105388" y="173638"/>
                  </a:lnTo>
                  <a:lnTo>
                    <a:pt x="130681" y="171992"/>
                  </a:lnTo>
                  <a:lnTo>
                    <a:pt x="123936" y="140721"/>
                  </a:lnTo>
                  <a:lnTo>
                    <a:pt x="118878" y="135783"/>
                  </a:lnTo>
                  <a:lnTo>
                    <a:pt x="120564" y="132491"/>
                  </a:lnTo>
                  <a:lnTo>
                    <a:pt x="120564" y="125908"/>
                  </a:lnTo>
                  <a:lnTo>
                    <a:pt x="137426" y="101220"/>
                  </a:lnTo>
                  <a:lnTo>
                    <a:pt x="149230" y="99574"/>
                  </a:lnTo>
                  <a:lnTo>
                    <a:pt x="155974" y="96282"/>
                  </a:lnTo>
                  <a:lnTo>
                    <a:pt x="152602" y="86407"/>
                  </a:lnTo>
                  <a:lnTo>
                    <a:pt x="164406" y="78178"/>
                  </a:lnTo>
                  <a:lnTo>
                    <a:pt x="161033" y="78178"/>
                  </a:lnTo>
                  <a:lnTo>
                    <a:pt x="161033" y="73240"/>
                  </a:lnTo>
                  <a:lnTo>
                    <a:pt x="152602" y="68303"/>
                  </a:lnTo>
                  <a:lnTo>
                    <a:pt x="155974" y="61719"/>
                  </a:lnTo>
                  <a:lnTo>
                    <a:pt x="150916" y="63365"/>
                  </a:lnTo>
                  <a:lnTo>
                    <a:pt x="149230" y="61719"/>
                  </a:lnTo>
                  <a:lnTo>
                    <a:pt x="149230" y="55136"/>
                  </a:lnTo>
                  <a:lnTo>
                    <a:pt x="145857" y="56782"/>
                  </a:lnTo>
                  <a:lnTo>
                    <a:pt x="145857" y="51844"/>
                  </a:lnTo>
                  <a:lnTo>
                    <a:pt x="139112" y="46907"/>
                  </a:lnTo>
                  <a:lnTo>
                    <a:pt x="137426" y="50198"/>
                  </a:lnTo>
                  <a:lnTo>
                    <a:pt x="137426" y="41969"/>
                  </a:lnTo>
                  <a:lnTo>
                    <a:pt x="130681" y="43615"/>
                  </a:lnTo>
                  <a:lnTo>
                    <a:pt x="128995" y="37031"/>
                  </a:lnTo>
                  <a:lnTo>
                    <a:pt x="142485" y="32094"/>
                  </a:lnTo>
                  <a:lnTo>
                    <a:pt x="150916" y="38677"/>
                  </a:lnTo>
                  <a:lnTo>
                    <a:pt x="166092" y="43615"/>
                  </a:lnTo>
                  <a:lnTo>
                    <a:pt x="194758" y="65011"/>
                  </a:lnTo>
                  <a:lnTo>
                    <a:pt x="204875" y="76532"/>
                  </a:lnTo>
                  <a:lnTo>
                    <a:pt x="223423" y="65011"/>
                  </a:lnTo>
                  <a:lnTo>
                    <a:pt x="226796" y="68303"/>
                  </a:lnTo>
                  <a:lnTo>
                    <a:pt x="279069" y="35385"/>
                  </a:lnTo>
                  <a:lnTo>
                    <a:pt x="279069" y="30448"/>
                  </a:lnTo>
                  <a:lnTo>
                    <a:pt x="272324" y="28802"/>
                  </a:lnTo>
                  <a:lnTo>
                    <a:pt x="274010" y="25510"/>
                  </a:lnTo>
                  <a:lnTo>
                    <a:pt x="317852"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2" name="Bloemendaal">
              <a:extLst>
                <a:ext uri="{FF2B5EF4-FFF2-40B4-BE49-F238E27FC236}">
                  <a16:creationId xmlns:a16="http://schemas.microsoft.com/office/drawing/2014/main" id="{BBC0770F-04F9-4DEC-B475-CA9B8590C4D4}"/>
                </a:ext>
              </a:extLst>
            </p:cNvPr>
            <p:cNvSpPr/>
            <p:nvPr/>
          </p:nvSpPr>
          <p:spPr>
            <a:xfrm>
              <a:off x="5351923" y="2967750"/>
              <a:ext cx="105116" cy="217911"/>
            </a:xfrm>
            <a:custGeom>
              <a:avLst/>
              <a:gdLst/>
              <a:ahLst/>
              <a:cxnLst/>
              <a:rect l="l" t="t" r="r" b="b"/>
              <a:pathLst>
                <a:path w="140498" h="308610" extrusionOk="0">
                  <a:moveTo>
                    <a:pt x="113819" y="33740"/>
                  </a:moveTo>
                  <a:lnTo>
                    <a:pt x="130681" y="40323"/>
                  </a:lnTo>
                  <a:lnTo>
                    <a:pt x="127309" y="43615"/>
                  </a:lnTo>
                  <a:lnTo>
                    <a:pt x="132367" y="46906"/>
                  </a:lnTo>
                  <a:lnTo>
                    <a:pt x="132367" y="56782"/>
                  </a:lnTo>
                  <a:lnTo>
                    <a:pt x="135740" y="58427"/>
                  </a:lnTo>
                  <a:lnTo>
                    <a:pt x="134053" y="66657"/>
                  </a:lnTo>
                  <a:lnTo>
                    <a:pt x="140798" y="68303"/>
                  </a:lnTo>
                  <a:lnTo>
                    <a:pt x="128995" y="104512"/>
                  </a:lnTo>
                  <a:lnTo>
                    <a:pt x="127309" y="116033"/>
                  </a:lnTo>
                  <a:lnTo>
                    <a:pt x="123936" y="125908"/>
                  </a:lnTo>
                  <a:lnTo>
                    <a:pt x="108760" y="120971"/>
                  </a:lnTo>
                  <a:lnTo>
                    <a:pt x="103701" y="132492"/>
                  </a:lnTo>
                  <a:lnTo>
                    <a:pt x="96956" y="132492"/>
                  </a:lnTo>
                  <a:lnTo>
                    <a:pt x="91898" y="137429"/>
                  </a:lnTo>
                  <a:lnTo>
                    <a:pt x="90212" y="150596"/>
                  </a:lnTo>
                  <a:lnTo>
                    <a:pt x="93584" y="152242"/>
                  </a:lnTo>
                  <a:lnTo>
                    <a:pt x="93584" y="163763"/>
                  </a:lnTo>
                  <a:lnTo>
                    <a:pt x="98643" y="165409"/>
                  </a:lnTo>
                  <a:lnTo>
                    <a:pt x="96956" y="175284"/>
                  </a:lnTo>
                  <a:lnTo>
                    <a:pt x="102015" y="175284"/>
                  </a:lnTo>
                  <a:lnTo>
                    <a:pt x="75036" y="269098"/>
                  </a:lnTo>
                  <a:lnTo>
                    <a:pt x="85153" y="270744"/>
                  </a:lnTo>
                  <a:lnTo>
                    <a:pt x="107074" y="283911"/>
                  </a:lnTo>
                  <a:lnTo>
                    <a:pt x="107074" y="305307"/>
                  </a:lnTo>
                  <a:lnTo>
                    <a:pt x="85153" y="295432"/>
                  </a:lnTo>
                  <a:lnTo>
                    <a:pt x="71663" y="293786"/>
                  </a:lnTo>
                  <a:lnTo>
                    <a:pt x="69977" y="297078"/>
                  </a:lnTo>
                  <a:lnTo>
                    <a:pt x="64918" y="293786"/>
                  </a:lnTo>
                  <a:lnTo>
                    <a:pt x="49742" y="300370"/>
                  </a:lnTo>
                  <a:lnTo>
                    <a:pt x="42997" y="297078"/>
                  </a:lnTo>
                  <a:lnTo>
                    <a:pt x="34566" y="315182"/>
                  </a:lnTo>
                  <a:lnTo>
                    <a:pt x="9273" y="303661"/>
                  </a:lnTo>
                  <a:lnTo>
                    <a:pt x="78408" y="116033"/>
                  </a:lnTo>
                  <a:lnTo>
                    <a:pt x="4214" y="92991"/>
                  </a:lnTo>
                  <a:lnTo>
                    <a:pt x="21076" y="50198"/>
                  </a:lnTo>
                  <a:lnTo>
                    <a:pt x="32880" y="4114"/>
                  </a:lnTo>
                  <a:lnTo>
                    <a:pt x="75036" y="12344"/>
                  </a:lnTo>
                  <a:lnTo>
                    <a:pt x="113819" y="3374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3" name="Son en Breugel">
              <a:extLst>
                <a:ext uri="{FF2B5EF4-FFF2-40B4-BE49-F238E27FC236}">
                  <a16:creationId xmlns:a16="http://schemas.microsoft.com/office/drawing/2014/main" id="{8DF959E0-227B-42A2-AE67-F1A12FCF967C}"/>
                </a:ext>
              </a:extLst>
            </p:cNvPr>
            <p:cNvSpPr/>
            <p:nvPr/>
          </p:nvSpPr>
          <p:spPr>
            <a:xfrm>
              <a:off x="6266966" y="4433908"/>
              <a:ext cx="131728" cy="75608"/>
            </a:xfrm>
            <a:custGeom>
              <a:avLst/>
              <a:gdLst/>
              <a:ahLst/>
              <a:cxnLst/>
              <a:rect l="l" t="t" r="r" b="b"/>
              <a:pathLst>
                <a:path w="187330" h="114300" extrusionOk="0">
                  <a:moveTo>
                    <a:pt x="102015" y="4114"/>
                  </a:moveTo>
                  <a:lnTo>
                    <a:pt x="103701" y="23865"/>
                  </a:lnTo>
                  <a:lnTo>
                    <a:pt x="112132" y="40323"/>
                  </a:lnTo>
                  <a:lnTo>
                    <a:pt x="118877" y="35386"/>
                  </a:lnTo>
                  <a:lnTo>
                    <a:pt x="127309" y="40323"/>
                  </a:lnTo>
                  <a:lnTo>
                    <a:pt x="122250" y="43615"/>
                  </a:lnTo>
                  <a:lnTo>
                    <a:pt x="122250" y="53490"/>
                  </a:lnTo>
                  <a:lnTo>
                    <a:pt x="130681" y="51844"/>
                  </a:lnTo>
                  <a:lnTo>
                    <a:pt x="134053" y="46907"/>
                  </a:lnTo>
                  <a:lnTo>
                    <a:pt x="135740" y="50198"/>
                  </a:lnTo>
                  <a:lnTo>
                    <a:pt x="140798" y="45261"/>
                  </a:lnTo>
                  <a:lnTo>
                    <a:pt x="150916" y="50198"/>
                  </a:lnTo>
                  <a:lnTo>
                    <a:pt x="155974" y="48552"/>
                  </a:lnTo>
                  <a:lnTo>
                    <a:pt x="161033" y="51844"/>
                  </a:lnTo>
                  <a:lnTo>
                    <a:pt x="169464" y="43615"/>
                  </a:lnTo>
                  <a:lnTo>
                    <a:pt x="182954" y="41969"/>
                  </a:lnTo>
                  <a:lnTo>
                    <a:pt x="191385" y="46907"/>
                  </a:lnTo>
                  <a:lnTo>
                    <a:pt x="189699" y="51844"/>
                  </a:lnTo>
                  <a:lnTo>
                    <a:pt x="191385" y="56782"/>
                  </a:lnTo>
                  <a:lnTo>
                    <a:pt x="184640" y="55136"/>
                  </a:lnTo>
                  <a:lnTo>
                    <a:pt x="193071" y="73240"/>
                  </a:lnTo>
                  <a:lnTo>
                    <a:pt x="181268" y="86407"/>
                  </a:lnTo>
                  <a:lnTo>
                    <a:pt x="169464" y="91345"/>
                  </a:lnTo>
                  <a:lnTo>
                    <a:pt x="162719" y="101220"/>
                  </a:lnTo>
                  <a:lnTo>
                    <a:pt x="150916" y="99574"/>
                  </a:lnTo>
                  <a:lnTo>
                    <a:pt x="137426" y="107804"/>
                  </a:lnTo>
                  <a:lnTo>
                    <a:pt x="139112" y="112741"/>
                  </a:lnTo>
                  <a:lnTo>
                    <a:pt x="85153" y="111095"/>
                  </a:lnTo>
                  <a:lnTo>
                    <a:pt x="75036" y="116033"/>
                  </a:lnTo>
                  <a:lnTo>
                    <a:pt x="73349" y="114387"/>
                  </a:lnTo>
                  <a:lnTo>
                    <a:pt x="73349" y="112741"/>
                  </a:lnTo>
                  <a:lnTo>
                    <a:pt x="66604" y="112741"/>
                  </a:lnTo>
                  <a:lnTo>
                    <a:pt x="32880" y="119324"/>
                  </a:lnTo>
                  <a:lnTo>
                    <a:pt x="29507" y="114387"/>
                  </a:lnTo>
                  <a:lnTo>
                    <a:pt x="41311" y="74886"/>
                  </a:lnTo>
                  <a:lnTo>
                    <a:pt x="4214" y="22219"/>
                  </a:lnTo>
                  <a:lnTo>
                    <a:pt x="12645" y="20573"/>
                  </a:lnTo>
                  <a:lnTo>
                    <a:pt x="16018" y="23865"/>
                  </a:lnTo>
                  <a:lnTo>
                    <a:pt x="21076" y="22219"/>
                  </a:lnTo>
                  <a:lnTo>
                    <a:pt x="24449" y="22219"/>
                  </a:lnTo>
                  <a:lnTo>
                    <a:pt x="73349" y="5760"/>
                  </a:lnTo>
                  <a:lnTo>
                    <a:pt x="102015"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4" name="Heerhugowaard">
              <a:extLst>
                <a:ext uri="{FF2B5EF4-FFF2-40B4-BE49-F238E27FC236}">
                  <a16:creationId xmlns:a16="http://schemas.microsoft.com/office/drawing/2014/main" id="{7A1787D5-EA86-4CE2-8295-2318B3A8C766}"/>
                </a:ext>
              </a:extLst>
            </p:cNvPr>
            <p:cNvSpPr/>
            <p:nvPr/>
          </p:nvSpPr>
          <p:spPr>
            <a:xfrm>
              <a:off x="5609849" y="2502112"/>
              <a:ext cx="121828" cy="140279"/>
            </a:xfrm>
            <a:custGeom>
              <a:avLst/>
              <a:gdLst/>
              <a:ahLst/>
              <a:cxnLst/>
              <a:rect l="l" t="t" r="r" b="b"/>
              <a:pathLst>
                <a:path w="175622" h="217170" extrusionOk="0">
                  <a:moveTo>
                    <a:pt x="127309" y="15635"/>
                  </a:moveTo>
                  <a:lnTo>
                    <a:pt x="135740" y="20573"/>
                  </a:lnTo>
                  <a:lnTo>
                    <a:pt x="144171" y="32094"/>
                  </a:lnTo>
                  <a:lnTo>
                    <a:pt x="176209" y="46906"/>
                  </a:lnTo>
                  <a:lnTo>
                    <a:pt x="177895" y="66657"/>
                  </a:lnTo>
                  <a:lnTo>
                    <a:pt x="164405" y="71594"/>
                  </a:lnTo>
                  <a:lnTo>
                    <a:pt x="161033" y="83115"/>
                  </a:lnTo>
                  <a:lnTo>
                    <a:pt x="142484" y="92991"/>
                  </a:lnTo>
                  <a:lnTo>
                    <a:pt x="147543" y="107803"/>
                  </a:lnTo>
                  <a:lnTo>
                    <a:pt x="139112" y="117679"/>
                  </a:lnTo>
                  <a:lnTo>
                    <a:pt x="127309" y="155533"/>
                  </a:lnTo>
                  <a:lnTo>
                    <a:pt x="122250" y="165408"/>
                  </a:lnTo>
                  <a:lnTo>
                    <a:pt x="120564" y="173638"/>
                  </a:lnTo>
                  <a:lnTo>
                    <a:pt x="123936" y="181867"/>
                  </a:lnTo>
                  <a:lnTo>
                    <a:pt x="142484" y="203263"/>
                  </a:lnTo>
                  <a:lnTo>
                    <a:pt x="140798" y="216430"/>
                  </a:lnTo>
                  <a:lnTo>
                    <a:pt x="134053" y="218076"/>
                  </a:lnTo>
                  <a:lnTo>
                    <a:pt x="122250" y="216430"/>
                  </a:lnTo>
                  <a:lnTo>
                    <a:pt x="117191" y="206555"/>
                  </a:lnTo>
                  <a:lnTo>
                    <a:pt x="98643" y="199972"/>
                  </a:lnTo>
                  <a:lnTo>
                    <a:pt x="90212" y="190097"/>
                  </a:lnTo>
                  <a:lnTo>
                    <a:pt x="85153" y="190097"/>
                  </a:lnTo>
                  <a:lnTo>
                    <a:pt x="80094" y="198326"/>
                  </a:lnTo>
                  <a:lnTo>
                    <a:pt x="78408" y="211493"/>
                  </a:lnTo>
                  <a:lnTo>
                    <a:pt x="71663" y="223014"/>
                  </a:lnTo>
                  <a:lnTo>
                    <a:pt x="63232" y="219722"/>
                  </a:lnTo>
                  <a:lnTo>
                    <a:pt x="37939" y="219722"/>
                  </a:lnTo>
                  <a:lnTo>
                    <a:pt x="14331" y="208201"/>
                  </a:lnTo>
                  <a:lnTo>
                    <a:pt x="4214" y="208201"/>
                  </a:lnTo>
                  <a:lnTo>
                    <a:pt x="14331" y="186805"/>
                  </a:lnTo>
                  <a:lnTo>
                    <a:pt x="26135" y="168700"/>
                  </a:lnTo>
                  <a:lnTo>
                    <a:pt x="27821" y="158825"/>
                  </a:lnTo>
                  <a:lnTo>
                    <a:pt x="26135" y="145658"/>
                  </a:lnTo>
                  <a:lnTo>
                    <a:pt x="29507" y="139075"/>
                  </a:lnTo>
                  <a:lnTo>
                    <a:pt x="37939" y="130845"/>
                  </a:lnTo>
                  <a:lnTo>
                    <a:pt x="41311" y="124262"/>
                  </a:lnTo>
                  <a:lnTo>
                    <a:pt x="59860" y="125908"/>
                  </a:lnTo>
                  <a:lnTo>
                    <a:pt x="68291" y="119324"/>
                  </a:lnTo>
                  <a:lnTo>
                    <a:pt x="68291" y="81469"/>
                  </a:lnTo>
                  <a:lnTo>
                    <a:pt x="64918" y="55136"/>
                  </a:lnTo>
                  <a:lnTo>
                    <a:pt x="56487" y="37031"/>
                  </a:lnTo>
                  <a:lnTo>
                    <a:pt x="78408" y="27156"/>
                  </a:lnTo>
                  <a:lnTo>
                    <a:pt x="75036" y="18927"/>
                  </a:lnTo>
                  <a:lnTo>
                    <a:pt x="68291" y="17281"/>
                  </a:lnTo>
                  <a:lnTo>
                    <a:pt x="100329" y="10697"/>
                  </a:lnTo>
                  <a:lnTo>
                    <a:pt x="107074" y="5760"/>
                  </a:lnTo>
                  <a:lnTo>
                    <a:pt x="115505" y="4114"/>
                  </a:lnTo>
                  <a:lnTo>
                    <a:pt x="127309" y="1563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5" name="Loon op Zand">
              <a:extLst>
                <a:ext uri="{FF2B5EF4-FFF2-40B4-BE49-F238E27FC236}">
                  <a16:creationId xmlns:a16="http://schemas.microsoft.com/office/drawing/2014/main" id="{B0FF5C73-6B5C-4D89-AD37-D43B4FDB666A}"/>
                </a:ext>
              </a:extLst>
            </p:cNvPr>
            <p:cNvSpPr/>
            <p:nvPr/>
          </p:nvSpPr>
          <p:spPr>
            <a:xfrm>
              <a:off x="5800275" y="4204956"/>
              <a:ext cx="143158" cy="121465"/>
            </a:xfrm>
            <a:custGeom>
              <a:avLst/>
              <a:gdLst/>
              <a:ahLst/>
              <a:cxnLst/>
              <a:rect l="l" t="t" r="r" b="b"/>
              <a:pathLst>
                <a:path w="187330" h="171450" extrusionOk="0">
                  <a:moveTo>
                    <a:pt x="184640" y="9052"/>
                  </a:moveTo>
                  <a:lnTo>
                    <a:pt x="181268" y="15635"/>
                  </a:lnTo>
                  <a:lnTo>
                    <a:pt x="182954" y="25510"/>
                  </a:lnTo>
                  <a:lnTo>
                    <a:pt x="181268" y="40323"/>
                  </a:lnTo>
                  <a:lnTo>
                    <a:pt x="188013" y="102866"/>
                  </a:lnTo>
                  <a:lnTo>
                    <a:pt x="181268" y="107803"/>
                  </a:lnTo>
                  <a:lnTo>
                    <a:pt x="174523" y="122616"/>
                  </a:lnTo>
                  <a:lnTo>
                    <a:pt x="177895" y="122616"/>
                  </a:lnTo>
                  <a:lnTo>
                    <a:pt x="182954" y="148950"/>
                  </a:lnTo>
                  <a:lnTo>
                    <a:pt x="176209" y="147304"/>
                  </a:lnTo>
                  <a:lnTo>
                    <a:pt x="171151" y="160471"/>
                  </a:lnTo>
                  <a:lnTo>
                    <a:pt x="167778" y="162117"/>
                  </a:lnTo>
                  <a:lnTo>
                    <a:pt x="145857" y="163763"/>
                  </a:lnTo>
                  <a:lnTo>
                    <a:pt x="147543" y="167055"/>
                  </a:lnTo>
                  <a:lnTo>
                    <a:pt x="140799" y="168700"/>
                  </a:lnTo>
                  <a:lnTo>
                    <a:pt x="140799" y="175284"/>
                  </a:lnTo>
                  <a:lnTo>
                    <a:pt x="137426" y="176930"/>
                  </a:lnTo>
                  <a:lnTo>
                    <a:pt x="137426" y="167055"/>
                  </a:lnTo>
                  <a:lnTo>
                    <a:pt x="134053" y="170346"/>
                  </a:lnTo>
                  <a:lnTo>
                    <a:pt x="132367" y="165409"/>
                  </a:lnTo>
                  <a:lnTo>
                    <a:pt x="118878" y="167055"/>
                  </a:lnTo>
                  <a:lnTo>
                    <a:pt x="117191" y="163763"/>
                  </a:lnTo>
                  <a:lnTo>
                    <a:pt x="112133" y="163763"/>
                  </a:lnTo>
                  <a:lnTo>
                    <a:pt x="93584" y="162117"/>
                  </a:lnTo>
                  <a:lnTo>
                    <a:pt x="90212" y="175284"/>
                  </a:lnTo>
                  <a:lnTo>
                    <a:pt x="31194" y="170346"/>
                  </a:lnTo>
                  <a:lnTo>
                    <a:pt x="4214" y="56782"/>
                  </a:lnTo>
                  <a:lnTo>
                    <a:pt x="12645" y="5760"/>
                  </a:lnTo>
                  <a:lnTo>
                    <a:pt x="93584" y="38677"/>
                  </a:lnTo>
                  <a:lnTo>
                    <a:pt x="96957" y="37031"/>
                  </a:lnTo>
                  <a:lnTo>
                    <a:pt x="96957" y="40323"/>
                  </a:lnTo>
                  <a:lnTo>
                    <a:pt x="102015" y="40323"/>
                  </a:lnTo>
                  <a:lnTo>
                    <a:pt x="113819" y="40323"/>
                  </a:lnTo>
                  <a:lnTo>
                    <a:pt x="113819" y="25510"/>
                  </a:lnTo>
                  <a:lnTo>
                    <a:pt x="118878" y="25510"/>
                  </a:lnTo>
                  <a:lnTo>
                    <a:pt x="117191" y="17281"/>
                  </a:lnTo>
                  <a:lnTo>
                    <a:pt x="147543" y="17281"/>
                  </a:lnTo>
                  <a:lnTo>
                    <a:pt x="161033" y="9052"/>
                  </a:lnTo>
                  <a:lnTo>
                    <a:pt x="171151" y="10698"/>
                  </a:lnTo>
                  <a:lnTo>
                    <a:pt x="181268" y="4114"/>
                  </a:lnTo>
                  <a:lnTo>
                    <a:pt x="184640" y="9052"/>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6" name="Capelle aan den Ijssel">
              <a:extLst>
                <a:ext uri="{FF2B5EF4-FFF2-40B4-BE49-F238E27FC236}">
                  <a16:creationId xmlns:a16="http://schemas.microsoft.com/office/drawing/2014/main" id="{0D0CBAF9-1AAB-40B2-AFBC-0DA9261B5394}"/>
                </a:ext>
              </a:extLst>
            </p:cNvPr>
            <p:cNvSpPr/>
            <p:nvPr/>
          </p:nvSpPr>
          <p:spPr>
            <a:xfrm>
              <a:off x="5333145" y="3725872"/>
              <a:ext cx="95216" cy="117340"/>
            </a:xfrm>
            <a:custGeom>
              <a:avLst/>
              <a:gdLst/>
              <a:ahLst/>
              <a:cxnLst/>
              <a:rect l="l" t="t" r="r" b="b"/>
              <a:pathLst>
                <a:path w="128789" h="148590" extrusionOk="0">
                  <a:moveTo>
                    <a:pt x="78408" y="4114"/>
                  </a:moveTo>
                  <a:lnTo>
                    <a:pt x="105388" y="43615"/>
                  </a:lnTo>
                  <a:lnTo>
                    <a:pt x="102015" y="48552"/>
                  </a:lnTo>
                  <a:lnTo>
                    <a:pt x="130681" y="83115"/>
                  </a:lnTo>
                  <a:lnTo>
                    <a:pt x="125622" y="94636"/>
                  </a:lnTo>
                  <a:lnTo>
                    <a:pt x="117191" y="101220"/>
                  </a:lnTo>
                  <a:lnTo>
                    <a:pt x="100329" y="99574"/>
                  </a:lnTo>
                  <a:lnTo>
                    <a:pt x="83467" y="109449"/>
                  </a:lnTo>
                  <a:lnTo>
                    <a:pt x="75036" y="112741"/>
                  </a:lnTo>
                  <a:lnTo>
                    <a:pt x="66604" y="127554"/>
                  </a:lnTo>
                  <a:lnTo>
                    <a:pt x="44684" y="140720"/>
                  </a:lnTo>
                  <a:lnTo>
                    <a:pt x="24449" y="145658"/>
                  </a:lnTo>
                  <a:lnTo>
                    <a:pt x="26135" y="139075"/>
                  </a:lnTo>
                  <a:lnTo>
                    <a:pt x="34566" y="137429"/>
                  </a:lnTo>
                  <a:lnTo>
                    <a:pt x="34566" y="125908"/>
                  </a:lnTo>
                  <a:lnTo>
                    <a:pt x="31194" y="125908"/>
                  </a:lnTo>
                  <a:lnTo>
                    <a:pt x="31194" y="122616"/>
                  </a:lnTo>
                  <a:lnTo>
                    <a:pt x="24449" y="125908"/>
                  </a:lnTo>
                  <a:lnTo>
                    <a:pt x="21076" y="144012"/>
                  </a:lnTo>
                  <a:lnTo>
                    <a:pt x="12645" y="147304"/>
                  </a:lnTo>
                  <a:lnTo>
                    <a:pt x="4214" y="129199"/>
                  </a:lnTo>
                  <a:lnTo>
                    <a:pt x="5900" y="124262"/>
                  </a:lnTo>
                  <a:lnTo>
                    <a:pt x="9273" y="125908"/>
                  </a:lnTo>
                  <a:lnTo>
                    <a:pt x="5900" y="114387"/>
                  </a:lnTo>
                  <a:lnTo>
                    <a:pt x="34566" y="114387"/>
                  </a:lnTo>
                  <a:lnTo>
                    <a:pt x="46370" y="106157"/>
                  </a:lnTo>
                  <a:lnTo>
                    <a:pt x="49742" y="99574"/>
                  </a:lnTo>
                  <a:lnTo>
                    <a:pt x="41311" y="63365"/>
                  </a:lnTo>
                  <a:lnTo>
                    <a:pt x="59860" y="58427"/>
                  </a:lnTo>
                  <a:lnTo>
                    <a:pt x="46370" y="40323"/>
                  </a:lnTo>
                  <a:lnTo>
                    <a:pt x="44684" y="20573"/>
                  </a:lnTo>
                  <a:lnTo>
                    <a:pt x="48056" y="17281"/>
                  </a:lnTo>
                  <a:lnTo>
                    <a:pt x="53115" y="22218"/>
                  </a:lnTo>
                  <a:lnTo>
                    <a:pt x="78408"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7" name="De Ronde Venen">
              <a:extLst>
                <a:ext uri="{FF2B5EF4-FFF2-40B4-BE49-F238E27FC236}">
                  <a16:creationId xmlns:a16="http://schemas.microsoft.com/office/drawing/2014/main" id="{F118BD50-D5A2-4B76-BD0F-EE28D0DD576A}"/>
                </a:ext>
              </a:extLst>
            </p:cNvPr>
            <p:cNvSpPr/>
            <p:nvPr/>
          </p:nvSpPr>
          <p:spPr>
            <a:xfrm>
              <a:off x="5609494" y="3182119"/>
              <a:ext cx="237939" cy="223448"/>
            </a:xfrm>
            <a:custGeom>
              <a:avLst/>
              <a:gdLst/>
              <a:ahLst/>
              <a:cxnLst/>
              <a:rect l="l" t="t" r="r" b="b"/>
              <a:pathLst>
                <a:path w="351245" h="342900" extrusionOk="0">
                  <a:moveTo>
                    <a:pt x="339773" y="4114"/>
                  </a:moveTo>
                  <a:lnTo>
                    <a:pt x="351577" y="7406"/>
                  </a:lnTo>
                  <a:lnTo>
                    <a:pt x="351577" y="55136"/>
                  </a:lnTo>
                  <a:lnTo>
                    <a:pt x="327969" y="178576"/>
                  </a:lnTo>
                  <a:lnTo>
                    <a:pt x="312793" y="180221"/>
                  </a:lnTo>
                  <a:lnTo>
                    <a:pt x="309421" y="176930"/>
                  </a:lnTo>
                  <a:lnTo>
                    <a:pt x="307735" y="176930"/>
                  </a:lnTo>
                  <a:lnTo>
                    <a:pt x="309421" y="181867"/>
                  </a:lnTo>
                  <a:lnTo>
                    <a:pt x="287500" y="190097"/>
                  </a:lnTo>
                  <a:lnTo>
                    <a:pt x="290873" y="199972"/>
                  </a:lnTo>
                  <a:lnTo>
                    <a:pt x="277383" y="204909"/>
                  </a:lnTo>
                  <a:lnTo>
                    <a:pt x="265579" y="254285"/>
                  </a:lnTo>
                  <a:lnTo>
                    <a:pt x="258834" y="255931"/>
                  </a:lnTo>
                  <a:lnTo>
                    <a:pt x="257148" y="259223"/>
                  </a:lnTo>
                  <a:lnTo>
                    <a:pt x="241972" y="257577"/>
                  </a:lnTo>
                  <a:lnTo>
                    <a:pt x="240286" y="270744"/>
                  </a:lnTo>
                  <a:lnTo>
                    <a:pt x="238600" y="269098"/>
                  </a:lnTo>
                  <a:lnTo>
                    <a:pt x="238600" y="288848"/>
                  </a:lnTo>
                  <a:lnTo>
                    <a:pt x="233541" y="288848"/>
                  </a:lnTo>
                  <a:lnTo>
                    <a:pt x="216679" y="310245"/>
                  </a:lnTo>
                  <a:lnTo>
                    <a:pt x="218365" y="311890"/>
                  </a:lnTo>
                  <a:lnTo>
                    <a:pt x="211620" y="318474"/>
                  </a:lnTo>
                  <a:lnTo>
                    <a:pt x="213306" y="320120"/>
                  </a:lnTo>
                  <a:lnTo>
                    <a:pt x="208247" y="333287"/>
                  </a:lnTo>
                  <a:lnTo>
                    <a:pt x="176209" y="346454"/>
                  </a:lnTo>
                  <a:lnTo>
                    <a:pt x="150916" y="346454"/>
                  </a:lnTo>
                  <a:lnTo>
                    <a:pt x="96956" y="303661"/>
                  </a:lnTo>
                  <a:lnTo>
                    <a:pt x="78408" y="302015"/>
                  </a:lnTo>
                  <a:lnTo>
                    <a:pt x="48056" y="269098"/>
                  </a:lnTo>
                  <a:lnTo>
                    <a:pt x="46370" y="262515"/>
                  </a:lnTo>
                  <a:lnTo>
                    <a:pt x="34566" y="254285"/>
                  </a:lnTo>
                  <a:lnTo>
                    <a:pt x="32880" y="249348"/>
                  </a:lnTo>
                  <a:lnTo>
                    <a:pt x="17704" y="250993"/>
                  </a:lnTo>
                  <a:lnTo>
                    <a:pt x="16018" y="242764"/>
                  </a:lnTo>
                  <a:lnTo>
                    <a:pt x="16018" y="209847"/>
                  </a:lnTo>
                  <a:lnTo>
                    <a:pt x="9273" y="203264"/>
                  </a:lnTo>
                  <a:lnTo>
                    <a:pt x="7587" y="196680"/>
                  </a:lnTo>
                  <a:lnTo>
                    <a:pt x="4214" y="196680"/>
                  </a:lnTo>
                  <a:lnTo>
                    <a:pt x="4214" y="188451"/>
                  </a:lnTo>
                  <a:lnTo>
                    <a:pt x="21076" y="185159"/>
                  </a:lnTo>
                  <a:lnTo>
                    <a:pt x="26135" y="188451"/>
                  </a:lnTo>
                  <a:lnTo>
                    <a:pt x="34566" y="186805"/>
                  </a:lnTo>
                  <a:lnTo>
                    <a:pt x="59860" y="178576"/>
                  </a:lnTo>
                  <a:lnTo>
                    <a:pt x="71663" y="168700"/>
                  </a:lnTo>
                  <a:lnTo>
                    <a:pt x="78408" y="168700"/>
                  </a:lnTo>
                  <a:lnTo>
                    <a:pt x="85153" y="157179"/>
                  </a:lnTo>
                  <a:lnTo>
                    <a:pt x="91898" y="158825"/>
                  </a:lnTo>
                  <a:lnTo>
                    <a:pt x="91898" y="152242"/>
                  </a:lnTo>
                  <a:lnTo>
                    <a:pt x="96956" y="152242"/>
                  </a:lnTo>
                  <a:lnTo>
                    <a:pt x="96956" y="144013"/>
                  </a:lnTo>
                  <a:lnTo>
                    <a:pt x="100329" y="139075"/>
                  </a:lnTo>
                  <a:lnTo>
                    <a:pt x="117191" y="129200"/>
                  </a:lnTo>
                  <a:lnTo>
                    <a:pt x="120564" y="124262"/>
                  </a:lnTo>
                  <a:lnTo>
                    <a:pt x="125622" y="130845"/>
                  </a:lnTo>
                  <a:lnTo>
                    <a:pt x="139112" y="124262"/>
                  </a:lnTo>
                  <a:lnTo>
                    <a:pt x="145857" y="130845"/>
                  </a:lnTo>
                  <a:lnTo>
                    <a:pt x="152602" y="125908"/>
                  </a:lnTo>
                  <a:lnTo>
                    <a:pt x="162719" y="130845"/>
                  </a:lnTo>
                  <a:lnTo>
                    <a:pt x="169464" y="125908"/>
                  </a:lnTo>
                  <a:lnTo>
                    <a:pt x="181268" y="127554"/>
                  </a:lnTo>
                  <a:lnTo>
                    <a:pt x="193071" y="116033"/>
                  </a:lnTo>
                  <a:lnTo>
                    <a:pt x="193071" y="104512"/>
                  </a:lnTo>
                  <a:lnTo>
                    <a:pt x="201502" y="101220"/>
                  </a:lnTo>
                  <a:lnTo>
                    <a:pt x="203189" y="92991"/>
                  </a:lnTo>
                  <a:lnTo>
                    <a:pt x="209934" y="89699"/>
                  </a:lnTo>
                  <a:lnTo>
                    <a:pt x="206561" y="79824"/>
                  </a:lnTo>
                  <a:lnTo>
                    <a:pt x="206561" y="61719"/>
                  </a:lnTo>
                  <a:lnTo>
                    <a:pt x="216679" y="58427"/>
                  </a:lnTo>
                  <a:lnTo>
                    <a:pt x="230168" y="65011"/>
                  </a:lnTo>
                  <a:lnTo>
                    <a:pt x="236913" y="63365"/>
                  </a:lnTo>
                  <a:lnTo>
                    <a:pt x="247031" y="66657"/>
                  </a:lnTo>
                  <a:lnTo>
                    <a:pt x="258834" y="65011"/>
                  </a:lnTo>
                  <a:lnTo>
                    <a:pt x="260520" y="61719"/>
                  </a:lnTo>
                  <a:lnTo>
                    <a:pt x="267265" y="58427"/>
                  </a:lnTo>
                  <a:lnTo>
                    <a:pt x="268952" y="61719"/>
                  </a:lnTo>
                  <a:lnTo>
                    <a:pt x="272324" y="53490"/>
                  </a:lnTo>
                  <a:lnTo>
                    <a:pt x="292559" y="37031"/>
                  </a:lnTo>
                  <a:lnTo>
                    <a:pt x="314480" y="40323"/>
                  </a:lnTo>
                  <a:lnTo>
                    <a:pt x="321225" y="30448"/>
                  </a:lnTo>
                  <a:lnTo>
                    <a:pt x="324597" y="17281"/>
                  </a:lnTo>
                  <a:lnTo>
                    <a:pt x="326283" y="17281"/>
                  </a:lnTo>
                  <a:lnTo>
                    <a:pt x="329656" y="9052"/>
                  </a:lnTo>
                  <a:lnTo>
                    <a:pt x="339773"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8" name="Eindhoven">
              <a:extLst>
                <a:ext uri="{FF2B5EF4-FFF2-40B4-BE49-F238E27FC236}">
                  <a16:creationId xmlns:a16="http://schemas.microsoft.com/office/drawing/2014/main" id="{F1C45BA9-B776-4D72-9CE5-F2A0F6E02883}"/>
                </a:ext>
              </a:extLst>
            </p:cNvPr>
            <p:cNvSpPr/>
            <p:nvPr/>
          </p:nvSpPr>
          <p:spPr>
            <a:xfrm>
              <a:off x="6199388" y="4505763"/>
              <a:ext cx="219296" cy="166830"/>
            </a:xfrm>
            <a:custGeom>
              <a:avLst/>
              <a:gdLst/>
              <a:ahLst/>
              <a:cxnLst/>
              <a:rect l="l" t="t" r="r" b="b"/>
              <a:pathLst>
                <a:path w="304412" h="240030" extrusionOk="0">
                  <a:moveTo>
                    <a:pt x="191385" y="4114"/>
                  </a:moveTo>
                  <a:lnTo>
                    <a:pt x="247030" y="4114"/>
                  </a:lnTo>
                  <a:lnTo>
                    <a:pt x="250403" y="12343"/>
                  </a:lnTo>
                  <a:lnTo>
                    <a:pt x="241972" y="25510"/>
                  </a:lnTo>
                  <a:lnTo>
                    <a:pt x="238599" y="25510"/>
                  </a:lnTo>
                  <a:lnTo>
                    <a:pt x="238599" y="32094"/>
                  </a:lnTo>
                  <a:lnTo>
                    <a:pt x="235227" y="35385"/>
                  </a:lnTo>
                  <a:lnTo>
                    <a:pt x="240286" y="46906"/>
                  </a:lnTo>
                  <a:lnTo>
                    <a:pt x="238599" y="48552"/>
                  </a:lnTo>
                  <a:lnTo>
                    <a:pt x="238599" y="65011"/>
                  </a:lnTo>
                  <a:lnTo>
                    <a:pt x="241972" y="68303"/>
                  </a:lnTo>
                  <a:lnTo>
                    <a:pt x="240286" y="69949"/>
                  </a:lnTo>
                  <a:lnTo>
                    <a:pt x="258834" y="89699"/>
                  </a:lnTo>
                  <a:lnTo>
                    <a:pt x="277383" y="99574"/>
                  </a:lnTo>
                  <a:lnTo>
                    <a:pt x="275696" y="104512"/>
                  </a:lnTo>
                  <a:lnTo>
                    <a:pt x="289186" y="120970"/>
                  </a:lnTo>
                  <a:lnTo>
                    <a:pt x="285814" y="132491"/>
                  </a:lnTo>
                  <a:lnTo>
                    <a:pt x="289186" y="139075"/>
                  </a:lnTo>
                  <a:lnTo>
                    <a:pt x="294245" y="142367"/>
                  </a:lnTo>
                  <a:lnTo>
                    <a:pt x="299303" y="155533"/>
                  </a:lnTo>
                  <a:lnTo>
                    <a:pt x="302676" y="153888"/>
                  </a:lnTo>
                  <a:lnTo>
                    <a:pt x="289186" y="162117"/>
                  </a:lnTo>
                  <a:lnTo>
                    <a:pt x="275696" y="160471"/>
                  </a:lnTo>
                  <a:lnTo>
                    <a:pt x="274010" y="171992"/>
                  </a:lnTo>
                  <a:lnTo>
                    <a:pt x="265579" y="170346"/>
                  </a:lnTo>
                  <a:lnTo>
                    <a:pt x="267265" y="226306"/>
                  </a:lnTo>
                  <a:lnTo>
                    <a:pt x="238599" y="226306"/>
                  </a:lnTo>
                  <a:lnTo>
                    <a:pt x="235227" y="229597"/>
                  </a:lnTo>
                  <a:lnTo>
                    <a:pt x="233541" y="237827"/>
                  </a:lnTo>
                  <a:lnTo>
                    <a:pt x="228482" y="229597"/>
                  </a:lnTo>
                  <a:lnTo>
                    <a:pt x="223423" y="227951"/>
                  </a:lnTo>
                  <a:lnTo>
                    <a:pt x="184640" y="224660"/>
                  </a:lnTo>
                  <a:lnTo>
                    <a:pt x="127309" y="226306"/>
                  </a:lnTo>
                  <a:lnTo>
                    <a:pt x="123936" y="231243"/>
                  </a:lnTo>
                  <a:lnTo>
                    <a:pt x="115505" y="231243"/>
                  </a:lnTo>
                  <a:lnTo>
                    <a:pt x="110446" y="226306"/>
                  </a:lnTo>
                  <a:lnTo>
                    <a:pt x="118878" y="219722"/>
                  </a:lnTo>
                  <a:lnTo>
                    <a:pt x="117191" y="206555"/>
                  </a:lnTo>
                  <a:lnTo>
                    <a:pt x="113819" y="201617"/>
                  </a:lnTo>
                  <a:lnTo>
                    <a:pt x="113819" y="196680"/>
                  </a:lnTo>
                  <a:lnTo>
                    <a:pt x="115505" y="196680"/>
                  </a:lnTo>
                  <a:lnTo>
                    <a:pt x="113819" y="165409"/>
                  </a:lnTo>
                  <a:lnTo>
                    <a:pt x="103701" y="158825"/>
                  </a:lnTo>
                  <a:lnTo>
                    <a:pt x="100329" y="158825"/>
                  </a:lnTo>
                  <a:lnTo>
                    <a:pt x="93584" y="165409"/>
                  </a:lnTo>
                  <a:lnTo>
                    <a:pt x="90212" y="162117"/>
                  </a:lnTo>
                  <a:lnTo>
                    <a:pt x="88525" y="152242"/>
                  </a:lnTo>
                  <a:lnTo>
                    <a:pt x="85153" y="153888"/>
                  </a:lnTo>
                  <a:lnTo>
                    <a:pt x="80094" y="147304"/>
                  </a:lnTo>
                  <a:lnTo>
                    <a:pt x="73349" y="157179"/>
                  </a:lnTo>
                  <a:lnTo>
                    <a:pt x="61546" y="153888"/>
                  </a:lnTo>
                  <a:lnTo>
                    <a:pt x="54801" y="145658"/>
                  </a:lnTo>
                  <a:lnTo>
                    <a:pt x="39625" y="152242"/>
                  </a:lnTo>
                  <a:lnTo>
                    <a:pt x="39625" y="148950"/>
                  </a:lnTo>
                  <a:lnTo>
                    <a:pt x="27821" y="144012"/>
                  </a:lnTo>
                  <a:lnTo>
                    <a:pt x="22763" y="145658"/>
                  </a:lnTo>
                  <a:lnTo>
                    <a:pt x="21076" y="150596"/>
                  </a:lnTo>
                  <a:lnTo>
                    <a:pt x="12645" y="152242"/>
                  </a:lnTo>
                  <a:lnTo>
                    <a:pt x="5900" y="145658"/>
                  </a:lnTo>
                  <a:lnTo>
                    <a:pt x="10959" y="132491"/>
                  </a:lnTo>
                  <a:lnTo>
                    <a:pt x="12645" y="120970"/>
                  </a:lnTo>
                  <a:lnTo>
                    <a:pt x="4214" y="107803"/>
                  </a:lnTo>
                  <a:lnTo>
                    <a:pt x="16018" y="91345"/>
                  </a:lnTo>
                  <a:lnTo>
                    <a:pt x="21076" y="94636"/>
                  </a:lnTo>
                  <a:lnTo>
                    <a:pt x="24449" y="79823"/>
                  </a:lnTo>
                  <a:lnTo>
                    <a:pt x="39625" y="83115"/>
                  </a:lnTo>
                  <a:lnTo>
                    <a:pt x="48056" y="74886"/>
                  </a:lnTo>
                  <a:lnTo>
                    <a:pt x="53115" y="73240"/>
                  </a:lnTo>
                  <a:lnTo>
                    <a:pt x="51428" y="69949"/>
                  </a:lnTo>
                  <a:lnTo>
                    <a:pt x="58173" y="66657"/>
                  </a:lnTo>
                  <a:lnTo>
                    <a:pt x="58173" y="61719"/>
                  </a:lnTo>
                  <a:lnTo>
                    <a:pt x="63232" y="60073"/>
                  </a:lnTo>
                  <a:lnTo>
                    <a:pt x="69977" y="41969"/>
                  </a:lnTo>
                  <a:lnTo>
                    <a:pt x="64918" y="37031"/>
                  </a:lnTo>
                  <a:lnTo>
                    <a:pt x="66605" y="33739"/>
                  </a:lnTo>
                  <a:lnTo>
                    <a:pt x="75036" y="30448"/>
                  </a:lnTo>
                  <a:lnTo>
                    <a:pt x="83467" y="35385"/>
                  </a:lnTo>
                  <a:lnTo>
                    <a:pt x="90212" y="33739"/>
                  </a:lnTo>
                  <a:lnTo>
                    <a:pt x="117191" y="18927"/>
                  </a:lnTo>
                  <a:lnTo>
                    <a:pt x="147543" y="7406"/>
                  </a:lnTo>
                  <a:lnTo>
                    <a:pt x="171150" y="4114"/>
                  </a:lnTo>
                  <a:lnTo>
                    <a:pt x="182954" y="5760"/>
                  </a:lnTo>
                  <a:lnTo>
                    <a:pt x="191385"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79" name="Nieuwegein">
              <a:extLst>
                <a:ext uri="{FF2B5EF4-FFF2-40B4-BE49-F238E27FC236}">
                  <a16:creationId xmlns:a16="http://schemas.microsoft.com/office/drawing/2014/main" id="{25C7226A-946E-461B-861C-AC30B2353526}"/>
                </a:ext>
              </a:extLst>
            </p:cNvPr>
            <p:cNvSpPr/>
            <p:nvPr/>
          </p:nvSpPr>
          <p:spPr>
            <a:xfrm>
              <a:off x="5885082" y="3584720"/>
              <a:ext cx="83384" cy="102474"/>
            </a:xfrm>
            <a:custGeom>
              <a:avLst/>
              <a:gdLst/>
              <a:ahLst/>
              <a:cxnLst/>
              <a:rect l="l" t="t" r="r" b="b"/>
              <a:pathLst>
                <a:path w="105373" h="160020" extrusionOk="0">
                  <a:moveTo>
                    <a:pt x="32880" y="5760"/>
                  </a:moveTo>
                  <a:lnTo>
                    <a:pt x="46370" y="7406"/>
                  </a:lnTo>
                  <a:lnTo>
                    <a:pt x="51428" y="12344"/>
                  </a:lnTo>
                  <a:lnTo>
                    <a:pt x="56487" y="10698"/>
                  </a:lnTo>
                  <a:lnTo>
                    <a:pt x="68291" y="33740"/>
                  </a:lnTo>
                  <a:lnTo>
                    <a:pt x="71663" y="33740"/>
                  </a:lnTo>
                  <a:lnTo>
                    <a:pt x="78408" y="13989"/>
                  </a:lnTo>
                  <a:lnTo>
                    <a:pt x="88525" y="17281"/>
                  </a:lnTo>
                  <a:lnTo>
                    <a:pt x="91898" y="22219"/>
                  </a:lnTo>
                  <a:lnTo>
                    <a:pt x="102015" y="22219"/>
                  </a:lnTo>
                  <a:lnTo>
                    <a:pt x="98643" y="33740"/>
                  </a:lnTo>
                  <a:lnTo>
                    <a:pt x="105388" y="33740"/>
                  </a:lnTo>
                  <a:lnTo>
                    <a:pt x="93584" y="81470"/>
                  </a:lnTo>
                  <a:lnTo>
                    <a:pt x="107074" y="94637"/>
                  </a:lnTo>
                  <a:lnTo>
                    <a:pt x="103701" y="94637"/>
                  </a:lnTo>
                  <a:lnTo>
                    <a:pt x="90212" y="153888"/>
                  </a:lnTo>
                  <a:lnTo>
                    <a:pt x="76722" y="148950"/>
                  </a:lnTo>
                  <a:lnTo>
                    <a:pt x="64918" y="147304"/>
                  </a:lnTo>
                  <a:lnTo>
                    <a:pt x="46370" y="150596"/>
                  </a:lnTo>
                  <a:lnTo>
                    <a:pt x="26135" y="160471"/>
                  </a:lnTo>
                  <a:lnTo>
                    <a:pt x="22763" y="152242"/>
                  </a:lnTo>
                  <a:lnTo>
                    <a:pt x="17704" y="153888"/>
                  </a:lnTo>
                  <a:lnTo>
                    <a:pt x="22763" y="145658"/>
                  </a:lnTo>
                  <a:lnTo>
                    <a:pt x="4214" y="91345"/>
                  </a:lnTo>
                  <a:lnTo>
                    <a:pt x="5900" y="28802"/>
                  </a:lnTo>
                  <a:lnTo>
                    <a:pt x="14332" y="5760"/>
                  </a:lnTo>
                  <a:lnTo>
                    <a:pt x="24449" y="4114"/>
                  </a:lnTo>
                  <a:lnTo>
                    <a:pt x="32880" y="5760"/>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0" name="Veldhoven">
              <a:extLst>
                <a:ext uri="{FF2B5EF4-FFF2-40B4-BE49-F238E27FC236}">
                  <a16:creationId xmlns:a16="http://schemas.microsoft.com/office/drawing/2014/main" id="{0DCFE50D-E14F-41F9-91B6-98C11FE9600A}"/>
                </a:ext>
              </a:extLst>
            </p:cNvPr>
            <p:cNvSpPr/>
            <p:nvPr/>
          </p:nvSpPr>
          <p:spPr>
            <a:xfrm>
              <a:off x="6158690" y="4593023"/>
              <a:ext cx="123733" cy="111625"/>
            </a:xfrm>
            <a:custGeom>
              <a:avLst/>
              <a:gdLst/>
              <a:ahLst/>
              <a:cxnLst/>
              <a:rect l="l" t="t" r="r" b="b"/>
              <a:pathLst>
                <a:path w="175622" h="148590" extrusionOk="0">
                  <a:moveTo>
                    <a:pt x="102015" y="9052"/>
                  </a:moveTo>
                  <a:lnTo>
                    <a:pt x="105388" y="12344"/>
                  </a:lnTo>
                  <a:lnTo>
                    <a:pt x="117191" y="5760"/>
                  </a:lnTo>
                  <a:lnTo>
                    <a:pt x="123936" y="13989"/>
                  </a:lnTo>
                  <a:lnTo>
                    <a:pt x="135740" y="17281"/>
                  </a:lnTo>
                  <a:lnTo>
                    <a:pt x="142485" y="7406"/>
                  </a:lnTo>
                  <a:lnTo>
                    <a:pt x="147543" y="13989"/>
                  </a:lnTo>
                  <a:lnTo>
                    <a:pt x="150916" y="12344"/>
                  </a:lnTo>
                  <a:lnTo>
                    <a:pt x="152602" y="22219"/>
                  </a:lnTo>
                  <a:lnTo>
                    <a:pt x="155974" y="25510"/>
                  </a:lnTo>
                  <a:lnTo>
                    <a:pt x="162719" y="18927"/>
                  </a:lnTo>
                  <a:lnTo>
                    <a:pt x="166092" y="18927"/>
                  </a:lnTo>
                  <a:lnTo>
                    <a:pt x="176209" y="25510"/>
                  </a:lnTo>
                  <a:lnTo>
                    <a:pt x="177895" y="56782"/>
                  </a:lnTo>
                  <a:lnTo>
                    <a:pt x="176209" y="56782"/>
                  </a:lnTo>
                  <a:lnTo>
                    <a:pt x="176209" y="61719"/>
                  </a:lnTo>
                  <a:lnTo>
                    <a:pt x="179582" y="66657"/>
                  </a:lnTo>
                  <a:lnTo>
                    <a:pt x="181268" y="79824"/>
                  </a:lnTo>
                  <a:lnTo>
                    <a:pt x="172837" y="86407"/>
                  </a:lnTo>
                  <a:lnTo>
                    <a:pt x="176209" y="91345"/>
                  </a:lnTo>
                  <a:lnTo>
                    <a:pt x="167778" y="106158"/>
                  </a:lnTo>
                  <a:lnTo>
                    <a:pt x="169464" y="109449"/>
                  </a:lnTo>
                  <a:lnTo>
                    <a:pt x="167778" y="114387"/>
                  </a:lnTo>
                  <a:lnTo>
                    <a:pt x="161033" y="124262"/>
                  </a:lnTo>
                  <a:lnTo>
                    <a:pt x="167778" y="137429"/>
                  </a:lnTo>
                  <a:lnTo>
                    <a:pt x="162719" y="140721"/>
                  </a:lnTo>
                  <a:lnTo>
                    <a:pt x="154288" y="135783"/>
                  </a:lnTo>
                  <a:lnTo>
                    <a:pt x="147543" y="145658"/>
                  </a:lnTo>
                  <a:lnTo>
                    <a:pt x="128995" y="144013"/>
                  </a:lnTo>
                  <a:lnTo>
                    <a:pt x="123936" y="152242"/>
                  </a:lnTo>
                  <a:lnTo>
                    <a:pt x="117191" y="153888"/>
                  </a:lnTo>
                  <a:lnTo>
                    <a:pt x="93584" y="125908"/>
                  </a:lnTo>
                  <a:lnTo>
                    <a:pt x="88526" y="102866"/>
                  </a:lnTo>
                  <a:lnTo>
                    <a:pt x="63232" y="76532"/>
                  </a:lnTo>
                  <a:lnTo>
                    <a:pt x="16018" y="83116"/>
                  </a:lnTo>
                  <a:lnTo>
                    <a:pt x="5901" y="61719"/>
                  </a:lnTo>
                  <a:lnTo>
                    <a:pt x="4214" y="51844"/>
                  </a:lnTo>
                  <a:lnTo>
                    <a:pt x="10959" y="50198"/>
                  </a:lnTo>
                  <a:lnTo>
                    <a:pt x="9273" y="40323"/>
                  </a:lnTo>
                  <a:lnTo>
                    <a:pt x="41311" y="35386"/>
                  </a:lnTo>
                  <a:lnTo>
                    <a:pt x="46370" y="32094"/>
                  </a:lnTo>
                  <a:lnTo>
                    <a:pt x="44684" y="22219"/>
                  </a:lnTo>
                  <a:lnTo>
                    <a:pt x="49742" y="22219"/>
                  </a:lnTo>
                  <a:lnTo>
                    <a:pt x="49742" y="27156"/>
                  </a:lnTo>
                  <a:lnTo>
                    <a:pt x="53115" y="27156"/>
                  </a:lnTo>
                  <a:lnTo>
                    <a:pt x="64918" y="15635"/>
                  </a:lnTo>
                  <a:lnTo>
                    <a:pt x="68291" y="5760"/>
                  </a:lnTo>
                  <a:lnTo>
                    <a:pt x="75036" y="12344"/>
                  </a:lnTo>
                  <a:lnTo>
                    <a:pt x="83467" y="10698"/>
                  </a:lnTo>
                  <a:lnTo>
                    <a:pt x="85153" y="5760"/>
                  </a:lnTo>
                  <a:lnTo>
                    <a:pt x="90212" y="4114"/>
                  </a:lnTo>
                  <a:lnTo>
                    <a:pt x="102015" y="905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1" name="Gulpen-Wittem">
              <a:extLst>
                <a:ext uri="{FF2B5EF4-FFF2-40B4-BE49-F238E27FC236}">
                  <a16:creationId xmlns:a16="http://schemas.microsoft.com/office/drawing/2014/main" id="{40002FC7-BFA3-4142-9ECC-2ADD7EECCC22}"/>
                </a:ext>
              </a:extLst>
            </p:cNvPr>
            <p:cNvSpPr/>
            <p:nvPr/>
          </p:nvSpPr>
          <p:spPr>
            <a:xfrm>
              <a:off x="6687515" y="5576664"/>
              <a:ext cx="197763" cy="140161"/>
            </a:xfrm>
            <a:custGeom>
              <a:avLst/>
              <a:gdLst/>
              <a:ahLst/>
              <a:cxnLst/>
              <a:rect l="l" t="t" r="r" b="b"/>
              <a:pathLst>
                <a:path w="257579" h="240030" extrusionOk="0">
                  <a:moveTo>
                    <a:pt x="164406" y="4114"/>
                  </a:moveTo>
                  <a:lnTo>
                    <a:pt x="169464" y="4114"/>
                  </a:lnTo>
                  <a:lnTo>
                    <a:pt x="176209" y="25510"/>
                  </a:lnTo>
                  <a:lnTo>
                    <a:pt x="181268" y="27156"/>
                  </a:lnTo>
                  <a:lnTo>
                    <a:pt x="191385" y="23865"/>
                  </a:lnTo>
                  <a:lnTo>
                    <a:pt x="203189" y="13990"/>
                  </a:lnTo>
                  <a:lnTo>
                    <a:pt x="209934" y="15635"/>
                  </a:lnTo>
                  <a:lnTo>
                    <a:pt x="214993" y="12343"/>
                  </a:lnTo>
                  <a:lnTo>
                    <a:pt x="220051" y="35385"/>
                  </a:lnTo>
                  <a:lnTo>
                    <a:pt x="216679" y="37032"/>
                  </a:lnTo>
                  <a:lnTo>
                    <a:pt x="223424" y="55136"/>
                  </a:lnTo>
                  <a:lnTo>
                    <a:pt x="236913" y="68303"/>
                  </a:lnTo>
                  <a:lnTo>
                    <a:pt x="243658" y="71595"/>
                  </a:lnTo>
                  <a:lnTo>
                    <a:pt x="238599" y="81470"/>
                  </a:lnTo>
                  <a:lnTo>
                    <a:pt x="255462" y="86407"/>
                  </a:lnTo>
                  <a:lnTo>
                    <a:pt x="262207" y="97929"/>
                  </a:lnTo>
                  <a:lnTo>
                    <a:pt x="250403" y="114387"/>
                  </a:lnTo>
                  <a:lnTo>
                    <a:pt x="238599" y="119324"/>
                  </a:lnTo>
                  <a:lnTo>
                    <a:pt x="231855" y="116033"/>
                  </a:lnTo>
                  <a:lnTo>
                    <a:pt x="211620" y="137429"/>
                  </a:lnTo>
                  <a:lnTo>
                    <a:pt x="201503" y="132492"/>
                  </a:lnTo>
                  <a:lnTo>
                    <a:pt x="196444" y="145659"/>
                  </a:lnTo>
                  <a:lnTo>
                    <a:pt x="201503" y="167055"/>
                  </a:lnTo>
                  <a:lnTo>
                    <a:pt x="198130" y="188451"/>
                  </a:lnTo>
                  <a:lnTo>
                    <a:pt x="188013" y="191743"/>
                  </a:lnTo>
                  <a:lnTo>
                    <a:pt x="184640" y="186805"/>
                  </a:lnTo>
                  <a:lnTo>
                    <a:pt x="177895" y="181868"/>
                  </a:lnTo>
                  <a:lnTo>
                    <a:pt x="167778" y="181868"/>
                  </a:lnTo>
                  <a:lnTo>
                    <a:pt x="166092" y="186805"/>
                  </a:lnTo>
                  <a:lnTo>
                    <a:pt x="162720" y="196680"/>
                  </a:lnTo>
                  <a:lnTo>
                    <a:pt x="171151" y="204910"/>
                  </a:lnTo>
                  <a:lnTo>
                    <a:pt x="171151" y="209847"/>
                  </a:lnTo>
                  <a:lnTo>
                    <a:pt x="177895" y="213139"/>
                  </a:lnTo>
                  <a:lnTo>
                    <a:pt x="181268" y="218076"/>
                  </a:lnTo>
                  <a:lnTo>
                    <a:pt x="177895" y="221368"/>
                  </a:lnTo>
                  <a:lnTo>
                    <a:pt x="186327" y="223014"/>
                  </a:lnTo>
                  <a:lnTo>
                    <a:pt x="188013" y="226306"/>
                  </a:lnTo>
                  <a:lnTo>
                    <a:pt x="179582" y="226306"/>
                  </a:lnTo>
                  <a:lnTo>
                    <a:pt x="166092" y="239473"/>
                  </a:lnTo>
                  <a:lnTo>
                    <a:pt x="157661" y="242764"/>
                  </a:lnTo>
                  <a:lnTo>
                    <a:pt x="155974" y="242764"/>
                  </a:lnTo>
                  <a:lnTo>
                    <a:pt x="155974" y="232889"/>
                  </a:lnTo>
                  <a:lnTo>
                    <a:pt x="154288" y="232889"/>
                  </a:lnTo>
                  <a:lnTo>
                    <a:pt x="152602" y="229598"/>
                  </a:lnTo>
                  <a:lnTo>
                    <a:pt x="145857" y="232889"/>
                  </a:lnTo>
                  <a:lnTo>
                    <a:pt x="144171" y="229598"/>
                  </a:lnTo>
                  <a:lnTo>
                    <a:pt x="139112" y="231243"/>
                  </a:lnTo>
                  <a:lnTo>
                    <a:pt x="134054" y="239473"/>
                  </a:lnTo>
                  <a:lnTo>
                    <a:pt x="115505" y="227952"/>
                  </a:lnTo>
                  <a:lnTo>
                    <a:pt x="115505" y="209847"/>
                  </a:lnTo>
                  <a:lnTo>
                    <a:pt x="110447" y="195034"/>
                  </a:lnTo>
                  <a:lnTo>
                    <a:pt x="93584" y="206556"/>
                  </a:lnTo>
                  <a:lnTo>
                    <a:pt x="73349" y="211493"/>
                  </a:lnTo>
                  <a:lnTo>
                    <a:pt x="58174" y="226306"/>
                  </a:lnTo>
                  <a:lnTo>
                    <a:pt x="51429" y="236181"/>
                  </a:lnTo>
                  <a:lnTo>
                    <a:pt x="44684" y="204910"/>
                  </a:lnTo>
                  <a:lnTo>
                    <a:pt x="44684" y="195034"/>
                  </a:lnTo>
                  <a:lnTo>
                    <a:pt x="41311" y="186805"/>
                  </a:lnTo>
                  <a:lnTo>
                    <a:pt x="42997" y="185159"/>
                  </a:lnTo>
                  <a:lnTo>
                    <a:pt x="34566" y="168701"/>
                  </a:lnTo>
                  <a:lnTo>
                    <a:pt x="29508" y="167055"/>
                  </a:lnTo>
                  <a:lnTo>
                    <a:pt x="27822" y="162117"/>
                  </a:lnTo>
                  <a:lnTo>
                    <a:pt x="29508" y="160471"/>
                  </a:lnTo>
                  <a:lnTo>
                    <a:pt x="31194" y="155534"/>
                  </a:lnTo>
                  <a:lnTo>
                    <a:pt x="26135" y="155534"/>
                  </a:lnTo>
                  <a:lnTo>
                    <a:pt x="24449" y="150596"/>
                  </a:lnTo>
                  <a:lnTo>
                    <a:pt x="17704" y="147304"/>
                  </a:lnTo>
                  <a:lnTo>
                    <a:pt x="7587" y="132492"/>
                  </a:lnTo>
                  <a:lnTo>
                    <a:pt x="7587" y="119324"/>
                  </a:lnTo>
                  <a:lnTo>
                    <a:pt x="4214" y="111095"/>
                  </a:lnTo>
                  <a:lnTo>
                    <a:pt x="24449" y="102866"/>
                  </a:lnTo>
                  <a:lnTo>
                    <a:pt x="36253" y="106158"/>
                  </a:lnTo>
                  <a:lnTo>
                    <a:pt x="44684" y="86407"/>
                  </a:lnTo>
                  <a:lnTo>
                    <a:pt x="49742" y="88053"/>
                  </a:lnTo>
                  <a:lnTo>
                    <a:pt x="56487" y="79824"/>
                  </a:lnTo>
                  <a:lnTo>
                    <a:pt x="53115" y="76532"/>
                  </a:lnTo>
                  <a:lnTo>
                    <a:pt x="56487" y="73240"/>
                  </a:lnTo>
                  <a:lnTo>
                    <a:pt x="61546" y="71595"/>
                  </a:lnTo>
                  <a:lnTo>
                    <a:pt x="63232" y="74887"/>
                  </a:lnTo>
                  <a:lnTo>
                    <a:pt x="73349" y="66657"/>
                  </a:lnTo>
                  <a:lnTo>
                    <a:pt x="66605" y="41969"/>
                  </a:lnTo>
                  <a:lnTo>
                    <a:pt x="76722" y="30448"/>
                  </a:lnTo>
                  <a:lnTo>
                    <a:pt x="85153" y="30448"/>
                  </a:lnTo>
                  <a:lnTo>
                    <a:pt x="83467" y="35385"/>
                  </a:lnTo>
                  <a:lnTo>
                    <a:pt x="88526" y="32094"/>
                  </a:lnTo>
                  <a:lnTo>
                    <a:pt x="95270" y="23865"/>
                  </a:lnTo>
                  <a:lnTo>
                    <a:pt x="90212" y="15635"/>
                  </a:lnTo>
                  <a:lnTo>
                    <a:pt x="91898" y="9052"/>
                  </a:lnTo>
                  <a:lnTo>
                    <a:pt x="93584" y="12343"/>
                  </a:lnTo>
                  <a:lnTo>
                    <a:pt x="110447" y="9052"/>
                  </a:lnTo>
                  <a:lnTo>
                    <a:pt x="115505" y="20573"/>
                  </a:lnTo>
                  <a:lnTo>
                    <a:pt x="127309" y="18927"/>
                  </a:lnTo>
                  <a:lnTo>
                    <a:pt x="135740" y="12343"/>
                  </a:lnTo>
                  <a:lnTo>
                    <a:pt x="155974" y="5760"/>
                  </a:lnTo>
                  <a:lnTo>
                    <a:pt x="16440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2" name="Hardenberg">
              <a:extLst>
                <a:ext uri="{FF2B5EF4-FFF2-40B4-BE49-F238E27FC236}">
                  <a16:creationId xmlns:a16="http://schemas.microsoft.com/office/drawing/2014/main" id="{C43CDDB0-F420-4C39-8624-83747AF2772B}"/>
                </a:ext>
              </a:extLst>
            </p:cNvPr>
            <p:cNvSpPr/>
            <p:nvPr/>
          </p:nvSpPr>
          <p:spPr>
            <a:xfrm>
              <a:off x="7189534" y="2572878"/>
              <a:ext cx="467912" cy="324017"/>
            </a:xfrm>
            <a:custGeom>
              <a:avLst/>
              <a:gdLst/>
              <a:ahLst/>
              <a:cxnLst/>
              <a:rect l="l" t="t" r="r" b="b"/>
              <a:pathLst>
                <a:path w="702490" h="502920" extrusionOk="0">
                  <a:moveTo>
                    <a:pt x="601138" y="79824"/>
                  </a:moveTo>
                  <a:lnTo>
                    <a:pt x="607883" y="81470"/>
                  </a:lnTo>
                  <a:lnTo>
                    <a:pt x="609569" y="84761"/>
                  </a:lnTo>
                  <a:lnTo>
                    <a:pt x="604510" y="92991"/>
                  </a:lnTo>
                  <a:lnTo>
                    <a:pt x="606197" y="101220"/>
                  </a:lnTo>
                  <a:lnTo>
                    <a:pt x="601138" y="111095"/>
                  </a:lnTo>
                  <a:lnTo>
                    <a:pt x="602824" y="114387"/>
                  </a:lnTo>
                  <a:lnTo>
                    <a:pt x="611255" y="114387"/>
                  </a:lnTo>
                  <a:lnTo>
                    <a:pt x="611255" y="112741"/>
                  </a:lnTo>
                  <a:lnTo>
                    <a:pt x="621373" y="114387"/>
                  </a:lnTo>
                  <a:lnTo>
                    <a:pt x="628118" y="125908"/>
                  </a:lnTo>
                  <a:lnTo>
                    <a:pt x="638235" y="134137"/>
                  </a:lnTo>
                  <a:lnTo>
                    <a:pt x="641607" y="142367"/>
                  </a:lnTo>
                  <a:lnTo>
                    <a:pt x="629804" y="206555"/>
                  </a:lnTo>
                  <a:lnTo>
                    <a:pt x="703998" y="265806"/>
                  </a:lnTo>
                  <a:lnTo>
                    <a:pt x="703998" y="270744"/>
                  </a:lnTo>
                  <a:lnTo>
                    <a:pt x="682077" y="277327"/>
                  </a:lnTo>
                  <a:lnTo>
                    <a:pt x="663528" y="270744"/>
                  </a:lnTo>
                  <a:lnTo>
                    <a:pt x="655097" y="270744"/>
                  </a:lnTo>
                  <a:lnTo>
                    <a:pt x="641607" y="267452"/>
                  </a:lnTo>
                  <a:lnTo>
                    <a:pt x="634862" y="293786"/>
                  </a:lnTo>
                  <a:lnTo>
                    <a:pt x="628118" y="298724"/>
                  </a:lnTo>
                  <a:lnTo>
                    <a:pt x="628118" y="303661"/>
                  </a:lnTo>
                  <a:lnTo>
                    <a:pt x="574158" y="293786"/>
                  </a:lnTo>
                  <a:lnTo>
                    <a:pt x="612941" y="371142"/>
                  </a:lnTo>
                  <a:lnTo>
                    <a:pt x="602824" y="455081"/>
                  </a:lnTo>
                  <a:lnTo>
                    <a:pt x="596079" y="455081"/>
                  </a:lnTo>
                  <a:lnTo>
                    <a:pt x="558982" y="433684"/>
                  </a:lnTo>
                  <a:lnTo>
                    <a:pt x="537061" y="451789"/>
                  </a:lnTo>
                  <a:lnTo>
                    <a:pt x="537061" y="464956"/>
                  </a:lnTo>
                  <a:lnTo>
                    <a:pt x="526944" y="474831"/>
                  </a:lnTo>
                  <a:lnTo>
                    <a:pt x="533689" y="483060"/>
                  </a:lnTo>
                  <a:lnTo>
                    <a:pt x="530316" y="487998"/>
                  </a:lnTo>
                  <a:lnTo>
                    <a:pt x="518513" y="492935"/>
                  </a:lnTo>
                  <a:lnTo>
                    <a:pt x="516827" y="487998"/>
                  </a:lnTo>
                  <a:lnTo>
                    <a:pt x="510082" y="491289"/>
                  </a:lnTo>
                  <a:lnTo>
                    <a:pt x="503337" y="491289"/>
                  </a:lnTo>
                  <a:lnTo>
                    <a:pt x="496592" y="486352"/>
                  </a:lnTo>
                  <a:lnTo>
                    <a:pt x="481416" y="497873"/>
                  </a:lnTo>
                  <a:lnTo>
                    <a:pt x="476357" y="506103"/>
                  </a:lnTo>
                  <a:lnTo>
                    <a:pt x="457809" y="473185"/>
                  </a:lnTo>
                  <a:lnTo>
                    <a:pt x="447691" y="471539"/>
                  </a:lnTo>
                  <a:lnTo>
                    <a:pt x="469612" y="441914"/>
                  </a:lnTo>
                  <a:lnTo>
                    <a:pt x="413967" y="405705"/>
                  </a:lnTo>
                  <a:lnTo>
                    <a:pt x="405536" y="397475"/>
                  </a:lnTo>
                  <a:lnTo>
                    <a:pt x="395418" y="394184"/>
                  </a:lnTo>
                  <a:lnTo>
                    <a:pt x="393732" y="387600"/>
                  </a:lnTo>
                  <a:lnTo>
                    <a:pt x="400477" y="389246"/>
                  </a:lnTo>
                  <a:lnTo>
                    <a:pt x="403849" y="385954"/>
                  </a:lnTo>
                  <a:lnTo>
                    <a:pt x="400477" y="379371"/>
                  </a:lnTo>
                  <a:lnTo>
                    <a:pt x="395418" y="377725"/>
                  </a:lnTo>
                  <a:lnTo>
                    <a:pt x="392046" y="379371"/>
                  </a:lnTo>
                  <a:lnTo>
                    <a:pt x="385301" y="387600"/>
                  </a:lnTo>
                  <a:lnTo>
                    <a:pt x="388674" y="392538"/>
                  </a:lnTo>
                  <a:lnTo>
                    <a:pt x="385301" y="394184"/>
                  </a:lnTo>
                  <a:lnTo>
                    <a:pt x="378556" y="389246"/>
                  </a:lnTo>
                  <a:lnTo>
                    <a:pt x="371811" y="385954"/>
                  </a:lnTo>
                  <a:lnTo>
                    <a:pt x="373497" y="381017"/>
                  </a:lnTo>
                  <a:lnTo>
                    <a:pt x="365066" y="379371"/>
                  </a:lnTo>
                  <a:lnTo>
                    <a:pt x="366753" y="374433"/>
                  </a:lnTo>
                  <a:lnTo>
                    <a:pt x="365066" y="366204"/>
                  </a:lnTo>
                  <a:lnTo>
                    <a:pt x="365066" y="361266"/>
                  </a:lnTo>
                  <a:lnTo>
                    <a:pt x="356635" y="356329"/>
                  </a:lnTo>
                  <a:lnTo>
                    <a:pt x="354949" y="356329"/>
                  </a:lnTo>
                  <a:lnTo>
                    <a:pt x="349890" y="339870"/>
                  </a:lnTo>
                  <a:lnTo>
                    <a:pt x="346518" y="313536"/>
                  </a:lnTo>
                  <a:lnTo>
                    <a:pt x="334714" y="278973"/>
                  </a:lnTo>
                  <a:lnTo>
                    <a:pt x="307735" y="242764"/>
                  </a:lnTo>
                  <a:lnTo>
                    <a:pt x="295931" y="254285"/>
                  </a:lnTo>
                  <a:lnTo>
                    <a:pt x="284128" y="259223"/>
                  </a:lnTo>
                  <a:lnTo>
                    <a:pt x="208247" y="260869"/>
                  </a:lnTo>
                  <a:lnTo>
                    <a:pt x="193072" y="255931"/>
                  </a:lnTo>
                  <a:lnTo>
                    <a:pt x="172837" y="259223"/>
                  </a:lnTo>
                  <a:lnTo>
                    <a:pt x="154288" y="208201"/>
                  </a:lnTo>
                  <a:lnTo>
                    <a:pt x="34566" y="206555"/>
                  </a:lnTo>
                  <a:lnTo>
                    <a:pt x="27821" y="190097"/>
                  </a:lnTo>
                  <a:lnTo>
                    <a:pt x="4214" y="195034"/>
                  </a:lnTo>
                  <a:lnTo>
                    <a:pt x="37939" y="46907"/>
                  </a:lnTo>
                  <a:lnTo>
                    <a:pt x="46370" y="51844"/>
                  </a:lnTo>
                  <a:lnTo>
                    <a:pt x="48056" y="56782"/>
                  </a:lnTo>
                  <a:lnTo>
                    <a:pt x="59860" y="56782"/>
                  </a:lnTo>
                  <a:lnTo>
                    <a:pt x="68291" y="69949"/>
                  </a:lnTo>
                  <a:lnTo>
                    <a:pt x="76722" y="73240"/>
                  </a:lnTo>
                  <a:lnTo>
                    <a:pt x="78408" y="76532"/>
                  </a:lnTo>
                  <a:lnTo>
                    <a:pt x="86839" y="78178"/>
                  </a:lnTo>
                  <a:lnTo>
                    <a:pt x="93584" y="83116"/>
                  </a:lnTo>
                  <a:lnTo>
                    <a:pt x="91898" y="92991"/>
                  </a:lnTo>
                  <a:lnTo>
                    <a:pt x="102015" y="101220"/>
                  </a:lnTo>
                  <a:lnTo>
                    <a:pt x="102015" y="109449"/>
                  </a:lnTo>
                  <a:lnTo>
                    <a:pt x="105388" y="111095"/>
                  </a:lnTo>
                  <a:lnTo>
                    <a:pt x="110447" y="120970"/>
                  </a:lnTo>
                  <a:lnTo>
                    <a:pt x="108760" y="124262"/>
                  </a:lnTo>
                  <a:lnTo>
                    <a:pt x="110447" y="125908"/>
                  </a:lnTo>
                  <a:lnTo>
                    <a:pt x="108760" y="129200"/>
                  </a:lnTo>
                  <a:lnTo>
                    <a:pt x="113819" y="139075"/>
                  </a:lnTo>
                  <a:lnTo>
                    <a:pt x="113819" y="147304"/>
                  </a:lnTo>
                  <a:lnTo>
                    <a:pt x="118878" y="150596"/>
                  </a:lnTo>
                  <a:lnTo>
                    <a:pt x="122250" y="148950"/>
                  </a:lnTo>
                  <a:lnTo>
                    <a:pt x="123936" y="157179"/>
                  </a:lnTo>
                  <a:lnTo>
                    <a:pt x="135740" y="152242"/>
                  </a:lnTo>
                  <a:lnTo>
                    <a:pt x="142485" y="144012"/>
                  </a:lnTo>
                  <a:lnTo>
                    <a:pt x="154288" y="147304"/>
                  </a:lnTo>
                  <a:lnTo>
                    <a:pt x="159347" y="144012"/>
                  </a:lnTo>
                  <a:lnTo>
                    <a:pt x="157661" y="137429"/>
                  </a:lnTo>
                  <a:lnTo>
                    <a:pt x="162720" y="134137"/>
                  </a:lnTo>
                  <a:lnTo>
                    <a:pt x="167778" y="139075"/>
                  </a:lnTo>
                  <a:lnTo>
                    <a:pt x="176209" y="140721"/>
                  </a:lnTo>
                  <a:lnTo>
                    <a:pt x="179582" y="132491"/>
                  </a:lnTo>
                  <a:lnTo>
                    <a:pt x="188013" y="127554"/>
                  </a:lnTo>
                  <a:lnTo>
                    <a:pt x="188013" y="124262"/>
                  </a:lnTo>
                  <a:lnTo>
                    <a:pt x="191385" y="117679"/>
                  </a:lnTo>
                  <a:lnTo>
                    <a:pt x="194758" y="117679"/>
                  </a:lnTo>
                  <a:lnTo>
                    <a:pt x="199816" y="122616"/>
                  </a:lnTo>
                  <a:lnTo>
                    <a:pt x="198130" y="124262"/>
                  </a:lnTo>
                  <a:lnTo>
                    <a:pt x="201503" y="132491"/>
                  </a:lnTo>
                  <a:lnTo>
                    <a:pt x="201503" y="139075"/>
                  </a:lnTo>
                  <a:lnTo>
                    <a:pt x="211620" y="148950"/>
                  </a:lnTo>
                  <a:lnTo>
                    <a:pt x="225110" y="148950"/>
                  </a:lnTo>
                  <a:lnTo>
                    <a:pt x="228482" y="152242"/>
                  </a:lnTo>
                  <a:lnTo>
                    <a:pt x="231855" y="148950"/>
                  </a:lnTo>
                  <a:lnTo>
                    <a:pt x="238599" y="147304"/>
                  </a:lnTo>
                  <a:lnTo>
                    <a:pt x="245345" y="132491"/>
                  </a:lnTo>
                  <a:lnTo>
                    <a:pt x="243658" y="129200"/>
                  </a:lnTo>
                  <a:lnTo>
                    <a:pt x="253776" y="125908"/>
                  </a:lnTo>
                  <a:lnTo>
                    <a:pt x="257148" y="125908"/>
                  </a:lnTo>
                  <a:lnTo>
                    <a:pt x="258834" y="134137"/>
                  </a:lnTo>
                  <a:lnTo>
                    <a:pt x="262207" y="134137"/>
                  </a:lnTo>
                  <a:lnTo>
                    <a:pt x="265579" y="140721"/>
                  </a:lnTo>
                  <a:lnTo>
                    <a:pt x="285814" y="139075"/>
                  </a:lnTo>
                  <a:lnTo>
                    <a:pt x="306049" y="144012"/>
                  </a:lnTo>
                  <a:lnTo>
                    <a:pt x="317852" y="152242"/>
                  </a:lnTo>
                  <a:lnTo>
                    <a:pt x="327970" y="150596"/>
                  </a:lnTo>
                  <a:lnTo>
                    <a:pt x="319538" y="73240"/>
                  </a:lnTo>
                  <a:lnTo>
                    <a:pt x="366753" y="30448"/>
                  </a:lnTo>
                  <a:lnTo>
                    <a:pt x="376870" y="25510"/>
                  </a:lnTo>
                  <a:lnTo>
                    <a:pt x="469612" y="4114"/>
                  </a:lnTo>
                  <a:lnTo>
                    <a:pt x="572472" y="50198"/>
                  </a:lnTo>
                  <a:lnTo>
                    <a:pt x="611255" y="61719"/>
                  </a:lnTo>
                  <a:lnTo>
                    <a:pt x="607883" y="69949"/>
                  </a:lnTo>
                  <a:lnTo>
                    <a:pt x="607883" y="74886"/>
                  </a:lnTo>
                  <a:lnTo>
                    <a:pt x="601138" y="7982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3" name="Leusden">
              <a:extLst>
                <a:ext uri="{FF2B5EF4-FFF2-40B4-BE49-F238E27FC236}">
                  <a16:creationId xmlns:a16="http://schemas.microsoft.com/office/drawing/2014/main" id="{10FBEF14-B7B2-4C87-9A0C-C1AAEE7EC7B3}"/>
                </a:ext>
              </a:extLst>
            </p:cNvPr>
            <p:cNvSpPr/>
            <p:nvPr/>
          </p:nvSpPr>
          <p:spPr>
            <a:xfrm>
              <a:off x="6152179" y="3418802"/>
              <a:ext cx="229195" cy="125276"/>
            </a:xfrm>
            <a:custGeom>
              <a:avLst/>
              <a:gdLst/>
              <a:ahLst/>
              <a:cxnLst/>
              <a:rect l="l" t="t" r="r" b="b"/>
              <a:pathLst>
                <a:path w="316120" h="171450" extrusionOk="0">
                  <a:moveTo>
                    <a:pt x="208247" y="7406"/>
                  </a:moveTo>
                  <a:lnTo>
                    <a:pt x="230168" y="23865"/>
                  </a:lnTo>
                  <a:lnTo>
                    <a:pt x="257148" y="25510"/>
                  </a:lnTo>
                  <a:lnTo>
                    <a:pt x="268951" y="33740"/>
                  </a:lnTo>
                  <a:lnTo>
                    <a:pt x="290872" y="37031"/>
                  </a:lnTo>
                  <a:lnTo>
                    <a:pt x="289186" y="51844"/>
                  </a:lnTo>
                  <a:lnTo>
                    <a:pt x="307735" y="60074"/>
                  </a:lnTo>
                  <a:lnTo>
                    <a:pt x="314480" y="65011"/>
                  </a:lnTo>
                  <a:lnTo>
                    <a:pt x="311107" y="69949"/>
                  </a:lnTo>
                  <a:lnTo>
                    <a:pt x="311107" y="74886"/>
                  </a:lnTo>
                  <a:lnTo>
                    <a:pt x="294245" y="79824"/>
                  </a:lnTo>
                  <a:lnTo>
                    <a:pt x="289186" y="78178"/>
                  </a:lnTo>
                  <a:lnTo>
                    <a:pt x="287500" y="92991"/>
                  </a:lnTo>
                  <a:lnTo>
                    <a:pt x="284128" y="92991"/>
                  </a:lnTo>
                  <a:lnTo>
                    <a:pt x="287500" y="104512"/>
                  </a:lnTo>
                  <a:lnTo>
                    <a:pt x="300990" y="104512"/>
                  </a:lnTo>
                  <a:lnTo>
                    <a:pt x="299303" y="112741"/>
                  </a:lnTo>
                  <a:lnTo>
                    <a:pt x="304362" y="114387"/>
                  </a:lnTo>
                  <a:lnTo>
                    <a:pt x="304362" y="119324"/>
                  </a:lnTo>
                  <a:lnTo>
                    <a:pt x="299303" y="119324"/>
                  </a:lnTo>
                  <a:lnTo>
                    <a:pt x="290872" y="112741"/>
                  </a:lnTo>
                  <a:lnTo>
                    <a:pt x="272324" y="114387"/>
                  </a:lnTo>
                  <a:lnTo>
                    <a:pt x="260520" y="109449"/>
                  </a:lnTo>
                  <a:lnTo>
                    <a:pt x="255462" y="122616"/>
                  </a:lnTo>
                  <a:lnTo>
                    <a:pt x="257148" y="140721"/>
                  </a:lnTo>
                  <a:lnTo>
                    <a:pt x="252089" y="140721"/>
                  </a:lnTo>
                  <a:lnTo>
                    <a:pt x="250403" y="148950"/>
                  </a:lnTo>
                  <a:lnTo>
                    <a:pt x="243658" y="150596"/>
                  </a:lnTo>
                  <a:lnTo>
                    <a:pt x="228482" y="139075"/>
                  </a:lnTo>
                  <a:lnTo>
                    <a:pt x="206561" y="135783"/>
                  </a:lnTo>
                  <a:lnTo>
                    <a:pt x="198130" y="152242"/>
                  </a:lnTo>
                  <a:lnTo>
                    <a:pt x="186326" y="162117"/>
                  </a:lnTo>
                  <a:lnTo>
                    <a:pt x="172837" y="160471"/>
                  </a:lnTo>
                  <a:lnTo>
                    <a:pt x="155974" y="144013"/>
                  </a:lnTo>
                  <a:lnTo>
                    <a:pt x="147543" y="142367"/>
                  </a:lnTo>
                  <a:lnTo>
                    <a:pt x="142485" y="178576"/>
                  </a:lnTo>
                  <a:lnTo>
                    <a:pt x="107074" y="175284"/>
                  </a:lnTo>
                  <a:lnTo>
                    <a:pt x="42997" y="162117"/>
                  </a:lnTo>
                  <a:lnTo>
                    <a:pt x="27821" y="152242"/>
                  </a:lnTo>
                  <a:lnTo>
                    <a:pt x="4214" y="132492"/>
                  </a:lnTo>
                  <a:lnTo>
                    <a:pt x="26135" y="111095"/>
                  </a:lnTo>
                  <a:lnTo>
                    <a:pt x="39625" y="102866"/>
                  </a:lnTo>
                  <a:lnTo>
                    <a:pt x="73349" y="63365"/>
                  </a:lnTo>
                  <a:lnTo>
                    <a:pt x="95270" y="76532"/>
                  </a:lnTo>
                  <a:lnTo>
                    <a:pt x="98643" y="74886"/>
                  </a:lnTo>
                  <a:lnTo>
                    <a:pt x="102015" y="78178"/>
                  </a:lnTo>
                  <a:lnTo>
                    <a:pt x="137426" y="71595"/>
                  </a:lnTo>
                  <a:lnTo>
                    <a:pt x="152602" y="50198"/>
                  </a:lnTo>
                  <a:lnTo>
                    <a:pt x="154288" y="55136"/>
                  </a:lnTo>
                  <a:lnTo>
                    <a:pt x="152602" y="50198"/>
                  </a:lnTo>
                  <a:lnTo>
                    <a:pt x="166092" y="30448"/>
                  </a:lnTo>
                  <a:lnTo>
                    <a:pt x="167778" y="20573"/>
                  </a:lnTo>
                  <a:lnTo>
                    <a:pt x="176209" y="12343"/>
                  </a:lnTo>
                  <a:lnTo>
                    <a:pt x="189699" y="10698"/>
                  </a:lnTo>
                  <a:lnTo>
                    <a:pt x="199816" y="4114"/>
                  </a:lnTo>
                  <a:lnTo>
                    <a:pt x="204875" y="4114"/>
                  </a:lnTo>
                  <a:lnTo>
                    <a:pt x="208247" y="740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4" name="Krimpenerwaard">
              <a:extLst>
                <a:ext uri="{FF2B5EF4-FFF2-40B4-BE49-F238E27FC236}">
                  <a16:creationId xmlns:a16="http://schemas.microsoft.com/office/drawing/2014/main" id="{0A59E74B-1F0D-4789-B95A-DE2C64CDF243}"/>
                </a:ext>
              </a:extLst>
            </p:cNvPr>
            <p:cNvSpPr/>
            <p:nvPr/>
          </p:nvSpPr>
          <p:spPr>
            <a:xfrm>
              <a:off x="5380311" y="3642968"/>
              <a:ext cx="321350" cy="224000"/>
            </a:xfrm>
            <a:custGeom>
              <a:avLst/>
              <a:gdLst/>
              <a:ahLst/>
              <a:cxnLst/>
              <a:rect l="l" t="t" r="r" b="b"/>
              <a:pathLst>
                <a:path w="468326" h="320040" extrusionOk="0">
                  <a:moveTo>
                    <a:pt x="346518" y="4114"/>
                  </a:moveTo>
                  <a:lnTo>
                    <a:pt x="353263" y="23864"/>
                  </a:lnTo>
                  <a:lnTo>
                    <a:pt x="371811" y="23864"/>
                  </a:lnTo>
                  <a:lnTo>
                    <a:pt x="386987" y="15635"/>
                  </a:lnTo>
                  <a:lnTo>
                    <a:pt x="398791" y="18927"/>
                  </a:lnTo>
                  <a:lnTo>
                    <a:pt x="420712" y="15635"/>
                  </a:lnTo>
                  <a:lnTo>
                    <a:pt x="434201" y="43615"/>
                  </a:lnTo>
                  <a:lnTo>
                    <a:pt x="375184" y="58427"/>
                  </a:lnTo>
                  <a:lnTo>
                    <a:pt x="400477" y="91345"/>
                  </a:lnTo>
                  <a:lnTo>
                    <a:pt x="398791" y="92991"/>
                  </a:lnTo>
                  <a:lnTo>
                    <a:pt x="417339" y="119324"/>
                  </a:lnTo>
                  <a:lnTo>
                    <a:pt x="419025" y="117679"/>
                  </a:lnTo>
                  <a:lnTo>
                    <a:pt x="439260" y="135783"/>
                  </a:lnTo>
                  <a:lnTo>
                    <a:pt x="456122" y="168700"/>
                  </a:lnTo>
                  <a:lnTo>
                    <a:pt x="464553" y="208201"/>
                  </a:lnTo>
                  <a:lnTo>
                    <a:pt x="427457" y="199972"/>
                  </a:lnTo>
                  <a:lnTo>
                    <a:pt x="400477" y="203264"/>
                  </a:lnTo>
                  <a:lnTo>
                    <a:pt x="361694" y="241118"/>
                  </a:lnTo>
                  <a:lnTo>
                    <a:pt x="317852" y="255931"/>
                  </a:lnTo>
                  <a:lnTo>
                    <a:pt x="290872" y="262514"/>
                  </a:lnTo>
                  <a:lnTo>
                    <a:pt x="250403" y="292140"/>
                  </a:lnTo>
                  <a:lnTo>
                    <a:pt x="226796" y="305307"/>
                  </a:lnTo>
                  <a:lnTo>
                    <a:pt x="216678" y="308599"/>
                  </a:lnTo>
                  <a:lnTo>
                    <a:pt x="201502" y="305307"/>
                  </a:lnTo>
                  <a:lnTo>
                    <a:pt x="193071" y="305307"/>
                  </a:lnTo>
                  <a:lnTo>
                    <a:pt x="162719" y="315182"/>
                  </a:lnTo>
                  <a:lnTo>
                    <a:pt x="145857" y="321766"/>
                  </a:lnTo>
                  <a:lnTo>
                    <a:pt x="118877" y="321766"/>
                  </a:lnTo>
                  <a:lnTo>
                    <a:pt x="95270" y="318474"/>
                  </a:lnTo>
                  <a:lnTo>
                    <a:pt x="80094" y="321766"/>
                  </a:lnTo>
                  <a:lnTo>
                    <a:pt x="68291" y="321766"/>
                  </a:lnTo>
                  <a:lnTo>
                    <a:pt x="29507" y="308599"/>
                  </a:lnTo>
                  <a:lnTo>
                    <a:pt x="14331" y="293786"/>
                  </a:lnTo>
                  <a:lnTo>
                    <a:pt x="4214" y="288848"/>
                  </a:lnTo>
                  <a:lnTo>
                    <a:pt x="12645" y="285557"/>
                  </a:lnTo>
                  <a:lnTo>
                    <a:pt x="22763" y="290494"/>
                  </a:lnTo>
                  <a:lnTo>
                    <a:pt x="22763" y="285557"/>
                  </a:lnTo>
                  <a:lnTo>
                    <a:pt x="27821" y="282265"/>
                  </a:lnTo>
                  <a:lnTo>
                    <a:pt x="29507" y="285557"/>
                  </a:lnTo>
                  <a:lnTo>
                    <a:pt x="34566" y="282265"/>
                  </a:lnTo>
                  <a:lnTo>
                    <a:pt x="32880" y="278973"/>
                  </a:lnTo>
                  <a:lnTo>
                    <a:pt x="34566" y="277327"/>
                  </a:lnTo>
                  <a:lnTo>
                    <a:pt x="41311" y="278973"/>
                  </a:lnTo>
                  <a:lnTo>
                    <a:pt x="73349" y="277327"/>
                  </a:lnTo>
                  <a:lnTo>
                    <a:pt x="93584" y="272390"/>
                  </a:lnTo>
                  <a:lnTo>
                    <a:pt x="105388" y="267452"/>
                  </a:lnTo>
                  <a:lnTo>
                    <a:pt x="68291" y="221368"/>
                  </a:lnTo>
                  <a:lnTo>
                    <a:pt x="75036" y="209847"/>
                  </a:lnTo>
                  <a:lnTo>
                    <a:pt x="88525" y="209847"/>
                  </a:lnTo>
                  <a:lnTo>
                    <a:pt x="93584" y="206555"/>
                  </a:lnTo>
                  <a:lnTo>
                    <a:pt x="102015" y="173638"/>
                  </a:lnTo>
                  <a:lnTo>
                    <a:pt x="112132" y="165409"/>
                  </a:lnTo>
                  <a:lnTo>
                    <a:pt x="102015" y="147304"/>
                  </a:lnTo>
                  <a:lnTo>
                    <a:pt x="88525" y="132491"/>
                  </a:lnTo>
                  <a:lnTo>
                    <a:pt x="90212" y="127554"/>
                  </a:lnTo>
                  <a:lnTo>
                    <a:pt x="115505" y="120970"/>
                  </a:lnTo>
                  <a:lnTo>
                    <a:pt x="127308" y="112741"/>
                  </a:lnTo>
                  <a:lnTo>
                    <a:pt x="147543" y="106157"/>
                  </a:lnTo>
                  <a:lnTo>
                    <a:pt x="154288" y="89699"/>
                  </a:lnTo>
                  <a:lnTo>
                    <a:pt x="177895" y="65011"/>
                  </a:lnTo>
                  <a:lnTo>
                    <a:pt x="196444" y="63365"/>
                  </a:lnTo>
                  <a:lnTo>
                    <a:pt x="206561" y="51844"/>
                  </a:lnTo>
                  <a:lnTo>
                    <a:pt x="214992" y="58427"/>
                  </a:lnTo>
                  <a:lnTo>
                    <a:pt x="216678" y="55136"/>
                  </a:lnTo>
                  <a:lnTo>
                    <a:pt x="223423" y="60073"/>
                  </a:lnTo>
                  <a:lnTo>
                    <a:pt x="236913" y="53490"/>
                  </a:lnTo>
                  <a:lnTo>
                    <a:pt x="230168" y="43615"/>
                  </a:lnTo>
                  <a:lnTo>
                    <a:pt x="238599" y="38677"/>
                  </a:lnTo>
                  <a:lnTo>
                    <a:pt x="252089" y="41969"/>
                  </a:lnTo>
                  <a:lnTo>
                    <a:pt x="252089" y="40323"/>
                  </a:lnTo>
                  <a:lnTo>
                    <a:pt x="263893" y="50198"/>
                  </a:lnTo>
                  <a:lnTo>
                    <a:pt x="282441" y="53490"/>
                  </a:lnTo>
                  <a:lnTo>
                    <a:pt x="272324" y="23864"/>
                  </a:lnTo>
                  <a:lnTo>
                    <a:pt x="295931" y="25510"/>
                  </a:lnTo>
                  <a:lnTo>
                    <a:pt x="311107" y="23864"/>
                  </a:lnTo>
                  <a:lnTo>
                    <a:pt x="324597" y="17281"/>
                  </a:lnTo>
                  <a:lnTo>
                    <a:pt x="346518"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5" name="Westerveld">
              <a:extLst>
                <a:ext uri="{FF2B5EF4-FFF2-40B4-BE49-F238E27FC236}">
                  <a16:creationId xmlns:a16="http://schemas.microsoft.com/office/drawing/2014/main" id="{CB7C1D62-A969-4A0A-9E72-24EA0A58143F}"/>
                </a:ext>
              </a:extLst>
            </p:cNvPr>
            <p:cNvSpPr/>
            <p:nvPr/>
          </p:nvSpPr>
          <p:spPr>
            <a:xfrm>
              <a:off x="6992285" y="2171364"/>
              <a:ext cx="358872" cy="327946"/>
            </a:xfrm>
            <a:custGeom>
              <a:avLst/>
              <a:gdLst/>
              <a:ahLst/>
              <a:cxnLst/>
              <a:rect l="l" t="t" r="r" b="b"/>
              <a:pathLst>
                <a:path w="538575" h="480060" extrusionOk="0">
                  <a:moveTo>
                    <a:pt x="275696" y="10698"/>
                  </a:moveTo>
                  <a:lnTo>
                    <a:pt x="322911" y="53490"/>
                  </a:lnTo>
                  <a:lnTo>
                    <a:pt x="375184" y="15635"/>
                  </a:lnTo>
                  <a:lnTo>
                    <a:pt x="400477" y="30448"/>
                  </a:lnTo>
                  <a:lnTo>
                    <a:pt x="397105" y="40323"/>
                  </a:lnTo>
                  <a:lnTo>
                    <a:pt x="393732" y="38677"/>
                  </a:lnTo>
                  <a:lnTo>
                    <a:pt x="388674" y="46906"/>
                  </a:lnTo>
                  <a:lnTo>
                    <a:pt x="390360" y="48552"/>
                  </a:lnTo>
                  <a:lnTo>
                    <a:pt x="388674" y="51844"/>
                  </a:lnTo>
                  <a:lnTo>
                    <a:pt x="386987" y="51844"/>
                  </a:lnTo>
                  <a:lnTo>
                    <a:pt x="378556" y="61719"/>
                  </a:lnTo>
                  <a:lnTo>
                    <a:pt x="373497" y="60073"/>
                  </a:lnTo>
                  <a:lnTo>
                    <a:pt x="361694" y="83115"/>
                  </a:lnTo>
                  <a:lnTo>
                    <a:pt x="381928" y="92991"/>
                  </a:lnTo>
                  <a:lnTo>
                    <a:pt x="373497" y="112741"/>
                  </a:lnTo>
                  <a:lnTo>
                    <a:pt x="376870" y="125908"/>
                  </a:lnTo>
                  <a:lnTo>
                    <a:pt x="381928" y="127554"/>
                  </a:lnTo>
                  <a:lnTo>
                    <a:pt x="381928" y="114387"/>
                  </a:lnTo>
                  <a:lnTo>
                    <a:pt x="395418" y="94637"/>
                  </a:lnTo>
                  <a:lnTo>
                    <a:pt x="452750" y="111095"/>
                  </a:lnTo>
                  <a:lnTo>
                    <a:pt x="456122" y="116033"/>
                  </a:lnTo>
                  <a:lnTo>
                    <a:pt x="452750" y="120970"/>
                  </a:lnTo>
                  <a:lnTo>
                    <a:pt x="464554" y="134137"/>
                  </a:lnTo>
                  <a:lnTo>
                    <a:pt x="466240" y="132492"/>
                  </a:lnTo>
                  <a:lnTo>
                    <a:pt x="469612" y="140721"/>
                  </a:lnTo>
                  <a:lnTo>
                    <a:pt x="474671" y="171992"/>
                  </a:lnTo>
                  <a:lnTo>
                    <a:pt x="467926" y="173638"/>
                  </a:lnTo>
                  <a:lnTo>
                    <a:pt x="469612" y="186805"/>
                  </a:lnTo>
                  <a:lnTo>
                    <a:pt x="476357" y="185159"/>
                  </a:lnTo>
                  <a:lnTo>
                    <a:pt x="486474" y="188451"/>
                  </a:lnTo>
                  <a:lnTo>
                    <a:pt x="499964" y="188451"/>
                  </a:lnTo>
                  <a:lnTo>
                    <a:pt x="515140" y="180221"/>
                  </a:lnTo>
                  <a:lnTo>
                    <a:pt x="518513" y="190097"/>
                  </a:lnTo>
                  <a:lnTo>
                    <a:pt x="515140" y="199972"/>
                  </a:lnTo>
                  <a:lnTo>
                    <a:pt x="518513" y="214785"/>
                  </a:lnTo>
                  <a:lnTo>
                    <a:pt x="538747" y="216430"/>
                  </a:lnTo>
                  <a:lnTo>
                    <a:pt x="543806" y="218076"/>
                  </a:lnTo>
                  <a:lnTo>
                    <a:pt x="525258" y="255931"/>
                  </a:lnTo>
                  <a:lnTo>
                    <a:pt x="516827" y="270744"/>
                  </a:lnTo>
                  <a:lnTo>
                    <a:pt x="515140" y="269098"/>
                  </a:lnTo>
                  <a:lnTo>
                    <a:pt x="513454" y="270744"/>
                  </a:lnTo>
                  <a:lnTo>
                    <a:pt x="511768" y="297078"/>
                  </a:lnTo>
                  <a:lnTo>
                    <a:pt x="496592" y="343162"/>
                  </a:lnTo>
                  <a:lnTo>
                    <a:pt x="481416" y="328349"/>
                  </a:lnTo>
                  <a:lnTo>
                    <a:pt x="471299" y="336579"/>
                  </a:lnTo>
                  <a:lnTo>
                    <a:pt x="471299" y="339870"/>
                  </a:lnTo>
                  <a:lnTo>
                    <a:pt x="474671" y="341516"/>
                  </a:lnTo>
                  <a:lnTo>
                    <a:pt x="474671" y="346454"/>
                  </a:lnTo>
                  <a:lnTo>
                    <a:pt x="467926" y="348099"/>
                  </a:lnTo>
                  <a:lnTo>
                    <a:pt x="467926" y="351391"/>
                  </a:lnTo>
                  <a:lnTo>
                    <a:pt x="461181" y="351391"/>
                  </a:lnTo>
                  <a:lnTo>
                    <a:pt x="459495" y="354683"/>
                  </a:lnTo>
                  <a:lnTo>
                    <a:pt x="451064" y="353037"/>
                  </a:lnTo>
                  <a:lnTo>
                    <a:pt x="451064" y="341516"/>
                  </a:lnTo>
                  <a:lnTo>
                    <a:pt x="446005" y="338224"/>
                  </a:lnTo>
                  <a:lnTo>
                    <a:pt x="417339" y="364558"/>
                  </a:lnTo>
                  <a:lnTo>
                    <a:pt x="413967" y="359621"/>
                  </a:lnTo>
                  <a:lnTo>
                    <a:pt x="407222" y="361266"/>
                  </a:lnTo>
                  <a:lnTo>
                    <a:pt x="393732" y="346454"/>
                  </a:lnTo>
                  <a:lnTo>
                    <a:pt x="386987" y="353037"/>
                  </a:lnTo>
                  <a:lnTo>
                    <a:pt x="388674" y="354683"/>
                  </a:lnTo>
                  <a:lnTo>
                    <a:pt x="385301" y="357975"/>
                  </a:lnTo>
                  <a:lnTo>
                    <a:pt x="368439" y="351391"/>
                  </a:lnTo>
                  <a:lnTo>
                    <a:pt x="360008" y="359621"/>
                  </a:lnTo>
                  <a:lnTo>
                    <a:pt x="356635" y="353037"/>
                  </a:lnTo>
                  <a:lnTo>
                    <a:pt x="349890" y="351391"/>
                  </a:lnTo>
                  <a:lnTo>
                    <a:pt x="356635" y="346454"/>
                  </a:lnTo>
                  <a:lnTo>
                    <a:pt x="354949" y="339870"/>
                  </a:lnTo>
                  <a:lnTo>
                    <a:pt x="339773" y="336579"/>
                  </a:lnTo>
                  <a:lnTo>
                    <a:pt x="351576" y="329995"/>
                  </a:lnTo>
                  <a:lnTo>
                    <a:pt x="358321" y="321766"/>
                  </a:lnTo>
                  <a:lnTo>
                    <a:pt x="356635" y="313536"/>
                  </a:lnTo>
                  <a:lnTo>
                    <a:pt x="336401" y="313536"/>
                  </a:lnTo>
                  <a:lnTo>
                    <a:pt x="307735" y="321766"/>
                  </a:lnTo>
                  <a:lnTo>
                    <a:pt x="290872" y="321766"/>
                  </a:lnTo>
                  <a:lnTo>
                    <a:pt x="284128" y="331641"/>
                  </a:lnTo>
                  <a:lnTo>
                    <a:pt x="277383" y="333287"/>
                  </a:lnTo>
                  <a:lnTo>
                    <a:pt x="280755" y="338224"/>
                  </a:lnTo>
                  <a:lnTo>
                    <a:pt x="275696" y="343162"/>
                  </a:lnTo>
                  <a:lnTo>
                    <a:pt x="277383" y="346454"/>
                  </a:lnTo>
                  <a:lnTo>
                    <a:pt x="272324" y="353037"/>
                  </a:lnTo>
                  <a:lnTo>
                    <a:pt x="274010" y="354683"/>
                  </a:lnTo>
                  <a:lnTo>
                    <a:pt x="265579" y="362912"/>
                  </a:lnTo>
                  <a:lnTo>
                    <a:pt x="275696" y="387600"/>
                  </a:lnTo>
                  <a:lnTo>
                    <a:pt x="275696" y="392538"/>
                  </a:lnTo>
                  <a:lnTo>
                    <a:pt x="247030" y="402413"/>
                  </a:lnTo>
                  <a:lnTo>
                    <a:pt x="230168" y="412288"/>
                  </a:lnTo>
                  <a:lnTo>
                    <a:pt x="220051" y="415580"/>
                  </a:lnTo>
                  <a:lnTo>
                    <a:pt x="204875" y="413934"/>
                  </a:lnTo>
                  <a:lnTo>
                    <a:pt x="189699" y="432038"/>
                  </a:lnTo>
                  <a:lnTo>
                    <a:pt x="182954" y="448497"/>
                  </a:lnTo>
                  <a:lnTo>
                    <a:pt x="174523" y="453435"/>
                  </a:lnTo>
                  <a:lnTo>
                    <a:pt x="155974" y="438622"/>
                  </a:lnTo>
                  <a:lnTo>
                    <a:pt x="130681" y="484706"/>
                  </a:lnTo>
                  <a:lnTo>
                    <a:pt x="93584" y="390892"/>
                  </a:lnTo>
                  <a:lnTo>
                    <a:pt x="85153" y="379371"/>
                  </a:lnTo>
                  <a:lnTo>
                    <a:pt x="117191" y="346454"/>
                  </a:lnTo>
                  <a:lnTo>
                    <a:pt x="128995" y="328349"/>
                  </a:lnTo>
                  <a:lnTo>
                    <a:pt x="91898" y="280619"/>
                  </a:lnTo>
                  <a:lnTo>
                    <a:pt x="83467" y="275682"/>
                  </a:lnTo>
                  <a:lnTo>
                    <a:pt x="83467" y="277327"/>
                  </a:lnTo>
                  <a:lnTo>
                    <a:pt x="61546" y="254285"/>
                  </a:lnTo>
                  <a:lnTo>
                    <a:pt x="49742" y="246056"/>
                  </a:lnTo>
                  <a:lnTo>
                    <a:pt x="53115" y="244410"/>
                  </a:lnTo>
                  <a:lnTo>
                    <a:pt x="19390" y="208201"/>
                  </a:lnTo>
                  <a:lnTo>
                    <a:pt x="17704" y="199972"/>
                  </a:lnTo>
                  <a:lnTo>
                    <a:pt x="4214" y="183513"/>
                  </a:lnTo>
                  <a:lnTo>
                    <a:pt x="73349" y="132492"/>
                  </a:lnTo>
                  <a:lnTo>
                    <a:pt x="134053" y="94637"/>
                  </a:lnTo>
                  <a:lnTo>
                    <a:pt x="171151" y="38677"/>
                  </a:lnTo>
                  <a:lnTo>
                    <a:pt x="189699" y="23864"/>
                  </a:lnTo>
                  <a:lnTo>
                    <a:pt x="193071" y="13989"/>
                  </a:lnTo>
                  <a:lnTo>
                    <a:pt x="206561" y="4114"/>
                  </a:lnTo>
                  <a:lnTo>
                    <a:pt x="275696" y="1069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6" name="Twenterand">
              <a:extLst>
                <a:ext uri="{FF2B5EF4-FFF2-40B4-BE49-F238E27FC236}">
                  <a16:creationId xmlns:a16="http://schemas.microsoft.com/office/drawing/2014/main" id="{C93D8625-078D-4330-A867-223CCA2F1E6C}"/>
                </a:ext>
              </a:extLst>
            </p:cNvPr>
            <p:cNvSpPr/>
            <p:nvPr/>
          </p:nvSpPr>
          <p:spPr>
            <a:xfrm>
              <a:off x="7338465" y="2857902"/>
              <a:ext cx="279472" cy="185702"/>
            </a:xfrm>
            <a:custGeom>
              <a:avLst/>
              <a:gdLst/>
              <a:ahLst/>
              <a:cxnLst/>
              <a:rect l="l" t="t" r="r" b="b"/>
              <a:pathLst>
                <a:path w="409785" h="274320" extrusionOk="0">
                  <a:moveTo>
                    <a:pt x="338087" y="4114"/>
                  </a:moveTo>
                  <a:lnTo>
                    <a:pt x="375184" y="25510"/>
                  </a:lnTo>
                  <a:lnTo>
                    <a:pt x="381929" y="25510"/>
                  </a:lnTo>
                  <a:lnTo>
                    <a:pt x="412281" y="43615"/>
                  </a:lnTo>
                  <a:lnTo>
                    <a:pt x="388674" y="84761"/>
                  </a:lnTo>
                  <a:lnTo>
                    <a:pt x="383615" y="107804"/>
                  </a:lnTo>
                  <a:lnTo>
                    <a:pt x="378556" y="111095"/>
                  </a:lnTo>
                  <a:lnTo>
                    <a:pt x="375184" y="119325"/>
                  </a:lnTo>
                  <a:lnTo>
                    <a:pt x="361694" y="122616"/>
                  </a:lnTo>
                  <a:lnTo>
                    <a:pt x="351576" y="127554"/>
                  </a:lnTo>
                  <a:lnTo>
                    <a:pt x="346518" y="134137"/>
                  </a:lnTo>
                  <a:lnTo>
                    <a:pt x="348204" y="150596"/>
                  </a:lnTo>
                  <a:lnTo>
                    <a:pt x="354949" y="167054"/>
                  </a:lnTo>
                  <a:lnTo>
                    <a:pt x="349890" y="168700"/>
                  </a:lnTo>
                  <a:lnTo>
                    <a:pt x="348204" y="173638"/>
                  </a:lnTo>
                  <a:lnTo>
                    <a:pt x="353263" y="176930"/>
                  </a:lnTo>
                  <a:lnTo>
                    <a:pt x="346518" y="180222"/>
                  </a:lnTo>
                  <a:lnTo>
                    <a:pt x="343145" y="191742"/>
                  </a:lnTo>
                  <a:lnTo>
                    <a:pt x="351576" y="199972"/>
                  </a:lnTo>
                  <a:lnTo>
                    <a:pt x="386987" y="247702"/>
                  </a:lnTo>
                  <a:lnTo>
                    <a:pt x="366753" y="250994"/>
                  </a:lnTo>
                  <a:lnTo>
                    <a:pt x="366753" y="255931"/>
                  </a:lnTo>
                  <a:lnTo>
                    <a:pt x="353263" y="242764"/>
                  </a:lnTo>
                  <a:lnTo>
                    <a:pt x="346518" y="260869"/>
                  </a:lnTo>
                  <a:lnTo>
                    <a:pt x="336401" y="259223"/>
                  </a:lnTo>
                  <a:lnTo>
                    <a:pt x="316166" y="237826"/>
                  </a:lnTo>
                  <a:lnTo>
                    <a:pt x="311107" y="246056"/>
                  </a:lnTo>
                  <a:lnTo>
                    <a:pt x="299303" y="236181"/>
                  </a:lnTo>
                  <a:lnTo>
                    <a:pt x="292559" y="246056"/>
                  </a:lnTo>
                  <a:lnTo>
                    <a:pt x="270638" y="260869"/>
                  </a:lnTo>
                  <a:lnTo>
                    <a:pt x="267265" y="259223"/>
                  </a:lnTo>
                  <a:lnTo>
                    <a:pt x="260520" y="269098"/>
                  </a:lnTo>
                  <a:lnTo>
                    <a:pt x="252089" y="260869"/>
                  </a:lnTo>
                  <a:lnTo>
                    <a:pt x="236913" y="275681"/>
                  </a:lnTo>
                  <a:lnTo>
                    <a:pt x="194758" y="180222"/>
                  </a:lnTo>
                  <a:lnTo>
                    <a:pt x="198130" y="180222"/>
                  </a:lnTo>
                  <a:lnTo>
                    <a:pt x="218365" y="153888"/>
                  </a:lnTo>
                  <a:lnTo>
                    <a:pt x="233541" y="142367"/>
                  </a:lnTo>
                  <a:lnTo>
                    <a:pt x="230168" y="102866"/>
                  </a:lnTo>
                  <a:lnTo>
                    <a:pt x="193071" y="124262"/>
                  </a:lnTo>
                  <a:lnTo>
                    <a:pt x="193071" y="119325"/>
                  </a:lnTo>
                  <a:lnTo>
                    <a:pt x="179582" y="125908"/>
                  </a:lnTo>
                  <a:lnTo>
                    <a:pt x="172837" y="119325"/>
                  </a:lnTo>
                  <a:lnTo>
                    <a:pt x="167778" y="119325"/>
                  </a:lnTo>
                  <a:lnTo>
                    <a:pt x="162719" y="116033"/>
                  </a:lnTo>
                  <a:lnTo>
                    <a:pt x="145857" y="114387"/>
                  </a:lnTo>
                  <a:lnTo>
                    <a:pt x="132367" y="125908"/>
                  </a:lnTo>
                  <a:lnTo>
                    <a:pt x="127309" y="139075"/>
                  </a:lnTo>
                  <a:lnTo>
                    <a:pt x="122250" y="142367"/>
                  </a:lnTo>
                  <a:lnTo>
                    <a:pt x="117191" y="139075"/>
                  </a:lnTo>
                  <a:lnTo>
                    <a:pt x="112132" y="147304"/>
                  </a:lnTo>
                  <a:lnTo>
                    <a:pt x="105388" y="145658"/>
                  </a:lnTo>
                  <a:lnTo>
                    <a:pt x="102015" y="148950"/>
                  </a:lnTo>
                  <a:lnTo>
                    <a:pt x="54801" y="140721"/>
                  </a:lnTo>
                  <a:lnTo>
                    <a:pt x="53115" y="139075"/>
                  </a:lnTo>
                  <a:lnTo>
                    <a:pt x="48056" y="140721"/>
                  </a:lnTo>
                  <a:lnTo>
                    <a:pt x="44684" y="135783"/>
                  </a:lnTo>
                  <a:lnTo>
                    <a:pt x="36253" y="129200"/>
                  </a:lnTo>
                  <a:lnTo>
                    <a:pt x="14332" y="94636"/>
                  </a:lnTo>
                  <a:lnTo>
                    <a:pt x="5900" y="92991"/>
                  </a:lnTo>
                  <a:lnTo>
                    <a:pt x="10959" y="91345"/>
                  </a:lnTo>
                  <a:lnTo>
                    <a:pt x="4214" y="81470"/>
                  </a:lnTo>
                  <a:lnTo>
                    <a:pt x="9273" y="78178"/>
                  </a:lnTo>
                  <a:lnTo>
                    <a:pt x="12645" y="83115"/>
                  </a:lnTo>
                  <a:lnTo>
                    <a:pt x="12645" y="78178"/>
                  </a:lnTo>
                  <a:lnTo>
                    <a:pt x="9273" y="74886"/>
                  </a:lnTo>
                  <a:lnTo>
                    <a:pt x="12645" y="68303"/>
                  </a:lnTo>
                  <a:lnTo>
                    <a:pt x="14332" y="66657"/>
                  </a:lnTo>
                  <a:lnTo>
                    <a:pt x="14332" y="71594"/>
                  </a:lnTo>
                  <a:lnTo>
                    <a:pt x="21076" y="69949"/>
                  </a:lnTo>
                  <a:lnTo>
                    <a:pt x="26135" y="66657"/>
                  </a:lnTo>
                  <a:lnTo>
                    <a:pt x="26135" y="61719"/>
                  </a:lnTo>
                  <a:lnTo>
                    <a:pt x="31194" y="56782"/>
                  </a:lnTo>
                  <a:lnTo>
                    <a:pt x="42997" y="56782"/>
                  </a:lnTo>
                  <a:lnTo>
                    <a:pt x="51428" y="51844"/>
                  </a:lnTo>
                  <a:lnTo>
                    <a:pt x="66605" y="53490"/>
                  </a:lnTo>
                  <a:lnTo>
                    <a:pt x="71663" y="46907"/>
                  </a:lnTo>
                  <a:lnTo>
                    <a:pt x="76722" y="46907"/>
                  </a:lnTo>
                  <a:lnTo>
                    <a:pt x="75036" y="41969"/>
                  </a:lnTo>
                  <a:lnTo>
                    <a:pt x="88525" y="40323"/>
                  </a:lnTo>
                  <a:lnTo>
                    <a:pt x="91898" y="18927"/>
                  </a:lnTo>
                  <a:lnTo>
                    <a:pt x="166092" y="25510"/>
                  </a:lnTo>
                  <a:lnTo>
                    <a:pt x="236913" y="43615"/>
                  </a:lnTo>
                  <a:lnTo>
                    <a:pt x="255462" y="76532"/>
                  </a:lnTo>
                  <a:lnTo>
                    <a:pt x="260520" y="68303"/>
                  </a:lnTo>
                  <a:lnTo>
                    <a:pt x="275696" y="56782"/>
                  </a:lnTo>
                  <a:lnTo>
                    <a:pt x="282441" y="61719"/>
                  </a:lnTo>
                  <a:lnTo>
                    <a:pt x="289186" y="61719"/>
                  </a:lnTo>
                  <a:lnTo>
                    <a:pt x="295931" y="58428"/>
                  </a:lnTo>
                  <a:lnTo>
                    <a:pt x="297617" y="63365"/>
                  </a:lnTo>
                  <a:lnTo>
                    <a:pt x="309421" y="58428"/>
                  </a:lnTo>
                  <a:lnTo>
                    <a:pt x="312793" y="53490"/>
                  </a:lnTo>
                  <a:lnTo>
                    <a:pt x="306048" y="45261"/>
                  </a:lnTo>
                  <a:lnTo>
                    <a:pt x="316166" y="35385"/>
                  </a:lnTo>
                  <a:lnTo>
                    <a:pt x="316166" y="22218"/>
                  </a:lnTo>
                  <a:lnTo>
                    <a:pt x="338087"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7" name="Bergen (NH.)">
              <a:extLst>
                <a:ext uri="{FF2B5EF4-FFF2-40B4-BE49-F238E27FC236}">
                  <a16:creationId xmlns:a16="http://schemas.microsoft.com/office/drawing/2014/main" id="{27671BC5-077C-4F2F-A371-48AD8C3D6958}"/>
                </a:ext>
              </a:extLst>
            </p:cNvPr>
            <p:cNvSpPr/>
            <p:nvPr/>
          </p:nvSpPr>
          <p:spPr>
            <a:xfrm>
              <a:off x="5434791" y="2443867"/>
              <a:ext cx="146186" cy="312451"/>
            </a:xfrm>
            <a:custGeom>
              <a:avLst/>
              <a:gdLst/>
              <a:ahLst/>
              <a:cxnLst/>
              <a:rect l="l" t="t" r="r" b="b"/>
              <a:pathLst>
                <a:path w="222455" h="445770" extrusionOk="0">
                  <a:moveTo>
                    <a:pt x="69977" y="4114"/>
                  </a:moveTo>
                  <a:lnTo>
                    <a:pt x="81780" y="20573"/>
                  </a:lnTo>
                  <a:lnTo>
                    <a:pt x="83467" y="27156"/>
                  </a:lnTo>
                  <a:lnTo>
                    <a:pt x="88525" y="27156"/>
                  </a:lnTo>
                  <a:lnTo>
                    <a:pt x="100329" y="41969"/>
                  </a:lnTo>
                  <a:lnTo>
                    <a:pt x="110446" y="45261"/>
                  </a:lnTo>
                  <a:lnTo>
                    <a:pt x="118877" y="60073"/>
                  </a:lnTo>
                  <a:lnTo>
                    <a:pt x="127308" y="60073"/>
                  </a:lnTo>
                  <a:lnTo>
                    <a:pt x="132367" y="65011"/>
                  </a:lnTo>
                  <a:lnTo>
                    <a:pt x="166092" y="116033"/>
                  </a:lnTo>
                  <a:lnTo>
                    <a:pt x="172837" y="147304"/>
                  </a:lnTo>
                  <a:lnTo>
                    <a:pt x="213306" y="196680"/>
                  </a:lnTo>
                  <a:lnTo>
                    <a:pt x="220051" y="211493"/>
                  </a:lnTo>
                  <a:lnTo>
                    <a:pt x="213306" y="227951"/>
                  </a:lnTo>
                  <a:lnTo>
                    <a:pt x="204875" y="234535"/>
                  </a:lnTo>
                  <a:lnTo>
                    <a:pt x="199816" y="229597"/>
                  </a:lnTo>
                  <a:lnTo>
                    <a:pt x="193071" y="231243"/>
                  </a:lnTo>
                  <a:lnTo>
                    <a:pt x="194757" y="234535"/>
                  </a:lnTo>
                  <a:lnTo>
                    <a:pt x="188013" y="232889"/>
                  </a:lnTo>
                  <a:lnTo>
                    <a:pt x="191385" y="237826"/>
                  </a:lnTo>
                  <a:lnTo>
                    <a:pt x="179581" y="244410"/>
                  </a:lnTo>
                  <a:lnTo>
                    <a:pt x="184640" y="246056"/>
                  </a:lnTo>
                  <a:lnTo>
                    <a:pt x="181268" y="247702"/>
                  </a:lnTo>
                  <a:lnTo>
                    <a:pt x="179581" y="257577"/>
                  </a:lnTo>
                  <a:lnTo>
                    <a:pt x="174523" y="259223"/>
                  </a:lnTo>
                  <a:lnTo>
                    <a:pt x="174523" y="262514"/>
                  </a:lnTo>
                  <a:lnTo>
                    <a:pt x="166092" y="262514"/>
                  </a:lnTo>
                  <a:lnTo>
                    <a:pt x="167778" y="269098"/>
                  </a:lnTo>
                  <a:lnTo>
                    <a:pt x="161033" y="270744"/>
                  </a:lnTo>
                  <a:lnTo>
                    <a:pt x="162719" y="278973"/>
                  </a:lnTo>
                  <a:lnTo>
                    <a:pt x="155974" y="278973"/>
                  </a:lnTo>
                  <a:lnTo>
                    <a:pt x="155974" y="303661"/>
                  </a:lnTo>
                  <a:lnTo>
                    <a:pt x="152602" y="306953"/>
                  </a:lnTo>
                  <a:lnTo>
                    <a:pt x="157661" y="310244"/>
                  </a:lnTo>
                  <a:lnTo>
                    <a:pt x="155974" y="311890"/>
                  </a:lnTo>
                  <a:lnTo>
                    <a:pt x="162719" y="320120"/>
                  </a:lnTo>
                  <a:lnTo>
                    <a:pt x="162719" y="321766"/>
                  </a:lnTo>
                  <a:lnTo>
                    <a:pt x="152602" y="333287"/>
                  </a:lnTo>
                  <a:lnTo>
                    <a:pt x="125622" y="325057"/>
                  </a:lnTo>
                  <a:lnTo>
                    <a:pt x="118877" y="334932"/>
                  </a:lnTo>
                  <a:lnTo>
                    <a:pt x="115505" y="351391"/>
                  </a:lnTo>
                  <a:lnTo>
                    <a:pt x="107074" y="367850"/>
                  </a:lnTo>
                  <a:lnTo>
                    <a:pt x="102015" y="372787"/>
                  </a:lnTo>
                  <a:lnTo>
                    <a:pt x="98643" y="404059"/>
                  </a:lnTo>
                  <a:lnTo>
                    <a:pt x="78408" y="415580"/>
                  </a:lnTo>
                  <a:lnTo>
                    <a:pt x="71663" y="415580"/>
                  </a:lnTo>
                  <a:lnTo>
                    <a:pt x="71663" y="422163"/>
                  </a:lnTo>
                  <a:lnTo>
                    <a:pt x="4214" y="443559"/>
                  </a:lnTo>
                  <a:lnTo>
                    <a:pt x="37939" y="201617"/>
                  </a:lnTo>
                  <a:lnTo>
                    <a:pt x="42997" y="178575"/>
                  </a:lnTo>
                  <a:lnTo>
                    <a:pt x="51428" y="180221"/>
                  </a:lnTo>
                  <a:lnTo>
                    <a:pt x="48056" y="176929"/>
                  </a:lnTo>
                  <a:lnTo>
                    <a:pt x="42997" y="175284"/>
                  </a:lnTo>
                  <a:lnTo>
                    <a:pt x="42997" y="173638"/>
                  </a:lnTo>
                  <a:lnTo>
                    <a:pt x="49742" y="116033"/>
                  </a:lnTo>
                  <a:lnTo>
                    <a:pt x="49742" y="104512"/>
                  </a:lnTo>
                  <a:lnTo>
                    <a:pt x="46370" y="104512"/>
                  </a:lnTo>
                  <a:lnTo>
                    <a:pt x="49742" y="104512"/>
                  </a:lnTo>
                  <a:lnTo>
                    <a:pt x="51428" y="96282"/>
                  </a:lnTo>
                  <a:lnTo>
                    <a:pt x="48056" y="92991"/>
                  </a:lnTo>
                  <a:lnTo>
                    <a:pt x="51428" y="94636"/>
                  </a:lnTo>
                  <a:lnTo>
                    <a:pt x="51428" y="88053"/>
                  </a:lnTo>
                  <a:lnTo>
                    <a:pt x="48056" y="88053"/>
                  </a:lnTo>
                  <a:lnTo>
                    <a:pt x="51428" y="88053"/>
                  </a:lnTo>
                  <a:lnTo>
                    <a:pt x="51428" y="83115"/>
                  </a:lnTo>
                  <a:lnTo>
                    <a:pt x="48056" y="81470"/>
                  </a:lnTo>
                  <a:lnTo>
                    <a:pt x="53115" y="81470"/>
                  </a:lnTo>
                  <a:lnTo>
                    <a:pt x="49742" y="76532"/>
                  </a:lnTo>
                  <a:lnTo>
                    <a:pt x="51428" y="71594"/>
                  </a:lnTo>
                  <a:lnTo>
                    <a:pt x="49742" y="71594"/>
                  </a:lnTo>
                  <a:lnTo>
                    <a:pt x="51428" y="71594"/>
                  </a:lnTo>
                  <a:lnTo>
                    <a:pt x="53115" y="66657"/>
                  </a:lnTo>
                  <a:lnTo>
                    <a:pt x="51428" y="66657"/>
                  </a:lnTo>
                  <a:lnTo>
                    <a:pt x="53115" y="66657"/>
                  </a:lnTo>
                  <a:lnTo>
                    <a:pt x="53115" y="60073"/>
                  </a:lnTo>
                  <a:lnTo>
                    <a:pt x="54801" y="60073"/>
                  </a:lnTo>
                  <a:lnTo>
                    <a:pt x="53115" y="58427"/>
                  </a:lnTo>
                  <a:lnTo>
                    <a:pt x="54801" y="58427"/>
                  </a:lnTo>
                  <a:lnTo>
                    <a:pt x="64918" y="4114"/>
                  </a:lnTo>
                  <a:lnTo>
                    <a:pt x="69977"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8" name="Teylingen">
              <a:extLst>
                <a:ext uri="{FF2B5EF4-FFF2-40B4-BE49-F238E27FC236}">
                  <a16:creationId xmlns:a16="http://schemas.microsoft.com/office/drawing/2014/main" id="{78CF3AC9-F30F-4FBA-A214-105D6933750A}"/>
                </a:ext>
              </a:extLst>
            </p:cNvPr>
            <p:cNvSpPr/>
            <p:nvPr/>
          </p:nvSpPr>
          <p:spPr>
            <a:xfrm>
              <a:off x="5266277" y="3263771"/>
              <a:ext cx="113832" cy="121406"/>
            </a:xfrm>
            <a:custGeom>
              <a:avLst/>
              <a:gdLst/>
              <a:ahLst/>
              <a:cxnLst/>
              <a:rect l="l" t="t" r="r" b="b"/>
              <a:pathLst>
                <a:path w="163914" h="182880" extrusionOk="0">
                  <a:moveTo>
                    <a:pt x="113819" y="48552"/>
                  </a:moveTo>
                  <a:lnTo>
                    <a:pt x="110446" y="51844"/>
                  </a:lnTo>
                  <a:lnTo>
                    <a:pt x="113819" y="55136"/>
                  </a:lnTo>
                  <a:lnTo>
                    <a:pt x="132367" y="65011"/>
                  </a:lnTo>
                  <a:lnTo>
                    <a:pt x="161033" y="91345"/>
                  </a:lnTo>
                  <a:lnTo>
                    <a:pt x="159347" y="101220"/>
                  </a:lnTo>
                  <a:lnTo>
                    <a:pt x="154288" y="107803"/>
                  </a:lnTo>
                  <a:lnTo>
                    <a:pt x="161033" y="112741"/>
                  </a:lnTo>
                  <a:lnTo>
                    <a:pt x="159347" y="124262"/>
                  </a:lnTo>
                  <a:lnTo>
                    <a:pt x="162719" y="125908"/>
                  </a:lnTo>
                  <a:lnTo>
                    <a:pt x="164405" y="130845"/>
                  </a:lnTo>
                  <a:lnTo>
                    <a:pt x="161033" y="135783"/>
                  </a:lnTo>
                  <a:lnTo>
                    <a:pt x="155974" y="137429"/>
                  </a:lnTo>
                  <a:lnTo>
                    <a:pt x="157661" y="142367"/>
                  </a:lnTo>
                  <a:lnTo>
                    <a:pt x="142485" y="139075"/>
                  </a:lnTo>
                  <a:lnTo>
                    <a:pt x="137426" y="167055"/>
                  </a:lnTo>
                  <a:lnTo>
                    <a:pt x="128995" y="185159"/>
                  </a:lnTo>
                  <a:lnTo>
                    <a:pt x="113819" y="185159"/>
                  </a:lnTo>
                  <a:lnTo>
                    <a:pt x="96957" y="178576"/>
                  </a:lnTo>
                  <a:lnTo>
                    <a:pt x="75036" y="173638"/>
                  </a:lnTo>
                  <a:lnTo>
                    <a:pt x="63232" y="175284"/>
                  </a:lnTo>
                  <a:lnTo>
                    <a:pt x="61546" y="180221"/>
                  </a:lnTo>
                  <a:lnTo>
                    <a:pt x="56487" y="181867"/>
                  </a:lnTo>
                  <a:lnTo>
                    <a:pt x="54801" y="180221"/>
                  </a:lnTo>
                  <a:lnTo>
                    <a:pt x="56487" y="168700"/>
                  </a:lnTo>
                  <a:lnTo>
                    <a:pt x="51428" y="158825"/>
                  </a:lnTo>
                  <a:lnTo>
                    <a:pt x="61546" y="148950"/>
                  </a:lnTo>
                  <a:lnTo>
                    <a:pt x="58173" y="127554"/>
                  </a:lnTo>
                  <a:lnTo>
                    <a:pt x="53115" y="129200"/>
                  </a:lnTo>
                  <a:lnTo>
                    <a:pt x="51428" y="125908"/>
                  </a:lnTo>
                  <a:lnTo>
                    <a:pt x="41311" y="130845"/>
                  </a:lnTo>
                  <a:lnTo>
                    <a:pt x="37939" y="124262"/>
                  </a:lnTo>
                  <a:lnTo>
                    <a:pt x="27821" y="132492"/>
                  </a:lnTo>
                  <a:lnTo>
                    <a:pt x="22763" y="130845"/>
                  </a:lnTo>
                  <a:lnTo>
                    <a:pt x="19390" y="134137"/>
                  </a:lnTo>
                  <a:lnTo>
                    <a:pt x="16018" y="135783"/>
                  </a:lnTo>
                  <a:lnTo>
                    <a:pt x="10959" y="130845"/>
                  </a:lnTo>
                  <a:lnTo>
                    <a:pt x="14332" y="127554"/>
                  </a:lnTo>
                  <a:lnTo>
                    <a:pt x="4214" y="119324"/>
                  </a:lnTo>
                  <a:lnTo>
                    <a:pt x="16018" y="106158"/>
                  </a:lnTo>
                  <a:lnTo>
                    <a:pt x="21076" y="104512"/>
                  </a:lnTo>
                  <a:lnTo>
                    <a:pt x="16018" y="97928"/>
                  </a:lnTo>
                  <a:lnTo>
                    <a:pt x="19390" y="94637"/>
                  </a:lnTo>
                  <a:lnTo>
                    <a:pt x="17704" y="92991"/>
                  </a:lnTo>
                  <a:lnTo>
                    <a:pt x="26135" y="88053"/>
                  </a:lnTo>
                  <a:lnTo>
                    <a:pt x="24449" y="86407"/>
                  </a:lnTo>
                  <a:lnTo>
                    <a:pt x="27821" y="83116"/>
                  </a:lnTo>
                  <a:lnTo>
                    <a:pt x="21076" y="74886"/>
                  </a:lnTo>
                  <a:lnTo>
                    <a:pt x="76722" y="17281"/>
                  </a:lnTo>
                  <a:lnTo>
                    <a:pt x="93584" y="4114"/>
                  </a:lnTo>
                  <a:lnTo>
                    <a:pt x="112133" y="22219"/>
                  </a:lnTo>
                  <a:lnTo>
                    <a:pt x="108760" y="30448"/>
                  </a:lnTo>
                  <a:lnTo>
                    <a:pt x="117191" y="37031"/>
                  </a:lnTo>
                  <a:lnTo>
                    <a:pt x="113819" y="41969"/>
                  </a:lnTo>
                  <a:lnTo>
                    <a:pt x="117191" y="45261"/>
                  </a:lnTo>
                  <a:lnTo>
                    <a:pt x="113819" y="4855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89" name="Albrandswaard">
              <a:extLst>
                <a:ext uri="{FF2B5EF4-FFF2-40B4-BE49-F238E27FC236}">
                  <a16:creationId xmlns:a16="http://schemas.microsoft.com/office/drawing/2014/main" id="{A2103BB5-C1E8-48EF-B6C6-6E7A8418CDBC}"/>
                </a:ext>
              </a:extLst>
            </p:cNvPr>
            <p:cNvSpPr/>
            <p:nvPr/>
          </p:nvSpPr>
          <p:spPr>
            <a:xfrm>
              <a:off x="5180319" y="3885528"/>
              <a:ext cx="106212" cy="64237"/>
            </a:xfrm>
            <a:custGeom>
              <a:avLst/>
              <a:gdLst/>
              <a:ahLst/>
              <a:cxnLst/>
              <a:rect l="l" t="t" r="r" b="b"/>
              <a:pathLst>
                <a:path w="163914" h="102870" extrusionOk="0">
                  <a:moveTo>
                    <a:pt x="41311" y="4114"/>
                  </a:moveTo>
                  <a:lnTo>
                    <a:pt x="49742" y="7406"/>
                  </a:lnTo>
                  <a:lnTo>
                    <a:pt x="56487" y="5760"/>
                  </a:lnTo>
                  <a:lnTo>
                    <a:pt x="73349" y="9052"/>
                  </a:lnTo>
                  <a:lnTo>
                    <a:pt x="88525" y="15635"/>
                  </a:lnTo>
                  <a:lnTo>
                    <a:pt x="93584" y="22219"/>
                  </a:lnTo>
                  <a:lnTo>
                    <a:pt x="102015" y="22219"/>
                  </a:lnTo>
                  <a:lnTo>
                    <a:pt x="127309" y="30448"/>
                  </a:lnTo>
                  <a:lnTo>
                    <a:pt x="154288" y="32094"/>
                  </a:lnTo>
                  <a:lnTo>
                    <a:pt x="154288" y="48552"/>
                  </a:lnTo>
                  <a:lnTo>
                    <a:pt x="167778" y="58427"/>
                  </a:lnTo>
                  <a:lnTo>
                    <a:pt x="164406" y="65011"/>
                  </a:lnTo>
                  <a:lnTo>
                    <a:pt x="167778" y="68303"/>
                  </a:lnTo>
                  <a:lnTo>
                    <a:pt x="167778" y="74886"/>
                  </a:lnTo>
                  <a:lnTo>
                    <a:pt x="171150" y="81470"/>
                  </a:lnTo>
                  <a:lnTo>
                    <a:pt x="167778" y="83116"/>
                  </a:lnTo>
                  <a:lnTo>
                    <a:pt x="166092" y="96282"/>
                  </a:lnTo>
                  <a:lnTo>
                    <a:pt x="132367" y="104512"/>
                  </a:lnTo>
                  <a:lnTo>
                    <a:pt x="110446" y="104512"/>
                  </a:lnTo>
                  <a:lnTo>
                    <a:pt x="96957" y="99574"/>
                  </a:lnTo>
                  <a:lnTo>
                    <a:pt x="51428" y="76532"/>
                  </a:lnTo>
                  <a:lnTo>
                    <a:pt x="5900" y="78178"/>
                  </a:lnTo>
                  <a:lnTo>
                    <a:pt x="4214" y="53490"/>
                  </a:lnTo>
                  <a:lnTo>
                    <a:pt x="7587" y="50198"/>
                  </a:lnTo>
                  <a:lnTo>
                    <a:pt x="5900" y="40323"/>
                  </a:lnTo>
                  <a:lnTo>
                    <a:pt x="9273" y="20573"/>
                  </a:lnTo>
                  <a:lnTo>
                    <a:pt x="19390" y="7406"/>
                  </a:lnTo>
                  <a:lnTo>
                    <a:pt x="41311"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0" name="Zeist">
              <a:extLst>
                <a:ext uri="{FF2B5EF4-FFF2-40B4-BE49-F238E27FC236}">
                  <a16:creationId xmlns:a16="http://schemas.microsoft.com/office/drawing/2014/main" id="{D8280ADA-E7A7-4AD2-89AE-DF0AD1F68DCD}"/>
                </a:ext>
              </a:extLst>
            </p:cNvPr>
            <p:cNvSpPr/>
            <p:nvPr/>
          </p:nvSpPr>
          <p:spPr>
            <a:xfrm>
              <a:off x="6030476" y="3406281"/>
              <a:ext cx="151181" cy="178083"/>
            </a:xfrm>
            <a:custGeom>
              <a:avLst/>
              <a:gdLst/>
              <a:ahLst/>
              <a:cxnLst/>
              <a:rect l="l" t="t" r="r" b="b"/>
              <a:pathLst>
                <a:path w="210747" h="274320" extrusionOk="0">
                  <a:moveTo>
                    <a:pt x="73349" y="12343"/>
                  </a:moveTo>
                  <a:lnTo>
                    <a:pt x="80094" y="7406"/>
                  </a:lnTo>
                  <a:lnTo>
                    <a:pt x="98643" y="56782"/>
                  </a:lnTo>
                  <a:lnTo>
                    <a:pt x="102015" y="71595"/>
                  </a:lnTo>
                  <a:lnTo>
                    <a:pt x="100329" y="88053"/>
                  </a:lnTo>
                  <a:lnTo>
                    <a:pt x="112132" y="116033"/>
                  </a:lnTo>
                  <a:lnTo>
                    <a:pt x="123936" y="111095"/>
                  </a:lnTo>
                  <a:lnTo>
                    <a:pt x="139112" y="147304"/>
                  </a:lnTo>
                  <a:lnTo>
                    <a:pt x="154288" y="142367"/>
                  </a:lnTo>
                  <a:lnTo>
                    <a:pt x="179582" y="153888"/>
                  </a:lnTo>
                  <a:lnTo>
                    <a:pt x="201502" y="171992"/>
                  </a:lnTo>
                  <a:lnTo>
                    <a:pt x="164405" y="185159"/>
                  </a:lnTo>
                  <a:lnTo>
                    <a:pt x="216678" y="214785"/>
                  </a:lnTo>
                  <a:lnTo>
                    <a:pt x="216678" y="227951"/>
                  </a:lnTo>
                  <a:lnTo>
                    <a:pt x="198130" y="249348"/>
                  </a:lnTo>
                  <a:lnTo>
                    <a:pt x="152602" y="209847"/>
                  </a:lnTo>
                  <a:lnTo>
                    <a:pt x="102015" y="259223"/>
                  </a:lnTo>
                  <a:lnTo>
                    <a:pt x="100329" y="265806"/>
                  </a:lnTo>
                  <a:lnTo>
                    <a:pt x="93584" y="267452"/>
                  </a:lnTo>
                  <a:lnTo>
                    <a:pt x="86839" y="275682"/>
                  </a:lnTo>
                  <a:lnTo>
                    <a:pt x="51428" y="274035"/>
                  </a:lnTo>
                  <a:lnTo>
                    <a:pt x="42997" y="272390"/>
                  </a:lnTo>
                  <a:lnTo>
                    <a:pt x="53115" y="260869"/>
                  </a:lnTo>
                  <a:lnTo>
                    <a:pt x="16018" y="232889"/>
                  </a:lnTo>
                  <a:lnTo>
                    <a:pt x="7586" y="231243"/>
                  </a:lnTo>
                  <a:lnTo>
                    <a:pt x="4214" y="209847"/>
                  </a:lnTo>
                  <a:lnTo>
                    <a:pt x="22763" y="213138"/>
                  </a:lnTo>
                  <a:lnTo>
                    <a:pt x="24449" y="209847"/>
                  </a:lnTo>
                  <a:lnTo>
                    <a:pt x="22763" y="208201"/>
                  </a:lnTo>
                  <a:lnTo>
                    <a:pt x="26135" y="209847"/>
                  </a:lnTo>
                  <a:lnTo>
                    <a:pt x="31194" y="199972"/>
                  </a:lnTo>
                  <a:lnTo>
                    <a:pt x="27821" y="191742"/>
                  </a:lnTo>
                  <a:lnTo>
                    <a:pt x="34566" y="181867"/>
                  </a:lnTo>
                  <a:lnTo>
                    <a:pt x="31194" y="175284"/>
                  </a:lnTo>
                  <a:lnTo>
                    <a:pt x="48056" y="167054"/>
                  </a:lnTo>
                  <a:lnTo>
                    <a:pt x="42997" y="144012"/>
                  </a:lnTo>
                  <a:lnTo>
                    <a:pt x="61546" y="135783"/>
                  </a:lnTo>
                  <a:lnTo>
                    <a:pt x="53115" y="17281"/>
                  </a:lnTo>
                  <a:lnTo>
                    <a:pt x="69977" y="13989"/>
                  </a:lnTo>
                  <a:lnTo>
                    <a:pt x="69977" y="4114"/>
                  </a:lnTo>
                  <a:lnTo>
                    <a:pt x="73349" y="4114"/>
                  </a:lnTo>
                  <a:lnTo>
                    <a:pt x="73349"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1" name="Borne">
              <a:extLst>
                <a:ext uri="{FF2B5EF4-FFF2-40B4-BE49-F238E27FC236}">
                  <a16:creationId xmlns:a16="http://schemas.microsoft.com/office/drawing/2014/main" id="{061BAD1E-CFCC-4B5D-9757-EAE45BB2D80A}"/>
                </a:ext>
              </a:extLst>
            </p:cNvPr>
            <p:cNvSpPr/>
            <p:nvPr/>
          </p:nvSpPr>
          <p:spPr>
            <a:xfrm>
              <a:off x="7588773" y="3114727"/>
              <a:ext cx="125638" cy="91164"/>
            </a:xfrm>
            <a:custGeom>
              <a:avLst/>
              <a:gdLst/>
              <a:ahLst/>
              <a:cxnLst/>
              <a:rect l="l" t="t" r="r" b="b"/>
              <a:pathLst>
                <a:path w="175622" h="137160" extrusionOk="0">
                  <a:moveTo>
                    <a:pt x="88526" y="18927"/>
                  </a:moveTo>
                  <a:lnTo>
                    <a:pt x="96957" y="32094"/>
                  </a:lnTo>
                  <a:lnTo>
                    <a:pt x="108760" y="25510"/>
                  </a:lnTo>
                  <a:lnTo>
                    <a:pt x="113819" y="28802"/>
                  </a:lnTo>
                  <a:lnTo>
                    <a:pt x="115505" y="37031"/>
                  </a:lnTo>
                  <a:lnTo>
                    <a:pt x="132368" y="56782"/>
                  </a:lnTo>
                  <a:lnTo>
                    <a:pt x="140799" y="58427"/>
                  </a:lnTo>
                  <a:lnTo>
                    <a:pt x="150916" y="58427"/>
                  </a:lnTo>
                  <a:lnTo>
                    <a:pt x="149230" y="60074"/>
                  </a:lnTo>
                  <a:lnTo>
                    <a:pt x="174523" y="68303"/>
                  </a:lnTo>
                  <a:lnTo>
                    <a:pt x="174523" y="81470"/>
                  </a:lnTo>
                  <a:lnTo>
                    <a:pt x="167778" y="84761"/>
                  </a:lnTo>
                  <a:lnTo>
                    <a:pt x="154288" y="89699"/>
                  </a:lnTo>
                  <a:lnTo>
                    <a:pt x="161033" y="101220"/>
                  </a:lnTo>
                  <a:lnTo>
                    <a:pt x="150916" y="102866"/>
                  </a:lnTo>
                  <a:lnTo>
                    <a:pt x="135740" y="119324"/>
                  </a:lnTo>
                  <a:lnTo>
                    <a:pt x="127309" y="122616"/>
                  </a:lnTo>
                  <a:lnTo>
                    <a:pt x="123936" y="120971"/>
                  </a:lnTo>
                  <a:lnTo>
                    <a:pt x="117191" y="130845"/>
                  </a:lnTo>
                  <a:lnTo>
                    <a:pt x="102015" y="132492"/>
                  </a:lnTo>
                  <a:lnTo>
                    <a:pt x="98643" y="139075"/>
                  </a:lnTo>
                  <a:lnTo>
                    <a:pt x="86839" y="144013"/>
                  </a:lnTo>
                  <a:lnTo>
                    <a:pt x="71663" y="127554"/>
                  </a:lnTo>
                  <a:lnTo>
                    <a:pt x="66605" y="125908"/>
                  </a:lnTo>
                  <a:lnTo>
                    <a:pt x="58174" y="114387"/>
                  </a:lnTo>
                  <a:lnTo>
                    <a:pt x="37939" y="94637"/>
                  </a:lnTo>
                  <a:lnTo>
                    <a:pt x="24449" y="84761"/>
                  </a:lnTo>
                  <a:lnTo>
                    <a:pt x="7587" y="84761"/>
                  </a:lnTo>
                  <a:lnTo>
                    <a:pt x="4214" y="81470"/>
                  </a:lnTo>
                  <a:lnTo>
                    <a:pt x="7587" y="76532"/>
                  </a:lnTo>
                  <a:lnTo>
                    <a:pt x="5901" y="73240"/>
                  </a:lnTo>
                  <a:lnTo>
                    <a:pt x="9273" y="71595"/>
                  </a:lnTo>
                  <a:lnTo>
                    <a:pt x="5901" y="68303"/>
                  </a:lnTo>
                  <a:lnTo>
                    <a:pt x="12645" y="68303"/>
                  </a:lnTo>
                  <a:lnTo>
                    <a:pt x="29508" y="60074"/>
                  </a:lnTo>
                  <a:lnTo>
                    <a:pt x="26135" y="56782"/>
                  </a:lnTo>
                  <a:lnTo>
                    <a:pt x="31194" y="53490"/>
                  </a:lnTo>
                  <a:lnTo>
                    <a:pt x="12645" y="40323"/>
                  </a:lnTo>
                  <a:lnTo>
                    <a:pt x="16018" y="32094"/>
                  </a:lnTo>
                  <a:lnTo>
                    <a:pt x="29508" y="25510"/>
                  </a:lnTo>
                  <a:lnTo>
                    <a:pt x="34566" y="30448"/>
                  </a:lnTo>
                  <a:lnTo>
                    <a:pt x="51429" y="4114"/>
                  </a:lnTo>
                  <a:lnTo>
                    <a:pt x="71663" y="9052"/>
                  </a:lnTo>
                  <a:lnTo>
                    <a:pt x="88526" y="1892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2" name="Blaricum">
              <a:extLst>
                <a:ext uri="{FF2B5EF4-FFF2-40B4-BE49-F238E27FC236}">
                  <a16:creationId xmlns:a16="http://schemas.microsoft.com/office/drawing/2014/main" id="{D847A7B3-7038-4232-800C-DAAB5D14924B}"/>
                </a:ext>
              </a:extLst>
            </p:cNvPr>
            <p:cNvSpPr/>
            <p:nvPr/>
          </p:nvSpPr>
          <p:spPr>
            <a:xfrm>
              <a:off x="6036909" y="3181029"/>
              <a:ext cx="132652" cy="83169"/>
            </a:xfrm>
            <a:custGeom>
              <a:avLst/>
              <a:gdLst/>
              <a:ahLst/>
              <a:cxnLst/>
              <a:rect l="l" t="t" r="r" b="b"/>
              <a:pathLst>
                <a:path w="187330" h="125730" extrusionOk="0">
                  <a:moveTo>
                    <a:pt x="162719" y="32094"/>
                  </a:moveTo>
                  <a:lnTo>
                    <a:pt x="157661" y="33739"/>
                  </a:lnTo>
                  <a:lnTo>
                    <a:pt x="155974" y="30448"/>
                  </a:lnTo>
                  <a:lnTo>
                    <a:pt x="161033" y="28802"/>
                  </a:lnTo>
                  <a:lnTo>
                    <a:pt x="162719" y="32094"/>
                  </a:lnTo>
                  <a:close/>
                  <a:moveTo>
                    <a:pt x="174523" y="28802"/>
                  </a:moveTo>
                  <a:lnTo>
                    <a:pt x="188013" y="28802"/>
                  </a:lnTo>
                  <a:lnTo>
                    <a:pt x="193071" y="35385"/>
                  </a:lnTo>
                  <a:lnTo>
                    <a:pt x="191385" y="40323"/>
                  </a:lnTo>
                  <a:lnTo>
                    <a:pt x="174523" y="33739"/>
                  </a:lnTo>
                  <a:lnTo>
                    <a:pt x="174523" y="28802"/>
                  </a:lnTo>
                  <a:close/>
                  <a:moveTo>
                    <a:pt x="169464" y="22218"/>
                  </a:moveTo>
                  <a:lnTo>
                    <a:pt x="167778" y="18927"/>
                  </a:lnTo>
                  <a:lnTo>
                    <a:pt x="171150" y="20573"/>
                  </a:lnTo>
                  <a:lnTo>
                    <a:pt x="169464" y="22218"/>
                  </a:lnTo>
                  <a:close/>
                  <a:moveTo>
                    <a:pt x="172836" y="10697"/>
                  </a:moveTo>
                  <a:lnTo>
                    <a:pt x="176209" y="15635"/>
                  </a:lnTo>
                  <a:lnTo>
                    <a:pt x="172836" y="12343"/>
                  </a:lnTo>
                  <a:lnTo>
                    <a:pt x="166092" y="17281"/>
                  </a:lnTo>
                  <a:lnTo>
                    <a:pt x="172836" y="10697"/>
                  </a:lnTo>
                  <a:lnTo>
                    <a:pt x="174523" y="12343"/>
                  </a:lnTo>
                  <a:lnTo>
                    <a:pt x="172836" y="10697"/>
                  </a:lnTo>
                  <a:lnTo>
                    <a:pt x="144170" y="28802"/>
                  </a:lnTo>
                  <a:lnTo>
                    <a:pt x="161033" y="18927"/>
                  </a:lnTo>
                  <a:lnTo>
                    <a:pt x="157661" y="22218"/>
                  </a:lnTo>
                  <a:lnTo>
                    <a:pt x="155974" y="28802"/>
                  </a:lnTo>
                  <a:lnTo>
                    <a:pt x="150916" y="28802"/>
                  </a:lnTo>
                  <a:lnTo>
                    <a:pt x="147543" y="32094"/>
                  </a:lnTo>
                  <a:lnTo>
                    <a:pt x="144170" y="40323"/>
                  </a:lnTo>
                  <a:lnTo>
                    <a:pt x="145857" y="48552"/>
                  </a:lnTo>
                  <a:lnTo>
                    <a:pt x="161033" y="69949"/>
                  </a:lnTo>
                  <a:lnTo>
                    <a:pt x="98643" y="60073"/>
                  </a:lnTo>
                  <a:lnTo>
                    <a:pt x="66604" y="125908"/>
                  </a:lnTo>
                  <a:lnTo>
                    <a:pt x="37939" y="92991"/>
                  </a:lnTo>
                  <a:lnTo>
                    <a:pt x="37939" y="81470"/>
                  </a:lnTo>
                  <a:lnTo>
                    <a:pt x="12645" y="97928"/>
                  </a:lnTo>
                  <a:lnTo>
                    <a:pt x="4214" y="96282"/>
                  </a:lnTo>
                  <a:lnTo>
                    <a:pt x="9273" y="78178"/>
                  </a:lnTo>
                  <a:lnTo>
                    <a:pt x="16018" y="71594"/>
                  </a:lnTo>
                  <a:lnTo>
                    <a:pt x="41311" y="71594"/>
                  </a:lnTo>
                  <a:lnTo>
                    <a:pt x="48056" y="61719"/>
                  </a:lnTo>
                  <a:lnTo>
                    <a:pt x="69977" y="58427"/>
                  </a:lnTo>
                  <a:lnTo>
                    <a:pt x="69977" y="56781"/>
                  </a:lnTo>
                  <a:lnTo>
                    <a:pt x="107074" y="38677"/>
                  </a:lnTo>
                  <a:lnTo>
                    <a:pt x="117191" y="25510"/>
                  </a:lnTo>
                  <a:lnTo>
                    <a:pt x="122250" y="32094"/>
                  </a:lnTo>
                  <a:lnTo>
                    <a:pt x="132367" y="22218"/>
                  </a:lnTo>
                  <a:lnTo>
                    <a:pt x="139112" y="25510"/>
                  </a:lnTo>
                  <a:lnTo>
                    <a:pt x="147543" y="22218"/>
                  </a:lnTo>
                  <a:lnTo>
                    <a:pt x="154288" y="10697"/>
                  </a:lnTo>
                  <a:lnTo>
                    <a:pt x="162719" y="10697"/>
                  </a:lnTo>
                  <a:lnTo>
                    <a:pt x="162719" y="4114"/>
                  </a:lnTo>
                  <a:lnTo>
                    <a:pt x="172836" y="1069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3" name="Schiermonnikoog">
              <a:extLst>
                <a:ext uri="{FF2B5EF4-FFF2-40B4-BE49-F238E27FC236}">
                  <a16:creationId xmlns:a16="http://schemas.microsoft.com/office/drawing/2014/main" id="{3FA5185B-6E16-4096-B37E-945E6DFF1E39}"/>
                </a:ext>
              </a:extLst>
            </p:cNvPr>
            <p:cNvSpPr/>
            <p:nvPr/>
          </p:nvSpPr>
          <p:spPr>
            <a:xfrm>
              <a:off x="6923555" y="1194253"/>
              <a:ext cx="330067" cy="94540"/>
            </a:xfrm>
            <a:custGeom>
              <a:avLst/>
              <a:gdLst/>
              <a:ahLst/>
              <a:cxnLst/>
              <a:rect l="l" t="t" r="r" b="b"/>
              <a:pathLst>
                <a:path w="491743" h="137160" extrusionOk="0">
                  <a:moveTo>
                    <a:pt x="12645" y="116033"/>
                  </a:moveTo>
                  <a:lnTo>
                    <a:pt x="5900" y="114387"/>
                  </a:lnTo>
                  <a:lnTo>
                    <a:pt x="4214" y="106158"/>
                  </a:lnTo>
                  <a:lnTo>
                    <a:pt x="10959" y="109449"/>
                  </a:lnTo>
                  <a:lnTo>
                    <a:pt x="14332" y="112741"/>
                  </a:lnTo>
                  <a:lnTo>
                    <a:pt x="12645" y="116033"/>
                  </a:lnTo>
                  <a:close/>
                  <a:moveTo>
                    <a:pt x="488160" y="4114"/>
                  </a:moveTo>
                  <a:lnTo>
                    <a:pt x="493220" y="4114"/>
                  </a:lnTo>
                  <a:lnTo>
                    <a:pt x="494906" y="7406"/>
                  </a:lnTo>
                  <a:lnTo>
                    <a:pt x="478043" y="12343"/>
                  </a:lnTo>
                  <a:lnTo>
                    <a:pt x="471299" y="17281"/>
                  </a:lnTo>
                  <a:lnTo>
                    <a:pt x="462867" y="17281"/>
                  </a:lnTo>
                  <a:lnTo>
                    <a:pt x="442633" y="27156"/>
                  </a:lnTo>
                  <a:lnTo>
                    <a:pt x="415653" y="27156"/>
                  </a:lnTo>
                  <a:lnTo>
                    <a:pt x="408908" y="28802"/>
                  </a:lnTo>
                  <a:lnTo>
                    <a:pt x="397105" y="27156"/>
                  </a:lnTo>
                  <a:lnTo>
                    <a:pt x="412281" y="33740"/>
                  </a:lnTo>
                  <a:lnTo>
                    <a:pt x="408908" y="38677"/>
                  </a:lnTo>
                  <a:lnTo>
                    <a:pt x="402163" y="40323"/>
                  </a:lnTo>
                  <a:lnTo>
                    <a:pt x="395418" y="32094"/>
                  </a:lnTo>
                  <a:lnTo>
                    <a:pt x="400477" y="40323"/>
                  </a:lnTo>
                  <a:lnTo>
                    <a:pt x="358321" y="58428"/>
                  </a:lnTo>
                  <a:lnTo>
                    <a:pt x="353262" y="55136"/>
                  </a:lnTo>
                  <a:lnTo>
                    <a:pt x="358321" y="58428"/>
                  </a:lnTo>
                  <a:lnTo>
                    <a:pt x="356635" y="60073"/>
                  </a:lnTo>
                  <a:lnTo>
                    <a:pt x="327969" y="66657"/>
                  </a:lnTo>
                  <a:lnTo>
                    <a:pt x="322911" y="71594"/>
                  </a:lnTo>
                  <a:lnTo>
                    <a:pt x="316166" y="68303"/>
                  </a:lnTo>
                  <a:lnTo>
                    <a:pt x="321224" y="69949"/>
                  </a:lnTo>
                  <a:lnTo>
                    <a:pt x="322911" y="73240"/>
                  </a:lnTo>
                  <a:lnTo>
                    <a:pt x="312793" y="81470"/>
                  </a:lnTo>
                  <a:lnTo>
                    <a:pt x="307735" y="69949"/>
                  </a:lnTo>
                  <a:lnTo>
                    <a:pt x="307735" y="61719"/>
                  </a:lnTo>
                  <a:lnTo>
                    <a:pt x="300990" y="53490"/>
                  </a:lnTo>
                  <a:lnTo>
                    <a:pt x="307735" y="61719"/>
                  </a:lnTo>
                  <a:lnTo>
                    <a:pt x="307735" y="69949"/>
                  </a:lnTo>
                  <a:lnTo>
                    <a:pt x="312793" y="81470"/>
                  </a:lnTo>
                  <a:lnTo>
                    <a:pt x="304362" y="73240"/>
                  </a:lnTo>
                  <a:lnTo>
                    <a:pt x="306048" y="76532"/>
                  </a:lnTo>
                  <a:lnTo>
                    <a:pt x="309421" y="78178"/>
                  </a:lnTo>
                  <a:lnTo>
                    <a:pt x="311107" y="79824"/>
                  </a:lnTo>
                  <a:lnTo>
                    <a:pt x="306048" y="79824"/>
                  </a:lnTo>
                  <a:lnTo>
                    <a:pt x="309421" y="79824"/>
                  </a:lnTo>
                  <a:lnTo>
                    <a:pt x="311107" y="84761"/>
                  </a:lnTo>
                  <a:lnTo>
                    <a:pt x="299303" y="89699"/>
                  </a:lnTo>
                  <a:lnTo>
                    <a:pt x="300990" y="89699"/>
                  </a:lnTo>
                  <a:lnTo>
                    <a:pt x="299303" y="91345"/>
                  </a:lnTo>
                  <a:lnTo>
                    <a:pt x="306048" y="89699"/>
                  </a:lnTo>
                  <a:lnTo>
                    <a:pt x="294245" y="92991"/>
                  </a:lnTo>
                  <a:lnTo>
                    <a:pt x="294245" y="96282"/>
                  </a:lnTo>
                  <a:lnTo>
                    <a:pt x="292559" y="91345"/>
                  </a:lnTo>
                  <a:lnTo>
                    <a:pt x="290872" y="91345"/>
                  </a:lnTo>
                  <a:lnTo>
                    <a:pt x="292559" y="91345"/>
                  </a:lnTo>
                  <a:lnTo>
                    <a:pt x="292559" y="96282"/>
                  </a:lnTo>
                  <a:lnTo>
                    <a:pt x="289186" y="96282"/>
                  </a:lnTo>
                  <a:lnTo>
                    <a:pt x="285814" y="86407"/>
                  </a:lnTo>
                  <a:lnTo>
                    <a:pt x="289186" y="96282"/>
                  </a:lnTo>
                  <a:lnTo>
                    <a:pt x="284128" y="97928"/>
                  </a:lnTo>
                  <a:lnTo>
                    <a:pt x="275696" y="81470"/>
                  </a:lnTo>
                  <a:lnTo>
                    <a:pt x="282441" y="97928"/>
                  </a:lnTo>
                  <a:lnTo>
                    <a:pt x="272324" y="101220"/>
                  </a:lnTo>
                  <a:lnTo>
                    <a:pt x="267265" y="88053"/>
                  </a:lnTo>
                  <a:lnTo>
                    <a:pt x="258834" y="78178"/>
                  </a:lnTo>
                  <a:lnTo>
                    <a:pt x="258834" y="71594"/>
                  </a:lnTo>
                  <a:lnTo>
                    <a:pt x="258834" y="78178"/>
                  </a:lnTo>
                  <a:lnTo>
                    <a:pt x="255462" y="73240"/>
                  </a:lnTo>
                  <a:lnTo>
                    <a:pt x="258834" y="78178"/>
                  </a:lnTo>
                  <a:lnTo>
                    <a:pt x="255462" y="79824"/>
                  </a:lnTo>
                  <a:lnTo>
                    <a:pt x="260520" y="79824"/>
                  </a:lnTo>
                  <a:lnTo>
                    <a:pt x="268951" y="96282"/>
                  </a:lnTo>
                  <a:lnTo>
                    <a:pt x="267265" y="99574"/>
                  </a:lnTo>
                  <a:lnTo>
                    <a:pt x="255462" y="99574"/>
                  </a:lnTo>
                  <a:lnTo>
                    <a:pt x="252089" y="96282"/>
                  </a:lnTo>
                  <a:lnTo>
                    <a:pt x="250403" y="88053"/>
                  </a:lnTo>
                  <a:lnTo>
                    <a:pt x="230168" y="76532"/>
                  </a:lnTo>
                  <a:lnTo>
                    <a:pt x="233541" y="79824"/>
                  </a:lnTo>
                  <a:lnTo>
                    <a:pt x="230168" y="79824"/>
                  </a:lnTo>
                  <a:lnTo>
                    <a:pt x="241972" y="83116"/>
                  </a:lnTo>
                  <a:lnTo>
                    <a:pt x="250403" y="88053"/>
                  </a:lnTo>
                  <a:lnTo>
                    <a:pt x="253776" y="99574"/>
                  </a:lnTo>
                  <a:lnTo>
                    <a:pt x="248717" y="101220"/>
                  </a:lnTo>
                  <a:lnTo>
                    <a:pt x="245344" y="94637"/>
                  </a:lnTo>
                  <a:lnTo>
                    <a:pt x="236913" y="89699"/>
                  </a:lnTo>
                  <a:lnTo>
                    <a:pt x="245344" y="94637"/>
                  </a:lnTo>
                  <a:lnTo>
                    <a:pt x="247031" y="101220"/>
                  </a:lnTo>
                  <a:lnTo>
                    <a:pt x="209934" y="111095"/>
                  </a:lnTo>
                  <a:lnTo>
                    <a:pt x="211620" y="116033"/>
                  </a:lnTo>
                  <a:lnTo>
                    <a:pt x="216678" y="120970"/>
                  </a:lnTo>
                  <a:lnTo>
                    <a:pt x="206561" y="111095"/>
                  </a:lnTo>
                  <a:lnTo>
                    <a:pt x="169464" y="112741"/>
                  </a:lnTo>
                  <a:lnTo>
                    <a:pt x="166092" y="116033"/>
                  </a:lnTo>
                  <a:lnTo>
                    <a:pt x="166092" y="122616"/>
                  </a:lnTo>
                  <a:lnTo>
                    <a:pt x="164405" y="117679"/>
                  </a:lnTo>
                  <a:lnTo>
                    <a:pt x="164405" y="122616"/>
                  </a:lnTo>
                  <a:lnTo>
                    <a:pt x="162719" y="112741"/>
                  </a:lnTo>
                  <a:lnTo>
                    <a:pt x="155974" y="112741"/>
                  </a:lnTo>
                  <a:lnTo>
                    <a:pt x="149230" y="116033"/>
                  </a:lnTo>
                  <a:lnTo>
                    <a:pt x="150916" y="120970"/>
                  </a:lnTo>
                  <a:lnTo>
                    <a:pt x="147543" y="122616"/>
                  </a:lnTo>
                  <a:lnTo>
                    <a:pt x="150916" y="125908"/>
                  </a:lnTo>
                  <a:lnTo>
                    <a:pt x="137426" y="127554"/>
                  </a:lnTo>
                  <a:lnTo>
                    <a:pt x="142485" y="137429"/>
                  </a:lnTo>
                  <a:lnTo>
                    <a:pt x="139112" y="140721"/>
                  </a:lnTo>
                  <a:lnTo>
                    <a:pt x="140798" y="142367"/>
                  </a:lnTo>
                  <a:lnTo>
                    <a:pt x="137426" y="142367"/>
                  </a:lnTo>
                  <a:lnTo>
                    <a:pt x="130681" y="137429"/>
                  </a:lnTo>
                  <a:lnTo>
                    <a:pt x="135740" y="135783"/>
                  </a:lnTo>
                  <a:lnTo>
                    <a:pt x="132367" y="127554"/>
                  </a:lnTo>
                  <a:lnTo>
                    <a:pt x="118877" y="120970"/>
                  </a:lnTo>
                  <a:lnTo>
                    <a:pt x="110446" y="107803"/>
                  </a:lnTo>
                  <a:lnTo>
                    <a:pt x="112132" y="89699"/>
                  </a:lnTo>
                  <a:lnTo>
                    <a:pt x="120564" y="69949"/>
                  </a:lnTo>
                  <a:lnTo>
                    <a:pt x="128995" y="61719"/>
                  </a:lnTo>
                  <a:lnTo>
                    <a:pt x="150916" y="50198"/>
                  </a:lnTo>
                  <a:lnTo>
                    <a:pt x="147543" y="46907"/>
                  </a:lnTo>
                  <a:lnTo>
                    <a:pt x="150916" y="43615"/>
                  </a:lnTo>
                  <a:lnTo>
                    <a:pt x="236913" y="33740"/>
                  </a:lnTo>
                  <a:lnTo>
                    <a:pt x="240286" y="38677"/>
                  </a:lnTo>
                  <a:lnTo>
                    <a:pt x="241972" y="33740"/>
                  </a:lnTo>
                  <a:lnTo>
                    <a:pt x="253776" y="33740"/>
                  </a:lnTo>
                  <a:lnTo>
                    <a:pt x="248717" y="37031"/>
                  </a:lnTo>
                  <a:lnTo>
                    <a:pt x="255462" y="37031"/>
                  </a:lnTo>
                  <a:lnTo>
                    <a:pt x="258834" y="35385"/>
                  </a:lnTo>
                  <a:lnTo>
                    <a:pt x="253776" y="35385"/>
                  </a:lnTo>
                  <a:lnTo>
                    <a:pt x="257148" y="33740"/>
                  </a:lnTo>
                  <a:lnTo>
                    <a:pt x="263893" y="32094"/>
                  </a:lnTo>
                  <a:lnTo>
                    <a:pt x="263893" y="35385"/>
                  </a:lnTo>
                  <a:lnTo>
                    <a:pt x="267265" y="32094"/>
                  </a:lnTo>
                  <a:lnTo>
                    <a:pt x="279069" y="30448"/>
                  </a:lnTo>
                  <a:lnTo>
                    <a:pt x="279069" y="33740"/>
                  </a:lnTo>
                  <a:lnTo>
                    <a:pt x="285814" y="33740"/>
                  </a:lnTo>
                  <a:lnTo>
                    <a:pt x="285814" y="32094"/>
                  </a:lnTo>
                  <a:lnTo>
                    <a:pt x="282441" y="32094"/>
                  </a:lnTo>
                  <a:lnTo>
                    <a:pt x="284128" y="30448"/>
                  </a:lnTo>
                  <a:lnTo>
                    <a:pt x="294245" y="30448"/>
                  </a:lnTo>
                  <a:lnTo>
                    <a:pt x="292559" y="32094"/>
                  </a:lnTo>
                  <a:lnTo>
                    <a:pt x="309421" y="28802"/>
                  </a:lnTo>
                  <a:lnTo>
                    <a:pt x="312793" y="28802"/>
                  </a:lnTo>
                  <a:lnTo>
                    <a:pt x="309421" y="30448"/>
                  </a:lnTo>
                  <a:lnTo>
                    <a:pt x="314480" y="32094"/>
                  </a:lnTo>
                  <a:lnTo>
                    <a:pt x="312793" y="30448"/>
                  </a:lnTo>
                  <a:lnTo>
                    <a:pt x="314480" y="28802"/>
                  </a:lnTo>
                  <a:lnTo>
                    <a:pt x="344832" y="23864"/>
                  </a:lnTo>
                  <a:lnTo>
                    <a:pt x="343145" y="27156"/>
                  </a:lnTo>
                  <a:lnTo>
                    <a:pt x="348204" y="25510"/>
                  </a:lnTo>
                  <a:lnTo>
                    <a:pt x="349890" y="23864"/>
                  </a:lnTo>
                  <a:lnTo>
                    <a:pt x="390360" y="13989"/>
                  </a:lnTo>
                  <a:lnTo>
                    <a:pt x="395418" y="15635"/>
                  </a:lnTo>
                  <a:lnTo>
                    <a:pt x="393732" y="18927"/>
                  </a:lnTo>
                  <a:lnTo>
                    <a:pt x="398791" y="18927"/>
                  </a:lnTo>
                  <a:lnTo>
                    <a:pt x="395418" y="17281"/>
                  </a:lnTo>
                  <a:lnTo>
                    <a:pt x="397105" y="13989"/>
                  </a:lnTo>
                  <a:lnTo>
                    <a:pt x="419026" y="9052"/>
                  </a:lnTo>
                  <a:lnTo>
                    <a:pt x="427457" y="9052"/>
                  </a:lnTo>
                  <a:lnTo>
                    <a:pt x="420712" y="12343"/>
                  </a:lnTo>
                  <a:lnTo>
                    <a:pt x="427457" y="15635"/>
                  </a:lnTo>
                  <a:lnTo>
                    <a:pt x="429143" y="13989"/>
                  </a:lnTo>
                  <a:lnTo>
                    <a:pt x="435887" y="13989"/>
                  </a:lnTo>
                  <a:lnTo>
                    <a:pt x="440947" y="12343"/>
                  </a:lnTo>
                  <a:lnTo>
                    <a:pt x="440947" y="10697"/>
                  </a:lnTo>
                  <a:lnTo>
                    <a:pt x="446005" y="12343"/>
                  </a:lnTo>
                  <a:lnTo>
                    <a:pt x="446005" y="9052"/>
                  </a:lnTo>
                  <a:lnTo>
                    <a:pt x="48816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4" name="Heusden">
              <a:extLst>
                <a:ext uri="{FF2B5EF4-FFF2-40B4-BE49-F238E27FC236}">
                  <a16:creationId xmlns:a16="http://schemas.microsoft.com/office/drawing/2014/main" id="{C720EA90-AF5E-4CDC-84FB-86352A61CDC3}"/>
                </a:ext>
              </a:extLst>
            </p:cNvPr>
            <p:cNvSpPr/>
            <p:nvPr/>
          </p:nvSpPr>
          <p:spPr>
            <a:xfrm>
              <a:off x="5913784" y="4091730"/>
              <a:ext cx="187344" cy="181952"/>
            </a:xfrm>
            <a:custGeom>
              <a:avLst/>
              <a:gdLst/>
              <a:ahLst/>
              <a:cxnLst/>
              <a:rect l="l" t="t" r="r" b="b"/>
              <a:pathLst>
                <a:path w="269287" h="262890" extrusionOk="0">
                  <a:moveTo>
                    <a:pt x="177895" y="10698"/>
                  </a:moveTo>
                  <a:lnTo>
                    <a:pt x="196444" y="9052"/>
                  </a:lnTo>
                  <a:lnTo>
                    <a:pt x="201503" y="17281"/>
                  </a:lnTo>
                  <a:lnTo>
                    <a:pt x="201503" y="27156"/>
                  </a:lnTo>
                  <a:lnTo>
                    <a:pt x="214992" y="40323"/>
                  </a:lnTo>
                  <a:lnTo>
                    <a:pt x="220051" y="38678"/>
                  </a:lnTo>
                  <a:lnTo>
                    <a:pt x="223423" y="45261"/>
                  </a:lnTo>
                  <a:lnTo>
                    <a:pt x="228482" y="43615"/>
                  </a:lnTo>
                  <a:lnTo>
                    <a:pt x="233541" y="50198"/>
                  </a:lnTo>
                  <a:lnTo>
                    <a:pt x="230168" y="73240"/>
                  </a:lnTo>
                  <a:lnTo>
                    <a:pt x="231855" y="83116"/>
                  </a:lnTo>
                  <a:lnTo>
                    <a:pt x="248717" y="74886"/>
                  </a:lnTo>
                  <a:lnTo>
                    <a:pt x="240286" y="97928"/>
                  </a:lnTo>
                  <a:lnTo>
                    <a:pt x="243658" y="97928"/>
                  </a:lnTo>
                  <a:lnTo>
                    <a:pt x="248717" y="106158"/>
                  </a:lnTo>
                  <a:lnTo>
                    <a:pt x="258834" y="102866"/>
                  </a:lnTo>
                  <a:lnTo>
                    <a:pt x="263893" y="107803"/>
                  </a:lnTo>
                  <a:lnTo>
                    <a:pt x="265579" y="109449"/>
                  </a:lnTo>
                  <a:lnTo>
                    <a:pt x="260520" y="116033"/>
                  </a:lnTo>
                  <a:lnTo>
                    <a:pt x="260520" y="119324"/>
                  </a:lnTo>
                  <a:lnTo>
                    <a:pt x="226796" y="130845"/>
                  </a:lnTo>
                  <a:lnTo>
                    <a:pt x="221737" y="171992"/>
                  </a:lnTo>
                  <a:lnTo>
                    <a:pt x="198130" y="171992"/>
                  </a:lnTo>
                  <a:lnTo>
                    <a:pt x="189699" y="180221"/>
                  </a:lnTo>
                  <a:lnTo>
                    <a:pt x="193071" y="181867"/>
                  </a:lnTo>
                  <a:lnTo>
                    <a:pt x="134053" y="183513"/>
                  </a:lnTo>
                  <a:lnTo>
                    <a:pt x="127309" y="196680"/>
                  </a:lnTo>
                  <a:lnTo>
                    <a:pt x="120564" y="196680"/>
                  </a:lnTo>
                  <a:lnTo>
                    <a:pt x="118878" y="209847"/>
                  </a:lnTo>
                  <a:lnTo>
                    <a:pt x="115505" y="218076"/>
                  </a:lnTo>
                  <a:lnTo>
                    <a:pt x="123936" y="254286"/>
                  </a:lnTo>
                  <a:lnTo>
                    <a:pt x="91898" y="252639"/>
                  </a:lnTo>
                  <a:lnTo>
                    <a:pt x="75036" y="259223"/>
                  </a:lnTo>
                  <a:lnTo>
                    <a:pt x="66605" y="257577"/>
                  </a:lnTo>
                  <a:lnTo>
                    <a:pt x="56487" y="259223"/>
                  </a:lnTo>
                  <a:lnTo>
                    <a:pt x="48056" y="264160"/>
                  </a:lnTo>
                  <a:lnTo>
                    <a:pt x="48056" y="262515"/>
                  </a:lnTo>
                  <a:lnTo>
                    <a:pt x="41311" y="262515"/>
                  </a:lnTo>
                  <a:lnTo>
                    <a:pt x="34566" y="199972"/>
                  </a:lnTo>
                  <a:lnTo>
                    <a:pt x="36253" y="185159"/>
                  </a:lnTo>
                  <a:lnTo>
                    <a:pt x="34566" y="175284"/>
                  </a:lnTo>
                  <a:lnTo>
                    <a:pt x="37939" y="168700"/>
                  </a:lnTo>
                  <a:lnTo>
                    <a:pt x="34566" y="163763"/>
                  </a:lnTo>
                  <a:lnTo>
                    <a:pt x="41311" y="163763"/>
                  </a:lnTo>
                  <a:lnTo>
                    <a:pt x="36253" y="102866"/>
                  </a:lnTo>
                  <a:lnTo>
                    <a:pt x="49742" y="99574"/>
                  </a:lnTo>
                  <a:lnTo>
                    <a:pt x="46370" y="86407"/>
                  </a:lnTo>
                  <a:lnTo>
                    <a:pt x="34566" y="76532"/>
                  </a:lnTo>
                  <a:lnTo>
                    <a:pt x="31194" y="68303"/>
                  </a:lnTo>
                  <a:lnTo>
                    <a:pt x="21076" y="61720"/>
                  </a:lnTo>
                  <a:lnTo>
                    <a:pt x="7587" y="58428"/>
                  </a:lnTo>
                  <a:lnTo>
                    <a:pt x="4214" y="53490"/>
                  </a:lnTo>
                  <a:lnTo>
                    <a:pt x="29507" y="35386"/>
                  </a:lnTo>
                  <a:lnTo>
                    <a:pt x="51428" y="25510"/>
                  </a:lnTo>
                  <a:lnTo>
                    <a:pt x="91898" y="13989"/>
                  </a:lnTo>
                  <a:lnTo>
                    <a:pt x="137426" y="4114"/>
                  </a:lnTo>
                  <a:lnTo>
                    <a:pt x="155974" y="5760"/>
                  </a:lnTo>
                  <a:lnTo>
                    <a:pt x="177895" y="1069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5" name="Waalre">
              <a:extLst>
                <a:ext uri="{FF2B5EF4-FFF2-40B4-BE49-F238E27FC236}">
                  <a16:creationId xmlns:a16="http://schemas.microsoft.com/office/drawing/2014/main" id="{FE72F09E-0076-4EC5-9777-8364732C79D8}"/>
                </a:ext>
              </a:extLst>
            </p:cNvPr>
            <p:cNvSpPr/>
            <p:nvPr/>
          </p:nvSpPr>
          <p:spPr>
            <a:xfrm>
              <a:off x="6258153" y="4667325"/>
              <a:ext cx="122982" cy="39531"/>
            </a:xfrm>
            <a:custGeom>
              <a:avLst/>
              <a:gdLst/>
              <a:ahLst/>
              <a:cxnLst/>
              <a:rect l="l" t="t" r="r" b="b"/>
              <a:pathLst>
                <a:path w="152206" h="91440" extrusionOk="0">
                  <a:moveTo>
                    <a:pt x="90212" y="4114"/>
                  </a:moveTo>
                  <a:lnTo>
                    <a:pt x="128995" y="7406"/>
                  </a:lnTo>
                  <a:lnTo>
                    <a:pt x="134053" y="9052"/>
                  </a:lnTo>
                  <a:lnTo>
                    <a:pt x="139112" y="17281"/>
                  </a:lnTo>
                  <a:lnTo>
                    <a:pt x="150916" y="55136"/>
                  </a:lnTo>
                  <a:lnTo>
                    <a:pt x="157661" y="69949"/>
                  </a:lnTo>
                  <a:lnTo>
                    <a:pt x="145857" y="83116"/>
                  </a:lnTo>
                  <a:lnTo>
                    <a:pt x="134053" y="78178"/>
                  </a:lnTo>
                  <a:lnTo>
                    <a:pt x="127309" y="81470"/>
                  </a:lnTo>
                  <a:lnTo>
                    <a:pt x="120564" y="79824"/>
                  </a:lnTo>
                  <a:lnTo>
                    <a:pt x="32880" y="97928"/>
                  </a:lnTo>
                  <a:lnTo>
                    <a:pt x="32880" y="92991"/>
                  </a:lnTo>
                  <a:lnTo>
                    <a:pt x="22763" y="89699"/>
                  </a:lnTo>
                  <a:lnTo>
                    <a:pt x="21076" y="86407"/>
                  </a:lnTo>
                  <a:lnTo>
                    <a:pt x="12645" y="78178"/>
                  </a:lnTo>
                  <a:lnTo>
                    <a:pt x="17704" y="66657"/>
                  </a:lnTo>
                  <a:lnTo>
                    <a:pt x="9273" y="53490"/>
                  </a:lnTo>
                  <a:lnTo>
                    <a:pt x="9273" y="50198"/>
                  </a:lnTo>
                  <a:lnTo>
                    <a:pt x="4214" y="46907"/>
                  </a:lnTo>
                  <a:lnTo>
                    <a:pt x="4214" y="40323"/>
                  </a:lnTo>
                  <a:lnTo>
                    <a:pt x="12645" y="28802"/>
                  </a:lnTo>
                  <a:lnTo>
                    <a:pt x="10959" y="25510"/>
                  </a:lnTo>
                  <a:lnTo>
                    <a:pt x="14332" y="17281"/>
                  </a:lnTo>
                  <a:lnTo>
                    <a:pt x="19390" y="10698"/>
                  </a:lnTo>
                  <a:lnTo>
                    <a:pt x="29508" y="10698"/>
                  </a:lnTo>
                  <a:lnTo>
                    <a:pt x="32880" y="5760"/>
                  </a:lnTo>
                  <a:lnTo>
                    <a:pt x="90212"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6" name="Alkmaar">
              <a:extLst>
                <a:ext uri="{FF2B5EF4-FFF2-40B4-BE49-F238E27FC236}">
                  <a16:creationId xmlns:a16="http://schemas.microsoft.com/office/drawing/2014/main" id="{660E269F-5CF5-4D44-AFA0-B7D6DFC17DCC}"/>
                </a:ext>
              </a:extLst>
            </p:cNvPr>
            <p:cNvSpPr/>
            <p:nvPr/>
          </p:nvSpPr>
          <p:spPr>
            <a:xfrm>
              <a:off x="5524687" y="2575871"/>
              <a:ext cx="229570" cy="246445"/>
            </a:xfrm>
            <a:custGeom>
              <a:avLst/>
              <a:gdLst/>
              <a:ahLst/>
              <a:cxnLst/>
              <a:rect l="l" t="t" r="r" b="b"/>
              <a:pathLst>
                <a:path w="327828" h="400050" extrusionOk="0">
                  <a:moveTo>
                    <a:pt x="108760" y="18927"/>
                  </a:moveTo>
                  <a:lnTo>
                    <a:pt x="112133" y="18927"/>
                  </a:lnTo>
                  <a:lnTo>
                    <a:pt x="112133" y="23865"/>
                  </a:lnTo>
                  <a:lnTo>
                    <a:pt x="105388" y="45261"/>
                  </a:lnTo>
                  <a:lnTo>
                    <a:pt x="110446" y="48552"/>
                  </a:lnTo>
                  <a:lnTo>
                    <a:pt x="102015" y="74886"/>
                  </a:lnTo>
                  <a:lnTo>
                    <a:pt x="107074" y="76532"/>
                  </a:lnTo>
                  <a:lnTo>
                    <a:pt x="103701" y="86407"/>
                  </a:lnTo>
                  <a:lnTo>
                    <a:pt x="144171" y="58427"/>
                  </a:lnTo>
                  <a:lnTo>
                    <a:pt x="142485" y="73240"/>
                  </a:lnTo>
                  <a:lnTo>
                    <a:pt x="130681" y="89699"/>
                  </a:lnTo>
                  <a:lnTo>
                    <a:pt x="120564" y="111095"/>
                  </a:lnTo>
                  <a:lnTo>
                    <a:pt x="130681" y="111095"/>
                  </a:lnTo>
                  <a:lnTo>
                    <a:pt x="154288" y="122616"/>
                  </a:lnTo>
                  <a:lnTo>
                    <a:pt x="179582" y="122616"/>
                  </a:lnTo>
                  <a:lnTo>
                    <a:pt x="188013" y="125908"/>
                  </a:lnTo>
                  <a:lnTo>
                    <a:pt x="194758" y="114387"/>
                  </a:lnTo>
                  <a:lnTo>
                    <a:pt x="196444" y="101220"/>
                  </a:lnTo>
                  <a:lnTo>
                    <a:pt x="201502" y="92991"/>
                  </a:lnTo>
                  <a:lnTo>
                    <a:pt x="206561" y="92991"/>
                  </a:lnTo>
                  <a:lnTo>
                    <a:pt x="214992" y="102866"/>
                  </a:lnTo>
                  <a:lnTo>
                    <a:pt x="233541" y="109449"/>
                  </a:lnTo>
                  <a:lnTo>
                    <a:pt x="238599" y="119324"/>
                  </a:lnTo>
                  <a:lnTo>
                    <a:pt x="263893" y="122616"/>
                  </a:lnTo>
                  <a:lnTo>
                    <a:pt x="270638" y="129200"/>
                  </a:lnTo>
                  <a:lnTo>
                    <a:pt x="277382" y="147304"/>
                  </a:lnTo>
                  <a:lnTo>
                    <a:pt x="274010" y="150596"/>
                  </a:lnTo>
                  <a:lnTo>
                    <a:pt x="268951" y="173638"/>
                  </a:lnTo>
                  <a:lnTo>
                    <a:pt x="289186" y="171992"/>
                  </a:lnTo>
                  <a:lnTo>
                    <a:pt x="326283" y="176930"/>
                  </a:lnTo>
                  <a:lnTo>
                    <a:pt x="331342" y="181867"/>
                  </a:lnTo>
                  <a:lnTo>
                    <a:pt x="333028" y="188451"/>
                  </a:lnTo>
                  <a:lnTo>
                    <a:pt x="316166" y="183513"/>
                  </a:lnTo>
                  <a:lnTo>
                    <a:pt x="290872" y="201618"/>
                  </a:lnTo>
                  <a:lnTo>
                    <a:pt x="277382" y="218076"/>
                  </a:lnTo>
                  <a:lnTo>
                    <a:pt x="272324" y="237827"/>
                  </a:lnTo>
                  <a:lnTo>
                    <a:pt x="262207" y="252639"/>
                  </a:lnTo>
                  <a:lnTo>
                    <a:pt x="253775" y="259223"/>
                  </a:lnTo>
                  <a:lnTo>
                    <a:pt x="245344" y="262514"/>
                  </a:lnTo>
                  <a:lnTo>
                    <a:pt x="240286" y="267452"/>
                  </a:lnTo>
                  <a:lnTo>
                    <a:pt x="233541" y="295432"/>
                  </a:lnTo>
                  <a:lnTo>
                    <a:pt x="220051" y="313536"/>
                  </a:lnTo>
                  <a:lnTo>
                    <a:pt x="204875" y="341516"/>
                  </a:lnTo>
                  <a:lnTo>
                    <a:pt x="191385" y="351391"/>
                  </a:lnTo>
                  <a:lnTo>
                    <a:pt x="177895" y="343162"/>
                  </a:lnTo>
                  <a:lnTo>
                    <a:pt x="166092" y="359620"/>
                  </a:lnTo>
                  <a:lnTo>
                    <a:pt x="177895" y="364558"/>
                  </a:lnTo>
                  <a:lnTo>
                    <a:pt x="172837" y="367850"/>
                  </a:lnTo>
                  <a:lnTo>
                    <a:pt x="157661" y="372787"/>
                  </a:lnTo>
                  <a:lnTo>
                    <a:pt x="147543" y="384309"/>
                  </a:lnTo>
                  <a:lnTo>
                    <a:pt x="137426" y="385954"/>
                  </a:lnTo>
                  <a:lnTo>
                    <a:pt x="128995" y="397475"/>
                  </a:lnTo>
                  <a:lnTo>
                    <a:pt x="122250" y="399121"/>
                  </a:lnTo>
                  <a:lnTo>
                    <a:pt x="113819" y="397475"/>
                  </a:lnTo>
                  <a:lnTo>
                    <a:pt x="107074" y="367850"/>
                  </a:lnTo>
                  <a:lnTo>
                    <a:pt x="107074" y="338224"/>
                  </a:lnTo>
                  <a:lnTo>
                    <a:pt x="113819" y="306953"/>
                  </a:lnTo>
                  <a:lnTo>
                    <a:pt x="98643" y="300370"/>
                  </a:lnTo>
                  <a:lnTo>
                    <a:pt x="69977" y="293786"/>
                  </a:lnTo>
                  <a:lnTo>
                    <a:pt x="58173" y="283911"/>
                  </a:lnTo>
                  <a:lnTo>
                    <a:pt x="76722" y="223014"/>
                  </a:lnTo>
                  <a:lnTo>
                    <a:pt x="48056" y="218076"/>
                  </a:lnTo>
                  <a:lnTo>
                    <a:pt x="48056" y="209847"/>
                  </a:lnTo>
                  <a:lnTo>
                    <a:pt x="44683" y="193388"/>
                  </a:lnTo>
                  <a:lnTo>
                    <a:pt x="46370" y="190097"/>
                  </a:lnTo>
                  <a:lnTo>
                    <a:pt x="41311" y="185159"/>
                  </a:lnTo>
                  <a:lnTo>
                    <a:pt x="51428" y="170346"/>
                  </a:lnTo>
                  <a:lnTo>
                    <a:pt x="36252" y="155533"/>
                  </a:lnTo>
                  <a:lnTo>
                    <a:pt x="16018" y="142367"/>
                  </a:lnTo>
                  <a:lnTo>
                    <a:pt x="14331" y="142367"/>
                  </a:lnTo>
                  <a:lnTo>
                    <a:pt x="14331" y="140721"/>
                  </a:lnTo>
                  <a:lnTo>
                    <a:pt x="7587" y="132491"/>
                  </a:lnTo>
                  <a:lnTo>
                    <a:pt x="9273" y="130845"/>
                  </a:lnTo>
                  <a:lnTo>
                    <a:pt x="4214" y="127554"/>
                  </a:lnTo>
                  <a:lnTo>
                    <a:pt x="7587" y="124262"/>
                  </a:lnTo>
                  <a:lnTo>
                    <a:pt x="7587" y="99574"/>
                  </a:lnTo>
                  <a:lnTo>
                    <a:pt x="14331" y="99574"/>
                  </a:lnTo>
                  <a:lnTo>
                    <a:pt x="12645" y="91345"/>
                  </a:lnTo>
                  <a:lnTo>
                    <a:pt x="19390" y="89699"/>
                  </a:lnTo>
                  <a:lnTo>
                    <a:pt x="17704" y="83115"/>
                  </a:lnTo>
                  <a:lnTo>
                    <a:pt x="26135" y="83115"/>
                  </a:lnTo>
                  <a:lnTo>
                    <a:pt x="26135" y="79824"/>
                  </a:lnTo>
                  <a:lnTo>
                    <a:pt x="31194" y="78178"/>
                  </a:lnTo>
                  <a:lnTo>
                    <a:pt x="32880" y="68303"/>
                  </a:lnTo>
                  <a:lnTo>
                    <a:pt x="36252" y="66657"/>
                  </a:lnTo>
                  <a:lnTo>
                    <a:pt x="31194" y="65011"/>
                  </a:lnTo>
                  <a:lnTo>
                    <a:pt x="42997" y="58427"/>
                  </a:lnTo>
                  <a:lnTo>
                    <a:pt x="39625" y="53490"/>
                  </a:lnTo>
                  <a:lnTo>
                    <a:pt x="46370" y="55136"/>
                  </a:lnTo>
                  <a:lnTo>
                    <a:pt x="44683" y="51844"/>
                  </a:lnTo>
                  <a:lnTo>
                    <a:pt x="51428" y="50198"/>
                  </a:lnTo>
                  <a:lnTo>
                    <a:pt x="56487" y="55136"/>
                  </a:lnTo>
                  <a:lnTo>
                    <a:pt x="63232" y="48552"/>
                  </a:lnTo>
                  <a:lnTo>
                    <a:pt x="71663" y="35385"/>
                  </a:lnTo>
                  <a:lnTo>
                    <a:pt x="71663" y="30448"/>
                  </a:lnTo>
                  <a:lnTo>
                    <a:pt x="64918" y="17281"/>
                  </a:lnTo>
                  <a:lnTo>
                    <a:pt x="56487" y="7406"/>
                  </a:lnTo>
                  <a:lnTo>
                    <a:pt x="68291" y="4114"/>
                  </a:lnTo>
                  <a:lnTo>
                    <a:pt x="108760" y="1892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7" name="Valkenswaard">
              <a:extLst>
                <a:ext uri="{FF2B5EF4-FFF2-40B4-BE49-F238E27FC236}">
                  <a16:creationId xmlns:a16="http://schemas.microsoft.com/office/drawing/2014/main" id="{0EA37AF8-C42D-4A81-A891-DC6CF53B11CD}"/>
                </a:ext>
              </a:extLst>
            </p:cNvPr>
            <p:cNvSpPr/>
            <p:nvPr/>
          </p:nvSpPr>
          <p:spPr>
            <a:xfrm>
              <a:off x="6228968" y="4708969"/>
              <a:ext cx="151901" cy="179929"/>
            </a:xfrm>
            <a:custGeom>
              <a:avLst/>
              <a:gdLst/>
              <a:ahLst/>
              <a:cxnLst/>
              <a:rect l="l" t="t" r="r" b="b"/>
              <a:pathLst>
                <a:path w="222455" h="285750" extrusionOk="0">
                  <a:moveTo>
                    <a:pt x="203189" y="4114"/>
                  </a:moveTo>
                  <a:lnTo>
                    <a:pt x="220051" y="30448"/>
                  </a:lnTo>
                  <a:lnTo>
                    <a:pt x="167778" y="58427"/>
                  </a:lnTo>
                  <a:lnTo>
                    <a:pt x="169464" y="63365"/>
                  </a:lnTo>
                  <a:lnTo>
                    <a:pt x="172837" y="65011"/>
                  </a:lnTo>
                  <a:lnTo>
                    <a:pt x="171151" y="79823"/>
                  </a:lnTo>
                  <a:lnTo>
                    <a:pt x="149230" y="94636"/>
                  </a:lnTo>
                  <a:lnTo>
                    <a:pt x="137426" y="111095"/>
                  </a:lnTo>
                  <a:lnTo>
                    <a:pt x="147543" y="134137"/>
                  </a:lnTo>
                  <a:lnTo>
                    <a:pt x="161033" y="148950"/>
                  </a:lnTo>
                  <a:lnTo>
                    <a:pt x="164406" y="157179"/>
                  </a:lnTo>
                  <a:lnTo>
                    <a:pt x="161033" y="176930"/>
                  </a:lnTo>
                  <a:lnTo>
                    <a:pt x="154288" y="191742"/>
                  </a:lnTo>
                  <a:lnTo>
                    <a:pt x="150916" y="191742"/>
                  </a:lnTo>
                  <a:lnTo>
                    <a:pt x="152602" y="195034"/>
                  </a:lnTo>
                  <a:lnTo>
                    <a:pt x="144171" y="204909"/>
                  </a:lnTo>
                  <a:lnTo>
                    <a:pt x="142485" y="213138"/>
                  </a:lnTo>
                  <a:lnTo>
                    <a:pt x="123936" y="229597"/>
                  </a:lnTo>
                  <a:lnTo>
                    <a:pt x="88526" y="236181"/>
                  </a:lnTo>
                  <a:lnTo>
                    <a:pt x="81781" y="250993"/>
                  </a:lnTo>
                  <a:lnTo>
                    <a:pt x="75036" y="249347"/>
                  </a:lnTo>
                  <a:lnTo>
                    <a:pt x="49742" y="283911"/>
                  </a:lnTo>
                  <a:lnTo>
                    <a:pt x="4214" y="227951"/>
                  </a:lnTo>
                  <a:lnTo>
                    <a:pt x="19390" y="214784"/>
                  </a:lnTo>
                  <a:lnTo>
                    <a:pt x="10959" y="206555"/>
                  </a:lnTo>
                  <a:lnTo>
                    <a:pt x="14332" y="201617"/>
                  </a:lnTo>
                  <a:lnTo>
                    <a:pt x="12645" y="193388"/>
                  </a:lnTo>
                  <a:lnTo>
                    <a:pt x="16018" y="178575"/>
                  </a:lnTo>
                  <a:lnTo>
                    <a:pt x="14332" y="171992"/>
                  </a:lnTo>
                  <a:lnTo>
                    <a:pt x="19390" y="158825"/>
                  </a:lnTo>
                  <a:lnTo>
                    <a:pt x="24449" y="160471"/>
                  </a:lnTo>
                  <a:lnTo>
                    <a:pt x="42997" y="142366"/>
                  </a:lnTo>
                  <a:lnTo>
                    <a:pt x="44684" y="147304"/>
                  </a:lnTo>
                  <a:lnTo>
                    <a:pt x="48056" y="145658"/>
                  </a:lnTo>
                  <a:lnTo>
                    <a:pt x="53115" y="148950"/>
                  </a:lnTo>
                  <a:lnTo>
                    <a:pt x="59860" y="162117"/>
                  </a:lnTo>
                  <a:lnTo>
                    <a:pt x="63232" y="163763"/>
                  </a:lnTo>
                  <a:lnTo>
                    <a:pt x="75036" y="134137"/>
                  </a:lnTo>
                  <a:lnTo>
                    <a:pt x="59860" y="117678"/>
                  </a:lnTo>
                  <a:lnTo>
                    <a:pt x="58173" y="102866"/>
                  </a:lnTo>
                  <a:lnTo>
                    <a:pt x="56487" y="99574"/>
                  </a:lnTo>
                  <a:lnTo>
                    <a:pt x="61546" y="83115"/>
                  </a:lnTo>
                  <a:lnTo>
                    <a:pt x="58173" y="76532"/>
                  </a:lnTo>
                  <a:lnTo>
                    <a:pt x="59860" y="66657"/>
                  </a:lnTo>
                  <a:lnTo>
                    <a:pt x="53115" y="51844"/>
                  </a:lnTo>
                  <a:lnTo>
                    <a:pt x="54801" y="25510"/>
                  </a:lnTo>
                  <a:lnTo>
                    <a:pt x="53115" y="18926"/>
                  </a:lnTo>
                  <a:lnTo>
                    <a:pt x="58173" y="12343"/>
                  </a:lnTo>
                  <a:lnTo>
                    <a:pt x="61546" y="17281"/>
                  </a:lnTo>
                  <a:lnTo>
                    <a:pt x="64918" y="17281"/>
                  </a:lnTo>
                  <a:lnTo>
                    <a:pt x="68291" y="23864"/>
                  </a:lnTo>
                  <a:lnTo>
                    <a:pt x="78408" y="27156"/>
                  </a:lnTo>
                  <a:lnTo>
                    <a:pt x="80094" y="33739"/>
                  </a:lnTo>
                  <a:lnTo>
                    <a:pt x="93584" y="28802"/>
                  </a:lnTo>
                  <a:lnTo>
                    <a:pt x="125622" y="23864"/>
                  </a:lnTo>
                  <a:lnTo>
                    <a:pt x="166092" y="13989"/>
                  </a:lnTo>
                  <a:lnTo>
                    <a:pt x="172837" y="15635"/>
                  </a:lnTo>
                  <a:lnTo>
                    <a:pt x="179582" y="12343"/>
                  </a:lnTo>
                  <a:lnTo>
                    <a:pt x="191385" y="17281"/>
                  </a:lnTo>
                  <a:lnTo>
                    <a:pt x="203189"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8" name="Nederweert">
              <a:extLst>
                <a:ext uri="{FF2B5EF4-FFF2-40B4-BE49-F238E27FC236}">
                  <a16:creationId xmlns:a16="http://schemas.microsoft.com/office/drawing/2014/main" id="{39631C77-50AF-45D5-BFF5-BC924A8F3971}"/>
                </a:ext>
              </a:extLst>
            </p:cNvPr>
            <p:cNvSpPr/>
            <p:nvPr/>
          </p:nvSpPr>
          <p:spPr>
            <a:xfrm>
              <a:off x="6504514" y="4743538"/>
              <a:ext cx="258920" cy="185703"/>
            </a:xfrm>
            <a:custGeom>
              <a:avLst/>
              <a:gdLst/>
              <a:ahLst/>
              <a:cxnLst/>
              <a:rect l="l" t="t" r="r" b="b"/>
              <a:pathLst>
                <a:path w="362953" h="274320" extrusionOk="0">
                  <a:moveTo>
                    <a:pt x="331342" y="112741"/>
                  </a:moveTo>
                  <a:lnTo>
                    <a:pt x="324597" y="139075"/>
                  </a:lnTo>
                  <a:lnTo>
                    <a:pt x="304362" y="167055"/>
                  </a:lnTo>
                  <a:lnTo>
                    <a:pt x="306049" y="171992"/>
                  </a:lnTo>
                  <a:lnTo>
                    <a:pt x="297617" y="178575"/>
                  </a:lnTo>
                  <a:lnTo>
                    <a:pt x="317852" y="224660"/>
                  </a:lnTo>
                  <a:lnTo>
                    <a:pt x="322911" y="223014"/>
                  </a:lnTo>
                  <a:lnTo>
                    <a:pt x="331342" y="229597"/>
                  </a:lnTo>
                  <a:lnTo>
                    <a:pt x="333028" y="239472"/>
                  </a:lnTo>
                  <a:lnTo>
                    <a:pt x="329656" y="252639"/>
                  </a:lnTo>
                  <a:lnTo>
                    <a:pt x="326283" y="254285"/>
                  </a:lnTo>
                  <a:lnTo>
                    <a:pt x="321224" y="249348"/>
                  </a:lnTo>
                  <a:lnTo>
                    <a:pt x="307735" y="250994"/>
                  </a:lnTo>
                  <a:lnTo>
                    <a:pt x="300990" y="259223"/>
                  </a:lnTo>
                  <a:lnTo>
                    <a:pt x="274010" y="257577"/>
                  </a:lnTo>
                  <a:lnTo>
                    <a:pt x="258834" y="262514"/>
                  </a:lnTo>
                  <a:lnTo>
                    <a:pt x="250403" y="269098"/>
                  </a:lnTo>
                  <a:lnTo>
                    <a:pt x="236913" y="270744"/>
                  </a:lnTo>
                  <a:lnTo>
                    <a:pt x="231855" y="267452"/>
                  </a:lnTo>
                  <a:lnTo>
                    <a:pt x="211620" y="239472"/>
                  </a:lnTo>
                  <a:lnTo>
                    <a:pt x="196444" y="226306"/>
                  </a:lnTo>
                  <a:lnTo>
                    <a:pt x="189699" y="224660"/>
                  </a:lnTo>
                  <a:lnTo>
                    <a:pt x="162719" y="206555"/>
                  </a:lnTo>
                  <a:lnTo>
                    <a:pt x="140798" y="167055"/>
                  </a:lnTo>
                  <a:lnTo>
                    <a:pt x="127309" y="160471"/>
                  </a:lnTo>
                  <a:lnTo>
                    <a:pt x="102015" y="158825"/>
                  </a:lnTo>
                  <a:lnTo>
                    <a:pt x="76722" y="163763"/>
                  </a:lnTo>
                  <a:lnTo>
                    <a:pt x="51428" y="175284"/>
                  </a:lnTo>
                  <a:lnTo>
                    <a:pt x="41311" y="173638"/>
                  </a:lnTo>
                  <a:lnTo>
                    <a:pt x="24449" y="168700"/>
                  </a:lnTo>
                  <a:lnTo>
                    <a:pt x="10959" y="155534"/>
                  </a:lnTo>
                  <a:lnTo>
                    <a:pt x="4214" y="142367"/>
                  </a:lnTo>
                  <a:lnTo>
                    <a:pt x="46370" y="83116"/>
                  </a:lnTo>
                  <a:lnTo>
                    <a:pt x="306049" y="4114"/>
                  </a:lnTo>
                  <a:lnTo>
                    <a:pt x="294245" y="25510"/>
                  </a:lnTo>
                  <a:lnTo>
                    <a:pt x="326283" y="68303"/>
                  </a:lnTo>
                  <a:lnTo>
                    <a:pt x="365066" y="78178"/>
                  </a:lnTo>
                  <a:lnTo>
                    <a:pt x="339773" y="91345"/>
                  </a:lnTo>
                  <a:lnTo>
                    <a:pt x="331342" y="11274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899" name="Simpelveld">
              <a:extLst>
                <a:ext uri="{FF2B5EF4-FFF2-40B4-BE49-F238E27FC236}">
                  <a16:creationId xmlns:a16="http://schemas.microsoft.com/office/drawing/2014/main" id="{58EE5ADC-FE4E-4740-8F33-7F9A02E11ADA}"/>
                </a:ext>
              </a:extLst>
            </p:cNvPr>
            <p:cNvSpPr/>
            <p:nvPr/>
          </p:nvSpPr>
          <p:spPr>
            <a:xfrm>
              <a:off x="6846452" y="5535297"/>
              <a:ext cx="68519" cy="117340"/>
            </a:xfrm>
            <a:custGeom>
              <a:avLst/>
              <a:gdLst/>
              <a:ahLst/>
              <a:cxnLst/>
              <a:rect l="l" t="t" r="r" b="b"/>
              <a:pathLst>
                <a:path w="117081" h="148590" extrusionOk="0">
                  <a:moveTo>
                    <a:pt x="31194" y="7405"/>
                  </a:moveTo>
                  <a:lnTo>
                    <a:pt x="42997" y="30448"/>
                  </a:lnTo>
                  <a:lnTo>
                    <a:pt x="59860" y="43615"/>
                  </a:lnTo>
                  <a:lnTo>
                    <a:pt x="73349" y="50198"/>
                  </a:lnTo>
                  <a:lnTo>
                    <a:pt x="83467" y="58427"/>
                  </a:lnTo>
                  <a:lnTo>
                    <a:pt x="86839" y="65011"/>
                  </a:lnTo>
                  <a:lnTo>
                    <a:pt x="81780" y="73240"/>
                  </a:lnTo>
                  <a:lnTo>
                    <a:pt x="96957" y="76532"/>
                  </a:lnTo>
                  <a:lnTo>
                    <a:pt x="105388" y="88053"/>
                  </a:lnTo>
                  <a:lnTo>
                    <a:pt x="102015" y="92990"/>
                  </a:lnTo>
                  <a:lnTo>
                    <a:pt x="105388" y="97928"/>
                  </a:lnTo>
                  <a:lnTo>
                    <a:pt x="115505" y="104512"/>
                  </a:lnTo>
                  <a:lnTo>
                    <a:pt x="112133" y="109449"/>
                  </a:lnTo>
                  <a:lnTo>
                    <a:pt x="117191" y="111095"/>
                  </a:lnTo>
                  <a:lnTo>
                    <a:pt x="115505" y="114387"/>
                  </a:lnTo>
                  <a:lnTo>
                    <a:pt x="117191" y="116032"/>
                  </a:lnTo>
                  <a:lnTo>
                    <a:pt x="103701" y="125908"/>
                  </a:lnTo>
                  <a:lnTo>
                    <a:pt x="93584" y="140721"/>
                  </a:lnTo>
                  <a:lnTo>
                    <a:pt x="83467" y="145658"/>
                  </a:lnTo>
                  <a:lnTo>
                    <a:pt x="56487" y="124262"/>
                  </a:lnTo>
                  <a:lnTo>
                    <a:pt x="53115" y="125908"/>
                  </a:lnTo>
                  <a:lnTo>
                    <a:pt x="46370" y="114387"/>
                  </a:lnTo>
                  <a:lnTo>
                    <a:pt x="29507" y="109449"/>
                  </a:lnTo>
                  <a:lnTo>
                    <a:pt x="34566" y="99574"/>
                  </a:lnTo>
                  <a:lnTo>
                    <a:pt x="27821" y="96282"/>
                  </a:lnTo>
                  <a:lnTo>
                    <a:pt x="14332" y="83115"/>
                  </a:lnTo>
                  <a:lnTo>
                    <a:pt x="7587" y="65011"/>
                  </a:lnTo>
                  <a:lnTo>
                    <a:pt x="10959" y="63365"/>
                  </a:lnTo>
                  <a:lnTo>
                    <a:pt x="7587" y="37031"/>
                  </a:lnTo>
                  <a:lnTo>
                    <a:pt x="4214" y="33740"/>
                  </a:lnTo>
                  <a:lnTo>
                    <a:pt x="5901" y="23864"/>
                  </a:lnTo>
                  <a:lnTo>
                    <a:pt x="16018" y="17280"/>
                  </a:lnTo>
                  <a:lnTo>
                    <a:pt x="17704" y="20573"/>
                  </a:lnTo>
                  <a:lnTo>
                    <a:pt x="24449" y="17280"/>
                  </a:lnTo>
                  <a:lnTo>
                    <a:pt x="24449" y="12343"/>
                  </a:lnTo>
                  <a:lnTo>
                    <a:pt x="27821" y="7405"/>
                  </a:lnTo>
                  <a:lnTo>
                    <a:pt x="29507" y="4114"/>
                  </a:lnTo>
                  <a:lnTo>
                    <a:pt x="31194" y="7405"/>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0" name="Oostzaan">
              <a:extLst>
                <a:ext uri="{FF2B5EF4-FFF2-40B4-BE49-F238E27FC236}">
                  <a16:creationId xmlns:a16="http://schemas.microsoft.com/office/drawing/2014/main" id="{DAE6F15F-C30C-4423-AF9F-8AF8956803CE}"/>
                </a:ext>
              </a:extLst>
            </p:cNvPr>
            <p:cNvSpPr/>
            <p:nvPr/>
          </p:nvSpPr>
          <p:spPr>
            <a:xfrm>
              <a:off x="5673137" y="2899272"/>
              <a:ext cx="50623" cy="104498"/>
            </a:xfrm>
            <a:custGeom>
              <a:avLst/>
              <a:gdLst/>
              <a:ahLst/>
              <a:cxnLst/>
              <a:rect l="l" t="t" r="r" b="b"/>
              <a:pathLst>
                <a:path w="93665" h="137160" extrusionOk="0">
                  <a:moveTo>
                    <a:pt x="100329" y="4114"/>
                  </a:moveTo>
                  <a:lnTo>
                    <a:pt x="95270" y="20573"/>
                  </a:lnTo>
                  <a:lnTo>
                    <a:pt x="80094" y="61719"/>
                  </a:lnTo>
                  <a:lnTo>
                    <a:pt x="83467" y="86407"/>
                  </a:lnTo>
                  <a:lnTo>
                    <a:pt x="85153" y="101220"/>
                  </a:lnTo>
                  <a:lnTo>
                    <a:pt x="81780" y="107803"/>
                  </a:lnTo>
                  <a:lnTo>
                    <a:pt x="88526" y="117678"/>
                  </a:lnTo>
                  <a:lnTo>
                    <a:pt x="86839" y="137429"/>
                  </a:lnTo>
                  <a:lnTo>
                    <a:pt x="54801" y="134137"/>
                  </a:lnTo>
                  <a:lnTo>
                    <a:pt x="44684" y="124262"/>
                  </a:lnTo>
                  <a:lnTo>
                    <a:pt x="31194" y="125908"/>
                  </a:lnTo>
                  <a:lnTo>
                    <a:pt x="19390" y="94636"/>
                  </a:lnTo>
                  <a:lnTo>
                    <a:pt x="4214" y="69949"/>
                  </a:lnTo>
                  <a:lnTo>
                    <a:pt x="5900" y="68303"/>
                  </a:lnTo>
                  <a:lnTo>
                    <a:pt x="5900" y="60074"/>
                  </a:lnTo>
                  <a:lnTo>
                    <a:pt x="12645" y="50198"/>
                  </a:lnTo>
                  <a:lnTo>
                    <a:pt x="17704" y="27156"/>
                  </a:lnTo>
                  <a:lnTo>
                    <a:pt x="32880" y="32094"/>
                  </a:lnTo>
                  <a:lnTo>
                    <a:pt x="63232" y="17281"/>
                  </a:lnTo>
                  <a:lnTo>
                    <a:pt x="75036" y="7406"/>
                  </a:lnTo>
                  <a:lnTo>
                    <a:pt x="83467" y="9052"/>
                  </a:lnTo>
                  <a:lnTo>
                    <a:pt x="100329"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1" name="Borger-Odoorn">
              <a:extLst>
                <a:ext uri="{FF2B5EF4-FFF2-40B4-BE49-F238E27FC236}">
                  <a16:creationId xmlns:a16="http://schemas.microsoft.com/office/drawing/2014/main" id="{0C8157EC-60AC-48BF-B133-C047B60D4DBF}"/>
                </a:ext>
              </a:extLst>
            </p:cNvPr>
            <p:cNvSpPr/>
            <p:nvPr/>
          </p:nvSpPr>
          <p:spPr>
            <a:xfrm>
              <a:off x="7610609" y="2044531"/>
              <a:ext cx="312547" cy="310486"/>
            </a:xfrm>
            <a:custGeom>
              <a:avLst/>
              <a:gdLst/>
              <a:ahLst/>
              <a:cxnLst/>
              <a:rect l="l" t="t" r="r" b="b"/>
              <a:pathLst>
                <a:path w="480034" h="457200" extrusionOk="0">
                  <a:moveTo>
                    <a:pt x="319538" y="4114"/>
                  </a:moveTo>
                  <a:lnTo>
                    <a:pt x="442632" y="167054"/>
                  </a:lnTo>
                  <a:lnTo>
                    <a:pt x="457808" y="180221"/>
                  </a:lnTo>
                  <a:lnTo>
                    <a:pt x="486474" y="186805"/>
                  </a:lnTo>
                  <a:lnTo>
                    <a:pt x="442632" y="292140"/>
                  </a:lnTo>
                  <a:lnTo>
                    <a:pt x="432515" y="292140"/>
                  </a:lnTo>
                  <a:lnTo>
                    <a:pt x="371811" y="315182"/>
                  </a:lnTo>
                  <a:lnTo>
                    <a:pt x="368439" y="311891"/>
                  </a:lnTo>
                  <a:lnTo>
                    <a:pt x="363380" y="313536"/>
                  </a:lnTo>
                  <a:lnTo>
                    <a:pt x="358321" y="320120"/>
                  </a:lnTo>
                  <a:lnTo>
                    <a:pt x="349890" y="336579"/>
                  </a:lnTo>
                  <a:lnTo>
                    <a:pt x="348204" y="343162"/>
                  </a:lnTo>
                  <a:lnTo>
                    <a:pt x="349890" y="346454"/>
                  </a:lnTo>
                  <a:lnTo>
                    <a:pt x="348204" y="346454"/>
                  </a:lnTo>
                  <a:lnTo>
                    <a:pt x="346518" y="351391"/>
                  </a:lnTo>
                  <a:lnTo>
                    <a:pt x="285813" y="387600"/>
                  </a:lnTo>
                  <a:lnTo>
                    <a:pt x="248716" y="413934"/>
                  </a:lnTo>
                  <a:lnTo>
                    <a:pt x="226796" y="425455"/>
                  </a:lnTo>
                  <a:lnTo>
                    <a:pt x="221737" y="433684"/>
                  </a:lnTo>
                  <a:lnTo>
                    <a:pt x="208247" y="443559"/>
                  </a:lnTo>
                  <a:lnTo>
                    <a:pt x="199816" y="461664"/>
                  </a:lnTo>
                  <a:lnTo>
                    <a:pt x="159347" y="422163"/>
                  </a:lnTo>
                  <a:lnTo>
                    <a:pt x="71663" y="354683"/>
                  </a:lnTo>
                  <a:lnTo>
                    <a:pt x="76722" y="351391"/>
                  </a:lnTo>
                  <a:lnTo>
                    <a:pt x="51428" y="333287"/>
                  </a:lnTo>
                  <a:lnTo>
                    <a:pt x="51428" y="326703"/>
                  </a:lnTo>
                  <a:lnTo>
                    <a:pt x="42997" y="306953"/>
                  </a:lnTo>
                  <a:lnTo>
                    <a:pt x="39625" y="302015"/>
                  </a:lnTo>
                  <a:lnTo>
                    <a:pt x="32880" y="305307"/>
                  </a:lnTo>
                  <a:lnTo>
                    <a:pt x="27821" y="295432"/>
                  </a:lnTo>
                  <a:lnTo>
                    <a:pt x="12645" y="218076"/>
                  </a:lnTo>
                  <a:lnTo>
                    <a:pt x="4214" y="145658"/>
                  </a:lnTo>
                  <a:lnTo>
                    <a:pt x="16018" y="144012"/>
                  </a:lnTo>
                  <a:lnTo>
                    <a:pt x="9273" y="102866"/>
                  </a:lnTo>
                  <a:lnTo>
                    <a:pt x="100329" y="81470"/>
                  </a:lnTo>
                  <a:lnTo>
                    <a:pt x="172836" y="43615"/>
                  </a:lnTo>
                  <a:lnTo>
                    <a:pt x="317852" y="4114"/>
                  </a:lnTo>
                  <a:lnTo>
                    <a:pt x="319538"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2" name="Enkhuizen">
              <a:extLst>
                <a:ext uri="{FF2B5EF4-FFF2-40B4-BE49-F238E27FC236}">
                  <a16:creationId xmlns:a16="http://schemas.microsoft.com/office/drawing/2014/main" id="{C8AA6AA0-3AA1-4F26-85B8-325BD29DEDA8}"/>
                </a:ext>
              </a:extLst>
            </p:cNvPr>
            <p:cNvSpPr/>
            <p:nvPr/>
          </p:nvSpPr>
          <p:spPr>
            <a:xfrm>
              <a:off x="6064629" y="2354976"/>
              <a:ext cx="86413" cy="219874"/>
            </a:xfrm>
            <a:custGeom>
              <a:avLst/>
              <a:gdLst/>
              <a:ahLst/>
              <a:cxnLst/>
              <a:rect l="l" t="t" r="r" b="b"/>
              <a:pathLst>
                <a:path w="140498" h="297180" extrusionOk="0">
                  <a:moveTo>
                    <a:pt x="102015" y="277327"/>
                  </a:moveTo>
                  <a:lnTo>
                    <a:pt x="102015" y="278973"/>
                  </a:lnTo>
                  <a:lnTo>
                    <a:pt x="103701" y="277327"/>
                  </a:lnTo>
                  <a:lnTo>
                    <a:pt x="102015" y="277327"/>
                  </a:lnTo>
                  <a:close/>
                  <a:moveTo>
                    <a:pt x="98643" y="280619"/>
                  </a:moveTo>
                  <a:lnTo>
                    <a:pt x="98643" y="278973"/>
                  </a:lnTo>
                  <a:lnTo>
                    <a:pt x="102015" y="275682"/>
                  </a:lnTo>
                  <a:lnTo>
                    <a:pt x="98643" y="280619"/>
                  </a:lnTo>
                  <a:close/>
                  <a:moveTo>
                    <a:pt x="107074" y="280619"/>
                  </a:moveTo>
                  <a:lnTo>
                    <a:pt x="107074" y="283911"/>
                  </a:lnTo>
                  <a:lnTo>
                    <a:pt x="90212" y="297078"/>
                  </a:lnTo>
                  <a:lnTo>
                    <a:pt x="88525" y="292140"/>
                  </a:lnTo>
                  <a:lnTo>
                    <a:pt x="91898" y="295432"/>
                  </a:lnTo>
                  <a:lnTo>
                    <a:pt x="105388" y="282265"/>
                  </a:lnTo>
                  <a:lnTo>
                    <a:pt x="102015" y="277327"/>
                  </a:lnTo>
                  <a:lnTo>
                    <a:pt x="107074" y="280619"/>
                  </a:lnTo>
                  <a:lnTo>
                    <a:pt x="110446" y="274036"/>
                  </a:lnTo>
                  <a:lnTo>
                    <a:pt x="117191" y="267452"/>
                  </a:lnTo>
                  <a:lnTo>
                    <a:pt x="107074" y="280619"/>
                  </a:lnTo>
                  <a:close/>
                  <a:moveTo>
                    <a:pt x="122250" y="269098"/>
                  </a:moveTo>
                  <a:lnTo>
                    <a:pt x="122250" y="260869"/>
                  </a:lnTo>
                  <a:lnTo>
                    <a:pt x="139112" y="249348"/>
                  </a:lnTo>
                  <a:lnTo>
                    <a:pt x="123936" y="260869"/>
                  </a:lnTo>
                  <a:lnTo>
                    <a:pt x="122250" y="269098"/>
                  </a:lnTo>
                  <a:close/>
                  <a:moveTo>
                    <a:pt x="64918" y="150596"/>
                  </a:moveTo>
                  <a:lnTo>
                    <a:pt x="81780" y="148950"/>
                  </a:lnTo>
                  <a:lnTo>
                    <a:pt x="85153" y="147304"/>
                  </a:lnTo>
                  <a:lnTo>
                    <a:pt x="93584" y="155533"/>
                  </a:lnTo>
                  <a:lnTo>
                    <a:pt x="100329" y="157179"/>
                  </a:lnTo>
                  <a:lnTo>
                    <a:pt x="107074" y="180221"/>
                  </a:lnTo>
                  <a:lnTo>
                    <a:pt x="103701" y="176930"/>
                  </a:lnTo>
                  <a:lnTo>
                    <a:pt x="107074" y="180221"/>
                  </a:lnTo>
                  <a:lnTo>
                    <a:pt x="103701" y="180221"/>
                  </a:lnTo>
                  <a:lnTo>
                    <a:pt x="102015" y="185159"/>
                  </a:lnTo>
                  <a:lnTo>
                    <a:pt x="110446" y="191742"/>
                  </a:lnTo>
                  <a:lnTo>
                    <a:pt x="107074" y="190097"/>
                  </a:lnTo>
                  <a:lnTo>
                    <a:pt x="103701" y="193388"/>
                  </a:lnTo>
                  <a:lnTo>
                    <a:pt x="105388" y="199972"/>
                  </a:lnTo>
                  <a:lnTo>
                    <a:pt x="102015" y="204909"/>
                  </a:lnTo>
                  <a:lnTo>
                    <a:pt x="103701" y="206555"/>
                  </a:lnTo>
                  <a:lnTo>
                    <a:pt x="107074" y="213139"/>
                  </a:lnTo>
                  <a:lnTo>
                    <a:pt x="108760" y="213139"/>
                  </a:lnTo>
                  <a:lnTo>
                    <a:pt x="108760" y="223014"/>
                  </a:lnTo>
                  <a:lnTo>
                    <a:pt x="127309" y="237827"/>
                  </a:lnTo>
                  <a:lnTo>
                    <a:pt x="135740" y="237827"/>
                  </a:lnTo>
                  <a:lnTo>
                    <a:pt x="137426" y="234535"/>
                  </a:lnTo>
                  <a:lnTo>
                    <a:pt x="139112" y="237827"/>
                  </a:lnTo>
                  <a:lnTo>
                    <a:pt x="137426" y="242764"/>
                  </a:lnTo>
                  <a:lnTo>
                    <a:pt x="134053" y="246056"/>
                  </a:lnTo>
                  <a:lnTo>
                    <a:pt x="134053" y="242764"/>
                  </a:lnTo>
                  <a:lnTo>
                    <a:pt x="127309" y="239473"/>
                  </a:lnTo>
                  <a:lnTo>
                    <a:pt x="123936" y="242764"/>
                  </a:lnTo>
                  <a:lnTo>
                    <a:pt x="125622" y="244410"/>
                  </a:lnTo>
                  <a:lnTo>
                    <a:pt x="123936" y="246056"/>
                  </a:lnTo>
                  <a:lnTo>
                    <a:pt x="125622" y="244410"/>
                  </a:lnTo>
                  <a:lnTo>
                    <a:pt x="122250" y="249348"/>
                  </a:lnTo>
                  <a:lnTo>
                    <a:pt x="125622" y="252639"/>
                  </a:lnTo>
                  <a:lnTo>
                    <a:pt x="132367" y="247702"/>
                  </a:lnTo>
                  <a:lnTo>
                    <a:pt x="117191" y="259223"/>
                  </a:lnTo>
                  <a:lnTo>
                    <a:pt x="110446" y="257577"/>
                  </a:lnTo>
                  <a:lnTo>
                    <a:pt x="117191" y="260869"/>
                  </a:lnTo>
                  <a:lnTo>
                    <a:pt x="110446" y="260869"/>
                  </a:lnTo>
                  <a:lnTo>
                    <a:pt x="113819" y="262515"/>
                  </a:lnTo>
                  <a:lnTo>
                    <a:pt x="107074" y="269098"/>
                  </a:lnTo>
                  <a:lnTo>
                    <a:pt x="112132" y="264160"/>
                  </a:lnTo>
                  <a:lnTo>
                    <a:pt x="110446" y="260869"/>
                  </a:lnTo>
                  <a:lnTo>
                    <a:pt x="102015" y="260869"/>
                  </a:lnTo>
                  <a:lnTo>
                    <a:pt x="105388" y="264160"/>
                  </a:lnTo>
                  <a:lnTo>
                    <a:pt x="110446" y="262515"/>
                  </a:lnTo>
                  <a:lnTo>
                    <a:pt x="96957" y="269098"/>
                  </a:lnTo>
                  <a:lnTo>
                    <a:pt x="95270" y="270744"/>
                  </a:lnTo>
                  <a:lnTo>
                    <a:pt x="102015" y="274036"/>
                  </a:lnTo>
                  <a:lnTo>
                    <a:pt x="81780" y="288848"/>
                  </a:lnTo>
                  <a:lnTo>
                    <a:pt x="85153" y="297078"/>
                  </a:lnTo>
                  <a:lnTo>
                    <a:pt x="81780" y="288848"/>
                  </a:lnTo>
                  <a:lnTo>
                    <a:pt x="75036" y="287203"/>
                  </a:lnTo>
                  <a:lnTo>
                    <a:pt x="66605" y="290494"/>
                  </a:lnTo>
                  <a:lnTo>
                    <a:pt x="75036" y="288848"/>
                  </a:lnTo>
                  <a:lnTo>
                    <a:pt x="64918" y="290494"/>
                  </a:lnTo>
                  <a:lnTo>
                    <a:pt x="58173" y="147304"/>
                  </a:lnTo>
                  <a:lnTo>
                    <a:pt x="64918" y="150596"/>
                  </a:lnTo>
                  <a:close/>
                  <a:moveTo>
                    <a:pt x="24449" y="28802"/>
                  </a:moveTo>
                  <a:lnTo>
                    <a:pt x="21076" y="25510"/>
                  </a:lnTo>
                  <a:lnTo>
                    <a:pt x="22763" y="22218"/>
                  </a:lnTo>
                  <a:lnTo>
                    <a:pt x="24449" y="28802"/>
                  </a:lnTo>
                  <a:close/>
                  <a:moveTo>
                    <a:pt x="17704" y="15635"/>
                  </a:moveTo>
                  <a:lnTo>
                    <a:pt x="21076" y="20573"/>
                  </a:lnTo>
                  <a:lnTo>
                    <a:pt x="21076" y="23865"/>
                  </a:lnTo>
                  <a:lnTo>
                    <a:pt x="14332" y="22218"/>
                  </a:lnTo>
                  <a:lnTo>
                    <a:pt x="16018" y="13989"/>
                  </a:lnTo>
                  <a:lnTo>
                    <a:pt x="17704" y="15635"/>
                  </a:lnTo>
                  <a:close/>
                  <a:moveTo>
                    <a:pt x="9273" y="4114"/>
                  </a:moveTo>
                  <a:lnTo>
                    <a:pt x="34566" y="28802"/>
                  </a:lnTo>
                  <a:lnTo>
                    <a:pt x="31194" y="32094"/>
                  </a:lnTo>
                  <a:lnTo>
                    <a:pt x="31194" y="25510"/>
                  </a:lnTo>
                  <a:lnTo>
                    <a:pt x="16018" y="10698"/>
                  </a:lnTo>
                  <a:lnTo>
                    <a:pt x="12645" y="10698"/>
                  </a:lnTo>
                  <a:lnTo>
                    <a:pt x="14332" y="9052"/>
                  </a:lnTo>
                  <a:lnTo>
                    <a:pt x="9273" y="5760"/>
                  </a:lnTo>
                  <a:lnTo>
                    <a:pt x="5900" y="12343"/>
                  </a:lnTo>
                  <a:lnTo>
                    <a:pt x="10959" y="17281"/>
                  </a:lnTo>
                  <a:lnTo>
                    <a:pt x="10959" y="22218"/>
                  </a:lnTo>
                  <a:lnTo>
                    <a:pt x="12645" y="22218"/>
                  </a:lnTo>
                  <a:lnTo>
                    <a:pt x="24449" y="32094"/>
                  </a:lnTo>
                  <a:lnTo>
                    <a:pt x="29507" y="30448"/>
                  </a:lnTo>
                  <a:lnTo>
                    <a:pt x="29507" y="33740"/>
                  </a:lnTo>
                  <a:lnTo>
                    <a:pt x="7586" y="22218"/>
                  </a:lnTo>
                  <a:lnTo>
                    <a:pt x="9273" y="17281"/>
                  </a:lnTo>
                  <a:lnTo>
                    <a:pt x="4214" y="12343"/>
                  </a:lnTo>
                  <a:lnTo>
                    <a:pt x="9273"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3" name="Alphen-Chaam">
              <a:extLst>
                <a:ext uri="{FF2B5EF4-FFF2-40B4-BE49-F238E27FC236}">
                  <a16:creationId xmlns:a16="http://schemas.microsoft.com/office/drawing/2014/main" id="{FB0EA4E8-693C-443E-9A47-E9C454472701}"/>
                </a:ext>
              </a:extLst>
            </p:cNvPr>
            <p:cNvSpPr/>
            <p:nvPr/>
          </p:nvSpPr>
          <p:spPr>
            <a:xfrm>
              <a:off x="5559145" y="4410501"/>
              <a:ext cx="278288" cy="166771"/>
            </a:xfrm>
            <a:custGeom>
              <a:avLst/>
              <a:gdLst/>
              <a:ahLst/>
              <a:cxnLst/>
              <a:rect l="l" t="t" r="r" b="b"/>
              <a:pathLst>
                <a:path w="421494" h="251460" extrusionOk="0">
                  <a:moveTo>
                    <a:pt x="184640" y="4114"/>
                  </a:moveTo>
                  <a:lnTo>
                    <a:pt x="186327" y="17281"/>
                  </a:lnTo>
                  <a:lnTo>
                    <a:pt x="162719" y="38677"/>
                  </a:lnTo>
                  <a:lnTo>
                    <a:pt x="140798" y="50198"/>
                  </a:lnTo>
                  <a:lnTo>
                    <a:pt x="140798" y="58427"/>
                  </a:lnTo>
                  <a:lnTo>
                    <a:pt x="144171" y="60073"/>
                  </a:lnTo>
                  <a:lnTo>
                    <a:pt x="144171" y="63365"/>
                  </a:lnTo>
                  <a:lnTo>
                    <a:pt x="135740" y="71594"/>
                  </a:lnTo>
                  <a:lnTo>
                    <a:pt x="132367" y="71594"/>
                  </a:lnTo>
                  <a:lnTo>
                    <a:pt x="132367" y="74886"/>
                  </a:lnTo>
                  <a:lnTo>
                    <a:pt x="150916" y="78178"/>
                  </a:lnTo>
                  <a:lnTo>
                    <a:pt x="155974" y="74886"/>
                  </a:lnTo>
                  <a:lnTo>
                    <a:pt x="155974" y="61719"/>
                  </a:lnTo>
                  <a:lnTo>
                    <a:pt x="171150" y="61719"/>
                  </a:lnTo>
                  <a:lnTo>
                    <a:pt x="189699" y="51844"/>
                  </a:lnTo>
                  <a:lnTo>
                    <a:pt x="258834" y="119324"/>
                  </a:lnTo>
                  <a:lnTo>
                    <a:pt x="327969" y="99574"/>
                  </a:lnTo>
                  <a:lnTo>
                    <a:pt x="338087" y="81470"/>
                  </a:lnTo>
                  <a:lnTo>
                    <a:pt x="348204" y="94636"/>
                  </a:lnTo>
                  <a:lnTo>
                    <a:pt x="361694" y="91345"/>
                  </a:lnTo>
                  <a:lnTo>
                    <a:pt x="365066" y="99574"/>
                  </a:lnTo>
                  <a:lnTo>
                    <a:pt x="371811" y="101220"/>
                  </a:lnTo>
                  <a:lnTo>
                    <a:pt x="368439" y="109449"/>
                  </a:lnTo>
                  <a:lnTo>
                    <a:pt x="383615" y="114387"/>
                  </a:lnTo>
                  <a:lnTo>
                    <a:pt x="378556" y="135783"/>
                  </a:lnTo>
                  <a:lnTo>
                    <a:pt x="373497" y="145658"/>
                  </a:lnTo>
                  <a:lnTo>
                    <a:pt x="375184" y="155533"/>
                  </a:lnTo>
                  <a:lnTo>
                    <a:pt x="386987" y="150596"/>
                  </a:lnTo>
                  <a:lnTo>
                    <a:pt x="390360" y="152242"/>
                  </a:lnTo>
                  <a:lnTo>
                    <a:pt x="383615" y="158825"/>
                  </a:lnTo>
                  <a:lnTo>
                    <a:pt x="395418" y="163763"/>
                  </a:lnTo>
                  <a:lnTo>
                    <a:pt x="390360" y="173638"/>
                  </a:lnTo>
                  <a:lnTo>
                    <a:pt x="383615" y="173638"/>
                  </a:lnTo>
                  <a:lnTo>
                    <a:pt x="381929" y="176930"/>
                  </a:lnTo>
                  <a:lnTo>
                    <a:pt x="385301" y="178575"/>
                  </a:lnTo>
                  <a:lnTo>
                    <a:pt x="381929" y="181867"/>
                  </a:lnTo>
                  <a:lnTo>
                    <a:pt x="380242" y="180221"/>
                  </a:lnTo>
                  <a:lnTo>
                    <a:pt x="376870" y="185159"/>
                  </a:lnTo>
                  <a:lnTo>
                    <a:pt x="393732" y="188451"/>
                  </a:lnTo>
                  <a:lnTo>
                    <a:pt x="393732" y="193388"/>
                  </a:lnTo>
                  <a:lnTo>
                    <a:pt x="407222" y="208201"/>
                  </a:lnTo>
                  <a:lnTo>
                    <a:pt x="419025" y="201617"/>
                  </a:lnTo>
                  <a:lnTo>
                    <a:pt x="420712" y="204909"/>
                  </a:lnTo>
                  <a:lnTo>
                    <a:pt x="412281" y="211493"/>
                  </a:lnTo>
                  <a:lnTo>
                    <a:pt x="407222" y="224660"/>
                  </a:lnTo>
                  <a:lnTo>
                    <a:pt x="407222" y="236181"/>
                  </a:lnTo>
                  <a:lnTo>
                    <a:pt x="410594" y="246056"/>
                  </a:lnTo>
                  <a:lnTo>
                    <a:pt x="358321" y="237827"/>
                  </a:lnTo>
                  <a:lnTo>
                    <a:pt x="348204" y="244410"/>
                  </a:lnTo>
                  <a:lnTo>
                    <a:pt x="343145" y="241118"/>
                  </a:lnTo>
                  <a:lnTo>
                    <a:pt x="331342" y="242764"/>
                  </a:lnTo>
                  <a:lnTo>
                    <a:pt x="331342" y="244410"/>
                  </a:lnTo>
                  <a:lnTo>
                    <a:pt x="327969" y="241118"/>
                  </a:lnTo>
                  <a:lnTo>
                    <a:pt x="312793" y="244410"/>
                  </a:lnTo>
                  <a:lnTo>
                    <a:pt x="309421" y="247702"/>
                  </a:lnTo>
                  <a:lnTo>
                    <a:pt x="302676" y="246056"/>
                  </a:lnTo>
                  <a:lnTo>
                    <a:pt x="289186" y="242764"/>
                  </a:lnTo>
                  <a:lnTo>
                    <a:pt x="267265" y="221368"/>
                  </a:lnTo>
                  <a:lnTo>
                    <a:pt x="226796" y="196680"/>
                  </a:lnTo>
                  <a:lnTo>
                    <a:pt x="214992" y="198326"/>
                  </a:lnTo>
                  <a:lnTo>
                    <a:pt x="213306" y="195034"/>
                  </a:lnTo>
                  <a:lnTo>
                    <a:pt x="196444" y="191742"/>
                  </a:lnTo>
                  <a:lnTo>
                    <a:pt x="181268" y="196680"/>
                  </a:lnTo>
                  <a:lnTo>
                    <a:pt x="144171" y="186805"/>
                  </a:lnTo>
                  <a:lnTo>
                    <a:pt x="123936" y="185159"/>
                  </a:lnTo>
                  <a:lnTo>
                    <a:pt x="118877" y="183513"/>
                  </a:lnTo>
                  <a:lnTo>
                    <a:pt x="113819" y="168700"/>
                  </a:lnTo>
                  <a:lnTo>
                    <a:pt x="113819" y="160471"/>
                  </a:lnTo>
                  <a:lnTo>
                    <a:pt x="108760" y="153888"/>
                  </a:lnTo>
                  <a:lnTo>
                    <a:pt x="95270" y="148950"/>
                  </a:lnTo>
                  <a:lnTo>
                    <a:pt x="90212" y="148950"/>
                  </a:lnTo>
                  <a:lnTo>
                    <a:pt x="83467" y="142367"/>
                  </a:lnTo>
                  <a:lnTo>
                    <a:pt x="76722" y="142367"/>
                  </a:lnTo>
                  <a:lnTo>
                    <a:pt x="71663" y="147304"/>
                  </a:lnTo>
                  <a:lnTo>
                    <a:pt x="59860" y="144012"/>
                  </a:lnTo>
                  <a:lnTo>
                    <a:pt x="56487" y="132491"/>
                  </a:lnTo>
                  <a:lnTo>
                    <a:pt x="53115" y="130845"/>
                  </a:lnTo>
                  <a:lnTo>
                    <a:pt x="46370" y="129199"/>
                  </a:lnTo>
                  <a:lnTo>
                    <a:pt x="24449" y="135783"/>
                  </a:lnTo>
                  <a:lnTo>
                    <a:pt x="14331" y="127554"/>
                  </a:lnTo>
                  <a:lnTo>
                    <a:pt x="4214" y="104512"/>
                  </a:lnTo>
                  <a:lnTo>
                    <a:pt x="7587" y="96282"/>
                  </a:lnTo>
                  <a:lnTo>
                    <a:pt x="26135" y="94636"/>
                  </a:lnTo>
                  <a:lnTo>
                    <a:pt x="32880" y="83115"/>
                  </a:lnTo>
                  <a:lnTo>
                    <a:pt x="37939" y="81470"/>
                  </a:lnTo>
                  <a:lnTo>
                    <a:pt x="41311" y="84761"/>
                  </a:lnTo>
                  <a:lnTo>
                    <a:pt x="41311" y="76532"/>
                  </a:lnTo>
                  <a:lnTo>
                    <a:pt x="78408" y="58427"/>
                  </a:lnTo>
                  <a:lnTo>
                    <a:pt x="86839" y="56782"/>
                  </a:lnTo>
                  <a:lnTo>
                    <a:pt x="88525" y="55136"/>
                  </a:lnTo>
                  <a:lnTo>
                    <a:pt x="86839" y="53490"/>
                  </a:lnTo>
                  <a:lnTo>
                    <a:pt x="108760" y="37031"/>
                  </a:lnTo>
                  <a:lnTo>
                    <a:pt x="112133" y="40323"/>
                  </a:lnTo>
                  <a:lnTo>
                    <a:pt x="110446" y="37031"/>
                  </a:lnTo>
                  <a:lnTo>
                    <a:pt x="120564" y="30448"/>
                  </a:lnTo>
                  <a:lnTo>
                    <a:pt x="122250" y="32094"/>
                  </a:lnTo>
                  <a:lnTo>
                    <a:pt x="122250" y="28802"/>
                  </a:lnTo>
                  <a:lnTo>
                    <a:pt x="134053" y="20573"/>
                  </a:lnTo>
                  <a:lnTo>
                    <a:pt x="145857" y="23864"/>
                  </a:lnTo>
                  <a:lnTo>
                    <a:pt x="149230" y="13989"/>
                  </a:lnTo>
                  <a:lnTo>
                    <a:pt x="171150" y="7405"/>
                  </a:lnTo>
                  <a:lnTo>
                    <a:pt x="174523" y="10697"/>
                  </a:lnTo>
                  <a:lnTo>
                    <a:pt x="177895" y="5760"/>
                  </a:lnTo>
                  <a:lnTo>
                    <a:pt x="184640"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4" name="Dordrecht">
              <a:extLst>
                <a:ext uri="{FF2B5EF4-FFF2-40B4-BE49-F238E27FC236}">
                  <a16:creationId xmlns:a16="http://schemas.microsoft.com/office/drawing/2014/main" id="{06833153-FA50-4722-B668-237ABB5FB7F2}"/>
                </a:ext>
              </a:extLst>
            </p:cNvPr>
            <p:cNvSpPr/>
            <p:nvPr/>
          </p:nvSpPr>
          <p:spPr>
            <a:xfrm>
              <a:off x="5419154" y="3968272"/>
              <a:ext cx="293153" cy="157246"/>
            </a:xfrm>
            <a:custGeom>
              <a:avLst/>
              <a:gdLst/>
              <a:ahLst/>
              <a:cxnLst/>
              <a:rect l="l" t="t" r="r" b="b"/>
              <a:pathLst>
                <a:path w="409785" h="251460" extrusionOk="0">
                  <a:moveTo>
                    <a:pt x="171150" y="7406"/>
                  </a:moveTo>
                  <a:lnTo>
                    <a:pt x="201503" y="7406"/>
                  </a:lnTo>
                  <a:lnTo>
                    <a:pt x="225110" y="22219"/>
                  </a:lnTo>
                  <a:lnTo>
                    <a:pt x="235227" y="23864"/>
                  </a:lnTo>
                  <a:lnTo>
                    <a:pt x="255462" y="25510"/>
                  </a:lnTo>
                  <a:lnTo>
                    <a:pt x="290872" y="17281"/>
                  </a:lnTo>
                  <a:lnTo>
                    <a:pt x="331342" y="15635"/>
                  </a:lnTo>
                  <a:lnTo>
                    <a:pt x="386987" y="20573"/>
                  </a:lnTo>
                  <a:lnTo>
                    <a:pt x="405535" y="17281"/>
                  </a:lnTo>
                  <a:lnTo>
                    <a:pt x="407222" y="22219"/>
                  </a:lnTo>
                  <a:lnTo>
                    <a:pt x="370125" y="55136"/>
                  </a:lnTo>
                  <a:lnTo>
                    <a:pt x="348204" y="65011"/>
                  </a:lnTo>
                  <a:lnTo>
                    <a:pt x="333028" y="66657"/>
                  </a:lnTo>
                  <a:lnTo>
                    <a:pt x="289186" y="60074"/>
                  </a:lnTo>
                  <a:lnTo>
                    <a:pt x="274010" y="61719"/>
                  </a:lnTo>
                  <a:lnTo>
                    <a:pt x="236913" y="78178"/>
                  </a:lnTo>
                  <a:lnTo>
                    <a:pt x="225110" y="86407"/>
                  </a:lnTo>
                  <a:lnTo>
                    <a:pt x="208247" y="106158"/>
                  </a:lnTo>
                  <a:lnTo>
                    <a:pt x="186326" y="160471"/>
                  </a:lnTo>
                  <a:lnTo>
                    <a:pt x="167778" y="180221"/>
                  </a:lnTo>
                  <a:lnTo>
                    <a:pt x="128995" y="213139"/>
                  </a:lnTo>
                  <a:lnTo>
                    <a:pt x="95270" y="232889"/>
                  </a:lnTo>
                  <a:lnTo>
                    <a:pt x="85153" y="242764"/>
                  </a:lnTo>
                  <a:lnTo>
                    <a:pt x="36252" y="255931"/>
                  </a:lnTo>
                  <a:lnTo>
                    <a:pt x="31194" y="244410"/>
                  </a:lnTo>
                  <a:lnTo>
                    <a:pt x="12645" y="252639"/>
                  </a:lnTo>
                  <a:lnTo>
                    <a:pt x="12645" y="239472"/>
                  </a:lnTo>
                  <a:lnTo>
                    <a:pt x="9273" y="247702"/>
                  </a:lnTo>
                  <a:lnTo>
                    <a:pt x="10959" y="252639"/>
                  </a:lnTo>
                  <a:lnTo>
                    <a:pt x="9273" y="252639"/>
                  </a:lnTo>
                  <a:lnTo>
                    <a:pt x="5900" y="249348"/>
                  </a:lnTo>
                  <a:lnTo>
                    <a:pt x="16018" y="211493"/>
                  </a:lnTo>
                  <a:lnTo>
                    <a:pt x="17704" y="186805"/>
                  </a:lnTo>
                  <a:lnTo>
                    <a:pt x="10959" y="147304"/>
                  </a:lnTo>
                  <a:lnTo>
                    <a:pt x="12645" y="102866"/>
                  </a:lnTo>
                  <a:lnTo>
                    <a:pt x="4214" y="56782"/>
                  </a:lnTo>
                  <a:lnTo>
                    <a:pt x="17704" y="55136"/>
                  </a:lnTo>
                  <a:lnTo>
                    <a:pt x="29508" y="50198"/>
                  </a:lnTo>
                  <a:lnTo>
                    <a:pt x="41311" y="41969"/>
                  </a:lnTo>
                  <a:lnTo>
                    <a:pt x="58173" y="22219"/>
                  </a:lnTo>
                  <a:lnTo>
                    <a:pt x="75036" y="10698"/>
                  </a:lnTo>
                  <a:lnTo>
                    <a:pt x="100329" y="10698"/>
                  </a:lnTo>
                  <a:lnTo>
                    <a:pt x="135740" y="4114"/>
                  </a:lnTo>
                  <a:lnTo>
                    <a:pt x="171150" y="7406"/>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5" name="Leidschendam-Voorburg">
              <a:extLst>
                <a:ext uri="{FF2B5EF4-FFF2-40B4-BE49-F238E27FC236}">
                  <a16:creationId xmlns:a16="http://schemas.microsoft.com/office/drawing/2014/main" id="{A1A09EF2-CFA4-4CF8-B182-7488F509954C}"/>
                </a:ext>
              </a:extLst>
            </p:cNvPr>
            <p:cNvSpPr/>
            <p:nvPr/>
          </p:nvSpPr>
          <p:spPr>
            <a:xfrm>
              <a:off x="5143033" y="3475958"/>
              <a:ext cx="150746" cy="110036"/>
            </a:xfrm>
            <a:custGeom>
              <a:avLst/>
              <a:gdLst/>
              <a:ahLst/>
              <a:cxnLst/>
              <a:rect l="l" t="t" r="r" b="b"/>
              <a:pathLst>
                <a:path w="245871" h="171450" extrusionOk="0">
                  <a:moveTo>
                    <a:pt x="206561" y="4114"/>
                  </a:moveTo>
                  <a:lnTo>
                    <a:pt x="216679" y="17281"/>
                  </a:lnTo>
                  <a:lnTo>
                    <a:pt x="216679" y="28802"/>
                  </a:lnTo>
                  <a:lnTo>
                    <a:pt x="213306" y="32094"/>
                  </a:lnTo>
                  <a:lnTo>
                    <a:pt x="241972" y="79824"/>
                  </a:lnTo>
                  <a:lnTo>
                    <a:pt x="245344" y="104512"/>
                  </a:lnTo>
                  <a:lnTo>
                    <a:pt x="216679" y="109449"/>
                  </a:lnTo>
                  <a:lnTo>
                    <a:pt x="220051" y="119324"/>
                  </a:lnTo>
                  <a:lnTo>
                    <a:pt x="189699" y="125908"/>
                  </a:lnTo>
                  <a:lnTo>
                    <a:pt x="135740" y="163763"/>
                  </a:lnTo>
                  <a:lnTo>
                    <a:pt x="122250" y="140721"/>
                  </a:lnTo>
                  <a:lnTo>
                    <a:pt x="110446" y="125908"/>
                  </a:lnTo>
                  <a:lnTo>
                    <a:pt x="98643" y="134137"/>
                  </a:lnTo>
                  <a:lnTo>
                    <a:pt x="95270" y="130845"/>
                  </a:lnTo>
                  <a:lnTo>
                    <a:pt x="86839" y="137429"/>
                  </a:lnTo>
                  <a:lnTo>
                    <a:pt x="80094" y="130845"/>
                  </a:lnTo>
                  <a:lnTo>
                    <a:pt x="36252" y="165409"/>
                  </a:lnTo>
                  <a:lnTo>
                    <a:pt x="42997" y="171992"/>
                  </a:lnTo>
                  <a:lnTo>
                    <a:pt x="41311" y="175284"/>
                  </a:lnTo>
                  <a:lnTo>
                    <a:pt x="37939" y="178576"/>
                  </a:lnTo>
                  <a:lnTo>
                    <a:pt x="31194" y="170346"/>
                  </a:lnTo>
                  <a:lnTo>
                    <a:pt x="24449" y="176930"/>
                  </a:lnTo>
                  <a:lnTo>
                    <a:pt x="14332" y="165409"/>
                  </a:lnTo>
                  <a:lnTo>
                    <a:pt x="36252" y="148950"/>
                  </a:lnTo>
                  <a:lnTo>
                    <a:pt x="4214" y="132492"/>
                  </a:lnTo>
                  <a:lnTo>
                    <a:pt x="63232" y="91345"/>
                  </a:lnTo>
                  <a:lnTo>
                    <a:pt x="61546" y="86407"/>
                  </a:lnTo>
                  <a:lnTo>
                    <a:pt x="107074" y="45261"/>
                  </a:lnTo>
                  <a:lnTo>
                    <a:pt x="123936" y="53490"/>
                  </a:lnTo>
                  <a:lnTo>
                    <a:pt x="122250" y="55136"/>
                  </a:lnTo>
                  <a:lnTo>
                    <a:pt x="123936" y="56782"/>
                  </a:lnTo>
                  <a:lnTo>
                    <a:pt x="125622" y="55136"/>
                  </a:lnTo>
                  <a:lnTo>
                    <a:pt x="137426" y="61719"/>
                  </a:lnTo>
                  <a:lnTo>
                    <a:pt x="147543" y="69949"/>
                  </a:lnTo>
                  <a:lnTo>
                    <a:pt x="155974" y="63365"/>
                  </a:lnTo>
                  <a:lnTo>
                    <a:pt x="162719" y="51844"/>
                  </a:lnTo>
                  <a:lnTo>
                    <a:pt x="176209" y="41969"/>
                  </a:lnTo>
                  <a:lnTo>
                    <a:pt x="203189" y="9052"/>
                  </a:lnTo>
                  <a:lnTo>
                    <a:pt x="204875" y="10698"/>
                  </a:lnTo>
                  <a:lnTo>
                    <a:pt x="206561" y="9052"/>
                  </a:lnTo>
                  <a:lnTo>
                    <a:pt x="206561"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6" name="Hardinxveld-Giessendam">
              <a:extLst>
                <a:ext uri="{FF2B5EF4-FFF2-40B4-BE49-F238E27FC236}">
                  <a16:creationId xmlns:a16="http://schemas.microsoft.com/office/drawing/2014/main" id="{B3863853-7C17-4876-9726-359B0C9462D7}"/>
                </a:ext>
              </a:extLst>
            </p:cNvPr>
            <p:cNvSpPr/>
            <p:nvPr/>
          </p:nvSpPr>
          <p:spPr>
            <a:xfrm>
              <a:off x="5617910" y="3905670"/>
              <a:ext cx="135538" cy="75608"/>
            </a:xfrm>
            <a:custGeom>
              <a:avLst/>
              <a:gdLst/>
              <a:ahLst/>
              <a:cxnLst/>
              <a:rect l="l" t="t" r="r" b="b"/>
              <a:pathLst>
                <a:path w="187330" h="114300" extrusionOk="0">
                  <a:moveTo>
                    <a:pt x="58173" y="4114"/>
                  </a:moveTo>
                  <a:lnTo>
                    <a:pt x="71663" y="71594"/>
                  </a:lnTo>
                  <a:lnTo>
                    <a:pt x="95270" y="71594"/>
                  </a:lnTo>
                  <a:lnTo>
                    <a:pt x="100329" y="66657"/>
                  </a:lnTo>
                  <a:lnTo>
                    <a:pt x="102015" y="73240"/>
                  </a:lnTo>
                  <a:lnTo>
                    <a:pt x="117191" y="73240"/>
                  </a:lnTo>
                  <a:lnTo>
                    <a:pt x="162719" y="58427"/>
                  </a:lnTo>
                  <a:lnTo>
                    <a:pt x="189699" y="55136"/>
                  </a:lnTo>
                  <a:lnTo>
                    <a:pt x="193071" y="83115"/>
                  </a:lnTo>
                  <a:lnTo>
                    <a:pt x="169464" y="89699"/>
                  </a:lnTo>
                  <a:lnTo>
                    <a:pt x="127309" y="111095"/>
                  </a:lnTo>
                  <a:lnTo>
                    <a:pt x="125622" y="106157"/>
                  </a:lnTo>
                  <a:lnTo>
                    <a:pt x="107074" y="109449"/>
                  </a:lnTo>
                  <a:lnTo>
                    <a:pt x="58173" y="104512"/>
                  </a:lnTo>
                  <a:lnTo>
                    <a:pt x="16018" y="106157"/>
                  </a:lnTo>
                  <a:lnTo>
                    <a:pt x="16018" y="99574"/>
                  </a:lnTo>
                  <a:lnTo>
                    <a:pt x="5900" y="97928"/>
                  </a:lnTo>
                  <a:lnTo>
                    <a:pt x="4214" y="38677"/>
                  </a:lnTo>
                  <a:lnTo>
                    <a:pt x="58173"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7" name="Aalsmeer">
              <a:extLst>
                <a:ext uri="{FF2B5EF4-FFF2-40B4-BE49-F238E27FC236}">
                  <a16:creationId xmlns:a16="http://schemas.microsoft.com/office/drawing/2014/main" id="{24132043-7A3E-4C6D-BC43-13DFDB305165}"/>
                </a:ext>
              </a:extLst>
            </p:cNvPr>
            <p:cNvSpPr/>
            <p:nvPr/>
          </p:nvSpPr>
          <p:spPr>
            <a:xfrm>
              <a:off x="5483591" y="3185383"/>
              <a:ext cx="156086" cy="140278"/>
            </a:xfrm>
            <a:custGeom>
              <a:avLst/>
              <a:gdLst/>
              <a:ahLst/>
              <a:cxnLst/>
              <a:rect l="l" t="t" r="r" b="b"/>
              <a:pathLst>
                <a:path w="234163" h="217170" extrusionOk="0">
                  <a:moveTo>
                    <a:pt x="174523" y="125908"/>
                  </a:moveTo>
                  <a:lnTo>
                    <a:pt x="155974" y="139075"/>
                  </a:lnTo>
                  <a:lnTo>
                    <a:pt x="152602" y="144013"/>
                  </a:lnTo>
                  <a:lnTo>
                    <a:pt x="152602" y="150596"/>
                  </a:lnTo>
                  <a:lnTo>
                    <a:pt x="159347" y="160471"/>
                  </a:lnTo>
                  <a:lnTo>
                    <a:pt x="83467" y="219722"/>
                  </a:lnTo>
                  <a:lnTo>
                    <a:pt x="85153" y="180221"/>
                  </a:lnTo>
                  <a:lnTo>
                    <a:pt x="54801" y="176930"/>
                  </a:lnTo>
                  <a:lnTo>
                    <a:pt x="42997" y="180221"/>
                  </a:lnTo>
                  <a:lnTo>
                    <a:pt x="27821" y="193389"/>
                  </a:lnTo>
                  <a:lnTo>
                    <a:pt x="12645" y="195034"/>
                  </a:lnTo>
                  <a:lnTo>
                    <a:pt x="4214" y="183513"/>
                  </a:lnTo>
                  <a:lnTo>
                    <a:pt x="14331" y="173638"/>
                  </a:lnTo>
                  <a:lnTo>
                    <a:pt x="21076" y="163763"/>
                  </a:lnTo>
                  <a:lnTo>
                    <a:pt x="51428" y="150596"/>
                  </a:lnTo>
                  <a:lnTo>
                    <a:pt x="69977" y="124262"/>
                  </a:lnTo>
                  <a:lnTo>
                    <a:pt x="80094" y="116033"/>
                  </a:lnTo>
                  <a:lnTo>
                    <a:pt x="88525" y="106158"/>
                  </a:lnTo>
                  <a:lnTo>
                    <a:pt x="108760" y="94637"/>
                  </a:lnTo>
                  <a:lnTo>
                    <a:pt x="120564" y="84761"/>
                  </a:lnTo>
                  <a:lnTo>
                    <a:pt x="147543" y="74886"/>
                  </a:lnTo>
                  <a:lnTo>
                    <a:pt x="171150" y="58427"/>
                  </a:lnTo>
                  <a:lnTo>
                    <a:pt x="186326" y="43615"/>
                  </a:lnTo>
                  <a:lnTo>
                    <a:pt x="194757" y="18927"/>
                  </a:lnTo>
                  <a:lnTo>
                    <a:pt x="216678" y="4114"/>
                  </a:lnTo>
                  <a:lnTo>
                    <a:pt x="238599" y="41969"/>
                  </a:lnTo>
                  <a:lnTo>
                    <a:pt x="193071" y="114387"/>
                  </a:lnTo>
                  <a:lnTo>
                    <a:pt x="174523" y="12590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8" name="Hellendoorn">
              <a:extLst>
                <a:ext uri="{FF2B5EF4-FFF2-40B4-BE49-F238E27FC236}">
                  <a16:creationId xmlns:a16="http://schemas.microsoft.com/office/drawing/2014/main" id="{57C52C5C-E167-4A45-9092-EC249132DBDE}"/>
                </a:ext>
              </a:extLst>
            </p:cNvPr>
            <p:cNvSpPr/>
            <p:nvPr/>
          </p:nvSpPr>
          <p:spPr>
            <a:xfrm>
              <a:off x="7221419" y="2919415"/>
              <a:ext cx="275287" cy="242872"/>
            </a:xfrm>
            <a:custGeom>
              <a:avLst/>
              <a:gdLst/>
              <a:ahLst/>
              <a:cxnLst/>
              <a:rect l="l" t="t" r="r" b="b"/>
              <a:pathLst>
                <a:path w="398077" h="354330" extrusionOk="0">
                  <a:moveTo>
                    <a:pt x="177895" y="4114"/>
                  </a:moveTo>
                  <a:lnTo>
                    <a:pt x="174523" y="5760"/>
                  </a:lnTo>
                  <a:lnTo>
                    <a:pt x="182954" y="7405"/>
                  </a:lnTo>
                  <a:lnTo>
                    <a:pt x="204875" y="41969"/>
                  </a:lnTo>
                  <a:lnTo>
                    <a:pt x="213306" y="48552"/>
                  </a:lnTo>
                  <a:lnTo>
                    <a:pt x="216679" y="53490"/>
                  </a:lnTo>
                  <a:lnTo>
                    <a:pt x="221737" y="51844"/>
                  </a:lnTo>
                  <a:lnTo>
                    <a:pt x="223424" y="53490"/>
                  </a:lnTo>
                  <a:lnTo>
                    <a:pt x="270638" y="61719"/>
                  </a:lnTo>
                  <a:lnTo>
                    <a:pt x="274010" y="58427"/>
                  </a:lnTo>
                  <a:lnTo>
                    <a:pt x="279069" y="60073"/>
                  </a:lnTo>
                  <a:lnTo>
                    <a:pt x="285814" y="51844"/>
                  </a:lnTo>
                  <a:lnTo>
                    <a:pt x="290872" y="55136"/>
                  </a:lnTo>
                  <a:lnTo>
                    <a:pt x="295931" y="51844"/>
                  </a:lnTo>
                  <a:lnTo>
                    <a:pt x="300990" y="38677"/>
                  </a:lnTo>
                  <a:lnTo>
                    <a:pt x="314480" y="27156"/>
                  </a:lnTo>
                  <a:lnTo>
                    <a:pt x="331342" y="28802"/>
                  </a:lnTo>
                  <a:lnTo>
                    <a:pt x="336401" y="32094"/>
                  </a:lnTo>
                  <a:lnTo>
                    <a:pt x="341459" y="32094"/>
                  </a:lnTo>
                  <a:lnTo>
                    <a:pt x="348204" y="38677"/>
                  </a:lnTo>
                  <a:lnTo>
                    <a:pt x="361694" y="32094"/>
                  </a:lnTo>
                  <a:lnTo>
                    <a:pt x="361694" y="37031"/>
                  </a:lnTo>
                  <a:lnTo>
                    <a:pt x="398791" y="15635"/>
                  </a:lnTo>
                  <a:lnTo>
                    <a:pt x="402163" y="55136"/>
                  </a:lnTo>
                  <a:lnTo>
                    <a:pt x="386987" y="66657"/>
                  </a:lnTo>
                  <a:lnTo>
                    <a:pt x="366753" y="92991"/>
                  </a:lnTo>
                  <a:lnTo>
                    <a:pt x="363380" y="92991"/>
                  </a:lnTo>
                  <a:lnTo>
                    <a:pt x="370125" y="106157"/>
                  </a:lnTo>
                  <a:lnTo>
                    <a:pt x="279069" y="135783"/>
                  </a:lnTo>
                  <a:lnTo>
                    <a:pt x="268951" y="170346"/>
                  </a:lnTo>
                  <a:lnTo>
                    <a:pt x="277383" y="195034"/>
                  </a:lnTo>
                  <a:lnTo>
                    <a:pt x="248717" y="208201"/>
                  </a:lnTo>
                  <a:lnTo>
                    <a:pt x="250403" y="227951"/>
                  </a:lnTo>
                  <a:lnTo>
                    <a:pt x="255462" y="239472"/>
                  </a:lnTo>
                  <a:lnTo>
                    <a:pt x="287500" y="244410"/>
                  </a:lnTo>
                  <a:lnTo>
                    <a:pt x="285814" y="259223"/>
                  </a:lnTo>
                  <a:lnTo>
                    <a:pt x="267265" y="259223"/>
                  </a:lnTo>
                  <a:lnTo>
                    <a:pt x="265579" y="265806"/>
                  </a:lnTo>
                  <a:lnTo>
                    <a:pt x="258834" y="264160"/>
                  </a:lnTo>
                  <a:lnTo>
                    <a:pt x="250403" y="272389"/>
                  </a:lnTo>
                  <a:lnTo>
                    <a:pt x="243658" y="274035"/>
                  </a:lnTo>
                  <a:lnTo>
                    <a:pt x="240286" y="282265"/>
                  </a:lnTo>
                  <a:lnTo>
                    <a:pt x="236913" y="283910"/>
                  </a:lnTo>
                  <a:lnTo>
                    <a:pt x="240286" y="287202"/>
                  </a:lnTo>
                  <a:lnTo>
                    <a:pt x="199816" y="344807"/>
                  </a:lnTo>
                  <a:lnTo>
                    <a:pt x="139112" y="331641"/>
                  </a:lnTo>
                  <a:lnTo>
                    <a:pt x="39625" y="351391"/>
                  </a:lnTo>
                  <a:lnTo>
                    <a:pt x="19390" y="315182"/>
                  </a:lnTo>
                  <a:lnTo>
                    <a:pt x="4214" y="272389"/>
                  </a:lnTo>
                  <a:lnTo>
                    <a:pt x="19390" y="226305"/>
                  </a:lnTo>
                  <a:lnTo>
                    <a:pt x="39625" y="209847"/>
                  </a:lnTo>
                  <a:lnTo>
                    <a:pt x="78408" y="199971"/>
                  </a:lnTo>
                  <a:lnTo>
                    <a:pt x="86839" y="201617"/>
                  </a:lnTo>
                  <a:lnTo>
                    <a:pt x="112133" y="116033"/>
                  </a:lnTo>
                  <a:lnTo>
                    <a:pt x="88526" y="84761"/>
                  </a:lnTo>
                  <a:lnTo>
                    <a:pt x="145857" y="58427"/>
                  </a:lnTo>
                  <a:lnTo>
                    <a:pt x="161033" y="46906"/>
                  </a:lnTo>
                  <a:lnTo>
                    <a:pt x="159347" y="35385"/>
                  </a:lnTo>
                  <a:lnTo>
                    <a:pt x="166092" y="32094"/>
                  </a:lnTo>
                  <a:lnTo>
                    <a:pt x="169464" y="20573"/>
                  </a:lnTo>
                  <a:lnTo>
                    <a:pt x="166092" y="18926"/>
                  </a:lnTo>
                  <a:lnTo>
                    <a:pt x="166092" y="17281"/>
                  </a:lnTo>
                  <a:lnTo>
                    <a:pt x="171151" y="12343"/>
                  </a:lnTo>
                  <a:lnTo>
                    <a:pt x="169464" y="10697"/>
                  </a:lnTo>
                  <a:lnTo>
                    <a:pt x="171151" y="4114"/>
                  </a:lnTo>
                  <a:lnTo>
                    <a:pt x="177895"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09" name="Stichtse Vecht">
              <a:extLst>
                <a:ext uri="{FF2B5EF4-FFF2-40B4-BE49-F238E27FC236}">
                  <a16:creationId xmlns:a16="http://schemas.microsoft.com/office/drawing/2014/main" id="{716C9AB3-8763-4305-AC1F-6F57A8034B0A}"/>
                </a:ext>
              </a:extLst>
            </p:cNvPr>
            <p:cNvSpPr/>
            <p:nvPr/>
          </p:nvSpPr>
          <p:spPr>
            <a:xfrm>
              <a:off x="5733052" y="3223214"/>
              <a:ext cx="225760" cy="282522"/>
            </a:xfrm>
            <a:custGeom>
              <a:avLst/>
              <a:gdLst/>
              <a:ahLst/>
              <a:cxnLst/>
              <a:rect l="l" t="t" r="r" b="b"/>
              <a:pathLst>
                <a:path w="327828" h="422910" extrusionOk="0">
                  <a:moveTo>
                    <a:pt x="238599" y="9052"/>
                  </a:moveTo>
                  <a:lnTo>
                    <a:pt x="241972" y="13989"/>
                  </a:lnTo>
                  <a:lnTo>
                    <a:pt x="241972" y="23864"/>
                  </a:lnTo>
                  <a:lnTo>
                    <a:pt x="238599" y="22218"/>
                  </a:lnTo>
                  <a:lnTo>
                    <a:pt x="238599" y="13989"/>
                  </a:lnTo>
                  <a:lnTo>
                    <a:pt x="233540" y="13989"/>
                  </a:lnTo>
                  <a:lnTo>
                    <a:pt x="220051" y="22218"/>
                  </a:lnTo>
                  <a:lnTo>
                    <a:pt x="216678" y="33739"/>
                  </a:lnTo>
                  <a:lnTo>
                    <a:pt x="208247" y="30448"/>
                  </a:lnTo>
                  <a:lnTo>
                    <a:pt x="201502" y="33739"/>
                  </a:lnTo>
                  <a:lnTo>
                    <a:pt x="193071" y="37031"/>
                  </a:lnTo>
                  <a:lnTo>
                    <a:pt x="188013" y="45260"/>
                  </a:lnTo>
                  <a:lnTo>
                    <a:pt x="177895" y="43615"/>
                  </a:lnTo>
                  <a:lnTo>
                    <a:pt x="184640" y="55136"/>
                  </a:lnTo>
                  <a:lnTo>
                    <a:pt x="182954" y="63365"/>
                  </a:lnTo>
                  <a:lnTo>
                    <a:pt x="191385" y="73240"/>
                  </a:lnTo>
                  <a:lnTo>
                    <a:pt x="189699" y="86407"/>
                  </a:lnTo>
                  <a:lnTo>
                    <a:pt x="196443" y="91345"/>
                  </a:lnTo>
                  <a:lnTo>
                    <a:pt x="203188" y="83115"/>
                  </a:lnTo>
                  <a:lnTo>
                    <a:pt x="206561" y="83115"/>
                  </a:lnTo>
                  <a:lnTo>
                    <a:pt x="213306" y="101220"/>
                  </a:lnTo>
                  <a:lnTo>
                    <a:pt x="211620" y="114387"/>
                  </a:lnTo>
                  <a:lnTo>
                    <a:pt x="230168" y="134137"/>
                  </a:lnTo>
                  <a:lnTo>
                    <a:pt x="204875" y="144012"/>
                  </a:lnTo>
                  <a:lnTo>
                    <a:pt x="203188" y="147304"/>
                  </a:lnTo>
                  <a:lnTo>
                    <a:pt x="206561" y="148950"/>
                  </a:lnTo>
                  <a:lnTo>
                    <a:pt x="199816" y="158825"/>
                  </a:lnTo>
                  <a:lnTo>
                    <a:pt x="198130" y="157179"/>
                  </a:lnTo>
                  <a:lnTo>
                    <a:pt x="206561" y="160471"/>
                  </a:lnTo>
                  <a:lnTo>
                    <a:pt x="198130" y="160471"/>
                  </a:lnTo>
                  <a:lnTo>
                    <a:pt x="196443" y="176930"/>
                  </a:lnTo>
                  <a:lnTo>
                    <a:pt x="198130" y="180221"/>
                  </a:lnTo>
                  <a:lnTo>
                    <a:pt x="194757" y="183513"/>
                  </a:lnTo>
                  <a:lnTo>
                    <a:pt x="198130" y="185159"/>
                  </a:lnTo>
                  <a:lnTo>
                    <a:pt x="193071" y="185159"/>
                  </a:lnTo>
                  <a:lnTo>
                    <a:pt x="193071" y="195034"/>
                  </a:lnTo>
                  <a:lnTo>
                    <a:pt x="196443" y="196680"/>
                  </a:lnTo>
                  <a:lnTo>
                    <a:pt x="194757" y="206555"/>
                  </a:lnTo>
                  <a:lnTo>
                    <a:pt x="198130" y="206555"/>
                  </a:lnTo>
                  <a:lnTo>
                    <a:pt x="196443" y="213138"/>
                  </a:lnTo>
                  <a:lnTo>
                    <a:pt x="179581" y="209847"/>
                  </a:lnTo>
                  <a:lnTo>
                    <a:pt x="179581" y="211493"/>
                  </a:lnTo>
                  <a:lnTo>
                    <a:pt x="176209" y="209847"/>
                  </a:lnTo>
                  <a:lnTo>
                    <a:pt x="176209" y="213138"/>
                  </a:lnTo>
                  <a:lnTo>
                    <a:pt x="174522" y="213138"/>
                  </a:lnTo>
                  <a:lnTo>
                    <a:pt x="176209" y="214784"/>
                  </a:lnTo>
                  <a:lnTo>
                    <a:pt x="174522" y="214784"/>
                  </a:lnTo>
                  <a:lnTo>
                    <a:pt x="181268" y="214784"/>
                  </a:lnTo>
                  <a:lnTo>
                    <a:pt x="189699" y="223014"/>
                  </a:lnTo>
                  <a:lnTo>
                    <a:pt x="198130" y="224660"/>
                  </a:lnTo>
                  <a:lnTo>
                    <a:pt x="199816" y="231243"/>
                  </a:lnTo>
                  <a:lnTo>
                    <a:pt x="191385" y="257577"/>
                  </a:lnTo>
                  <a:lnTo>
                    <a:pt x="204875" y="259223"/>
                  </a:lnTo>
                  <a:lnTo>
                    <a:pt x="211620" y="302015"/>
                  </a:lnTo>
                  <a:lnTo>
                    <a:pt x="316166" y="267452"/>
                  </a:lnTo>
                  <a:lnTo>
                    <a:pt x="321224" y="285557"/>
                  </a:lnTo>
                  <a:lnTo>
                    <a:pt x="285813" y="326703"/>
                  </a:lnTo>
                  <a:lnTo>
                    <a:pt x="324597" y="351391"/>
                  </a:lnTo>
                  <a:lnTo>
                    <a:pt x="297617" y="389246"/>
                  </a:lnTo>
                  <a:lnTo>
                    <a:pt x="294245" y="389246"/>
                  </a:lnTo>
                  <a:lnTo>
                    <a:pt x="274010" y="374433"/>
                  </a:lnTo>
                  <a:lnTo>
                    <a:pt x="257148" y="395829"/>
                  </a:lnTo>
                  <a:lnTo>
                    <a:pt x="250403" y="399121"/>
                  </a:lnTo>
                  <a:lnTo>
                    <a:pt x="247030" y="395829"/>
                  </a:lnTo>
                  <a:lnTo>
                    <a:pt x="233540" y="405704"/>
                  </a:lnTo>
                  <a:lnTo>
                    <a:pt x="213306" y="387600"/>
                  </a:lnTo>
                  <a:lnTo>
                    <a:pt x="203188" y="399121"/>
                  </a:lnTo>
                  <a:lnTo>
                    <a:pt x="191385" y="420517"/>
                  </a:lnTo>
                  <a:lnTo>
                    <a:pt x="159347" y="389246"/>
                  </a:lnTo>
                  <a:lnTo>
                    <a:pt x="145857" y="357975"/>
                  </a:lnTo>
                  <a:lnTo>
                    <a:pt x="120563" y="374433"/>
                  </a:lnTo>
                  <a:lnTo>
                    <a:pt x="117191" y="381017"/>
                  </a:lnTo>
                  <a:lnTo>
                    <a:pt x="100329" y="387600"/>
                  </a:lnTo>
                  <a:lnTo>
                    <a:pt x="95270" y="405704"/>
                  </a:lnTo>
                  <a:lnTo>
                    <a:pt x="81780" y="379371"/>
                  </a:lnTo>
                  <a:lnTo>
                    <a:pt x="54801" y="392538"/>
                  </a:lnTo>
                  <a:lnTo>
                    <a:pt x="41311" y="366204"/>
                  </a:lnTo>
                  <a:lnTo>
                    <a:pt x="24449" y="344807"/>
                  </a:lnTo>
                  <a:lnTo>
                    <a:pt x="5900" y="353037"/>
                  </a:lnTo>
                  <a:lnTo>
                    <a:pt x="5900" y="313536"/>
                  </a:lnTo>
                  <a:lnTo>
                    <a:pt x="4214" y="310245"/>
                  </a:lnTo>
                  <a:lnTo>
                    <a:pt x="32880" y="297078"/>
                  </a:lnTo>
                  <a:lnTo>
                    <a:pt x="37938" y="283910"/>
                  </a:lnTo>
                  <a:lnTo>
                    <a:pt x="36252" y="282265"/>
                  </a:lnTo>
                  <a:lnTo>
                    <a:pt x="42997" y="275681"/>
                  </a:lnTo>
                  <a:lnTo>
                    <a:pt x="41311" y="274035"/>
                  </a:lnTo>
                  <a:lnTo>
                    <a:pt x="58173" y="252639"/>
                  </a:lnTo>
                  <a:lnTo>
                    <a:pt x="63232" y="252639"/>
                  </a:lnTo>
                  <a:lnTo>
                    <a:pt x="63232" y="232889"/>
                  </a:lnTo>
                  <a:lnTo>
                    <a:pt x="64918" y="234535"/>
                  </a:lnTo>
                  <a:lnTo>
                    <a:pt x="66604" y="221368"/>
                  </a:lnTo>
                  <a:lnTo>
                    <a:pt x="81780" y="223014"/>
                  </a:lnTo>
                  <a:lnTo>
                    <a:pt x="83467" y="219722"/>
                  </a:lnTo>
                  <a:lnTo>
                    <a:pt x="90211" y="218076"/>
                  </a:lnTo>
                  <a:lnTo>
                    <a:pt x="102015" y="168700"/>
                  </a:lnTo>
                  <a:lnTo>
                    <a:pt x="115505" y="163763"/>
                  </a:lnTo>
                  <a:lnTo>
                    <a:pt x="112132" y="153888"/>
                  </a:lnTo>
                  <a:lnTo>
                    <a:pt x="134053" y="145658"/>
                  </a:lnTo>
                  <a:lnTo>
                    <a:pt x="132367" y="140720"/>
                  </a:lnTo>
                  <a:lnTo>
                    <a:pt x="134053" y="140720"/>
                  </a:lnTo>
                  <a:lnTo>
                    <a:pt x="137426" y="144012"/>
                  </a:lnTo>
                  <a:lnTo>
                    <a:pt x="152602" y="142367"/>
                  </a:lnTo>
                  <a:lnTo>
                    <a:pt x="174522" y="18926"/>
                  </a:lnTo>
                  <a:lnTo>
                    <a:pt x="179581" y="22218"/>
                  </a:lnTo>
                  <a:lnTo>
                    <a:pt x="188013" y="5760"/>
                  </a:lnTo>
                  <a:lnTo>
                    <a:pt x="193071" y="10697"/>
                  </a:lnTo>
                  <a:lnTo>
                    <a:pt x="206561" y="20573"/>
                  </a:lnTo>
                  <a:lnTo>
                    <a:pt x="218365" y="7405"/>
                  </a:lnTo>
                  <a:lnTo>
                    <a:pt x="221737" y="10697"/>
                  </a:lnTo>
                  <a:lnTo>
                    <a:pt x="233540" y="4114"/>
                  </a:lnTo>
                  <a:lnTo>
                    <a:pt x="238599" y="905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0" name="Gooise Meren">
              <a:extLst>
                <a:ext uri="{FF2B5EF4-FFF2-40B4-BE49-F238E27FC236}">
                  <a16:creationId xmlns:a16="http://schemas.microsoft.com/office/drawing/2014/main" id="{58432FAE-D6AB-4C4E-99AA-0940E2411F7F}"/>
                </a:ext>
              </a:extLst>
            </p:cNvPr>
            <p:cNvSpPr/>
            <p:nvPr/>
          </p:nvSpPr>
          <p:spPr>
            <a:xfrm>
              <a:off x="5837475" y="3079890"/>
              <a:ext cx="231128" cy="178143"/>
            </a:xfrm>
            <a:custGeom>
              <a:avLst/>
              <a:gdLst/>
              <a:ahLst/>
              <a:cxnLst/>
              <a:rect l="l" t="t" r="r" b="b"/>
              <a:pathLst>
                <a:path w="327828" h="262890" extrusionOk="0">
                  <a:moveTo>
                    <a:pt x="231855" y="122616"/>
                  </a:moveTo>
                  <a:lnTo>
                    <a:pt x="226796" y="125908"/>
                  </a:lnTo>
                  <a:lnTo>
                    <a:pt x="228482" y="127554"/>
                  </a:lnTo>
                  <a:lnTo>
                    <a:pt x="226796" y="125908"/>
                  </a:lnTo>
                  <a:lnTo>
                    <a:pt x="226796" y="124262"/>
                  </a:lnTo>
                  <a:lnTo>
                    <a:pt x="231855" y="122616"/>
                  </a:lnTo>
                  <a:close/>
                  <a:moveTo>
                    <a:pt x="88526" y="73240"/>
                  </a:moveTo>
                  <a:lnTo>
                    <a:pt x="90212" y="89699"/>
                  </a:lnTo>
                  <a:lnTo>
                    <a:pt x="91898" y="81470"/>
                  </a:lnTo>
                  <a:lnTo>
                    <a:pt x="90212" y="78178"/>
                  </a:lnTo>
                  <a:lnTo>
                    <a:pt x="90212" y="60073"/>
                  </a:lnTo>
                  <a:lnTo>
                    <a:pt x="90212" y="71594"/>
                  </a:lnTo>
                  <a:lnTo>
                    <a:pt x="102015" y="66657"/>
                  </a:lnTo>
                  <a:lnTo>
                    <a:pt x="127309" y="68302"/>
                  </a:lnTo>
                  <a:lnTo>
                    <a:pt x="145857" y="86407"/>
                  </a:lnTo>
                  <a:lnTo>
                    <a:pt x="149230" y="84761"/>
                  </a:lnTo>
                  <a:lnTo>
                    <a:pt x="152602" y="89699"/>
                  </a:lnTo>
                  <a:lnTo>
                    <a:pt x="172837" y="91345"/>
                  </a:lnTo>
                  <a:lnTo>
                    <a:pt x="179582" y="101220"/>
                  </a:lnTo>
                  <a:lnTo>
                    <a:pt x="186326" y="96282"/>
                  </a:lnTo>
                  <a:lnTo>
                    <a:pt x="193072" y="101220"/>
                  </a:lnTo>
                  <a:lnTo>
                    <a:pt x="194758" y="99574"/>
                  </a:lnTo>
                  <a:lnTo>
                    <a:pt x="193072" y="101220"/>
                  </a:lnTo>
                  <a:lnTo>
                    <a:pt x="198130" y="109449"/>
                  </a:lnTo>
                  <a:lnTo>
                    <a:pt x="196444" y="111095"/>
                  </a:lnTo>
                  <a:lnTo>
                    <a:pt x="213306" y="132491"/>
                  </a:lnTo>
                  <a:lnTo>
                    <a:pt x="206561" y="132491"/>
                  </a:lnTo>
                  <a:lnTo>
                    <a:pt x="201503" y="135783"/>
                  </a:lnTo>
                  <a:lnTo>
                    <a:pt x="203189" y="137429"/>
                  </a:lnTo>
                  <a:lnTo>
                    <a:pt x="206561" y="140720"/>
                  </a:lnTo>
                  <a:lnTo>
                    <a:pt x="211620" y="137429"/>
                  </a:lnTo>
                  <a:lnTo>
                    <a:pt x="213306" y="140720"/>
                  </a:lnTo>
                  <a:lnTo>
                    <a:pt x="209934" y="144012"/>
                  </a:lnTo>
                  <a:lnTo>
                    <a:pt x="214993" y="144012"/>
                  </a:lnTo>
                  <a:lnTo>
                    <a:pt x="218365" y="142367"/>
                  </a:lnTo>
                  <a:lnTo>
                    <a:pt x="214993" y="142367"/>
                  </a:lnTo>
                  <a:lnTo>
                    <a:pt x="213306" y="140720"/>
                  </a:lnTo>
                  <a:lnTo>
                    <a:pt x="216679" y="139075"/>
                  </a:lnTo>
                  <a:lnTo>
                    <a:pt x="214993" y="135783"/>
                  </a:lnTo>
                  <a:lnTo>
                    <a:pt x="213306" y="139075"/>
                  </a:lnTo>
                  <a:lnTo>
                    <a:pt x="211620" y="135783"/>
                  </a:lnTo>
                  <a:lnTo>
                    <a:pt x="214993" y="134137"/>
                  </a:lnTo>
                  <a:lnTo>
                    <a:pt x="228482" y="147304"/>
                  </a:lnTo>
                  <a:lnTo>
                    <a:pt x="240286" y="152242"/>
                  </a:lnTo>
                  <a:lnTo>
                    <a:pt x="258834" y="150596"/>
                  </a:lnTo>
                  <a:lnTo>
                    <a:pt x="263893" y="145658"/>
                  </a:lnTo>
                  <a:lnTo>
                    <a:pt x="274010" y="144012"/>
                  </a:lnTo>
                  <a:lnTo>
                    <a:pt x="279069" y="140720"/>
                  </a:lnTo>
                  <a:lnTo>
                    <a:pt x="304362" y="140720"/>
                  </a:lnTo>
                  <a:lnTo>
                    <a:pt x="311107" y="137429"/>
                  </a:lnTo>
                  <a:lnTo>
                    <a:pt x="331342" y="135783"/>
                  </a:lnTo>
                  <a:lnTo>
                    <a:pt x="333028" y="148950"/>
                  </a:lnTo>
                  <a:lnTo>
                    <a:pt x="333028" y="158825"/>
                  </a:lnTo>
                  <a:lnTo>
                    <a:pt x="309421" y="167054"/>
                  </a:lnTo>
                  <a:lnTo>
                    <a:pt x="302676" y="158825"/>
                  </a:lnTo>
                  <a:lnTo>
                    <a:pt x="297618" y="163763"/>
                  </a:lnTo>
                  <a:lnTo>
                    <a:pt x="284128" y="162117"/>
                  </a:lnTo>
                  <a:lnTo>
                    <a:pt x="279069" y="170346"/>
                  </a:lnTo>
                  <a:lnTo>
                    <a:pt x="280755" y="175284"/>
                  </a:lnTo>
                  <a:lnTo>
                    <a:pt x="267265" y="180221"/>
                  </a:lnTo>
                  <a:lnTo>
                    <a:pt x="275697" y="186805"/>
                  </a:lnTo>
                  <a:lnTo>
                    <a:pt x="277383" y="191742"/>
                  </a:lnTo>
                  <a:lnTo>
                    <a:pt x="280755" y="190096"/>
                  </a:lnTo>
                  <a:lnTo>
                    <a:pt x="280755" y="199971"/>
                  </a:lnTo>
                  <a:lnTo>
                    <a:pt x="277383" y="198326"/>
                  </a:lnTo>
                  <a:lnTo>
                    <a:pt x="275697" y="201617"/>
                  </a:lnTo>
                  <a:lnTo>
                    <a:pt x="279069" y="203263"/>
                  </a:lnTo>
                  <a:lnTo>
                    <a:pt x="279069" y="208201"/>
                  </a:lnTo>
                  <a:lnTo>
                    <a:pt x="263893" y="216430"/>
                  </a:lnTo>
                  <a:lnTo>
                    <a:pt x="268951" y="223013"/>
                  </a:lnTo>
                  <a:lnTo>
                    <a:pt x="289186" y="239472"/>
                  </a:lnTo>
                  <a:lnTo>
                    <a:pt x="262207" y="249348"/>
                  </a:lnTo>
                  <a:lnTo>
                    <a:pt x="262207" y="247702"/>
                  </a:lnTo>
                  <a:lnTo>
                    <a:pt x="257148" y="249348"/>
                  </a:lnTo>
                  <a:lnTo>
                    <a:pt x="230168" y="269098"/>
                  </a:lnTo>
                  <a:lnTo>
                    <a:pt x="193072" y="259223"/>
                  </a:lnTo>
                  <a:lnTo>
                    <a:pt x="193072" y="250993"/>
                  </a:lnTo>
                  <a:lnTo>
                    <a:pt x="203189" y="231243"/>
                  </a:lnTo>
                  <a:lnTo>
                    <a:pt x="201503" y="224660"/>
                  </a:lnTo>
                  <a:lnTo>
                    <a:pt x="198130" y="223013"/>
                  </a:lnTo>
                  <a:lnTo>
                    <a:pt x="201503" y="218076"/>
                  </a:lnTo>
                  <a:lnTo>
                    <a:pt x="198130" y="216430"/>
                  </a:lnTo>
                  <a:lnTo>
                    <a:pt x="206561" y="203263"/>
                  </a:lnTo>
                  <a:lnTo>
                    <a:pt x="199816" y="198326"/>
                  </a:lnTo>
                  <a:lnTo>
                    <a:pt x="198130" y="204909"/>
                  </a:lnTo>
                  <a:lnTo>
                    <a:pt x="188013" y="216430"/>
                  </a:lnTo>
                  <a:lnTo>
                    <a:pt x="186326" y="213138"/>
                  </a:lnTo>
                  <a:lnTo>
                    <a:pt x="174523" y="213138"/>
                  </a:lnTo>
                  <a:lnTo>
                    <a:pt x="169464" y="206555"/>
                  </a:lnTo>
                  <a:lnTo>
                    <a:pt x="142485" y="198326"/>
                  </a:lnTo>
                  <a:lnTo>
                    <a:pt x="134054" y="181867"/>
                  </a:lnTo>
                  <a:lnTo>
                    <a:pt x="140799" y="175284"/>
                  </a:lnTo>
                  <a:lnTo>
                    <a:pt x="144171" y="175284"/>
                  </a:lnTo>
                  <a:lnTo>
                    <a:pt x="147543" y="168700"/>
                  </a:lnTo>
                  <a:lnTo>
                    <a:pt x="145857" y="167054"/>
                  </a:lnTo>
                  <a:lnTo>
                    <a:pt x="139112" y="167054"/>
                  </a:lnTo>
                  <a:lnTo>
                    <a:pt x="134054" y="165409"/>
                  </a:lnTo>
                  <a:lnTo>
                    <a:pt x="128995" y="153887"/>
                  </a:lnTo>
                  <a:lnTo>
                    <a:pt x="130681" y="144012"/>
                  </a:lnTo>
                  <a:lnTo>
                    <a:pt x="137426" y="137429"/>
                  </a:lnTo>
                  <a:lnTo>
                    <a:pt x="123936" y="130845"/>
                  </a:lnTo>
                  <a:lnTo>
                    <a:pt x="125622" y="127554"/>
                  </a:lnTo>
                  <a:lnTo>
                    <a:pt x="102015" y="117678"/>
                  </a:lnTo>
                  <a:lnTo>
                    <a:pt x="90212" y="109449"/>
                  </a:lnTo>
                  <a:lnTo>
                    <a:pt x="81781" y="109449"/>
                  </a:lnTo>
                  <a:lnTo>
                    <a:pt x="83467" y="116033"/>
                  </a:lnTo>
                  <a:lnTo>
                    <a:pt x="73349" y="122616"/>
                  </a:lnTo>
                  <a:lnTo>
                    <a:pt x="69977" y="114387"/>
                  </a:lnTo>
                  <a:lnTo>
                    <a:pt x="78408" y="109449"/>
                  </a:lnTo>
                  <a:lnTo>
                    <a:pt x="78408" y="104512"/>
                  </a:lnTo>
                  <a:lnTo>
                    <a:pt x="32880" y="88053"/>
                  </a:lnTo>
                  <a:lnTo>
                    <a:pt x="10959" y="88053"/>
                  </a:lnTo>
                  <a:lnTo>
                    <a:pt x="12645" y="106157"/>
                  </a:lnTo>
                  <a:lnTo>
                    <a:pt x="9273" y="106157"/>
                  </a:lnTo>
                  <a:lnTo>
                    <a:pt x="4214" y="88053"/>
                  </a:lnTo>
                  <a:lnTo>
                    <a:pt x="12645" y="79823"/>
                  </a:lnTo>
                  <a:lnTo>
                    <a:pt x="26135" y="69949"/>
                  </a:lnTo>
                  <a:lnTo>
                    <a:pt x="29508" y="73240"/>
                  </a:lnTo>
                  <a:lnTo>
                    <a:pt x="27822" y="74886"/>
                  </a:lnTo>
                  <a:lnTo>
                    <a:pt x="31194" y="79823"/>
                  </a:lnTo>
                  <a:lnTo>
                    <a:pt x="37939" y="81470"/>
                  </a:lnTo>
                  <a:lnTo>
                    <a:pt x="41311" y="78178"/>
                  </a:lnTo>
                  <a:lnTo>
                    <a:pt x="41311" y="71594"/>
                  </a:lnTo>
                  <a:lnTo>
                    <a:pt x="34566" y="69949"/>
                  </a:lnTo>
                  <a:lnTo>
                    <a:pt x="44684" y="71594"/>
                  </a:lnTo>
                  <a:lnTo>
                    <a:pt x="51429" y="76532"/>
                  </a:lnTo>
                  <a:lnTo>
                    <a:pt x="68291" y="69949"/>
                  </a:lnTo>
                  <a:lnTo>
                    <a:pt x="85153" y="73240"/>
                  </a:lnTo>
                  <a:lnTo>
                    <a:pt x="88526" y="71594"/>
                  </a:lnTo>
                  <a:lnTo>
                    <a:pt x="88526" y="60073"/>
                  </a:lnTo>
                  <a:lnTo>
                    <a:pt x="88526" y="73240"/>
                  </a:lnTo>
                  <a:close/>
                  <a:moveTo>
                    <a:pt x="145857" y="51844"/>
                  </a:moveTo>
                  <a:lnTo>
                    <a:pt x="150916" y="56781"/>
                  </a:lnTo>
                  <a:lnTo>
                    <a:pt x="147543" y="58427"/>
                  </a:lnTo>
                  <a:lnTo>
                    <a:pt x="137426" y="48552"/>
                  </a:lnTo>
                  <a:lnTo>
                    <a:pt x="145857" y="51844"/>
                  </a:lnTo>
                  <a:close/>
                  <a:moveTo>
                    <a:pt x="105388" y="55136"/>
                  </a:moveTo>
                  <a:lnTo>
                    <a:pt x="107074" y="51844"/>
                  </a:lnTo>
                  <a:lnTo>
                    <a:pt x="118878" y="48552"/>
                  </a:lnTo>
                  <a:lnTo>
                    <a:pt x="105388" y="55136"/>
                  </a:lnTo>
                  <a:close/>
                  <a:moveTo>
                    <a:pt x="90212" y="7405"/>
                  </a:moveTo>
                  <a:lnTo>
                    <a:pt x="86839" y="5760"/>
                  </a:lnTo>
                  <a:lnTo>
                    <a:pt x="88526" y="4114"/>
                  </a:lnTo>
                  <a:lnTo>
                    <a:pt x="91898" y="4114"/>
                  </a:lnTo>
                  <a:lnTo>
                    <a:pt x="90212" y="740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1" name="Doesburg">
              <a:extLst>
                <a:ext uri="{FF2B5EF4-FFF2-40B4-BE49-F238E27FC236}">
                  <a16:creationId xmlns:a16="http://schemas.microsoft.com/office/drawing/2014/main" id="{598EBC51-181A-47E1-BE54-AFC297CAC967}"/>
                </a:ext>
              </a:extLst>
            </p:cNvPr>
            <p:cNvSpPr/>
            <p:nvPr/>
          </p:nvSpPr>
          <p:spPr>
            <a:xfrm>
              <a:off x="6999549" y="3620647"/>
              <a:ext cx="68144" cy="72231"/>
            </a:xfrm>
            <a:custGeom>
              <a:avLst/>
              <a:gdLst/>
              <a:ahLst/>
              <a:cxnLst/>
              <a:rect l="l" t="t" r="r" b="b"/>
              <a:pathLst>
                <a:path w="105373" h="114300" extrusionOk="0">
                  <a:moveTo>
                    <a:pt x="78408" y="13989"/>
                  </a:moveTo>
                  <a:lnTo>
                    <a:pt x="80094" y="15635"/>
                  </a:lnTo>
                  <a:lnTo>
                    <a:pt x="91898" y="17281"/>
                  </a:lnTo>
                  <a:lnTo>
                    <a:pt x="105388" y="10697"/>
                  </a:lnTo>
                  <a:lnTo>
                    <a:pt x="103701" y="28802"/>
                  </a:lnTo>
                  <a:lnTo>
                    <a:pt x="107074" y="30448"/>
                  </a:lnTo>
                  <a:lnTo>
                    <a:pt x="102015" y="38677"/>
                  </a:lnTo>
                  <a:lnTo>
                    <a:pt x="105388" y="40323"/>
                  </a:lnTo>
                  <a:lnTo>
                    <a:pt x="103701" y="43615"/>
                  </a:lnTo>
                  <a:lnTo>
                    <a:pt x="107074" y="45260"/>
                  </a:lnTo>
                  <a:lnTo>
                    <a:pt x="103701" y="51844"/>
                  </a:lnTo>
                  <a:lnTo>
                    <a:pt x="107074" y="53490"/>
                  </a:lnTo>
                  <a:lnTo>
                    <a:pt x="107074" y="60073"/>
                  </a:lnTo>
                  <a:lnTo>
                    <a:pt x="95270" y="66657"/>
                  </a:lnTo>
                  <a:lnTo>
                    <a:pt x="88525" y="65011"/>
                  </a:lnTo>
                  <a:lnTo>
                    <a:pt x="88525" y="71594"/>
                  </a:lnTo>
                  <a:lnTo>
                    <a:pt x="83467" y="73240"/>
                  </a:lnTo>
                  <a:lnTo>
                    <a:pt x="81780" y="89699"/>
                  </a:lnTo>
                  <a:lnTo>
                    <a:pt x="76722" y="91345"/>
                  </a:lnTo>
                  <a:lnTo>
                    <a:pt x="73349" y="97928"/>
                  </a:lnTo>
                  <a:lnTo>
                    <a:pt x="80094" y="96282"/>
                  </a:lnTo>
                  <a:lnTo>
                    <a:pt x="80094" y="106157"/>
                  </a:lnTo>
                  <a:lnTo>
                    <a:pt x="66605" y="101220"/>
                  </a:lnTo>
                  <a:lnTo>
                    <a:pt x="51428" y="114387"/>
                  </a:lnTo>
                  <a:lnTo>
                    <a:pt x="14332" y="114387"/>
                  </a:lnTo>
                  <a:lnTo>
                    <a:pt x="5900" y="117678"/>
                  </a:lnTo>
                  <a:lnTo>
                    <a:pt x="4214" y="116033"/>
                  </a:lnTo>
                  <a:lnTo>
                    <a:pt x="12645" y="96282"/>
                  </a:lnTo>
                  <a:lnTo>
                    <a:pt x="24449" y="89699"/>
                  </a:lnTo>
                  <a:lnTo>
                    <a:pt x="29507" y="81470"/>
                  </a:lnTo>
                  <a:lnTo>
                    <a:pt x="32880" y="66657"/>
                  </a:lnTo>
                  <a:lnTo>
                    <a:pt x="37939" y="51844"/>
                  </a:lnTo>
                  <a:lnTo>
                    <a:pt x="36253" y="33739"/>
                  </a:lnTo>
                  <a:lnTo>
                    <a:pt x="22763" y="23864"/>
                  </a:lnTo>
                  <a:lnTo>
                    <a:pt x="34566" y="23864"/>
                  </a:lnTo>
                  <a:lnTo>
                    <a:pt x="48056" y="20573"/>
                  </a:lnTo>
                  <a:lnTo>
                    <a:pt x="54801" y="17281"/>
                  </a:lnTo>
                  <a:lnTo>
                    <a:pt x="59859" y="7406"/>
                  </a:lnTo>
                  <a:lnTo>
                    <a:pt x="66605" y="4114"/>
                  </a:lnTo>
                  <a:lnTo>
                    <a:pt x="73349" y="5760"/>
                  </a:lnTo>
                  <a:lnTo>
                    <a:pt x="78408" y="1398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2" name="Waddinxveen">
              <a:extLst>
                <a:ext uri="{FF2B5EF4-FFF2-40B4-BE49-F238E27FC236}">
                  <a16:creationId xmlns:a16="http://schemas.microsoft.com/office/drawing/2014/main" id="{BBB05BB6-E6C8-432E-B74E-7D41F6E10429}"/>
                </a:ext>
              </a:extLst>
            </p:cNvPr>
            <p:cNvSpPr/>
            <p:nvPr/>
          </p:nvSpPr>
          <p:spPr>
            <a:xfrm>
              <a:off x="5399139" y="3549882"/>
              <a:ext cx="133258" cy="113471"/>
            </a:xfrm>
            <a:custGeom>
              <a:avLst/>
              <a:gdLst/>
              <a:ahLst/>
              <a:cxnLst/>
              <a:rect l="l" t="t" r="r" b="b"/>
              <a:pathLst>
                <a:path w="175622" h="160020" extrusionOk="0">
                  <a:moveTo>
                    <a:pt x="75036" y="12343"/>
                  </a:moveTo>
                  <a:lnTo>
                    <a:pt x="76722" y="33739"/>
                  </a:lnTo>
                  <a:lnTo>
                    <a:pt x="110446" y="35385"/>
                  </a:lnTo>
                  <a:lnTo>
                    <a:pt x="115505" y="51844"/>
                  </a:lnTo>
                  <a:lnTo>
                    <a:pt x="120564" y="51844"/>
                  </a:lnTo>
                  <a:lnTo>
                    <a:pt x="123936" y="56781"/>
                  </a:lnTo>
                  <a:lnTo>
                    <a:pt x="123936" y="65011"/>
                  </a:lnTo>
                  <a:lnTo>
                    <a:pt x="140798" y="65011"/>
                  </a:lnTo>
                  <a:lnTo>
                    <a:pt x="135740" y="84761"/>
                  </a:lnTo>
                  <a:lnTo>
                    <a:pt x="150916" y="84761"/>
                  </a:lnTo>
                  <a:lnTo>
                    <a:pt x="179582" y="94636"/>
                  </a:lnTo>
                  <a:lnTo>
                    <a:pt x="149230" y="117678"/>
                  </a:lnTo>
                  <a:lnTo>
                    <a:pt x="120564" y="130845"/>
                  </a:lnTo>
                  <a:lnTo>
                    <a:pt x="123936" y="135783"/>
                  </a:lnTo>
                  <a:lnTo>
                    <a:pt x="137426" y="139075"/>
                  </a:lnTo>
                  <a:lnTo>
                    <a:pt x="142485" y="144012"/>
                  </a:lnTo>
                  <a:lnTo>
                    <a:pt x="132367" y="148950"/>
                  </a:lnTo>
                  <a:lnTo>
                    <a:pt x="118878" y="158825"/>
                  </a:lnTo>
                  <a:lnTo>
                    <a:pt x="115505" y="152242"/>
                  </a:lnTo>
                  <a:lnTo>
                    <a:pt x="120564" y="144012"/>
                  </a:lnTo>
                  <a:lnTo>
                    <a:pt x="120564" y="137429"/>
                  </a:lnTo>
                  <a:lnTo>
                    <a:pt x="115505" y="137429"/>
                  </a:lnTo>
                  <a:lnTo>
                    <a:pt x="113819" y="132491"/>
                  </a:lnTo>
                  <a:lnTo>
                    <a:pt x="102015" y="140720"/>
                  </a:lnTo>
                  <a:lnTo>
                    <a:pt x="91898" y="140720"/>
                  </a:lnTo>
                  <a:lnTo>
                    <a:pt x="91898" y="144012"/>
                  </a:lnTo>
                  <a:lnTo>
                    <a:pt x="73349" y="162117"/>
                  </a:lnTo>
                  <a:lnTo>
                    <a:pt x="54801" y="153888"/>
                  </a:lnTo>
                  <a:lnTo>
                    <a:pt x="4214" y="104512"/>
                  </a:lnTo>
                  <a:lnTo>
                    <a:pt x="29508" y="79823"/>
                  </a:lnTo>
                  <a:lnTo>
                    <a:pt x="27821" y="78178"/>
                  </a:lnTo>
                  <a:lnTo>
                    <a:pt x="34566" y="76532"/>
                  </a:lnTo>
                  <a:lnTo>
                    <a:pt x="34566" y="71595"/>
                  </a:lnTo>
                  <a:lnTo>
                    <a:pt x="26135" y="68303"/>
                  </a:lnTo>
                  <a:lnTo>
                    <a:pt x="31194" y="37031"/>
                  </a:lnTo>
                  <a:lnTo>
                    <a:pt x="29508" y="4114"/>
                  </a:lnTo>
                  <a:lnTo>
                    <a:pt x="58173" y="5760"/>
                  </a:lnTo>
                  <a:lnTo>
                    <a:pt x="58173" y="10697"/>
                  </a:lnTo>
                  <a:lnTo>
                    <a:pt x="75036" y="1234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3" name="Assen">
              <a:extLst>
                <a:ext uri="{FF2B5EF4-FFF2-40B4-BE49-F238E27FC236}">
                  <a16:creationId xmlns:a16="http://schemas.microsoft.com/office/drawing/2014/main" id="{5F1B610B-9079-4673-BD31-616398E25D03}"/>
                </a:ext>
              </a:extLst>
            </p:cNvPr>
            <p:cNvSpPr/>
            <p:nvPr/>
          </p:nvSpPr>
          <p:spPr>
            <a:xfrm>
              <a:off x="7351097" y="1936859"/>
              <a:ext cx="160445" cy="215947"/>
            </a:xfrm>
            <a:custGeom>
              <a:avLst/>
              <a:gdLst/>
              <a:ahLst/>
              <a:cxnLst/>
              <a:rect l="l" t="t" r="r" b="b"/>
              <a:pathLst>
                <a:path w="222455" h="320040" extrusionOk="0">
                  <a:moveTo>
                    <a:pt x="174523" y="4114"/>
                  </a:moveTo>
                  <a:lnTo>
                    <a:pt x="181268" y="17281"/>
                  </a:lnTo>
                  <a:lnTo>
                    <a:pt x="186326" y="35385"/>
                  </a:lnTo>
                  <a:lnTo>
                    <a:pt x="184640" y="61719"/>
                  </a:lnTo>
                  <a:lnTo>
                    <a:pt x="179582" y="73240"/>
                  </a:lnTo>
                  <a:lnTo>
                    <a:pt x="218365" y="89699"/>
                  </a:lnTo>
                  <a:lnTo>
                    <a:pt x="221737" y="89699"/>
                  </a:lnTo>
                  <a:lnTo>
                    <a:pt x="220051" y="94636"/>
                  </a:lnTo>
                  <a:lnTo>
                    <a:pt x="223424" y="99574"/>
                  </a:lnTo>
                  <a:lnTo>
                    <a:pt x="221737" y="107803"/>
                  </a:lnTo>
                  <a:lnTo>
                    <a:pt x="223424" y="111095"/>
                  </a:lnTo>
                  <a:lnTo>
                    <a:pt x="213306" y="116033"/>
                  </a:lnTo>
                  <a:lnTo>
                    <a:pt x="206561" y="122616"/>
                  </a:lnTo>
                  <a:lnTo>
                    <a:pt x="206561" y="130845"/>
                  </a:lnTo>
                  <a:lnTo>
                    <a:pt x="203189" y="130845"/>
                  </a:lnTo>
                  <a:lnTo>
                    <a:pt x="199816" y="132491"/>
                  </a:lnTo>
                  <a:lnTo>
                    <a:pt x="199816" y="137429"/>
                  </a:lnTo>
                  <a:lnTo>
                    <a:pt x="193072" y="140721"/>
                  </a:lnTo>
                  <a:lnTo>
                    <a:pt x="196444" y="144012"/>
                  </a:lnTo>
                  <a:lnTo>
                    <a:pt x="193072" y="147304"/>
                  </a:lnTo>
                  <a:lnTo>
                    <a:pt x="194758" y="150596"/>
                  </a:lnTo>
                  <a:lnTo>
                    <a:pt x="193072" y="153888"/>
                  </a:lnTo>
                  <a:lnTo>
                    <a:pt x="194758" y="155533"/>
                  </a:lnTo>
                  <a:lnTo>
                    <a:pt x="191385" y="155533"/>
                  </a:lnTo>
                  <a:lnTo>
                    <a:pt x="188013" y="165409"/>
                  </a:lnTo>
                  <a:lnTo>
                    <a:pt x="188013" y="183513"/>
                  </a:lnTo>
                  <a:lnTo>
                    <a:pt x="184640" y="193388"/>
                  </a:lnTo>
                  <a:lnTo>
                    <a:pt x="176209" y="198326"/>
                  </a:lnTo>
                  <a:lnTo>
                    <a:pt x="171151" y="203264"/>
                  </a:lnTo>
                  <a:lnTo>
                    <a:pt x="171151" y="219722"/>
                  </a:lnTo>
                  <a:lnTo>
                    <a:pt x="149230" y="232889"/>
                  </a:lnTo>
                  <a:lnTo>
                    <a:pt x="134053" y="254285"/>
                  </a:lnTo>
                  <a:lnTo>
                    <a:pt x="127309" y="274036"/>
                  </a:lnTo>
                  <a:lnTo>
                    <a:pt x="122250" y="275681"/>
                  </a:lnTo>
                  <a:lnTo>
                    <a:pt x="122250" y="282265"/>
                  </a:lnTo>
                  <a:lnTo>
                    <a:pt x="120564" y="282265"/>
                  </a:lnTo>
                  <a:lnTo>
                    <a:pt x="91898" y="262514"/>
                  </a:lnTo>
                  <a:lnTo>
                    <a:pt x="85153" y="290494"/>
                  </a:lnTo>
                  <a:lnTo>
                    <a:pt x="83467" y="316828"/>
                  </a:lnTo>
                  <a:lnTo>
                    <a:pt x="81781" y="318474"/>
                  </a:lnTo>
                  <a:lnTo>
                    <a:pt x="78408" y="313536"/>
                  </a:lnTo>
                  <a:lnTo>
                    <a:pt x="75036" y="315182"/>
                  </a:lnTo>
                  <a:lnTo>
                    <a:pt x="75036" y="310245"/>
                  </a:lnTo>
                  <a:lnTo>
                    <a:pt x="69977" y="310245"/>
                  </a:lnTo>
                  <a:lnTo>
                    <a:pt x="54801" y="300369"/>
                  </a:lnTo>
                  <a:lnTo>
                    <a:pt x="58174" y="292140"/>
                  </a:lnTo>
                  <a:lnTo>
                    <a:pt x="24449" y="272390"/>
                  </a:lnTo>
                  <a:lnTo>
                    <a:pt x="17704" y="280619"/>
                  </a:lnTo>
                  <a:lnTo>
                    <a:pt x="14332" y="278973"/>
                  </a:lnTo>
                  <a:lnTo>
                    <a:pt x="12645" y="280619"/>
                  </a:lnTo>
                  <a:lnTo>
                    <a:pt x="4214" y="275681"/>
                  </a:lnTo>
                  <a:lnTo>
                    <a:pt x="19390" y="255931"/>
                  </a:lnTo>
                  <a:lnTo>
                    <a:pt x="9273" y="249348"/>
                  </a:lnTo>
                  <a:lnTo>
                    <a:pt x="21076" y="231243"/>
                  </a:lnTo>
                  <a:lnTo>
                    <a:pt x="5901" y="221368"/>
                  </a:lnTo>
                  <a:lnTo>
                    <a:pt x="22763" y="196680"/>
                  </a:lnTo>
                  <a:lnTo>
                    <a:pt x="16018" y="193388"/>
                  </a:lnTo>
                  <a:lnTo>
                    <a:pt x="26135" y="178575"/>
                  </a:lnTo>
                  <a:lnTo>
                    <a:pt x="17704" y="173638"/>
                  </a:lnTo>
                  <a:lnTo>
                    <a:pt x="24449" y="170346"/>
                  </a:lnTo>
                  <a:lnTo>
                    <a:pt x="16018" y="171992"/>
                  </a:lnTo>
                  <a:lnTo>
                    <a:pt x="9273" y="142367"/>
                  </a:lnTo>
                  <a:lnTo>
                    <a:pt x="34566" y="130845"/>
                  </a:lnTo>
                  <a:lnTo>
                    <a:pt x="46370" y="129200"/>
                  </a:lnTo>
                  <a:lnTo>
                    <a:pt x="41311" y="114387"/>
                  </a:lnTo>
                  <a:lnTo>
                    <a:pt x="31194" y="116033"/>
                  </a:lnTo>
                  <a:lnTo>
                    <a:pt x="19390" y="81470"/>
                  </a:lnTo>
                  <a:lnTo>
                    <a:pt x="29508" y="78178"/>
                  </a:lnTo>
                  <a:lnTo>
                    <a:pt x="24449" y="63365"/>
                  </a:lnTo>
                  <a:lnTo>
                    <a:pt x="32880" y="43615"/>
                  </a:lnTo>
                  <a:lnTo>
                    <a:pt x="41311" y="48552"/>
                  </a:lnTo>
                  <a:lnTo>
                    <a:pt x="63232" y="43615"/>
                  </a:lnTo>
                  <a:lnTo>
                    <a:pt x="69977" y="51844"/>
                  </a:lnTo>
                  <a:lnTo>
                    <a:pt x="69977" y="58427"/>
                  </a:lnTo>
                  <a:lnTo>
                    <a:pt x="75036" y="63365"/>
                  </a:lnTo>
                  <a:lnTo>
                    <a:pt x="86839" y="65011"/>
                  </a:lnTo>
                  <a:lnTo>
                    <a:pt x="86839" y="68303"/>
                  </a:lnTo>
                  <a:lnTo>
                    <a:pt x="95270" y="69949"/>
                  </a:lnTo>
                  <a:lnTo>
                    <a:pt x="98643" y="60073"/>
                  </a:lnTo>
                  <a:lnTo>
                    <a:pt x="100329" y="61719"/>
                  </a:lnTo>
                  <a:lnTo>
                    <a:pt x="103701" y="50198"/>
                  </a:lnTo>
                  <a:lnTo>
                    <a:pt x="100329" y="40323"/>
                  </a:lnTo>
                  <a:lnTo>
                    <a:pt x="105388" y="27156"/>
                  </a:lnTo>
                  <a:lnTo>
                    <a:pt x="103701" y="20573"/>
                  </a:lnTo>
                  <a:lnTo>
                    <a:pt x="108760" y="18927"/>
                  </a:lnTo>
                  <a:lnTo>
                    <a:pt x="107074" y="12343"/>
                  </a:lnTo>
                  <a:lnTo>
                    <a:pt x="128995" y="9052"/>
                  </a:lnTo>
                  <a:lnTo>
                    <a:pt x="128995" y="20573"/>
                  </a:lnTo>
                  <a:lnTo>
                    <a:pt x="135740" y="22218"/>
                  </a:lnTo>
                  <a:lnTo>
                    <a:pt x="137426" y="10697"/>
                  </a:lnTo>
                  <a:lnTo>
                    <a:pt x="152602" y="9052"/>
                  </a:lnTo>
                  <a:lnTo>
                    <a:pt x="155974" y="13989"/>
                  </a:lnTo>
                  <a:lnTo>
                    <a:pt x="174523" y="5760"/>
                  </a:lnTo>
                  <a:lnTo>
                    <a:pt x="174523"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4" name="Eersel">
              <a:extLst>
                <a:ext uri="{FF2B5EF4-FFF2-40B4-BE49-F238E27FC236}">
                  <a16:creationId xmlns:a16="http://schemas.microsoft.com/office/drawing/2014/main" id="{CA92AEE7-48E4-4FAA-9A97-A1B3A73D6525}"/>
                </a:ext>
              </a:extLst>
            </p:cNvPr>
            <p:cNvSpPr/>
            <p:nvPr/>
          </p:nvSpPr>
          <p:spPr>
            <a:xfrm>
              <a:off x="6068167" y="4561831"/>
              <a:ext cx="167516" cy="252338"/>
            </a:xfrm>
            <a:custGeom>
              <a:avLst/>
              <a:gdLst/>
              <a:ahLst/>
              <a:cxnLst/>
              <a:rect l="l" t="t" r="r" b="b"/>
              <a:pathLst>
                <a:path w="234163" h="365760" extrusionOk="0">
                  <a:moveTo>
                    <a:pt x="152602" y="4114"/>
                  </a:moveTo>
                  <a:lnTo>
                    <a:pt x="188013" y="18927"/>
                  </a:lnTo>
                  <a:lnTo>
                    <a:pt x="191385" y="9052"/>
                  </a:lnTo>
                  <a:lnTo>
                    <a:pt x="208247" y="12343"/>
                  </a:lnTo>
                  <a:lnTo>
                    <a:pt x="204875" y="27156"/>
                  </a:lnTo>
                  <a:lnTo>
                    <a:pt x="199816" y="23865"/>
                  </a:lnTo>
                  <a:lnTo>
                    <a:pt x="188013" y="40323"/>
                  </a:lnTo>
                  <a:lnTo>
                    <a:pt x="194757" y="50198"/>
                  </a:lnTo>
                  <a:lnTo>
                    <a:pt x="196444" y="56782"/>
                  </a:lnTo>
                  <a:lnTo>
                    <a:pt x="194757" y="65011"/>
                  </a:lnTo>
                  <a:lnTo>
                    <a:pt x="189699" y="74886"/>
                  </a:lnTo>
                  <a:lnTo>
                    <a:pt x="186326" y="88053"/>
                  </a:lnTo>
                  <a:lnTo>
                    <a:pt x="172837" y="99574"/>
                  </a:lnTo>
                  <a:lnTo>
                    <a:pt x="171150" y="94637"/>
                  </a:lnTo>
                  <a:lnTo>
                    <a:pt x="166092" y="94637"/>
                  </a:lnTo>
                  <a:lnTo>
                    <a:pt x="167778" y="104512"/>
                  </a:lnTo>
                  <a:lnTo>
                    <a:pt x="162719" y="107804"/>
                  </a:lnTo>
                  <a:lnTo>
                    <a:pt x="130681" y="112741"/>
                  </a:lnTo>
                  <a:lnTo>
                    <a:pt x="132367" y="122616"/>
                  </a:lnTo>
                  <a:lnTo>
                    <a:pt x="125622" y="124262"/>
                  </a:lnTo>
                  <a:lnTo>
                    <a:pt x="127309" y="134137"/>
                  </a:lnTo>
                  <a:lnTo>
                    <a:pt x="137426" y="155534"/>
                  </a:lnTo>
                  <a:lnTo>
                    <a:pt x="184640" y="148950"/>
                  </a:lnTo>
                  <a:lnTo>
                    <a:pt x="209934" y="175284"/>
                  </a:lnTo>
                  <a:lnTo>
                    <a:pt x="214992" y="198326"/>
                  </a:lnTo>
                  <a:lnTo>
                    <a:pt x="238599" y="226306"/>
                  </a:lnTo>
                  <a:lnTo>
                    <a:pt x="221737" y="244410"/>
                  </a:lnTo>
                  <a:lnTo>
                    <a:pt x="209934" y="244410"/>
                  </a:lnTo>
                  <a:lnTo>
                    <a:pt x="176209" y="267452"/>
                  </a:lnTo>
                  <a:lnTo>
                    <a:pt x="166092" y="283911"/>
                  </a:lnTo>
                  <a:lnTo>
                    <a:pt x="172837" y="297078"/>
                  </a:lnTo>
                  <a:lnTo>
                    <a:pt x="166092" y="305307"/>
                  </a:lnTo>
                  <a:lnTo>
                    <a:pt x="174523" y="321766"/>
                  </a:lnTo>
                  <a:lnTo>
                    <a:pt x="140798" y="334933"/>
                  </a:lnTo>
                  <a:lnTo>
                    <a:pt x="137426" y="331641"/>
                  </a:lnTo>
                  <a:lnTo>
                    <a:pt x="134053" y="339870"/>
                  </a:lnTo>
                  <a:lnTo>
                    <a:pt x="135740" y="343162"/>
                  </a:lnTo>
                  <a:lnTo>
                    <a:pt x="127309" y="354683"/>
                  </a:lnTo>
                  <a:lnTo>
                    <a:pt x="115505" y="361266"/>
                  </a:lnTo>
                  <a:lnTo>
                    <a:pt x="113819" y="357975"/>
                  </a:lnTo>
                  <a:lnTo>
                    <a:pt x="88525" y="367850"/>
                  </a:lnTo>
                  <a:lnTo>
                    <a:pt x="44684" y="364558"/>
                  </a:lnTo>
                  <a:lnTo>
                    <a:pt x="78408" y="323412"/>
                  </a:lnTo>
                  <a:lnTo>
                    <a:pt x="63232" y="259223"/>
                  </a:lnTo>
                  <a:lnTo>
                    <a:pt x="69977" y="229597"/>
                  </a:lnTo>
                  <a:lnTo>
                    <a:pt x="78408" y="208201"/>
                  </a:lnTo>
                  <a:lnTo>
                    <a:pt x="86839" y="203264"/>
                  </a:lnTo>
                  <a:lnTo>
                    <a:pt x="83467" y="196680"/>
                  </a:lnTo>
                  <a:lnTo>
                    <a:pt x="117191" y="191742"/>
                  </a:lnTo>
                  <a:lnTo>
                    <a:pt x="117191" y="180221"/>
                  </a:lnTo>
                  <a:lnTo>
                    <a:pt x="122250" y="171992"/>
                  </a:lnTo>
                  <a:lnTo>
                    <a:pt x="112132" y="155534"/>
                  </a:lnTo>
                  <a:lnTo>
                    <a:pt x="105388" y="152242"/>
                  </a:lnTo>
                  <a:lnTo>
                    <a:pt x="95270" y="150596"/>
                  </a:lnTo>
                  <a:lnTo>
                    <a:pt x="85153" y="160471"/>
                  </a:lnTo>
                  <a:lnTo>
                    <a:pt x="73349" y="158825"/>
                  </a:lnTo>
                  <a:lnTo>
                    <a:pt x="68291" y="148950"/>
                  </a:lnTo>
                  <a:lnTo>
                    <a:pt x="59859" y="147304"/>
                  </a:lnTo>
                  <a:lnTo>
                    <a:pt x="21076" y="116033"/>
                  </a:lnTo>
                  <a:lnTo>
                    <a:pt x="16018" y="106158"/>
                  </a:lnTo>
                  <a:lnTo>
                    <a:pt x="12645" y="107804"/>
                  </a:lnTo>
                  <a:lnTo>
                    <a:pt x="4214" y="101220"/>
                  </a:lnTo>
                  <a:lnTo>
                    <a:pt x="4214" y="96282"/>
                  </a:lnTo>
                  <a:lnTo>
                    <a:pt x="7586" y="94637"/>
                  </a:lnTo>
                  <a:lnTo>
                    <a:pt x="7586" y="88053"/>
                  </a:lnTo>
                  <a:lnTo>
                    <a:pt x="27821" y="78178"/>
                  </a:lnTo>
                  <a:lnTo>
                    <a:pt x="21076" y="60074"/>
                  </a:lnTo>
                  <a:lnTo>
                    <a:pt x="46370" y="51844"/>
                  </a:lnTo>
                  <a:lnTo>
                    <a:pt x="68291" y="48552"/>
                  </a:lnTo>
                  <a:lnTo>
                    <a:pt x="78408" y="38677"/>
                  </a:lnTo>
                  <a:lnTo>
                    <a:pt x="91898" y="37031"/>
                  </a:lnTo>
                  <a:lnTo>
                    <a:pt x="96956" y="41969"/>
                  </a:lnTo>
                  <a:lnTo>
                    <a:pt x="105388" y="27156"/>
                  </a:lnTo>
                  <a:lnTo>
                    <a:pt x="123936" y="22219"/>
                  </a:lnTo>
                  <a:lnTo>
                    <a:pt x="132367" y="23865"/>
                  </a:lnTo>
                  <a:lnTo>
                    <a:pt x="140798" y="18927"/>
                  </a:lnTo>
                  <a:lnTo>
                    <a:pt x="140798" y="15635"/>
                  </a:lnTo>
                  <a:lnTo>
                    <a:pt x="147543" y="15635"/>
                  </a:lnTo>
                  <a:lnTo>
                    <a:pt x="149229" y="18927"/>
                  </a:lnTo>
                  <a:lnTo>
                    <a:pt x="154288" y="18927"/>
                  </a:lnTo>
                  <a:lnTo>
                    <a:pt x="150916" y="12343"/>
                  </a:lnTo>
                  <a:lnTo>
                    <a:pt x="154288" y="10698"/>
                  </a:lnTo>
                  <a:lnTo>
                    <a:pt x="152602" y="4114"/>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5" name="Hoeksche Waard">
              <a:extLst>
                <a:ext uri="{FF2B5EF4-FFF2-40B4-BE49-F238E27FC236}">
                  <a16:creationId xmlns:a16="http://schemas.microsoft.com/office/drawing/2014/main" id="{7A967362-92D4-404E-B296-69456DFDFF59}"/>
                </a:ext>
              </a:extLst>
            </p:cNvPr>
            <p:cNvSpPr/>
            <p:nvPr/>
          </p:nvSpPr>
          <p:spPr>
            <a:xfrm>
              <a:off x="5027314" y="3949761"/>
              <a:ext cx="417265" cy="214642"/>
            </a:xfrm>
            <a:custGeom>
              <a:avLst/>
              <a:gdLst>
                <a:gd name="connsiteX0" fmla="*/ 351867 w 422240"/>
                <a:gd name="connsiteY0" fmla="*/ 228589 h 235345"/>
                <a:gd name="connsiteX1" fmla="*/ 359942 w 422240"/>
                <a:gd name="connsiteY1" fmla="*/ 228589 h 235345"/>
                <a:gd name="connsiteX2" fmla="*/ 329947 w 422240"/>
                <a:gd name="connsiteY2" fmla="*/ 235345 h 235345"/>
                <a:gd name="connsiteX3" fmla="*/ 271110 w 422240"/>
                <a:gd name="connsiteY3" fmla="*/ 212824 h 235345"/>
                <a:gd name="connsiteX4" fmla="*/ 274571 w 422240"/>
                <a:gd name="connsiteY4" fmla="*/ 213950 h 235345"/>
                <a:gd name="connsiteX5" fmla="*/ 274955 w 422240"/>
                <a:gd name="connsiteY5" fmla="*/ 214700 h 235345"/>
                <a:gd name="connsiteX6" fmla="*/ 141899 w 422240"/>
                <a:gd name="connsiteY6" fmla="*/ 202126 h 235345"/>
                <a:gd name="connsiteX7" fmla="*/ 143053 w 422240"/>
                <a:gd name="connsiteY7" fmla="*/ 202689 h 235345"/>
                <a:gd name="connsiteX8" fmla="*/ 141899 w 422240"/>
                <a:gd name="connsiteY8" fmla="*/ 206066 h 235345"/>
                <a:gd name="connsiteX9" fmla="*/ 226117 w 422240"/>
                <a:gd name="connsiteY9" fmla="*/ 198185 h 235345"/>
                <a:gd name="connsiteX10" fmla="*/ 228425 w 422240"/>
                <a:gd name="connsiteY10" fmla="*/ 198185 h 235345"/>
                <a:gd name="connsiteX11" fmla="*/ 228425 w 422240"/>
                <a:gd name="connsiteY11" fmla="*/ 200438 h 235345"/>
                <a:gd name="connsiteX12" fmla="*/ 229578 w 422240"/>
                <a:gd name="connsiteY12" fmla="*/ 198185 h 235345"/>
                <a:gd name="connsiteX13" fmla="*/ 233039 w 422240"/>
                <a:gd name="connsiteY13" fmla="*/ 199311 h 235345"/>
                <a:gd name="connsiteX14" fmla="*/ 233039 w 422240"/>
                <a:gd name="connsiteY14" fmla="*/ 201563 h 235345"/>
                <a:gd name="connsiteX15" fmla="*/ 230155 w 422240"/>
                <a:gd name="connsiteY15" fmla="*/ 201001 h 235345"/>
                <a:gd name="connsiteX16" fmla="*/ 227271 w 422240"/>
                <a:gd name="connsiteY16" fmla="*/ 200438 h 235345"/>
                <a:gd name="connsiteX17" fmla="*/ 107289 w 422240"/>
                <a:gd name="connsiteY17" fmla="*/ 197058 h 235345"/>
                <a:gd name="connsiteX18" fmla="*/ 108443 w 422240"/>
                <a:gd name="connsiteY18" fmla="*/ 198747 h 235345"/>
                <a:gd name="connsiteX19" fmla="*/ 109597 w 422240"/>
                <a:gd name="connsiteY19" fmla="*/ 202689 h 235345"/>
                <a:gd name="connsiteX20" fmla="*/ 117672 w 422240"/>
                <a:gd name="connsiteY20" fmla="*/ 189176 h 235345"/>
                <a:gd name="connsiteX21" fmla="*/ 109597 w 422240"/>
                <a:gd name="connsiteY21" fmla="*/ 193680 h 235345"/>
                <a:gd name="connsiteX22" fmla="*/ 114212 w 422240"/>
                <a:gd name="connsiteY22" fmla="*/ 192554 h 235345"/>
                <a:gd name="connsiteX23" fmla="*/ 110751 w 422240"/>
                <a:gd name="connsiteY23" fmla="*/ 193680 h 235345"/>
                <a:gd name="connsiteX24" fmla="*/ 113058 w 422240"/>
                <a:gd name="connsiteY24" fmla="*/ 194806 h 235345"/>
                <a:gd name="connsiteX25" fmla="*/ 109597 w 422240"/>
                <a:gd name="connsiteY25" fmla="*/ 199310 h 235345"/>
                <a:gd name="connsiteX26" fmla="*/ 108444 w 422240"/>
                <a:gd name="connsiteY26" fmla="*/ 198184 h 235345"/>
                <a:gd name="connsiteX27" fmla="*/ 109597 w 422240"/>
                <a:gd name="connsiteY27" fmla="*/ 200436 h 235345"/>
                <a:gd name="connsiteX28" fmla="*/ 108443 w 422240"/>
                <a:gd name="connsiteY28" fmla="*/ 198747 h 235345"/>
                <a:gd name="connsiteX29" fmla="*/ 107289 w 422240"/>
                <a:gd name="connsiteY29" fmla="*/ 194806 h 235345"/>
                <a:gd name="connsiteX30" fmla="*/ 117672 w 422240"/>
                <a:gd name="connsiteY30" fmla="*/ 189176 h 235345"/>
                <a:gd name="connsiteX31" fmla="*/ 141899 w 422240"/>
                <a:gd name="connsiteY31" fmla="*/ 201563 h 235345"/>
                <a:gd name="connsiteX32" fmla="*/ 141899 w 422240"/>
                <a:gd name="connsiteY32" fmla="*/ 202126 h 235345"/>
                <a:gd name="connsiteX33" fmla="*/ 138438 w 422240"/>
                <a:gd name="connsiteY33" fmla="*/ 200436 h 235345"/>
                <a:gd name="connsiteX34" fmla="*/ 131516 w 422240"/>
                <a:gd name="connsiteY34" fmla="*/ 201563 h 235345"/>
                <a:gd name="connsiteX35" fmla="*/ 136131 w 422240"/>
                <a:gd name="connsiteY35" fmla="*/ 199310 h 235345"/>
                <a:gd name="connsiteX36" fmla="*/ 111904 w 422240"/>
                <a:gd name="connsiteY36" fmla="*/ 180168 h 235345"/>
                <a:gd name="connsiteX37" fmla="*/ 114210 w 422240"/>
                <a:gd name="connsiteY37" fmla="*/ 180168 h 235345"/>
                <a:gd name="connsiteX38" fmla="*/ 111904 w 422240"/>
                <a:gd name="connsiteY38" fmla="*/ 181293 h 235345"/>
                <a:gd name="connsiteX39" fmla="*/ 111327 w 422240"/>
                <a:gd name="connsiteY39" fmla="*/ 180731 h 235345"/>
                <a:gd name="connsiteX40" fmla="*/ 114212 w 422240"/>
                <a:gd name="connsiteY40" fmla="*/ 180167 h 235345"/>
                <a:gd name="connsiteX41" fmla="*/ 114212 w 422240"/>
                <a:gd name="connsiteY41" fmla="*/ 180168 h 235345"/>
                <a:gd name="connsiteX42" fmla="*/ 114210 w 422240"/>
                <a:gd name="connsiteY42" fmla="*/ 180168 h 235345"/>
                <a:gd name="connsiteX43" fmla="*/ 289569 w 422240"/>
                <a:gd name="connsiteY43" fmla="*/ 165530 h 235345"/>
                <a:gd name="connsiteX44" fmla="*/ 293030 w 422240"/>
                <a:gd name="connsiteY44" fmla="*/ 181295 h 235345"/>
                <a:gd name="connsiteX45" fmla="*/ 309181 w 422240"/>
                <a:gd name="connsiteY45" fmla="*/ 192555 h 235345"/>
                <a:gd name="connsiteX46" fmla="*/ 302258 w 422240"/>
                <a:gd name="connsiteY46" fmla="*/ 200438 h 235345"/>
                <a:gd name="connsiteX47" fmla="*/ 302258 w 422240"/>
                <a:gd name="connsiteY47" fmla="*/ 202689 h 235345"/>
                <a:gd name="connsiteX48" fmla="*/ 320717 w 422240"/>
                <a:gd name="connsiteY48" fmla="*/ 216202 h 235345"/>
                <a:gd name="connsiteX49" fmla="*/ 320717 w 422240"/>
                <a:gd name="connsiteY49" fmla="*/ 216202 h 235345"/>
                <a:gd name="connsiteX50" fmla="*/ 302259 w 422240"/>
                <a:gd name="connsiteY50" fmla="*/ 202689 h 235345"/>
                <a:gd name="connsiteX51" fmla="*/ 302259 w 422240"/>
                <a:gd name="connsiteY51" fmla="*/ 200437 h 235345"/>
                <a:gd name="connsiteX52" fmla="*/ 309181 w 422240"/>
                <a:gd name="connsiteY52" fmla="*/ 192555 h 235345"/>
                <a:gd name="connsiteX53" fmla="*/ 293030 w 422240"/>
                <a:gd name="connsiteY53" fmla="*/ 181294 h 235345"/>
                <a:gd name="connsiteX54" fmla="*/ 302827 w 422240"/>
                <a:gd name="connsiteY54" fmla="*/ 159328 h 235345"/>
                <a:gd name="connsiteX55" fmla="*/ 303413 w 422240"/>
                <a:gd name="connsiteY55" fmla="*/ 159900 h 235345"/>
                <a:gd name="connsiteX56" fmla="*/ 303990 w 422240"/>
                <a:gd name="connsiteY56" fmla="*/ 159337 h 235345"/>
                <a:gd name="connsiteX57" fmla="*/ 303413 w 422240"/>
                <a:gd name="connsiteY57" fmla="*/ 159899 h 235345"/>
                <a:gd name="connsiteX58" fmla="*/ 299321 w 422240"/>
                <a:gd name="connsiteY58" fmla="*/ 158228 h 235345"/>
                <a:gd name="connsiteX59" fmla="*/ 294183 w 422240"/>
                <a:gd name="connsiteY59" fmla="*/ 159899 h 235345"/>
                <a:gd name="connsiteX60" fmla="*/ 291876 w 422240"/>
                <a:gd name="connsiteY60" fmla="*/ 161026 h 235345"/>
                <a:gd name="connsiteX61" fmla="*/ 290352 w 422240"/>
                <a:gd name="connsiteY61" fmla="*/ 164000 h 235345"/>
                <a:gd name="connsiteX62" fmla="*/ 291876 w 422240"/>
                <a:gd name="connsiteY62" fmla="*/ 161026 h 235345"/>
                <a:gd name="connsiteX63" fmla="*/ 294183 w 422240"/>
                <a:gd name="connsiteY63" fmla="*/ 159900 h 235345"/>
                <a:gd name="connsiteX64" fmla="*/ 34609 w 422240"/>
                <a:gd name="connsiteY64" fmla="*/ 147512 h 235345"/>
                <a:gd name="connsiteX65" fmla="*/ 35520 w 422240"/>
                <a:gd name="connsiteY65" fmla="*/ 147690 h 235345"/>
                <a:gd name="connsiteX66" fmla="*/ 38070 w 422240"/>
                <a:gd name="connsiteY66" fmla="*/ 149764 h 235345"/>
                <a:gd name="connsiteX67" fmla="*/ 381861 w 422240"/>
                <a:gd name="connsiteY67" fmla="*/ 144135 h 235345"/>
                <a:gd name="connsiteX68" fmla="*/ 381411 w 422240"/>
                <a:gd name="connsiteY68" fmla="*/ 145893 h 235345"/>
                <a:gd name="connsiteX69" fmla="*/ 381862 w 422240"/>
                <a:gd name="connsiteY69" fmla="*/ 144135 h 235345"/>
                <a:gd name="connsiteX70" fmla="*/ 290700 w 422240"/>
                <a:gd name="connsiteY70" fmla="*/ 141873 h 235345"/>
                <a:gd name="connsiteX71" fmla="*/ 290722 w 422240"/>
                <a:gd name="connsiteY71" fmla="*/ 141883 h 235345"/>
                <a:gd name="connsiteX72" fmla="*/ 299150 w 422240"/>
                <a:gd name="connsiteY72" fmla="*/ 150109 h 235345"/>
                <a:gd name="connsiteX73" fmla="*/ 290723 w 422240"/>
                <a:gd name="connsiteY73" fmla="*/ 141883 h 235345"/>
                <a:gd name="connsiteX74" fmla="*/ 36917 w 422240"/>
                <a:gd name="connsiteY74" fmla="*/ 135126 h 235345"/>
                <a:gd name="connsiteX75" fmla="*/ 51914 w 422240"/>
                <a:gd name="connsiteY75" fmla="*/ 137378 h 235345"/>
                <a:gd name="connsiteX76" fmla="*/ 49607 w 422240"/>
                <a:gd name="connsiteY76" fmla="*/ 138504 h 235345"/>
                <a:gd name="connsiteX77" fmla="*/ 53068 w 422240"/>
                <a:gd name="connsiteY77" fmla="*/ 137378 h 235345"/>
                <a:gd name="connsiteX78" fmla="*/ 69219 w 422240"/>
                <a:gd name="connsiteY78" fmla="*/ 141882 h 235345"/>
                <a:gd name="connsiteX79" fmla="*/ 68066 w 422240"/>
                <a:gd name="connsiteY79" fmla="*/ 144134 h 235345"/>
                <a:gd name="connsiteX80" fmla="*/ 70373 w 422240"/>
                <a:gd name="connsiteY80" fmla="*/ 141882 h 235345"/>
                <a:gd name="connsiteX81" fmla="*/ 86524 w 422240"/>
                <a:gd name="connsiteY81" fmla="*/ 146387 h 235345"/>
                <a:gd name="connsiteX82" fmla="*/ 98061 w 422240"/>
                <a:gd name="connsiteY82" fmla="*/ 152017 h 235345"/>
                <a:gd name="connsiteX83" fmla="*/ 96907 w 422240"/>
                <a:gd name="connsiteY83" fmla="*/ 154269 h 235345"/>
                <a:gd name="connsiteX84" fmla="*/ 99214 w 422240"/>
                <a:gd name="connsiteY84" fmla="*/ 152017 h 235345"/>
                <a:gd name="connsiteX85" fmla="*/ 113058 w 422240"/>
                <a:gd name="connsiteY85" fmla="*/ 159899 h 235345"/>
                <a:gd name="connsiteX86" fmla="*/ 130363 w 422240"/>
                <a:gd name="connsiteY86" fmla="*/ 164404 h 235345"/>
                <a:gd name="connsiteX87" fmla="*/ 133824 w 422240"/>
                <a:gd name="connsiteY87" fmla="*/ 167781 h 235345"/>
                <a:gd name="connsiteX88" fmla="*/ 133824 w 422240"/>
                <a:gd name="connsiteY88" fmla="*/ 172286 h 235345"/>
                <a:gd name="connsiteX89" fmla="*/ 125748 w 422240"/>
                <a:gd name="connsiteY89" fmla="*/ 174537 h 235345"/>
                <a:gd name="connsiteX90" fmla="*/ 114212 w 422240"/>
                <a:gd name="connsiteY90" fmla="*/ 180167 h 235345"/>
                <a:gd name="connsiteX91" fmla="*/ 114212 w 422240"/>
                <a:gd name="connsiteY91" fmla="*/ 177916 h 235345"/>
                <a:gd name="connsiteX92" fmla="*/ 111904 w 422240"/>
                <a:gd name="connsiteY92" fmla="*/ 180168 h 235345"/>
                <a:gd name="connsiteX93" fmla="*/ 110751 w 422240"/>
                <a:gd name="connsiteY93" fmla="*/ 180168 h 235345"/>
                <a:gd name="connsiteX94" fmla="*/ 111327 w 422240"/>
                <a:gd name="connsiteY94" fmla="*/ 180731 h 235345"/>
                <a:gd name="connsiteX95" fmla="*/ 110751 w 422240"/>
                <a:gd name="connsiteY95" fmla="*/ 181293 h 235345"/>
                <a:gd name="connsiteX96" fmla="*/ 106136 w 422240"/>
                <a:gd name="connsiteY96" fmla="*/ 182420 h 235345"/>
                <a:gd name="connsiteX97" fmla="*/ 92292 w 422240"/>
                <a:gd name="connsiteY97" fmla="*/ 180168 h 235345"/>
                <a:gd name="connsiteX98" fmla="*/ 87678 w 422240"/>
                <a:gd name="connsiteY98" fmla="*/ 176790 h 235345"/>
                <a:gd name="connsiteX99" fmla="*/ 89985 w 422240"/>
                <a:gd name="connsiteY99" fmla="*/ 180168 h 235345"/>
                <a:gd name="connsiteX100" fmla="*/ 85370 w 422240"/>
                <a:gd name="connsiteY100" fmla="*/ 179042 h 235345"/>
                <a:gd name="connsiteX101" fmla="*/ 78448 w 422240"/>
                <a:gd name="connsiteY101" fmla="*/ 175663 h 235345"/>
                <a:gd name="connsiteX102" fmla="*/ 80755 w 422240"/>
                <a:gd name="connsiteY102" fmla="*/ 173411 h 235345"/>
                <a:gd name="connsiteX103" fmla="*/ 77295 w 422240"/>
                <a:gd name="connsiteY103" fmla="*/ 171160 h 235345"/>
                <a:gd name="connsiteX104" fmla="*/ 79602 w 422240"/>
                <a:gd name="connsiteY104" fmla="*/ 173411 h 235345"/>
                <a:gd name="connsiteX105" fmla="*/ 74987 w 422240"/>
                <a:gd name="connsiteY105" fmla="*/ 175663 h 235345"/>
                <a:gd name="connsiteX106" fmla="*/ 63451 w 422240"/>
                <a:gd name="connsiteY106" fmla="*/ 167781 h 235345"/>
                <a:gd name="connsiteX107" fmla="*/ 68066 w 422240"/>
                <a:gd name="connsiteY107" fmla="*/ 162151 h 235345"/>
                <a:gd name="connsiteX108" fmla="*/ 63451 w 422240"/>
                <a:gd name="connsiteY108" fmla="*/ 166655 h 235345"/>
                <a:gd name="connsiteX109" fmla="*/ 49607 w 422240"/>
                <a:gd name="connsiteY109" fmla="*/ 156521 h 235345"/>
                <a:gd name="connsiteX110" fmla="*/ 53068 w 422240"/>
                <a:gd name="connsiteY110" fmla="*/ 152017 h 235345"/>
                <a:gd name="connsiteX111" fmla="*/ 49607 w 422240"/>
                <a:gd name="connsiteY111" fmla="*/ 155394 h 235345"/>
                <a:gd name="connsiteX112" fmla="*/ 46146 w 422240"/>
                <a:gd name="connsiteY112" fmla="*/ 153143 h 235345"/>
                <a:gd name="connsiteX113" fmla="*/ 40377 w 422240"/>
                <a:gd name="connsiteY113" fmla="*/ 149764 h 235345"/>
                <a:gd name="connsiteX114" fmla="*/ 43839 w 422240"/>
                <a:gd name="connsiteY114" fmla="*/ 146387 h 235345"/>
                <a:gd name="connsiteX115" fmla="*/ 40377 w 422240"/>
                <a:gd name="connsiteY115" fmla="*/ 148638 h 235345"/>
                <a:gd name="connsiteX116" fmla="*/ 35520 w 422240"/>
                <a:gd name="connsiteY116" fmla="*/ 147690 h 235345"/>
                <a:gd name="connsiteX117" fmla="*/ 31149 w 422240"/>
                <a:gd name="connsiteY117" fmla="*/ 144134 h 235345"/>
                <a:gd name="connsiteX118" fmla="*/ 31149 w 422240"/>
                <a:gd name="connsiteY118" fmla="*/ 139630 h 235345"/>
                <a:gd name="connsiteX119" fmla="*/ 270690 w 422240"/>
                <a:gd name="connsiteY119" fmla="*/ 131440 h 235345"/>
                <a:gd name="connsiteX120" fmla="*/ 271110 w 422240"/>
                <a:gd name="connsiteY120" fmla="*/ 132874 h 235345"/>
                <a:gd name="connsiteX121" fmla="*/ 271753 w 422240"/>
                <a:gd name="connsiteY121" fmla="*/ 133170 h 235345"/>
                <a:gd name="connsiteX122" fmla="*/ 31149 w 422240"/>
                <a:gd name="connsiteY122" fmla="*/ 118235 h 235345"/>
                <a:gd name="connsiteX123" fmla="*/ 32302 w 422240"/>
                <a:gd name="connsiteY123" fmla="*/ 120488 h 235345"/>
                <a:gd name="connsiteX124" fmla="*/ 31149 w 422240"/>
                <a:gd name="connsiteY124" fmla="*/ 120488 h 235345"/>
                <a:gd name="connsiteX125" fmla="*/ 267649 w 422240"/>
                <a:gd name="connsiteY125" fmla="*/ 109228 h 235345"/>
                <a:gd name="connsiteX126" fmla="*/ 267649 w 422240"/>
                <a:gd name="connsiteY126" fmla="*/ 109228 h 235345"/>
                <a:gd name="connsiteX127" fmla="*/ 271110 w 422240"/>
                <a:gd name="connsiteY127" fmla="*/ 110354 h 235345"/>
                <a:gd name="connsiteX128" fmla="*/ 268803 w 422240"/>
                <a:gd name="connsiteY128" fmla="*/ 124993 h 235345"/>
                <a:gd name="connsiteX129" fmla="*/ 269104 w 422240"/>
                <a:gd name="connsiteY129" fmla="*/ 126021 h 235345"/>
                <a:gd name="connsiteX130" fmla="*/ 271111 w 422240"/>
                <a:gd name="connsiteY130" fmla="*/ 110354 h 235345"/>
                <a:gd name="connsiteX131" fmla="*/ 304561 w 422240"/>
                <a:gd name="connsiteY131" fmla="*/ 88948 h 235345"/>
                <a:gd name="connsiteX132" fmla="*/ 304566 w 422240"/>
                <a:gd name="connsiteY132" fmla="*/ 88959 h 235345"/>
                <a:gd name="connsiteX133" fmla="*/ 308027 w 422240"/>
                <a:gd name="connsiteY133" fmla="*/ 90085 h 235345"/>
                <a:gd name="connsiteX134" fmla="*/ 312642 w 422240"/>
                <a:gd name="connsiteY134" fmla="*/ 94589 h 235345"/>
                <a:gd name="connsiteX135" fmla="*/ 324178 w 422240"/>
                <a:gd name="connsiteY135" fmla="*/ 95716 h 235345"/>
                <a:gd name="connsiteX136" fmla="*/ 333408 w 422240"/>
                <a:gd name="connsiteY136" fmla="*/ 105849 h 235345"/>
                <a:gd name="connsiteX137" fmla="*/ 358788 w 422240"/>
                <a:gd name="connsiteY137" fmla="*/ 109228 h 235345"/>
                <a:gd name="connsiteX138" fmla="*/ 359942 w 422240"/>
                <a:gd name="connsiteY138" fmla="*/ 123866 h 235345"/>
                <a:gd name="connsiteX139" fmla="*/ 402627 w 422240"/>
                <a:gd name="connsiteY139" fmla="*/ 128371 h 235345"/>
                <a:gd name="connsiteX140" fmla="*/ 402627 w 422240"/>
                <a:gd name="connsiteY140" fmla="*/ 128370 h 235345"/>
                <a:gd name="connsiteX141" fmla="*/ 359942 w 422240"/>
                <a:gd name="connsiteY141" fmla="*/ 123865 h 235345"/>
                <a:gd name="connsiteX142" fmla="*/ 358788 w 422240"/>
                <a:gd name="connsiteY142" fmla="*/ 109227 h 235345"/>
                <a:gd name="connsiteX143" fmla="*/ 333408 w 422240"/>
                <a:gd name="connsiteY143" fmla="*/ 105849 h 235345"/>
                <a:gd name="connsiteX144" fmla="*/ 324178 w 422240"/>
                <a:gd name="connsiteY144" fmla="*/ 95714 h 235345"/>
                <a:gd name="connsiteX145" fmla="*/ 312642 w 422240"/>
                <a:gd name="connsiteY145" fmla="*/ 94588 h 235345"/>
                <a:gd name="connsiteX146" fmla="*/ 308027 w 422240"/>
                <a:gd name="connsiteY146" fmla="*/ 90084 h 235345"/>
                <a:gd name="connsiteX147" fmla="*/ 304567 w 422240"/>
                <a:gd name="connsiteY147" fmla="*/ 88958 h 235345"/>
                <a:gd name="connsiteX148" fmla="*/ 175354 w 422240"/>
                <a:gd name="connsiteY148" fmla="*/ 86703 h 235345"/>
                <a:gd name="connsiteX149" fmla="*/ 175356 w 422240"/>
                <a:gd name="connsiteY149" fmla="*/ 86706 h 235345"/>
                <a:gd name="connsiteX150" fmla="*/ 186893 w 422240"/>
                <a:gd name="connsiteY150" fmla="*/ 91210 h 235345"/>
                <a:gd name="connsiteX151" fmla="*/ 190354 w 422240"/>
                <a:gd name="connsiteY151" fmla="*/ 95715 h 235345"/>
                <a:gd name="connsiteX152" fmla="*/ 190354 w 422240"/>
                <a:gd name="connsiteY152" fmla="*/ 95715 h 235345"/>
                <a:gd name="connsiteX153" fmla="*/ 186893 w 422240"/>
                <a:gd name="connsiteY153" fmla="*/ 91210 h 235345"/>
                <a:gd name="connsiteX154" fmla="*/ 175357 w 422240"/>
                <a:gd name="connsiteY154" fmla="*/ 86706 h 235345"/>
                <a:gd name="connsiteX155" fmla="*/ 206044 w 422240"/>
                <a:gd name="connsiteY155" fmla="*/ 84906 h 235345"/>
                <a:gd name="connsiteX156" fmla="*/ 205736 w 422240"/>
                <a:gd name="connsiteY156" fmla="*/ 85206 h 235345"/>
                <a:gd name="connsiteX157" fmla="*/ 206504 w 422240"/>
                <a:gd name="connsiteY157" fmla="*/ 86703 h 235345"/>
                <a:gd name="connsiteX158" fmla="*/ 249191 w 422240"/>
                <a:gd name="connsiteY158" fmla="*/ 81076 h 235345"/>
                <a:gd name="connsiteX159" fmla="*/ 219195 w 422240"/>
                <a:gd name="connsiteY159" fmla="*/ 92336 h 235345"/>
                <a:gd name="connsiteX160" fmla="*/ 206506 w 422240"/>
                <a:gd name="connsiteY160" fmla="*/ 86707 h 235345"/>
                <a:gd name="connsiteX161" fmla="*/ 219195 w 422240"/>
                <a:gd name="connsiteY161" fmla="*/ 92338 h 235345"/>
                <a:gd name="connsiteX162" fmla="*/ 249191 w 422240"/>
                <a:gd name="connsiteY162" fmla="*/ 81077 h 235345"/>
                <a:gd name="connsiteX163" fmla="*/ 250344 w 422240"/>
                <a:gd name="connsiteY163" fmla="*/ 86707 h 235345"/>
                <a:gd name="connsiteX164" fmla="*/ 252652 w 422240"/>
                <a:gd name="connsiteY164" fmla="*/ 92338 h 235345"/>
                <a:gd name="connsiteX165" fmla="*/ 258420 w 422240"/>
                <a:gd name="connsiteY165" fmla="*/ 100220 h 235345"/>
                <a:gd name="connsiteX166" fmla="*/ 267649 w 422240"/>
                <a:gd name="connsiteY166" fmla="*/ 100220 h 235345"/>
                <a:gd name="connsiteX167" fmla="*/ 267649 w 422240"/>
                <a:gd name="connsiteY167" fmla="*/ 100219 h 235345"/>
                <a:gd name="connsiteX168" fmla="*/ 271111 w 422240"/>
                <a:gd name="connsiteY168" fmla="*/ 99093 h 235345"/>
                <a:gd name="connsiteX169" fmla="*/ 271111 w 422240"/>
                <a:gd name="connsiteY169" fmla="*/ 92337 h 235345"/>
                <a:gd name="connsiteX170" fmla="*/ 280340 w 422240"/>
                <a:gd name="connsiteY170" fmla="*/ 93463 h 235345"/>
                <a:gd name="connsiteX171" fmla="*/ 287262 w 422240"/>
                <a:gd name="connsiteY171" fmla="*/ 88959 h 235345"/>
                <a:gd name="connsiteX172" fmla="*/ 288415 w 422240"/>
                <a:gd name="connsiteY172" fmla="*/ 84455 h 235345"/>
                <a:gd name="connsiteX173" fmla="*/ 301798 w 422240"/>
                <a:gd name="connsiteY173" fmla="*/ 84455 h 235345"/>
                <a:gd name="connsiteX174" fmla="*/ 301105 w 422240"/>
                <a:gd name="connsiteY174" fmla="*/ 83328 h 235345"/>
                <a:gd name="connsiteX175" fmla="*/ 288415 w 422240"/>
                <a:gd name="connsiteY175" fmla="*/ 84454 h 235345"/>
                <a:gd name="connsiteX176" fmla="*/ 287261 w 422240"/>
                <a:gd name="connsiteY176" fmla="*/ 88958 h 235345"/>
                <a:gd name="connsiteX177" fmla="*/ 280339 w 422240"/>
                <a:gd name="connsiteY177" fmla="*/ 93462 h 235345"/>
                <a:gd name="connsiteX178" fmla="*/ 271110 w 422240"/>
                <a:gd name="connsiteY178" fmla="*/ 92336 h 235345"/>
                <a:gd name="connsiteX179" fmla="*/ 271110 w 422240"/>
                <a:gd name="connsiteY179" fmla="*/ 99093 h 235345"/>
                <a:gd name="connsiteX180" fmla="*/ 258420 w 422240"/>
                <a:gd name="connsiteY180" fmla="*/ 100218 h 235345"/>
                <a:gd name="connsiteX181" fmla="*/ 250344 w 422240"/>
                <a:gd name="connsiteY181" fmla="*/ 86706 h 235345"/>
                <a:gd name="connsiteX182" fmla="*/ 163820 w 422240"/>
                <a:gd name="connsiteY182" fmla="*/ 79950 h 235345"/>
                <a:gd name="connsiteX183" fmla="*/ 163820 w 422240"/>
                <a:gd name="connsiteY183" fmla="*/ 79950 h 235345"/>
                <a:gd name="connsiteX184" fmla="*/ 173049 w 422240"/>
                <a:gd name="connsiteY184" fmla="*/ 81076 h 235345"/>
                <a:gd name="connsiteX185" fmla="*/ 173049 w 422240"/>
                <a:gd name="connsiteY185" fmla="*/ 81077 h 235345"/>
                <a:gd name="connsiteX186" fmla="*/ 173049 w 422240"/>
                <a:gd name="connsiteY186" fmla="*/ 81076 h 235345"/>
                <a:gd name="connsiteX187" fmla="*/ 209675 w 422240"/>
                <a:gd name="connsiteY187" fmla="*/ 71228 h 235345"/>
                <a:gd name="connsiteX188" fmla="*/ 205352 w 422240"/>
                <a:gd name="connsiteY188" fmla="*/ 78823 h 235345"/>
                <a:gd name="connsiteX189" fmla="*/ 205807 w 422240"/>
                <a:gd name="connsiteY189" fmla="*/ 81044 h 235345"/>
                <a:gd name="connsiteX190" fmla="*/ 212274 w 422240"/>
                <a:gd name="connsiteY190" fmla="*/ 43919 h 235345"/>
                <a:gd name="connsiteX191" fmla="*/ 211535 w 422240"/>
                <a:gd name="connsiteY191" fmla="*/ 59793 h 235345"/>
                <a:gd name="connsiteX192" fmla="*/ 213427 w 422240"/>
                <a:gd name="connsiteY192" fmla="*/ 55176 h 235345"/>
                <a:gd name="connsiteX193" fmla="*/ 235347 w 422240"/>
                <a:gd name="connsiteY193" fmla="*/ 41664 h 235345"/>
                <a:gd name="connsiteX194" fmla="*/ 230105 w 422240"/>
                <a:gd name="connsiteY194" fmla="*/ 42687 h 235345"/>
                <a:gd name="connsiteX195" fmla="*/ 235347 w 422240"/>
                <a:gd name="connsiteY195" fmla="*/ 41664 h 235345"/>
                <a:gd name="connsiteX196" fmla="*/ 169478 w 422240"/>
                <a:gd name="connsiteY196" fmla="*/ 40003 h 235345"/>
                <a:gd name="connsiteX197" fmla="*/ 168434 w 422240"/>
                <a:gd name="connsiteY197" fmla="*/ 56302 h 235345"/>
                <a:gd name="connsiteX198" fmla="*/ 162666 w 422240"/>
                <a:gd name="connsiteY198" fmla="*/ 57428 h 235345"/>
                <a:gd name="connsiteX199" fmla="*/ 158050 w 422240"/>
                <a:gd name="connsiteY199" fmla="*/ 81076 h 235345"/>
                <a:gd name="connsiteX200" fmla="*/ 162693 w 422240"/>
                <a:gd name="connsiteY200" fmla="*/ 80170 h 235345"/>
                <a:gd name="connsiteX201" fmla="*/ 158051 w 422240"/>
                <a:gd name="connsiteY201" fmla="*/ 81076 h 235345"/>
                <a:gd name="connsiteX202" fmla="*/ 162666 w 422240"/>
                <a:gd name="connsiteY202" fmla="*/ 57428 h 235345"/>
                <a:gd name="connsiteX203" fmla="*/ 168434 w 422240"/>
                <a:gd name="connsiteY203" fmla="*/ 57428 h 235345"/>
                <a:gd name="connsiteX204" fmla="*/ 169588 w 422240"/>
                <a:gd name="connsiteY204" fmla="*/ 40538 h 235345"/>
                <a:gd name="connsiteX205" fmla="*/ 162666 w 422240"/>
                <a:gd name="connsiteY205" fmla="*/ 23648 h 235345"/>
                <a:gd name="connsiteX206" fmla="*/ 162666 w 422240"/>
                <a:gd name="connsiteY206" fmla="*/ 29278 h 235345"/>
                <a:gd name="connsiteX207" fmla="*/ 168434 w 422240"/>
                <a:gd name="connsiteY207" fmla="*/ 34908 h 235345"/>
                <a:gd name="connsiteX208" fmla="*/ 168435 w 422240"/>
                <a:gd name="connsiteY208" fmla="*/ 34911 h 235345"/>
                <a:gd name="connsiteX209" fmla="*/ 168434 w 422240"/>
                <a:gd name="connsiteY209" fmla="*/ 34908 h 235345"/>
                <a:gd name="connsiteX210" fmla="*/ 162666 w 422240"/>
                <a:gd name="connsiteY210" fmla="*/ 29277 h 235345"/>
                <a:gd name="connsiteX211" fmla="*/ 162666 w 422240"/>
                <a:gd name="connsiteY211" fmla="*/ 23648 h 235345"/>
                <a:gd name="connsiteX212" fmla="*/ 215735 w 422240"/>
                <a:gd name="connsiteY212" fmla="*/ 0 h 235345"/>
                <a:gd name="connsiteX213" fmla="*/ 234194 w 422240"/>
                <a:gd name="connsiteY213" fmla="*/ 7883 h 235345"/>
                <a:gd name="connsiteX214" fmla="*/ 249191 w 422240"/>
                <a:gd name="connsiteY214" fmla="*/ 9008 h 235345"/>
                <a:gd name="connsiteX215" fmla="*/ 276878 w 422240"/>
                <a:gd name="connsiteY215" fmla="*/ 3378 h 235345"/>
                <a:gd name="connsiteX216" fmla="*/ 291876 w 422240"/>
                <a:gd name="connsiteY216" fmla="*/ 5631 h 235345"/>
                <a:gd name="connsiteX217" fmla="*/ 312642 w 422240"/>
                <a:gd name="connsiteY217" fmla="*/ 13513 h 235345"/>
                <a:gd name="connsiteX218" fmla="*/ 336869 w 422240"/>
                <a:gd name="connsiteY218" fmla="*/ 10135 h 235345"/>
                <a:gd name="connsiteX219" fmla="*/ 344944 w 422240"/>
                <a:gd name="connsiteY219" fmla="*/ 15765 h 235345"/>
                <a:gd name="connsiteX220" fmla="*/ 351866 w 422240"/>
                <a:gd name="connsiteY220" fmla="*/ 36034 h 235345"/>
                <a:gd name="connsiteX221" fmla="*/ 359942 w 422240"/>
                <a:gd name="connsiteY221" fmla="*/ 45042 h 235345"/>
                <a:gd name="connsiteX222" fmla="*/ 369171 w 422240"/>
                <a:gd name="connsiteY222" fmla="*/ 49547 h 235345"/>
                <a:gd name="connsiteX223" fmla="*/ 389937 w 422240"/>
                <a:gd name="connsiteY223" fmla="*/ 52924 h 235345"/>
                <a:gd name="connsiteX224" fmla="*/ 413010 w 422240"/>
                <a:gd name="connsiteY224" fmla="*/ 61933 h 235345"/>
                <a:gd name="connsiteX225" fmla="*/ 418778 w 422240"/>
                <a:gd name="connsiteY225" fmla="*/ 93462 h 235345"/>
                <a:gd name="connsiteX226" fmla="*/ 417625 w 422240"/>
                <a:gd name="connsiteY226" fmla="*/ 123865 h 235345"/>
                <a:gd name="connsiteX227" fmla="*/ 422240 w 422240"/>
                <a:gd name="connsiteY227" fmla="*/ 150890 h 235345"/>
                <a:gd name="connsiteX228" fmla="*/ 416471 w 422240"/>
                <a:gd name="connsiteY228" fmla="*/ 182420 h 235345"/>
                <a:gd name="connsiteX229" fmla="*/ 400320 w 422240"/>
                <a:gd name="connsiteY229" fmla="*/ 167781 h 235345"/>
                <a:gd name="connsiteX230" fmla="*/ 395705 w 422240"/>
                <a:gd name="connsiteY230" fmla="*/ 161025 h 235345"/>
                <a:gd name="connsiteX231" fmla="*/ 392244 w 422240"/>
                <a:gd name="connsiteY231" fmla="*/ 161025 h 235345"/>
                <a:gd name="connsiteX232" fmla="*/ 380708 w 422240"/>
                <a:gd name="connsiteY232" fmla="*/ 148638 h 235345"/>
                <a:gd name="connsiteX233" fmla="*/ 380708 w 422240"/>
                <a:gd name="connsiteY233" fmla="*/ 148639 h 235345"/>
                <a:gd name="connsiteX234" fmla="*/ 392244 w 422240"/>
                <a:gd name="connsiteY234" fmla="*/ 161026 h 235345"/>
                <a:gd name="connsiteX235" fmla="*/ 395705 w 422240"/>
                <a:gd name="connsiteY235" fmla="*/ 161026 h 235345"/>
                <a:gd name="connsiteX236" fmla="*/ 400320 w 422240"/>
                <a:gd name="connsiteY236" fmla="*/ 167782 h 235345"/>
                <a:gd name="connsiteX237" fmla="*/ 416471 w 422240"/>
                <a:gd name="connsiteY237" fmla="*/ 182420 h 235345"/>
                <a:gd name="connsiteX238" fmla="*/ 414164 w 422240"/>
                <a:gd name="connsiteY238" fmla="*/ 193681 h 235345"/>
                <a:gd name="connsiteX239" fmla="*/ 408396 w 422240"/>
                <a:gd name="connsiteY239" fmla="*/ 190303 h 235345"/>
                <a:gd name="connsiteX240" fmla="*/ 395705 w 422240"/>
                <a:gd name="connsiteY240" fmla="*/ 200437 h 235345"/>
                <a:gd name="connsiteX241" fmla="*/ 384169 w 422240"/>
                <a:gd name="connsiteY241" fmla="*/ 203816 h 235345"/>
                <a:gd name="connsiteX242" fmla="*/ 376093 w 422240"/>
                <a:gd name="connsiteY242" fmla="*/ 207193 h 235345"/>
                <a:gd name="connsiteX243" fmla="*/ 378401 w 422240"/>
                <a:gd name="connsiteY243" fmla="*/ 210572 h 235345"/>
                <a:gd name="connsiteX244" fmla="*/ 376093 w 422240"/>
                <a:gd name="connsiteY244" fmla="*/ 208319 h 235345"/>
                <a:gd name="connsiteX245" fmla="*/ 372632 w 422240"/>
                <a:gd name="connsiteY245" fmla="*/ 209446 h 235345"/>
                <a:gd name="connsiteX246" fmla="*/ 368018 w 422240"/>
                <a:gd name="connsiteY246" fmla="*/ 208319 h 235345"/>
                <a:gd name="connsiteX247" fmla="*/ 358788 w 422240"/>
                <a:gd name="connsiteY247" fmla="*/ 211698 h 235345"/>
                <a:gd name="connsiteX248" fmla="*/ 356481 w 422240"/>
                <a:gd name="connsiteY248" fmla="*/ 215076 h 235345"/>
                <a:gd name="connsiteX249" fmla="*/ 344944 w 422240"/>
                <a:gd name="connsiteY249" fmla="*/ 220706 h 235345"/>
                <a:gd name="connsiteX250" fmla="*/ 320717 w 422240"/>
                <a:gd name="connsiteY250" fmla="*/ 224084 h 235345"/>
                <a:gd name="connsiteX251" fmla="*/ 316103 w 422240"/>
                <a:gd name="connsiteY251" fmla="*/ 226336 h 235345"/>
                <a:gd name="connsiteX252" fmla="*/ 313796 w 422240"/>
                <a:gd name="connsiteY252" fmla="*/ 226336 h 235345"/>
                <a:gd name="connsiteX253" fmla="*/ 313796 w 422240"/>
                <a:gd name="connsiteY253" fmla="*/ 225211 h 235345"/>
                <a:gd name="connsiteX254" fmla="*/ 309181 w 422240"/>
                <a:gd name="connsiteY254" fmla="*/ 225211 h 235345"/>
                <a:gd name="connsiteX255" fmla="*/ 296490 w 422240"/>
                <a:gd name="connsiteY255" fmla="*/ 220706 h 235345"/>
                <a:gd name="connsiteX256" fmla="*/ 293030 w 422240"/>
                <a:gd name="connsiteY256" fmla="*/ 216202 h 235345"/>
                <a:gd name="connsiteX257" fmla="*/ 279186 w 422240"/>
                <a:gd name="connsiteY257" fmla="*/ 213950 h 235345"/>
                <a:gd name="connsiteX258" fmla="*/ 278032 w 422240"/>
                <a:gd name="connsiteY258" fmla="*/ 210571 h 235345"/>
                <a:gd name="connsiteX259" fmla="*/ 275724 w 422240"/>
                <a:gd name="connsiteY259" fmla="*/ 216202 h 235345"/>
                <a:gd name="connsiteX260" fmla="*/ 274955 w 422240"/>
                <a:gd name="connsiteY260" fmla="*/ 214700 h 235345"/>
                <a:gd name="connsiteX261" fmla="*/ 275724 w 422240"/>
                <a:gd name="connsiteY261" fmla="*/ 215076 h 235345"/>
                <a:gd name="connsiteX262" fmla="*/ 276878 w 422240"/>
                <a:gd name="connsiteY262" fmla="*/ 212824 h 235345"/>
                <a:gd name="connsiteX263" fmla="*/ 273417 w 422240"/>
                <a:gd name="connsiteY263" fmla="*/ 209445 h 235345"/>
                <a:gd name="connsiteX264" fmla="*/ 257266 w 422240"/>
                <a:gd name="connsiteY264" fmla="*/ 206068 h 235345"/>
                <a:gd name="connsiteX265" fmla="*/ 257266 w 422240"/>
                <a:gd name="connsiteY265" fmla="*/ 204941 h 235345"/>
                <a:gd name="connsiteX266" fmla="*/ 249191 w 422240"/>
                <a:gd name="connsiteY266" fmla="*/ 201563 h 235345"/>
                <a:gd name="connsiteX267" fmla="*/ 249191 w 422240"/>
                <a:gd name="connsiteY267" fmla="*/ 200438 h 235345"/>
                <a:gd name="connsiteX268" fmla="*/ 248037 w 422240"/>
                <a:gd name="connsiteY268" fmla="*/ 202689 h 235345"/>
                <a:gd name="connsiteX269" fmla="*/ 242269 w 422240"/>
                <a:gd name="connsiteY269" fmla="*/ 201563 h 235345"/>
                <a:gd name="connsiteX270" fmla="*/ 241115 w 422240"/>
                <a:gd name="connsiteY270" fmla="*/ 197059 h 235345"/>
                <a:gd name="connsiteX271" fmla="*/ 242269 w 422240"/>
                <a:gd name="connsiteY271" fmla="*/ 202689 h 235345"/>
                <a:gd name="connsiteX272" fmla="*/ 239961 w 422240"/>
                <a:gd name="connsiteY272" fmla="*/ 200438 h 235345"/>
                <a:gd name="connsiteX273" fmla="*/ 234193 w 422240"/>
                <a:gd name="connsiteY273" fmla="*/ 201563 h 235345"/>
                <a:gd name="connsiteX274" fmla="*/ 233039 w 422240"/>
                <a:gd name="connsiteY274" fmla="*/ 197059 h 235345"/>
                <a:gd name="connsiteX275" fmla="*/ 224964 w 422240"/>
                <a:gd name="connsiteY275" fmla="*/ 198185 h 235345"/>
                <a:gd name="connsiteX276" fmla="*/ 226117 w 422240"/>
                <a:gd name="connsiteY276" fmla="*/ 201563 h 235345"/>
                <a:gd name="connsiteX277" fmla="*/ 222657 w 422240"/>
                <a:gd name="connsiteY277" fmla="*/ 199311 h 235345"/>
                <a:gd name="connsiteX278" fmla="*/ 220349 w 422240"/>
                <a:gd name="connsiteY278" fmla="*/ 200438 h 235345"/>
                <a:gd name="connsiteX279" fmla="*/ 216888 w 422240"/>
                <a:gd name="connsiteY279" fmla="*/ 199311 h 235345"/>
                <a:gd name="connsiteX280" fmla="*/ 216888 w 422240"/>
                <a:gd name="connsiteY280" fmla="*/ 202689 h 235345"/>
                <a:gd name="connsiteX281" fmla="*/ 215734 w 422240"/>
                <a:gd name="connsiteY281" fmla="*/ 198185 h 235345"/>
                <a:gd name="connsiteX282" fmla="*/ 203044 w 422240"/>
                <a:gd name="connsiteY282" fmla="*/ 194807 h 235345"/>
                <a:gd name="connsiteX283" fmla="*/ 198430 w 422240"/>
                <a:gd name="connsiteY283" fmla="*/ 194807 h 235345"/>
                <a:gd name="connsiteX284" fmla="*/ 197276 w 422240"/>
                <a:gd name="connsiteY284" fmla="*/ 197059 h 235345"/>
                <a:gd name="connsiteX285" fmla="*/ 198430 w 422240"/>
                <a:gd name="connsiteY285" fmla="*/ 191429 h 235345"/>
                <a:gd name="connsiteX286" fmla="*/ 194968 w 422240"/>
                <a:gd name="connsiteY286" fmla="*/ 197059 h 235345"/>
                <a:gd name="connsiteX287" fmla="*/ 196123 w 422240"/>
                <a:gd name="connsiteY287" fmla="*/ 194807 h 235345"/>
                <a:gd name="connsiteX288" fmla="*/ 186893 w 422240"/>
                <a:gd name="connsiteY288" fmla="*/ 189177 h 235345"/>
                <a:gd name="connsiteX289" fmla="*/ 183432 w 422240"/>
                <a:gd name="connsiteY289" fmla="*/ 192555 h 235345"/>
                <a:gd name="connsiteX290" fmla="*/ 179971 w 422240"/>
                <a:gd name="connsiteY290" fmla="*/ 191429 h 235345"/>
                <a:gd name="connsiteX291" fmla="*/ 178817 w 422240"/>
                <a:gd name="connsiteY291" fmla="*/ 189177 h 235345"/>
                <a:gd name="connsiteX292" fmla="*/ 181125 w 422240"/>
                <a:gd name="connsiteY292" fmla="*/ 191429 h 235345"/>
                <a:gd name="connsiteX293" fmla="*/ 183432 w 422240"/>
                <a:gd name="connsiteY293" fmla="*/ 186925 h 235345"/>
                <a:gd name="connsiteX294" fmla="*/ 171896 w 422240"/>
                <a:gd name="connsiteY294" fmla="*/ 180169 h 235345"/>
                <a:gd name="connsiteX295" fmla="*/ 171896 w 422240"/>
                <a:gd name="connsiteY295" fmla="*/ 179042 h 235345"/>
                <a:gd name="connsiteX296" fmla="*/ 170742 w 422240"/>
                <a:gd name="connsiteY296" fmla="*/ 180169 h 235345"/>
                <a:gd name="connsiteX297" fmla="*/ 162666 w 422240"/>
                <a:gd name="connsiteY297" fmla="*/ 175665 h 235345"/>
                <a:gd name="connsiteX298" fmla="*/ 179971 w 422240"/>
                <a:gd name="connsiteY298" fmla="*/ 129497 h 235345"/>
                <a:gd name="connsiteX299" fmla="*/ 194968 w 422240"/>
                <a:gd name="connsiteY299" fmla="*/ 95715 h 235345"/>
                <a:gd name="connsiteX300" fmla="*/ 194969 w 422240"/>
                <a:gd name="connsiteY300" fmla="*/ 95715 h 235345"/>
                <a:gd name="connsiteX301" fmla="*/ 194968 w 422240"/>
                <a:gd name="connsiteY301" fmla="*/ 95715 h 235345"/>
                <a:gd name="connsiteX302" fmla="*/ 179971 w 422240"/>
                <a:gd name="connsiteY302" fmla="*/ 129496 h 235345"/>
                <a:gd name="connsiteX303" fmla="*/ 162666 w 422240"/>
                <a:gd name="connsiteY303" fmla="*/ 175663 h 235345"/>
                <a:gd name="connsiteX304" fmla="*/ 161512 w 422240"/>
                <a:gd name="connsiteY304" fmla="*/ 173411 h 235345"/>
                <a:gd name="connsiteX305" fmla="*/ 141900 w 422240"/>
                <a:gd name="connsiteY305" fmla="*/ 163277 h 235345"/>
                <a:gd name="connsiteX306" fmla="*/ 141900 w 422240"/>
                <a:gd name="connsiteY306" fmla="*/ 163277 h 235345"/>
                <a:gd name="connsiteX307" fmla="*/ 144207 w 422240"/>
                <a:gd name="connsiteY307" fmla="*/ 164404 h 235345"/>
                <a:gd name="connsiteX308" fmla="*/ 143053 w 422240"/>
                <a:gd name="connsiteY308" fmla="*/ 162151 h 235345"/>
                <a:gd name="connsiteX309" fmla="*/ 141900 w 422240"/>
                <a:gd name="connsiteY309" fmla="*/ 163277 h 235345"/>
                <a:gd name="connsiteX310" fmla="*/ 141899 w 422240"/>
                <a:gd name="connsiteY310" fmla="*/ 163277 h 235345"/>
                <a:gd name="connsiteX311" fmla="*/ 141900 w 422240"/>
                <a:gd name="connsiteY311" fmla="*/ 163277 h 235345"/>
                <a:gd name="connsiteX312" fmla="*/ 140746 w 422240"/>
                <a:gd name="connsiteY312" fmla="*/ 164404 h 235345"/>
                <a:gd name="connsiteX313" fmla="*/ 140746 w 422240"/>
                <a:gd name="connsiteY313" fmla="*/ 162151 h 235345"/>
                <a:gd name="connsiteX314" fmla="*/ 129209 w 422240"/>
                <a:gd name="connsiteY314" fmla="*/ 155394 h 235345"/>
                <a:gd name="connsiteX315" fmla="*/ 114212 w 422240"/>
                <a:gd name="connsiteY315" fmla="*/ 148638 h 235345"/>
                <a:gd name="connsiteX316" fmla="*/ 92292 w 422240"/>
                <a:gd name="connsiteY316" fmla="*/ 139630 h 235345"/>
                <a:gd name="connsiteX317" fmla="*/ 64604 w 422240"/>
                <a:gd name="connsiteY317" fmla="*/ 129496 h 235345"/>
                <a:gd name="connsiteX318" fmla="*/ 70373 w 422240"/>
                <a:gd name="connsiteY318" fmla="*/ 130622 h 235345"/>
                <a:gd name="connsiteX319" fmla="*/ 70373 w 422240"/>
                <a:gd name="connsiteY319" fmla="*/ 129496 h 235345"/>
                <a:gd name="connsiteX320" fmla="*/ 57683 w 422240"/>
                <a:gd name="connsiteY320" fmla="*/ 127244 h 235345"/>
                <a:gd name="connsiteX321" fmla="*/ 58836 w 422240"/>
                <a:gd name="connsiteY321" fmla="*/ 124992 h 235345"/>
                <a:gd name="connsiteX322" fmla="*/ 56529 w 422240"/>
                <a:gd name="connsiteY322" fmla="*/ 127244 h 235345"/>
                <a:gd name="connsiteX323" fmla="*/ 41532 w 422240"/>
                <a:gd name="connsiteY323" fmla="*/ 123865 h 235345"/>
                <a:gd name="connsiteX324" fmla="*/ 42685 w 422240"/>
                <a:gd name="connsiteY324" fmla="*/ 121614 h 235345"/>
                <a:gd name="connsiteX325" fmla="*/ 40377 w 422240"/>
                <a:gd name="connsiteY325" fmla="*/ 123865 h 235345"/>
                <a:gd name="connsiteX326" fmla="*/ 35763 w 422240"/>
                <a:gd name="connsiteY326" fmla="*/ 120488 h 235345"/>
                <a:gd name="connsiteX327" fmla="*/ 35763 w 422240"/>
                <a:gd name="connsiteY327" fmla="*/ 121614 h 235345"/>
                <a:gd name="connsiteX328" fmla="*/ 33456 w 422240"/>
                <a:gd name="connsiteY328" fmla="*/ 120488 h 235345"/>
                <a:gd name="connsiteX329" fmla="*/ 31149 w 422240"/>
                <a:gd name="connsiteY329" fmla="*/ 118235 h 235345"/>
                <a:gd name="connsiteX330" fmla="*/ 20766 w 422240"/>
                <a:gd name="connsiteY330" fmla="*/ 113731 h 235345"/>
                <a:gd name="connsiteX331" fmla="*/ 22872 w 422240"/>
                <a:gd name="connsiteY331" fmla="*/ 112556 h 235345"/>
                <a:gd name="connsiteX332" fmla="*/ 23073 w 422240"/>
                <a:gd name="connsiteY332" fmla="*/ 112605 h 235345"/>
                <a:gd name="connsiteX333" fmla="*/ 24806 w 422240"/>
                <a:gd name="connsiteY333" fmla="*/ 111477 h 235345"/>
                <a:gd name="connsiteX334" fmla="*/ 27580 w 422240"/>
                <a:gd name="connsiteY334" fmla="*/ 109931 h 235345"/>
                <a:gd name="connsiteX335" fmla="*/ 27688 w 422240"/>
                <a:gd name="connsiteY335" fmla="*/ 110353 h 235345"/>
                <a:gd name="connsiteX336" fmla="*/ 29072 w 422240"/>
                <a:gd name="connsiteY336" fmla="*/ 109678 h 235345"/>
                <a:gd name="connsiteX337" fmla="*/ 32302 w 422240"/>
                <a:gd name="connsiteY337" fmla="*/ 108101 h 235345"/>
                <a:gd name="connsiteX338" fmla="*/ 28841 w 422240"/>
                <a:gd name="connsiteY338" fmla="*/ 109227 h 235345"/>
                <a:gd name="connsiteX339" fmla="*/ 27580 w 422240"/>
                <a:gd name="connsiteY339" fmla="*/ 109931 h 235345"/>
                <a:gd name="connsiteX340" fmla="*/ 26534 w 422240"/>
                <a:gd name="connsiteY340" fmla="*/ 105849 h 235345"/>
                <a:gd name="connsiteX341" fmla="*/ 26534 w 422240"/>
                <a:gd name="connsiteY341" fmla="*/ 110353 h 235345"/>
                <a:gd name="connsiteX342" fmla="*/ 24806 w 422240"/>
                <a:gd name="connsiteY342" fmla="*/ 111477 h 235345"/>
                <a:gd name="connsiteX343" fmla="*/ 22872 w 422240"/>
                <a:gd name="connsiteY343" fmla="*/ 112556 h 235345"/>
                <a:gd name="connsiteX344" fmla="*/ 18458 w 422240"/>
                <a:gd name="connsiteY344" fmla="*/ 111479 h 235345"/>
                <a:gd name="connsiteX345" fmla="*/ 17305 w 422240"/>
                <a:gd name="connsiteY345" fmla="*/ 109227 h 235345"/>
                <a:gd name="connsiteX346" fmla="*/ 19612 w 422240"/>
                <a:gd name="connsiteY346" fmla="*/ 109227 h 235345"/>
                <a:gd name="connsiteX347" fmla="*/ 17305 w 422240"/>
                <a:gd name="connsiteY347" fmla="*/ 108101 h 235345"/>
                <a:gd name="connsiteX348" fmla="*/ 17305 w 422240"/>
                <a:gd name="connsiteY348" fmla="*/ 109227 h 235345"/>
                <a:gd name="connsiteX349" fmla="*/ 17305 w 422240"/>
                <a:gd name="connsiteY349" fmla="*/ 110353 h 235345"/>
                <a:gd name="connsiteX350" fmla="*/ 13843 w 422240"/>
                <a:gd name="connsiteY350" fmla="*/ 108101 h 235345"/>
                <a:gd name="connsiteX351" fmla="*/ 2307 w 422240"/>
                <a:gd name="connsiteY351" fmla="*/ 92336 h 235345"/>
                <a:gd name="connsiteX352" fmla="*/ 3461 w 422240"/>
                <a:gd name="connsiteY352" fmla="*/ 87833 h 235345"/>
                <a:gd name="connsiteX353" fmla="*/ 0 w 422240"/>
                <a:gd name="connsiteY353" fmla="*/ 87833 h 235345"/>
                <a:gd name="connsiteX354" fmla="*/ 2307 w 422240"/>
                <a:gd name="connsiteY354" fmla="*/ 86706 h 235345"/>
                <a:gd name="connsiteX355" fmla="*/ 4614 w 422240"/>
                <a:gd name="connsiteY355" fmla="*/ 87833 h 235345"/>
                <a:gd name="connsiteX356" fmla="*/ 4614 w 422240"/>
                <a:gd name="connsiteY356" fmla="*/ 88959 h 235345"/>
                <a:gd name="connsiteX357" fmla="*/ 11536 w 422240"/>
                <a:gd name="connsiteY357" fmla="*/ 91210 h 235345"/>
                <a:gd name="connsiteX358" fmla="*/ 12690 w 422240"/>
                <a:gd name="connsiteY358" fmla="*/ 97966 h 235345"/>
                <a:gd name="connsiteX359" fmla="*/ 11536 w 422240"/>
                <a:gd name="connsiteY359" fmla="*/ 100219 h 235345"/>
                <a:gd name="connsiteX360" fmla="*/ 12690 w 422240"/>
                <a:gd name="connsiteY360" fmla="*/ 99092 h 235345"/>
                <a:gd name="connsiteX361" fmla="*/ 13843 w 422240"/>
                <a:gd name="connsiteY361" fmla="*/ 104723 h 235345"/>
                <a:gd name="connsiteX362" fmla="*/ 14942 w 422240"/>
                <a:gd name="connsiteY362" fmla="*/ 104509 h 235345"/>
                <a:gd name="connsiteX363" fmla="*/ 14997 w 422240"/>
                <a:gd name="connsiteY363" fmla="*/ 104723 h 235345"/>
                <a:gd name="connsiteX364" fmla="*/ 19612 w 422240"/>
                <a:gd name="connsiteY364" fmla="*/ 103597 h 235345"/>
                <a:gd name="connsiteX365" fmla="*/ 14942 w 422240"/>
                <a:gd name="connsiteY365" fmla="*/ 104509 h 235345"/>
                <a:gd name="connsiteX366" fmla="*/ 13843 w 422240"/>
                <a:gd name="connsiteY366" fmla="*/ 100219 h 235345"/>
                <a:gd name="connsiteX367" fmla="*/ 14997 w 422240"/>
                <a:gd name="connsiteY367" fmla="*/ 100219 h 235345"/>
                <a:gd name="connsiteX368" fmla="*/ 12690 w 422240"/>
                <a:gd name="connsiteY368" fmla="*/ 99092 h 235345"/>
                <a:gd name="connsiteX369" fmla="*/ 16151 w 422240"/>
                <a:gd name="connsiteY369" fmla="*/ 95715 h 235345"/>
                <a:gd name="connsiteX370" fmla="*/ 16151 w 422240"/>
                <a:gd name="connsiteY370" fmla="*/ 97966 h 235345"/>
                <a:gd name="connsiteX371" fmla="*/ 20766 w 422240"/>
                <a:gd name="connsiteY371" fmla="*/ 99092 h 235345"/>
                <a:gd name="connsiteX372" fmla="*/ 18920 w 422240"/>
                <a:gd name="connsiteY372" fmla="*/ 96390 h 235345"/>
                <a:gd name="connsiteX373" fmla="*/ 19612 w 422240"/>
                <a:gd name="connsiteY373" fmla="*/ 95715 h 235345"/>
                <a:gd name="connsiteX374" fmla="*/ 18458 w 422240"/>
                <a:gd name="connsiteY374" fmla="*/ 95715 h 235345"/>
                <a:gd name="connsiteX375" fmla="*/ 18920 w 422240"/>
                <a:gd name="connsiteY375" fmla="*/ 96390 h 235345"/>
                <a:gd name="connsiteX376" fmla="*/ 17305 w 422240"/>
                <a:gd name="connsiteY376" fmla="*/ 97966 h 235345"/>
                <a:gd name="connsiteX377" fmla="*/ 16151 w 422240"/>
                <a:gd name="connsiteY377" fmla="*/ 94589 h 235345"/>
                <a:gd name="connsiteX378" fmla="*/ 12690 w 422240"/>
                <a:gd name="connsiteY378" fmla="*/ 96841 h 235345"/>
                <a:gd name="connsiteX379" fmla="*/ 12690 w 422240"/>
                <a:gd name="connsiteY379" fmla="*/ 90084 h 235345"/>
                <a:gd name="connsiteX380" fmla="*/ 14997 w 422240"/>
                <a:gd name="connsiteY380" fmla="*/ 88959 h 235345"/>
                <a:gd name="connsiteX381" fmla="*/ 17305 w 422240"/>
                <a:gd name="connsiteY381" fmla="*/ 92336 h 235345"/>
                <a:gd name="connsiteX382" fmla="*/ 16151 w 422240"/>
                <a:gd name="connsiteY382" fmla="*/ 88959 h 235345"/>
                <a:gd name="connsiteX383" fmla="*/ 21919 w 422240"/>
                <a:gd name="connsiteY383" fmla="*/ 84454 h 235345"/>
                <a:gd name="connsiteX384" fmla="*/ 23073 w 422240"/>
                <a:gd name="connsiteY384" fmla="*/ 85580 h 235345"/>
                <a:gd name="connsiteX385" fmla="*/ 21919 w 422240"/>
                <a:gd name="connsiteY385" fmla="*/ 86706 h 235345"/>
                <a:gd name="connsiteX386" fmla="*/ 24226 w 422240"/>
                <a:gd name="connsiteY386" fmla="*/ 90084 h 235345"/>
                <a:gd name="connsiteX387" fmla="*/ 23073 w 422240"/>
                <a:gd name="connsiteY387" fmla="*/ 86706 h 235345"/>
                <a:gd name="connsiteX388" fmla="*/ 24226 w 422240"/>
                <a:gd name="connsiteY388" fmla="*/ 84454 h 235345"/>
                <a:gd name="connsiteX389" fmla="*/ 19612 w 422240"/>
                <a:gd name="connsiteY389" fmla="*/ 82202 h 235345"/>
                <a:gd name="connsiteX390" fmla="*/ 39224 w 422240"/>
                <a:gd name="connsiteY390" fmla="*/ 51798 h 235345"/>
                <a:gd name="connsiteX391" fmla="*/ 47300 w 422240"/>
                <a:gd name="connsiteY391" fmla="*/ 50672 h 235345"/>
                <a:gd name="connsiteX392" fmla="*/ 71526 w 422240"/>
                <a:gd name="connsiteY392" fmla="*/ 55177 h 235345"/>
                <a:gd name="connsiteX393" fmla="*/ 83063 w 422240"/>
                <a:gd name="connsiteY393" fmla="*/ 43916 h 235345"/>
                <a:gd name="connsiteX394" fmla="*/ 108444 w 422240"/>
                <a:gd name="connsiteY394" fmla="*/ 38286 h 235345"/>
                <a:gd name="connsiteX395" fmla="*/ 116519 w 422240"/>
                <a:gd name="connsiteY395" fmla="*/ 32656 h 235345"/>
                <a:gd name="connsiteX396" fmla="*/ 133824 w 422240"/>
                <a:gd name="connsiteY396" fmla="*/ 28152 h 235345"/>
                <a:gd name="connsiteX397" fmla="*/ 148821 w 422240"/>
                <a:gd name="connsiteY397" fmla="*/ 32656 h 235345"/>
                <a:gd name="connsiteX398" fmla="*/ 162666 w 422240"/>
                <a:gd name="connsiteY398" fmla="*/ 20269 h 235345"/>
                <a:gd name="connsiteX399" fmla="*/ 164973 w 422240"/>
                <a:gd name="connsiteY399" fmla="*/ 23647 h 235345"/>
                <a:gd name="connsiteX400" fmla="*/ 164974 w 422240"/>
                <a:gd name="connsiteY400" fmla="*/ 23647 h 235345"/>
                <a:gd name="connsiteX401" fmla="*/ 162666 w 422240"/>
                <a:gd name="connsiteY401" fmla="*/ 20269 h 235345"/>
                <a:gd name="connsiteX402" fmla="*/ 178817 w 422240"/>
                <a:gd name="connsiteY402" fmla="*/ 9009 h 235345"/>
                <a:gd name="connsiteX403" fmla="*/ 203045 w 422240"/>
                <a:gd name="connsiteY403" fmla="*/ 11261 h 23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422240" h="235345">
                  <a:moveTo>
                    <a:pt x="351867" y="228589"/>
                  </a:moveTo>
                  <a:lnTo>
                    <a:pt x="359942" y="228589"/>
                  </a:lnTo>
                  <a:lnTo>
                    <a:pt x="329947" y="235345"/>
                  </a:lnTo>
                  <a:close/>
                  <a:moveTo>
                    <a:pt x="271110" y="212824"/>
                  </a:moveTo>
                  <a:lnTo>
                    <a:pt x="274571" y="213950"/>
                  </a:lnTo>
                  <a:lnTo>
                    <a:pt x="274955" y="214700"/>
                  </a:lnTo>
                  <a:close/>
                  <a:moveTo>
                    <a:pt x="141899" y="202126"/>
                  </a:moveTo>
                  <a:lnTo>
                    <a:pt x="143053" y="202689"/>
                  </a:lnTo>
                  <a:lnTo>
                    <a:pt x="141899" y="206066"/>
                  </a:lnTo>
                  <a:close/>
                  <a:moveTo>
                    <a:pt x="226117" y="198185"/>
                  </a:moveTo>
                  <a:lnTo>
                    <a:pt x="228425" y="198185"/>
                  </a:lnTo>
                  <a:lnTo>
                    <a:pt x="228425" y="200438"/>
                  </a:lnTo>
                  <a:lnTo>
                    <a:pt x="229578" y="198185"/>
                  </a:lnTo>
                  <a:lnTo>
                    <a:pt x="233039" y="199311"/>
                  </a:lnTo>
                  <a:lnTo>
                    <a:pt x="233039" y="201563"/>
                  </a:lnTo>
                  <a:lnTo>
                    <a:pt x="230155" y="201001"/>
                  </a:lnTo>
                  <a:lnTo>
                    <a:pt x="227271" y="200438"/>
                  </a:lnTo>
                  <a:close/>
                  <a:moveTo>
                    <a:pt x="107289" y="197058"/>
                  </a:moveTo>
                  <a:lnTo>
                    <a:pt x="108443" y="198747"/>
                  </a:lnTo>
                  <a:lnTo>
                    <a:pt x="109597" y="202689"/>
                  </a:lnTo>
                  <a:close/>
                  <a:moveTo>
                    <a:pt x="117672" y="189176"/>
                  </a:moveTo>
                  <a:lnTo>
                    <a:pt x="109597" y="193680"/>
                  </a:lnTo>
                  <a:lnTo>
                    <a:pt x="114212" y="192554"/>
                  </a:lnTo>
                  <a:lnTo>
                    <a:pt x="110751" y="193680"/>
                  </a:lnTo>
                  <a:lnTo>
                    <a:pt x="113058" y="194806"/>
                  </a:lnTo>
                  <a:lnTo>
                    <a:pt x="109597" y="199310"/>
                  </a:lnTo>
                  <a:lnTo>
                    <a:pt x="108444" y="198184"/>
                  </a:lnTo>
                  <a:lnTo>
                    <a:pt x="109597" y="200436"/>
                  </a:lnTo>
                  <a:lnTo>
                    <a:pt x="108443" y="198747"/>
                  </a:lnTo>
                  <a:lnTo>
                    <a:pt x="107289" y="194806"/>
                  </a:lnTo>
                  <a:close/>
                  <a:moveTo>
                    <a:pt x="117672" y="189176"/>
                  </a:moveTo>
                  <a:lnTo>
                    <a:pt x="141899" y="201563"/>
                  </a:lnTo>
                  <a:lnTo>
                    <a:pt x="141899" y="202126"/>
                  </a:lnTo>
                  <a:lnTo>
                    <a:pt x="138438" y="200436"/>
                  </a:lnTo>
                  <a:lnTo>
                    <a:pt x="131516" y="201563"/>
                  </a:lnTo>
                  <a:lnTo>
                    <a:pt x="136131" y="199310"/>
                  </a:lnTo>
                  <a:close/>
                  <a:moveTo>
                    <a:pt x="111904" y="180168"/>
                  </a:moveTo>
                  <a:lnTo>
                    <a:pt x="114210" y="180168"/>
                  </a:lnTo>
                  <a:lnTo>
                    <a:pt x="111904" y="181293"/>
                  </a:lnTo>
                  <a:lnTo>
                    <a:pt x="111327" y="180731"/>
                  </a:lnTo>
                  <a:close/>
                  <a:moveTo>
                    <a:pt x="114212" y="180167"/>
                  </a:moveTo>
                  <a:lnTo>
                    <a:pt x="114212" y="180168"/>
                  </a:lnTo>
                  <a:lnTo>
                    <a:pt x="114210" y="180168"/>
                  </a:lnTo>
                  <a:close/>
                  <a:moveTo>
                    <a:pt x="289569" y="165530"/>
                  </a:moveTo>
                  <a:lnTo>
                    <a:pt x="293030" y="181295"/>
                  </a:lnTo>
                  <a:lnTo>
                    <a:pt x="309181" y="192555"/>
                  </a:lnTo>
                  <a:lnTo>
                    <a:pt x="302258" y="200438"/>
                  </a:lnTo>
                  <a:lnTo>
                    <a:pt x="302258" y="202689"/>
                  </a:lnTo>
                  <a:lnTo>
                    <a:pt x="320717" y="216202"/>
                  </a:lnTo>
                  <a:lnTo>
                    <a:pt x="320717" y="216202"/>
                  </a:lnTo>
                  <a:lnTo>
                    <a:pt x="302259" y="202689"/>
                  </a:lnTo>
                  <a:lnTo>
                    <a:pt x="302259" y="200437"/>
                  </a:lnTo>
                  <a:lnTo>
                    <a:pt x="309181" y="192555"/>
                  </a:lnTo>
                  <a:lnTo>
                    <a:pt x="293030" y="181294"/>
                  </a:lnTo>
                  <a:close/>
                  <a:moveTo>
                    <a:pt x="302827" y="159328"/>
                  </a:moveTo>
                  <a:lnTo>
                    <a:pt x="303413" y="159900"/>
                  </a:lnTo>
                  <a:lnTo>
                    <a:pt x="303990" y="159337"/>
                  </a:lnTo>
                  <a:lnTo>
                    <a:pt x="303413" y="159899"/>
                  </a:lnTo>
                  <a:close/>
                  <a:moveTo>
                    <a:pt x="299321" y="158228"/>
                  </a:moveTo>
                  <a:lnTo>
                    <a:pt x="294183" y="159899"/>
                  </a:lnTo>
                  <a:lnTo>
                    <a:pt x="291876" y="161026"/>
                  </a:lnTo>
                  <a:lnTo>
                    <a:pt x="290352" y="164000"/>
                  </a:lnTo>
                  <a:lnTo>
                    <a:pt x="291876" y="161026"/>
                  </a:lnTo>
                  <a:lnTo>
                    <a:pt x="294183" y="159900"/>
                  </a:lnTo>
                  <a:close/>
                  <a:moveTo>
                    <a:pt x="34609" y="147512"/>
                  </a:moveTo>
                  <a:lnTo>
                    <a:pt x="35520" y="147690"/>
                  </a:lnTo>
                  <a:lnTo>
                    <a:pt x="38070" y="149764"/>
                  </a:lnTo>
                  <a:close/>
                  <a:moveTo>
                    <a:pt x="381861" y="144135"/>
                  </a:moveTo>
                  <a:lnTo>
                    <a:pt x="381411" y="145893"/>
                  </a:lnTo>
                  <a:lnTo>
                    <a:pt x="381862" y="144135"/>
                  </a:lnTo>
                  <a:close/>
                  <a:moveTo>
                    <a:pt x="290700" y="141873"/>
                  </a:moveTo>
                  <a:lnTo>
                    <a:pt x="290722" y="141883"/>
                  </a:lnTo>
                  <a:lnTo>
                    <a:pt x="299150" y="150109"/>
                  </a:lnTo>
                  <a:lnTo>
                    <a:pt x="290723" y="141883"/>
                  </a:lnTo>
                  <a:close/>
                  <a:moveTo>
                    <a:pt x="36917" y="135126"/>
                  </a:moveTo>
                  <a:lnTo>
                    <a:pt x="51914" y="137378"/>
                  </a:lnTo>
                  <a:lnTo>
                    <a:pt x="49607" y="138504"/>
                  </a:lnTo>
                  <a:lnTo>
                    <a:pt x="53068" y="137378"/>
                  </a:lnTo>
                  <a:lnTo>
                    <a:pt x="69219" y="141882"/>
                  </a:lnTo>
                  <a:lnTo>
                    <a:pt x="68066" y="144134"/>
                  </a:lnTo>
                  <a:lnTo>
                    <a:pt x="70373" y="141882"/>
                  </a:lnTo>
                  <a:lnTo>
                    <a:pt x="86524" y="146387"/>
                  </a:lnTo>
                  <a:lnTo>
                    <a:pt x="98061" y="152017"/>
                  </a:lnTo>
                  <a:lnTo>
                    <a:pt x="96907" y="154269"/>
                  </a:lnTo>
                  <a:lnTo>
                    <a:pt x="99214" y="152017"/>
                  </a:lnTo>
                  <a:lnTo>
                    <a:pt x="113058" y="159899"/>
                  </a:lnTo>
                  <a:lnTo>
                    <a:pt x="130363" y="164404"/>
                  </a:lnTo>
                  <a:lnTo>
                    <a:pt x="133824" y="167781"/>
                  </a:lnTo>
                  <a:lnTo>
                    <a:pt x="133824" y="172286"/>
                  </a:lnTo>
                  <a:lnTo>
                    <a:pt x="125748" y="174537"/>
                  </a:lnTo>
                  <a:lnTo>
                    <a:pt x="114212" y="180167"/>
                  </a:lnTo>
                  <a:lnTo>
                    <a:pt x="114212" y="177916"/>
                  </a:lnTo>
                  <a:lnTo>
                    <a:pt x="111904" y="180168"/>
                  </a:lnTo>
                  <a:lnTo>
                    <a:pt x="110751" y="180168"/>
                  </a:lnTo>
                  <a:lnTo>
                    <a:pt x="111327" y="180731"/>
                  </a:lnTo>
                  <a:lnTo>
                    <a:pt x="110751" y="181293"/>
                  </a:lnTo>
                  <a:lnTo>
                    <a:pt x="106136" y="182420"/>
                  </a:lnTo>
                  <a:lnTo>
                    <a:pt x="92292" y="180168"/>
                  </a:lnTo>
                  <a:lnTo>
                    <a:pt x="87678" y="176790"/>
                  </a:lnTo>
                  <a:lnTo>
                    <a:pt x="89985" y="180168"/>
                  </a:lnTo>
                  <a:lnTo>
                    <a:pt x="85370" y="179042"/>
                  </a:lnTo>
                  <a:lnTo>
                    <a:pt x="78448" y="175663"/>
                  </a:lnTo>
                  <a:lnTo>
                    <a:pt x="80755" y="173411"/>
                  </a:lnTo>
                  <a:lnTo>
                    <a:pt x="77295" y="171160"/>
                  </a:lnTo>
                  <a:lnTo>
                    <a:pt x="79602" y="173411"/>
                  </a:lnTo>
                  <a:lnTo>
                    <a:pt x="74987" y="175663"/>
                  </a:lnTo>
                  <a:lnTo>
                    <a:pt x="63451" y="167781"/>
                  </a:lnTo>
                  <a:lnTo>
                    <a:pt x="68066" y="162151"/>
                  </a:lnTo>
                  <a:lnTo>
                    <a:pt x="63451" y="166655"/>
                  </a:lnTo>
                  <a:lnTo>
                    <a:pt x="49607" y="156521"/>
                  </a:lnTo>
                  <a:lnTo>
                    <a:pt x="53068" y="152017"/>
                  </a:lnTo>
                  <a:lnTo>
                    <a:pt x="49607" y="155394"/>
                  </a:lnTo>
                  <a:lnTo>
                    <a:pt x="46146" y="153143"/>
                  </a:lnTo>
                  <a:lnTo>
                    <a:pt x="40377" y="149764"/>
                  </a:lnTo>
                  <a:lnTo>
                    <a:pt x="43839" y="146387"/>
                  </a:lnTo>
                  <a:lnTo>
                    <a:pt x="40377" y="148638"/>
                  </a:lnTo>
                  <a:lnTo>
                    <a:pt x="35520" y="147690"/>
                  </a:lnTo>
                  <a:lnTo>
                    <a:pt x="31149" y="144134"/>
                  </a:lnTo>
                  <a:lnTo>
                    <a:pt x="31149" y="139630"/>
                  </a:lnTo>
                  <a:close/>
                  <a:moveTo>
                    <a:pt x="270690" y="131440"/>
                  </a:moveTo>
                  <a:lnTo>
                    <a:pt x="271110" y="132874"/>
                  </a:lnTo>
                  <a:lnTo>
                    <a:pt x="271753" y="133170"/>
                  </a:lnTo>
                  <a:close/>
                  <a:moveTo>
                    <a:pt x="31149" y="118235"/>
                  </a:moveTo>
                  <a:lnTo>
                    <a:pt x="32302" y="120488"/>
                  </a:lnTo>
                  <a:lnTo>
                    <a:pt x="31149" y="120488"/>
                  </a:lnTo>
                  <a:close/>
                  <a:moveTo>
                    <a:pt x="267649" y="109228"/>
                  </a:moveTo>
                  <a:lnTo>
                    <a:pt x="267649" y="109228"/>
                  </a:lnTo>
                  <a:lnTo>
                    <a:pt x="271110" y="110354"/>
                  </a:lnTo>
                  <a:lnTo>
                    <a:pt x="268803" y="124993"/>
                  </a:lnTo>
                  <a:lnTo>
                    <a:pt x="269104" y="126021"/>
                  </a:lnTo>
                  <a:lnTo>
                    <a:pt x="271111" y="110354"/>
                  </a:lnTo>
                  <a:close/>
                  <a:moveTo>
                    <a:pt x="304561" y="88948"/>
                  </a:moveTo>
                  <a:lnTo>
                    <a:pt x="304566" y="88959"/>
                  </a:lnTo>
                  <a:lnTo>
                    <a:pt x="308027" y="90085"/>
                  </a:lnTo>
                  <a:lnTo>
                    <a:pt x="312642" y="94589"/>
                  </a:lnTo>
                  <a:lnTo>
                    <a:pt x="324178" y="95716"/>
                  </a:lnTo>
                  <a:lnTo>
                    <a:pt x="333408" y="105849"/>
                  </a:lnTo>
                  <a:lnTo>
                    <a:pt x="358788" y="109228"/>
                  </a:lnTo>
                  <a:lnTo>
                    <a:pt x="359942" y="123866"/>
                  </a:lnTo>
                  <a:lnTo>
                    <a:pt x="402627" y="128371"/>
                  </a:lnTo>
                  <a:lnTo>
                    <a:pt x="402627" y="128370"/>
                  </a:lnTo>
                  <a:lnTo>
                    <a:pt x="359942" y="123865"/>
                  </a:lnTo>
                  <a:lnTo>
                    <a:pt x="358788" y="109227"/>
                  </a:lnTo>
                  <a:lnTo>
                    <a:pt x="333408" y="105849"/>
                  </a:lnTo>
                  <a:lnTo>
                    <a:pt x="324178" y="95714"/>
                  </a:lnTo>
                  <a:lnTo>
                    <a:pt x="312642" y="94588"/>
                  </a:lnTo>
                  <a:lnTo>
                    <a:pt x="308027" y="90084"/>
                  </a:lnTo>
                  <a:lnTo>
                    <a:pt x="304567" y="88958"/>
                  </a:lnTo>
                  <a:close/>
                  <a:moveTo>
                    <a:pt x="175354" y="86703"/>
                  </a:moveTo>
                  <a:lnTo>
                    <a:pt x="175356" y="86706"/>
                  </a:lnTo>
                  <a:lnTo>
                    <a:pt x="186893" y="91210"/>
                  </a:lnTo>
                  <a:lnTo>
                    <a:pt x="190354" y="95715"/>
                  </a:lnTo>
                  <a:lnTo>
                    <a:pt x="190354" y="95715"/>
                  </a:lnTo>
                  <a:lnTo>
                    <a:pt x="186893" y="91210"/>
                  </a:lnTo>
                  <a:lnTo>
                    <a:pt x="175357" y="86706"/>
                  </a:lnTo>
                  <a:close/>
                  <a:moveTo>
                    <a:pt x="206044" y="84906"/>
                  </a:moveTo>
                  <a:lnTo>
                    <a:pt x="205736" y="85206"/>
                  </a:lnTo>
                  <a:lnTo>
                    <a:pt x="206504" y="86703"/>
                  </a:lnTo>
                  <a:close/>
                  <a:moveTo>
                    <a:pt x="249191" y="81076"/>
                  </a:moveTo>
                  <a:lnTo>
                    <a:pt x="219195" y="92336"/>
                  </a:lnTo>
                  <a:lnTo>
                    <a:pt x="206506" y="86707"/>
                  </a:lnTo>
                  <a:lnTo>
                    <a:pt x="219195" y="92338"/>
                  </a:lnTo>
                  <a:lnTo>
                    <a:pt x="249191" y="81077"/>
                  </a:lnTo>
                  <a:lnTo>
                    <a:pt x="250344" y="86707"/>
                  </a:lnTo>
                  <a:lnTo>
                    <a:pt x="252652" y="92338"/>
                  </a:lnTo>
                  <a:lnTo>
                    <a:pt x="258420" y="100220"/>
                  </a:lnTo>
                  <a:lnTo>
                    <a:pt x="267649" y="100220"/>
                  </a:lnTo>
                  <a:lnTo>
                    <a:pt x="267649" y="100219"/>
                  </a:lnTo>
                  <a:lnTo>
                    <a:pt x="271111" y="99093"/>
                  </a:lnTo>
                  <a:lnTo>
                    <a:pt x="271111" y="92337"/>
                  </a:lnTo>
                  <a:lnTo>
                    <a:pt x="280340" y="93463"/>
                  </a:lnTo>
                  <a:lnTo>
                    <a:pt x="287262" y="88959"/>
                  </a:lnTo>
                  <a:lnTo>
                    <a:pt x="288415" y="84455"/>
                  </a:lnTo>
                  <a:lnTo>
                    <a:pt x="301798" y="84455"/>
                  </a:lnTo>
                  <a:lnTo>
                    <a:pt x="301105" y="83328"/>
                  </a:lnTo>
                  <a:lnTo>
                    <a:pt x="288415" y="84454"/>
                  </a:lnTo>
                  <a:lnTo>
                    <a:pt x="287261" y="88958"/>
                  </a:lnTo>
                  <a:lnTo>
                    <a:pt x="280339" y="93462"/>
                  </a:lnTo>
                  <a:lnTo>
                    <a:pt x="271110" y="92336"/>
                  </a:lnTo>
                  <a:lnTo>
                    <a:pt x="271110" y="99093"/>
                  </a:lnTo>
                  <a:lnTo>
                    <a:pt x="258420" y="100218"/>
                  </a:lnTo>
                  <a:lnTo>
                    <a:pt x="250344" y="86706"/>
                  </a:lnTo>
                  <a:close/>
                  <a:moveTo>
                    <a:pt x="163820" y="79950"/>
                  </a:moveTo>
                  <a:lnTo>
                    <a:pt x="163820" y="79950"/>
                  </a:lnTo>
                  <a:lnTo>
                    <a:pt x="173049" y="81076"/>
                  </a:lnTo>
                  <a:lnTo>
                    <a:pt x="173049" y="81077"/>
                  </a:lnTo>
                  <a:lnTo>
                    <a:pt x="173049" y="81076"/>
                  </a:lnTo>
                  <a:close/>
                  <a:moveTo>
                    <a:pt x="209675" y="71228"/>
                  </a:moveTo>
                  <a:lnTo>
                    <a:pt x="205352" y="78823"/>
                  </a:lnTo>
                  <a:lnTo>
                    <a:pt x="205807" y="81044"/>
                  </a:lnTo>
                  <a:close/>
                  <a:moveTo>
                    <a:pt x="212274" y="43919"/>
                  </a:moveTo>
                  <a:lnTo>
                    <a:pt x="211535" y="59793"/>
                  </a:lnTo>
                  <a:lnTo>
                    <a:pt x="213427" y="55176"/>
                  </a:lnTo>
                  <a:close/>
                  <a:moveTo>
                    <a:pt x="235347" y="41664"/>
                  </a:moveTo>
                  <a:lnTo>
                    <a:pt x="230105" y="42687"/>
                  </a:lnTo>
                  <a:lnTo>
                    <a:pt x="235347" y="41664"/>
                  </a:lnTo>
                  <a:close/>
                  <a:moveTo>
                    <a:pt x="169478" y="40003"/>
                  </a:moveTo>
                  <a:lnTo>
                    <a:pt x="168434" y="56302"/>
                  </a:lnTo>
                  <a:lnTo>
                    <a:pt x="162666" y="57428"/>
                  </a:lnTo>
                  <a:lnTo>
                    <a:pt x="158050" y="81076"/>
                  </a:lnTo>
                  <a:lnTo>
                    <a:pt x="162693" y="80170"/>
                  </a:lnTo>
                  <a:lnTo>
                    <a:pt x="158051" y="81076"/>
                  </a:lnTo>
                  <a:lnTo>
                    <a:pt x="162666" y="57428"/>
                  </a:lnTo>
                  <a:lnTo>
                    <a:pt x="168434" y="57428"/>
                  </a:lnTo>
                  <a:lnTo>
                    <a:pt x="169588" y="40538"/>
                  </a:lnTo>
                  <a:close/>
                  <a:moveTo>
                    <a:pt x="162666" y="23648"/>
                  </a:moveTo>
                  <a:lnTo>
                    <a:pt x="162666" y="29278"/>
                  </a:lnTo>
                  <a:lnTo>
                    <a:pt x="168434" y="34908"/>
                  </a:lnTo>
                  <a:lnTo>
                    <a:pt x="168435" y="34911"/>
                  </a:lnTo>
                  <a:lnTo>
                    <a:pt x="168434" y="34908"/>
                  </a:lnTo>
                  <a:lnTo>
                    <a:pt x="162666" y="29277"/>
                  </a:lnTo>
                  <a:lnTo>
                    <a:pt x="162666" y="23648"/>
                  </a:lnTo>
                  <a:close/>
                  <a:moveTo>
                    <a:pt x="215735" y="0"/>
                  </a:moveTo>
                  <a:lnTo>
                    <a:pt x="234194" y="7883"/>
                  </a:lnTo>
                  <a:lnTo>
                    <a:pt x="249191" y="9008"/>
                  </a:lnTo>
                  <a:lnTo>
                    <a:pt x="276878" y="3378"/>
                  </a:lnTo>
                  <a:lnTo>
                    <a:pt x="291876" y="5631"/>
                  </a:lnTo>
                  <a:lnTo>
                    <a:pt x="312642" y="13513"/>
                  </a:lnTo>
                  <a:lnTo>
                    <a:pt x="336869" y="10135"/>
                  </a:lnTo>
                  <a:lnTo>
                    <a:pt x="344944" y="15765"/>
                  </a:lnTo>
                  <a:lnTo>
                    <a:pt x="351866" y="36034"/>
                  </a:lnTo>
                  <a:lnTo>
                    <a:pt x="359942" y="45042"/>
                  </a:lnTo>
                  <a:lnTo>
                    <a:pt x="369171" y="49547"/>
                  </a:lnTo>
                  <a:lnTo>
                    <a:pt x="389937" y="52924"/>
                  </a:lnTo>
                  <a:lnTo>
                    <a:pt x="413010" y="61933"/>
                  </a:lnTo>
                  <a:lnTo>
                    <a:pt x="418778" y="93462"/>
                  </a:lnTo>
                  <a:lnTo>
                    <a:pt x="417625" y="123865"/>
                  </a:lnTo>
                  <a:lnTo>
                    <a:pt x="422240" y="150890"/>
                  </a:lnTo>
                  <a:lnTo>
                    <a:pt x="416471" y="182420"/>
                  </a:lnTo>
                  <a:lnTo>
                    <a:pt x="400320" y="167781"/>
                  </a:lnTo>
                  <a:lnTo>
                    <a:pt x="395705" y="161025"/>
                  </a:lnTo>
                  <a:lnTo>
                    <a:pt x="392244" y="161025"/>
                  </a:lnTo>
                  <a:lnTo>
                    <a:pt x="380708" y="148638"/>
                  </a:lnTo>
                  <a:lnTo>
                    <a:pt x="380708" y="148639"/>
                  </a:lnTo>
                  <a:lnTo>
                    <a:pt x="392244" y="161026"/>
                  </a:lnTo>
                  <a:lnTo>
                    <a:pt x="395705" y="161026"/>
                  </a:lnTo>
                  <a:lnTo>
                    <a:pt x="400320" y="167782"/>
                  </a:lnTo>
                  <a:lnTo>
                    <a:pt x="416471" y="182420"/>
                  </a:lnTo>
                  <a:lnTo>
                    <a:pt x="414164" y="193681"/>
                  </a:lnTo>
                  <a:lnTo>
                    <a:pt x="408396" y="190303"/>
                  </a:lnTo>
                  <a:lnTo>
                    <a:pt x="395705" y="200437"/>
                  </a:lnTo>
                  <a:lnTo>
                    <a:pt x="384169" y="203816"/>
                  </a:lnTo>
                  <a:lnTo>
                    <a:pt x="376093" y="207193"/>
                  </a:lnTo>
                  <a:lnTo>
                    <a:pt x="378401" y="210572"/>
                  </a:lnTo>
                  <a:lnTo>
                    <a:pt x="376093" y="208319"/>
                  </a:lnTo>
                  <a:lnTo>
                    <a:pt x="372632" y="209446"/>
                  </a:lnTo>
                  <a:lnTo>
                    <a:pt x="368018" y="208319"/>
                  </a:lnTo>
                  <a:lnTo>
                    <a:pt x="358788" y="211698"/>
                  </a:lnTo>
                  <a:lnTo>
                    <a:pt x="356481" y="215076"/>
                  </a:lnTo>
                  <a:lnTo>
                    <a:pt x="344944" y="220706"/>
                  </a:lnTo>
                  <a:lnTo>
                    <a:pt x="320717" y="224084"/>
                  </a:lnTo>
                  <a:lnTo>
                    <a:pt x="316103" y="226336"/>
                  </a:lnTo>
                  <a:lnTo>
                    <a:pt x="313796" y="226336"/>
                  </a:lnTo>
                  <a:lnTo>
                    <a:pt x="313796" y="225211"/>
                  </a:lnTo>
                  <a:lnTo>
                    <a:pt x="309181" y="225211"/>
                  </a:lnTo>
                  <a:lnTo>
                    <a:pt x="296490" y="220706"/>
                  </a:lnTo>
                  <a:lnTo>
                    <a:pt x="293030" y="216202"/>
                  </a:lnTo>
                  <a:lnTo>
                    <a:pt x="279186" y="213950"/>
                  </a:lnTo>
                  <a:lnTo>
                    <a:pt x="278032" y="210571"/>
                  </a:lnTo>
                  <a:lnTo>
                    <a:pt x="275724" y="216202"/>
                  </a:lnTo>
                  <a:lnTo>
                    <a:pt x="274955" y="214700"/>
                  </a:lnTo>
                  <a:lnTo>
                    <a:pt x="275724" y="215076"/>
                  </a:lnTo>
                  <a:lnTo>
                    <a:pt x="276878" y="212824"/>
                  </a:lnTo>
                  <a:lnTo>
                    <a:pt x="273417" y="209445"/>
                  </a:lnTo>
                  <a:lnTo>
                    <a:pt x="257266" y="206068"/>
                  </a:lnTo>
                  <a:lnTo>
                    <a:pt x="257266" y="204941"/>
                  </a:lnTo>
                  <a:lnTo>
                    <a:pt x="249191" y="201563"/>
                  </a:lnTo>
                  <a:lnTo>
                    <a:pt x="249191" y="200438"/>
                  </a:lnTo>
                  <a:lnTo>
                    <a:pt x="248037" y="202689"/>
                  </a:lnTo>
                  <a:lnTo>
                    <a:pt x="242269" y="201563"/>
                  </a:lnTo>
                  <a:lnTo>
                    <a:pt x="241115" y="197059"/>
                  </a:lnTo>
                  <a:lnTo>
                    <a:pt x="242269" y="202689"/>
                  </a:lnTo>
                  <a:lnTo>
                    <a:pt x="239961" y="200438"/>
                  </a:lnTo>
                  <a:lnTo>
                    <a:pt x="234193" y="201563"/>
                  </a:lnTo>
                  <a:lnTo>
                    <a:pt x="233039" y="197059"/>
                  </a:lnTo>
                  <a:lnTo>
                    <a:pt x="224964" y="198185"/>
                  </a:lnTo>
                  <a:lnTo>
                    <a:pt x="226117" y="201563"/>
                  </a:lnTo>
                  <a:lnTo>
                    <a:pt x="222657" y="199311"/>
                  </a:lnTo>
                  <a:lnTo>
                    <a:pt x="220349" y="200438"/>
                  </a:lnTo>
                  <a:lnTo>
                    <a:pt x="216888" y="199311"/>
                  </a:lnTo>
                  <a:lnTo>
                    <a:pt x="216888" y="202689"/>
                  </a:lnTo>
                  <a:lnTo>
                    <a:pt x="215734" y="198185"/>
                  </a:lnTo>
                  <a:lnTo>
                    <a:pt x="203044" y="194807"/>
                  </a:lnTo>
                  <a:lnTo>
                    <a:pt x="198430" y="194807"/>
                  </a:lnTo>
                  <a:lnTo>
                    <a:pt x="197276" y="197059"/>
                  </a:lnTo>
                  <a:lnTo>
                    <a:pt x="198430" y="191429"/>
                  </a:lnTo>
                  <a:lnTo>
                    <a:pt x="194968" y="197059"/>
                  </a:lnTo>
                  <a:lnTo>
                    <a:pt x="196123" y="194807"/>
                  </a:lnTo>
                  <a:lnTo>
                    <a:pt x="186893" y="189177"/>
                  </a:lnTo>
                  <a:lnTo>
                    <a:pt x="183432" y="192555"/>
                  </a:lnTo>
                  <a:lnTo>
                    <a:pt x="179971" y="191429"/>
                  </a:lnTo>
                  <a:lnTo>
                    <a:pt x="178817" y="189177"/>
                  </a:lnTo>
                  <a:lnTo>
                    <a:pt x="181125" y="191429"/>
                  </a:lnTo>
                  <a:lnTo>
                    <a:pt x="183432" y="186925"/>
                  </a:lnTo>
                  <a:lnTo>
                    <a:pt x="171896" y="180169"/>
                  </a:lnTo>
                  <a:lnTo>
                    <a:pt x="171896" y="179042"/>
                  </a:lnTo>
                  <a:lnTo>
                    <a:pt x="170742" y="180169"/>
                  </a:lnTo>
                  <a:lnTo>
                    <a:pt x="162666" y="175665"/>
                  </a:lnTo>
                  <a:lnTo>
                    <a:pt x="179971" y="129497"/>
                  </a:lnTo>
                  <a:lnTo>
                    <a:pt x="194968" y="95715"/>
                  </a:lnTo>
                  <a:lnTo>
                    <a:pt x="194969" y="95715"/>
                  </a:lnTo>
                  <a:lnTo>
                    <a:pt x="194968" y="95715"/>
                  </a:lnTo>
                  <a:lnTo>
                    <a:pt x="179971" y="129496"/>
                  </a:lnTo>
                  <a:lnTo>
                    <a:pt x="162666" y="175663"/>
                  </a:lnTo>
                  <a:lnTo>
                    <a:pt x="161512" y="173411"/>
                  </a:lnTo>
                  <a:lnTo>
                    <a:pt x="141900" y="163277"/>
                  </a:lnTo>
                  <a:lnTo>
                    <a:pt x="141900" y="163277"/>
                  </a:lnTo>
                  <a:lnTo>
                    <a:pt x="144207" y="164404"/>
                  </a:lnTo>
                  <a:lnTo>
                    <a:pt x="143053" y="162151"/>
                  </a:lnTo>
                  <a:lnTo>
                    <a:pt x="141900" y="163277"/>
                  </a:lnTo>
                  <a:lnTo>
                    <a:pt x="141899" y="163277"/>
                  </a:lnTo>
                  <a:lnTo>
                    <a:pt x="141900" y="163277"/>
                  </a:lnTo>
                  <a:lnTo>
                    <a:pt x="140746" y="164404"/>
                  </a:lnTo>
                  <a:lnTo>
                    <a:pt x="140746" y="162151"/>
                  </a:lnTo>
                  <a:lnTo>
                    <a:pt x="129209" y="155394"/>
                  </a:lnTo>
                  <a:lnTo>
                    <a:pt x="114212" y="148638"/>
                  </a:lnTo>
                  <a:lnTo>
                    <a:pt x="92292" y="139630"/>
                  </a:lnTo>
                  <a:lnTo>
                    <a:pt x="64604" y="129496"/>
                  </a:lnTo>
                  <a:lnTo>
                    <a:pt x="70373" y="130622"/>
                  </a:lnTo>
                  <a:lnTo>
                    <a:pt x="70373" y="129496"/>
                  </a:lnTo>
                  <a:lnTo>
                    <a:pt x="57683" y="127244"/>
                  </a:lnTo>
                  <a:lnTo>
                    <a:pt x="58836" y="124992"/>
                  </a:lnTo>
                  <a:lnTo>
                    <a:pt x="56529" y="127244"/>
                  </a:lnTo>
                  <a:lnTo>
                    <a:pt x="41532" y="123865"/>
                  </a:lnTo>
                  <a:lnTo>
                    <a:pt x="42685" y="121614"/>
                  </a:lnTo>
                  <a:lnTo>
                    <a:pt x="40377" y="123865"/>
                  </a:lnTo>
                  <a:lnTo>
                    <a:pt x="35763" y="120488"/>
                  </a:lnTo>
                  <a:lnTo>
                    <a:pt x="35763" y="121614"/>
                  </a:lnTo>
                  <a:lnTo>
                    <a:pt x="33456" y="120488"/>
                  </a:lnTo>
                  <a:lnTo>
                    <a:pt x="31149" y="118235"/>
                  </a:lnTo>
                  <a:lnTo>
                    <a:pt x="20766" y="113731"/>
                  </a:lnTo>
                  <a:lnTo>
                    <a:pt x="22872" y="112556"/>
                  </a:lnTo>
                  <a:lnTo>
                    <a:pt x="23073" y="112605"/>
                  </a:lnTo>
                  <a:lnTo>
                    <a:pt x="24806" y="111477"/>
                  </a:lnTo>
                  <a:lnTo>
                    <a:pt x="27580" y="109931"/>
                  </a:lnTo>
                  <a:lnTo>
                    <a:pt x="27688" y="110353"/>
                  </a:lnTo>
                  <a:lnTo>
                    <a:pt x="29072" y="109678"/>
                  </a:lnTo>
                  <a:lnTo>
                    <a:pt x="32302" y="108101"/>
                  </a:lnTo>
                  <a:lnTo>
                    <a:pt x="28841" y="109227"/>
                  </a:lnTo>
                  <a:lnTo>
                    <a:pt x="27580" y="109931"/>
                  </a:lnTo>
                  <a:lnTo>
                    <a:pt x="26534" y="105849"/>
                  </a:lnTo>
                  <a:lnTo>
                    <a:pt x="26534" y="110353"/>
                  </a:lnTo>
                  <a:lnTo>
                    <a:pt x="24806" y="111477"/>
                  </a:lnTo>
                  <a:lnTo>
                    <a:pt x="22872" y="112556"/>
                  </a:lnTo>
                  <a:lnTo>
                    <a:pt x="18458" y="111479"/>
                  </a:lnTo>
                  <a:lnTo>
                    <a:pt x="17305" y="109227"/>
                  </a:lnTo>
                  <a:lnTo>
                    <a:pt x="19612" y="109227"/>
                  </a:lnTo>
                  <a:lnTo>
                    <a:pt x="17305" y="108101"/>
                  </a:lnTo>
                  <a:lnTo>
                    <a:pt x="17305" y="109227"/>
                  </a:lnTo>
                  <a:lnTo>
                    <a:pt x="17305" y="110353"/>
                  </a:lnTo>
                  <a:lnTo>
                    <a:pt x="13843" y="108101"/>
                  </a:lnTo>
                  <a:lnTo>
                    <a:pt x="2307" y="92336"/>
                  </a:lnTo>
                  <a:lnTo>
                    <a:pt x="3461" y="87833"/>
                  </a:lnTo>
                  <a:lnTo>
                    <a:pt x="0" y="87833"/>
                  </a:lnTo>
                  <a:lnTo>
                    <a:pt x="2307" y="86706"/>
                  </a:lnTo>
                  <a:lnTo>
                    <a:pt x="4614" y="87833"/>
                  </a:lnTo>
                  <a:lnTo>
                    <a:pt x="4614" y="88959"/>
                  </a:lnTo>
                  <a:lnTo>
                    <a:pt x="11536" y="91210"/>
                  </a:lnTo>
                  <a:lnTo>
                    <a:pt x="12690" y="97966"/>
                  </a:lnTo>
                  <a:lnTo>
                    <a:pt x="11536" y="100219"/>
                  </a:lnTo>
                  <a:lnTo>
                    <a:pt x="12690" y="99092"/>
                  </a:lnTo>
                  <a:lnTo>
                    <a:pt x="13843" y="104723"/>
                  </a:lnTo>
                  <a:lnTo>
                    <a:pt x="14942" y="104509"/>
                  </a:lnTo>
                  <a:lnTo>
                    <a:pt x="14997" y="104723"/>
                  </a:lnTo>
                  <a:lnTo>
                    <a:pt x="19612" y="103597"/>
                  </a:lnTo>
                  <a:lnTo>
                    <a:pt x="14942" y="104509"/>
                  </a:lnTo>
                  <a:lnTo>
                    <a:pt x="13843" y="100219"/>
                  </a:lnTo>
                  <a:lnTo>
                    <a:pt x="14997" y="100219"/>
                  </a:lnTo>
                  <a:lnTo>
                    <a:pt x="12690" y="99092"/>
                  </a:lnTo>
                  <a:lnTo>
                    <a:pt x="16151" y="95715"/>
                  </a:lnTo>
                  <a:lnTo>
                    <a:pt x="16151" y="97966"/>
                  </a:lnTo>
                  <a:lnTo>
                    <a:pt x="20766" y="99092"/>
                  </a:lnTo>
                  <a:lnTo>
                    <a:pt x="18920" y="96390"/>
                  </a:lnTo>
                  <a:lnTo>
                    <a:pt x="19612" y="95715"/>
                  </a:lnTo>
                  <a:lnTo>
                    <a:pt x="18458" y="95715"/>
                  </a:lnTo>
                  <a:lnTo>
                    <a:pt x="18920" y="96390"/>
                  </a:lnTo>
                  <a:lnTo>
                    <a:pt x="17305" y="97966"/>
                  </a:lnTo>
                  <a:lnTo>
                    <a:pt x="16151" y="94589"/>
                  </a:lnTo>
                  <a:lnTo>
                    <a:pt x="12690" y="96841"/>
                  </a:lnTo>
                  <a:lnTo>
                    <a:pt x="12690" y="90084"/>
                  </a:lnTo>
                  <a:lnTo>
                    <a:pt x="14997" y="88959"/>
                  </a:lnTo>
                  <a:lnTo>
                    <a:pt x="17305" y="92336"/>
                  </a:lnTo>
                  <a:lnTo>
                    <a:pt x="16151" y="88959"/>
                  </a:lnTo>
                  <a:lnTo>
                    <a:pt x="21919" y="84454"/>
                  </a:lnTo>
                  <a:lnTo>
                    <a:pt x="23073" y="85580"/>
                  </a:lnTo>
                  <a:lnTo>
                    <a:pt x="21919" y="86706"/>
                  </a:lnTo>
                  <a:lnTo>
                    <a:pt x="24226" y="90084"/>
                  </a:lnTo>
                  <a:lnTo>
                    <a:pt x="23073" y="86706"/>
                  </a:lnTo>
                  <a:lnTo>
                    <a:pt x="24226" y="84454"/>
                  </a:lnTo>
                  <a:lnTo>
                    <a:pt x="19612" y="82202"/>
                  </a:lnTo>
                  <a:lnTo>
                    <a:pt x="39224" y="51798"/>
                  </a:lnTo>
                  <a:lnTo>
                    <a:pt x="47300" y="50672"/>
                  </a:lnTo>
                  <a:lnTo>
                    <a:pt x="71526" y="55177"/>
                  </a:lnTo>
                  <a:lnTo>
                    <a:pt x="83063" y="43916"/>
                  </a:lnTo>
                  <a:lnTo>
                    <a:pt x="108444" y="38286"/>
                  </a:lnTo>
                  <a:lnTo>
                    <a:pt x="116519" y="32656"/>
                  </a:lnTo>
                  <a:lnTo>
                    <a:pt x="133824" y="28152"/>
                  </a:lnTo>
                  <a:lnTo>
                    <a:pt x="148821" y="32656"/>
                  </a:lnTo>
                  <a:lnTo>
                    <a:pt x="162666" y="20269"/>
                  </a:lnTo>
                  <a:lnTo>
                    <a:pt x="164973" y="23647"/>
                  </a:lnTo>
                  <a:lnTo>
                    <a:pt x="164974" y="23647"/>
                  </a:lnTo>
                  <a:lnTo>
                    <a:pt x="162666" y="20269"/>
                  </a:lnTo>
                  <a:lnTo>
                    <a:pt x="178817" y="9009"/>
                  </a:lnTo>
                  <a:lnTo>
                    <a:pt x="203045" y="11261"/>
                  </a:lnTo>
                  <a:close/>
                </a:path>
              </a:pathLst>
            </a:custGeom>
            <a:solidFill>
              <a:srgbClr val="FFE8BA"/>
            </a:solidFill>
            <a:ln w="9525" cap="flat" cmpd="sng">
              <a:no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chemeClr val="bg1">
                    <a:lumMod val="95000"/>
                  </a:schemeClr>
                </a:solidFill>
                <a:latin typeface="Corbel" panose="020B0503020204020204" pitchFamily="34" charset="0"/>
                <a:ea typeface="Arial"/>
                <a:cs typeface="Arial"/>
                <a:sym typeface="Arial"/>
              </a:endParaRPr>
            </a:p>
          </p:txBody>
        </p:sp>
        <p:sp>
          <p:nvSpPr>
            <p:cNvPr id="916" name="Mook en Middelaar">
              <a:extLst>
                <a:ext uri="{FF2B5EF4-FFF2-40B4-BE49-F238E27FC236}">
                  <a16:creationId xmlns:a16="http://schemas.microsoft.com/office/drawing/2014/main" id="{B20ABB31-C6EC-4208-95C4-BFB6BD8C1B18}"/>
                </a:ext>
              </a:extLst>
            </p:cNvPr>
            <p:cNvSpPr/>
            <p:nvPr/>
          </p:nvSpPr>
          <p:spPr>
            <a:xfrm>
              <a:off x="6732149" y="4049268"/>
              <a:ext cx="76139" cy="94480"/>
            </a:xfrm>
            <a:custGeom>
              <a:avLst/>
              <a:gdLst/>
              <a:ahLst/>
              <a:cxnLst/>
              <a:rect l="l" t="t" r="r" b="b"/>
              <a:pathLst>
                <a:path w="117081" h="148590" extrusionOk="0">
                  <a:moveTo>
                    <a:pt x="105388" y="86407"/>
                  </a:moveTo>
                  <a:lnTo>
                    <a:pt x="108760" y="91345"/>
                  </a:lnTo>
                  <a:lnTo>
                    <a:pt x="117191" y="92991"/>
                  </a:lnTo>
                  <a:lnTo>
                    <a:pt x="112132" y="97928"/>
                  </a:lnTo>
                  <a:lnTo>
                    <a:pt x="112132" y="111095"/>
                  </a:lnTo>
                  <a:lnTo>
                    <a:pt x="102015" y="129199"/>
                  </a:lnTo>
                  <a:lnTo>
                    <a:pt x="91898" y="140720"/>
                  </a:lnTo>
                  <a:lnTo>
                    <a:pt x="88526" y="150596"/>
                  </a:lnTo>
                  <a:lnTo>
                    <a:pt x="68291" y="148950"/>
                  </a:lnTo>
                  <a:lnTo>
                    <a:pt x="44684" y="135783"/>
                  </a:lnTo>
                  <a:lnTo>
                    <a:pt x="36253" y="125908"/>
                  </a:lnTo>
                  <a:lnTo>
                    <a:pt x="27821" y="73240"/>
                  </a:lnTo>
                  <a:lnTo>
                    <a:pt x="16018" y="63365"/>
                  </a:lnTo>
                  <a:lnTo>
                    <a:pt x="4214" y="55136"/>
                  </a:lnTo>
                  <a:lnTo>
                    <a:pt x="10959" y="41969"/>
                  </a:lnTo>
                  <a:lnTo>
                    <a:pt x="7587" y="25510"/>
                  </a:lnTo>
                  <a:lnTo>
                    <a:pt x="9273" y="12343"/>
                  </a:lnTo>
                  <a:lnTo>
                    <a:pt x="37939" y="4114"/>
                  </a:lnTo>
                  <a:lnTo>
                    <a:pt x="48056" y="5760"/>
                  </a:lnTo>
                  <a:lnTo>
                    <a:pt x="66605" y="35385"/>
                  </a:lnTo>
                  <a:lnTo>
                    <a:pt x="75036" y="43615"/>
                  </a:lnTo>
                  <a:lnTo>
                    <a:pt x="81780" y="66657"/>
                  </a:lnTo>
                  <a:lnTo>
                    <a:pt x="110446" y="76532"/>
                  </a:lnTo>
                  <a:lnTo>
                    <a:pt x="105388" y="8640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7" name="Beek">
              <a:extLst>
                <a:ext uri="{FF2B5EF4-FFF2-40B4-BE49-F238E27FC236}">
                  <a16:creationId xmlns:a16="http://schemas.microsoft.com/office/drawing/2014/main" id="{247797A7-3F46-430A-8E64-1EEA296957A9}"/>
                </a:ext>
              </a:extLst>
            </p:cNvPr>
            <p:cNvSpPr/>
            <p:nvPr/>
          </p:nvSpPr>
          <p:spPr>
            <a:xfrm>
              <a:off x="6618548" y="5394144"/>
              <a:ext cx="113484" cy="102593"/>
            </a:xfrm>
            <a:custGeom>
              <a:avLst/>
              <a:gdLst/>
              <a:ahLst/>
              <a:cxnLst/>
              <a:rect l="l" t="t" r="r" b="b"/>
              <a:pathLst>
                <a:path w="163914" h="137160" extrusionOk="0">
                  <a:moveTo>
                    <a:pt x="125622" y="23865"/>
                  </a:moveTo>
                  <a:lnTo>
                    <a:pt x="135740" y="25510"/>
                  </a:lnTo>
                  <a:lnTo>
                    <a:pt x="137426" y="15635"/>
                  </a:lnTo>
                  <a:lnTo>
                    <a:pt x="149230" y="28802"/>
                  </a:lnTo>
                  <a:lnTo>
                    <a:pt x="152602" y="28802"/>
                  </a:lnTo>
                  <a:lnTo>
                    <a:pt x="159347" y="25510"/>
                  </a:lnTo>
                  <a:lnTo>
                    <a:pt x="164406" y="30448"/>
                  </a:lnTo>
                  <a:lnTo>
                    <a:pt x="161033" y="50198"/>
                  </a:lnTo>
                  <a:lnTo>
                    <a:pt x="155974" y="65011"/>
                  </a:lnTo>
                  <a:lnTo>
                    <a:pt x="140798" y="89699"/>
                  </a:lnTo>
                  <a:lnTo>
                    <a:pt x="127309" y="88053"/>
                  </a:lnTo>
                  <a:lnTo>
                    <a:pt x="123936" y="91345"/>
                  </a:lnTo>
                  <a:lnTo>
                    <a:pt x="123936" y="96282"/>
                  </a:lnTo>
                  <a:lnTo>
                    <a:pt x="39625" y="111095"/>
                  </a:lnTo>
                  <a:lnTo>
                    <a:pt x="36252" y="111095"/>
                  </a:lnTo>
                  <a:lnTo>
                    <a:pt x="10959" y="140721"/>
                  </a:lnTo>
                  <a:lnTo>
                    <a:pt x="5900" y="139075"/>
                  </a:lnTo>
                  <a:lnTo>
                    <a:pt x="4214" y="135783"/>
                  </a:lnTo>
                  <a:lnTo>
                    <a:pt x="10959" y="122617"/>
                  </a:lnTo>
                  <a:lnTo>
                    <a:pt x="27821" y="94637"/>
                  </a:lnTo>
                  <a:lnTo>
                    <a:pt x="36252" y="74886"/>
                  </a:lnTo>
                  <a:lnTo>
                    <a:pt x="29507" y="69949"/>
                  </a:lnTo>
                  <a:lnTo>
                    <a:pt x="41311" y="58427"/>
                  </a:lnTo>
                  <a:lnTo>
                    <a:pt x="42997" y="43615"/>
                  </a:lnTo>
                  <a:lnTo>
                    <a:pt x="49742" y="33740"/>
                  </a:lnTo>
                  <a:lnTo>
                    <a:pt x="42997" y="32094"/>
                  </a:lnTo>
                  <a:lnTo>
                    <a:pt x="42997" y="28802"/>
                  </a:lnTo>
                  <a:lnTo>
                    <a:pt x="56487" y="22218"/>
                  </a:lnTo>
                  <a:lnTo>
                    <a:pt x="64918" y="12343"/>
                  </a:lnTo>
                  <a:lnTo>
                    <a:pt x="78408" y="23865"/>
                  </a:lnTo>
                  <a:lnTo>
                    <a:pt x="93584" y="4114"/>
                  </a:lnTo>
                  <a:lnTo>
                    <a:pt x="125622" y="2386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8" name="Langedijk">
              <a:extLst>
                <a:ext uri="{FF2B5EF4-FFF2-40B4-BE49-F238E27FC236}">
                  <a16:creationId xmlns:a16="http://schemas.microsoft.com/office/drawing/2014/main" id="{2301DD72-F562-4F68-A3FC-6ADD0983C748}"/>
                </a:ext>
              </a:extLst>
            </p:cNvPr>
            <p:cNvSpPr/>
            <p:nvPr/>
          </p:nvSpPr>
          <p:spPr>
            <a:xfrm>
              <a:off x="5557994" y="2495579"/>
              <a:ext cx="106212" cy="128909"/>
            </a:xfrm>
            <a:custGeom>
              <a:avLst/>
              <a:gdLst/>
              <a:ahLst/>
              <a:cxnLst/>
              <a:rect l="l" t="t" r="r" b="b"/>
              <a:pathLst>
                <a:path w="163914" h="205740" extrusionOk="0">
                  <a:moveTo>
                    <a:pt x="91898" y="30448"/>
                  </a:moveTo>
                  <a:lnTo>
                    <a:pt x="103701" y="32094"/>
                  </a:lnTo>
                  <a:lnTo>
                    <a:pt x="108760" y="30448"/>
                  </a:lnTo>
                  <a:lnTo>
                    <a:pt x="108760" y="33739"/>
                  </a:lnTo>
                  <a:lnTo>
                    <a:pt x="115505" y="41969"/>
                  </a:lnTo>
                  <a:lnTo>
                    <a:pt x="118877" y="43615"/>
                  </a:lnTo>
                  <a:lnTo>
                    <a:pt x="120564" y="46906"/>
                  </a:lnTo>
                  <a:lnTo>
                    <a:pt x="152602" y="38677"/>
                  </a:lnTo>
                  <a:lnTo>
                    <a:pt x="159347" y="40323"/>
                  </a:lnTo>
                  <a:lnTo>
                    <a:pt x="162719" y="48552"/>
                  </a:lnTo>
                  <a:lnTo>
                    <a:pt x="140798" y="58428"/>
                  </a:lnTo>
                  <a:lnTo>
                    <a:pt x="149229" y="76532"/>
                  </a:lnTo>
                  <a:lnTo>
                    <a:pt x="152602" y="102866"/>
                  </a:lnTo>
                  <a:lnTo>
                    <a:pt x="150916" y="142367"/>
                  </a:lnTo>
                  <a:lnTo>
                    <a:pt x="144171" y="147304"/>
                  </a:lnTo>
                  <a:lnTo>
                    <a:pt x="125622" y="145658"/>
                  </a:lnTo>
                  <a:lnTo>
                    <a:pt x="110446" y="167054"/>
                  </a:lnTo>
                  <a:lnTo>
                    <a:pt x="112132" y="176930"/>
                  </a:lnTo>
                  <a:lnTo>
                    <a:pt x="71663" y="204909"/>
                  </a:lnTo>
                  <a:lnTo>
                    <a:pt x="75036" y="195034"/>
                  </a:lnTo>
                  <a:lnTo>
                    <a:pt x="69977" y="193388"/>
                  </a:lnTo>
                  <a:lnTo>
                    <a:pt x="78408" y="167054"/>
                  </a:lnTo>
                  <a:lnTo>
                    <a:pt x="73349" y="163763"/>
                  </a:lnTo>
                  <a:lnTo>
                    <a:pt x="80094" y="147304"/>
                  </a:lnTo>
                  <a:lnTo>
                    <a:pt x="80094" y="137429"/>
                  </a:lnTo>
                  <a:lnTo>
                    <a:pt x="36252" y="122616"/>
                  </a:lnTo>
                  <a:lnTo>
                    <a:pt x="24449" y="125908"/>
                  </a:lnTo>
                  <a:lnTo>
                    <a:pt x="4214" y="101220"/>
                  </a:lnTo>
                  <a:lnTo>
                    <a:pt x="41311" y="86407"/>
                  </a:lnTo>
                  <a:lnTo>
                    <a:pt x="66604" y="83115"/>
                  </a:lnTo>
                  <a:lnTo>
                    <a:pt x="71663" y="33739"/>
                  </a:lnTo>
                  <a:lnTo>
                    <a:pt x="80094" y="4114"/>
                  </a:lnTo>
                  <a:lnTo>
                    <a:pt x="91898" y="13989"/>
                  </a:lnTo>
                  <a:lnTo>
                    <a:pt x="90212" y="27156"/>
                  </a:lnTo>
                  <a:lnTo>
                    <a:pt x="91898" y="3044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19" name="Zoetermeer">
              <a:extLst>
                <a:ext uri="{FF2B5EF4-FFF2-40B4-BE49-F238E27FC236}">
                  <a16:creationId xmlns:a16="http://schemas.microsoft.com/office/drawing/2014/main" id="{E358664A-1CF1-4978-ABCF-C95CA4C2288E}"/>
                </a:ext>
              </a:extLst>
            </p:cNvPr>
            <p:cNvSpPr/>
            <p:nvPr/>
          </p:nvSpPr>
          <p:spPr>
            <a:xfrm>
              <a:off x="5218315" y="3526474"/>
              <a:ext cx="148091" cy="94480"/>
            </a:xfrm>
            <a:custGeom>
              <a:avLst/>
              <a:gdLst/>
              <a:ahLst/>
              <a:cxnLst/>
              <a:rect l="l" t="t" r="r" b="b"/>
              <a:pathLst>
                <a:path w="222455" h="148590" extrusionOk="0">
                  <a:moveTo>
                    <a:pt x="152602" y="13989"/>
                  </a:moveTo>
                  <a:lnTo>
                    <a:pt x="181268" y="35385"/>
                  </a:lnTo>
                  <a:lnTo>
                    <a:pt x="189699" y="43615"/>
                  </a:lnTo>
                  <a:lnTo>
                    <a:pt x="186326" y="53490"/>
                  </a:lnTo>
                  <a:lnTo>
                    <a:pt x="221737" y="83115"/>
                  </a:lnTo>
                  <a:lnTo>
                    <a:pt x="211620" y="94637"/>
                  </a:lnTo>
                  <a:lnTo>
                    <a:pt x="203189" y="111095"/>
                  </a:lnTo>
                  <a:lnTo>
                    <a:pt x="186326" y="109449"/>
                  </a:lnTo>
                  <a:lnTo>
                    <a:pt x="161033" y="130845"/>
                  </a:lnTo>
                  <a:lnTo>
                    <a:pt x="142485" y="152242"/>
                  </a:lnTo>
                  <a:lnTo>
                    <a:pt x="98643" y="153888"/>
                  </a:lnTo>
                  <a:lnTo>
                    <a:pt x="88525" y="130845"/>
                  </a:lnTo>
                  <a:lnTo>
                    <a:pt x="68291" y="135783"/>
                  </a:lnTo>
                  <a:lnTo>
                    <a:pt x="58173" y="109449"/>
                  </a:lnTo>
                  <a:lnTo>
                    <a:pt x="14332" y="102866"/>
                  </a:lnTo>
                  <a:lnTo>
                    <a:pt x="4214" y="89699"/>
                  </a:lnTo>
                  <a:lnTo>
                    <a:pt x="16018" y="89699"/>
                  </a:lnTo>
                  <a:lnTo>
                    <a:pt x="12645" y="78178"/>
                  </a:lnTo>
                  <a:lnTo>
                    <a:pt x="14332" y="74886"/>
                  </a:lnTo>
                  <a:lnTo>
                    <a:pt x="66604" y="38677"/>
                  </a:lnTo>
                  <a:lnTo>
                    <a:pt x="98643" y="32094"/>
                  </a:lnTo>
                  <a:lnTo>
                    <a:pt x="95270" y="22219"/>
                  </a:lnTo>
                  <a:lnTo>
                    <a:pt x="123936" y="17281"/>
                  </a:lnTo>
                  <a:lnTo>
                    <a:pt x="123936" y="12343"/>
                  </a:lnTo>
                  <a:lnTo>
                    <a:pt x="132367" y="17281"/>
                  </a:lnTo>
                  <a:lnTo>
                    <a:pt x="134053" y="15635"/>
                  </a:lnTo>
                  <a:lnTo>
                    <a:pt x="135740" y="7406"/>
                  </a:lnTo>
                  <a:lnTo>
                    <a:pt x="142485" y="4114"/>
                  </a:lnTo>
                  <a:lnTo>
                    <a:pt x="152602" y="1398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0" name="Amsterdam">
              <a:extLst>
                <a:ext uri="{FF2B5EF4-FFF2-40B4-BE49-F238E27FC236}">
                  <a16:creationId xmlns:a16="http://schemas.microsoft.com/office/drawing/2014/main" id="{CA32AE67-687B-4DCF-BE0C-B76407F5D25F}"/>
                </a:ext>
              </a:extLst>
            </p:cNvPr>
            <p:cNvSpPr/>
            <p:nvPr/>
          </p:nvSpPr>
          <p:spPr>
            <a:xfrm>
              <a:off x="5543110" y="2963669"/>
              <a:ext cx="370822" cy="257560"/>
            </a:xfrm>
            <a:custGeom>
              <a:avLst/>
              <a:gdLst/>
              <a:ahLst/>
              <a:cxnLst/>
              <a:rect l="l" t="t" r="r" b="b"/>
              <a:pathLst>
                <a:path w="515159" h="377190" extrusionOk="0">
                  <a:moveTo>
                    <a:pt x="381929" y="247702"/>
                  </a:moveTo>
                  <a:lnTo>
                    <a:pt x="390360" y="249348"/>
                  </a:lnTo>
                  <a:lnTo>
                    <a:pt x="397105" y="255931"/>
                  </a:lnTo>
                  <a:lnTo>
                    <a:pt x="408908" y="280619"/>
                  </a:lnTo>
                  <a:lnTo>
                    <a:pt x="408908" y="288849"/>
                  </a:lnTo>
                  <a:lnTo>
                    <a:pt x="437574" y="264160"/>
                  </a:lnTo>
                  <a:lnTo>
                    <a:pt x="437574" y="267452"/>
                  </a:lnTo>
                  <a:lnTo>
                    <a:pt x="439260" y="267452"/>
                  </a:lnTo>
                  <a:lnTo>
                    <a:pt x="446005" y="316828"/>
                  </a:lnTo>
                  <a:lnTo>
                    <a:pt x="432515" y="313536"/>
                  </a:lnTo>
                  <a:lnTo>
                    <a:pt x="424084" y="318474"/>
                  </a:lnTo>
                  <a:lnTo>
                    <a:pt x="420711" y="326704"/>
                  </a:lnTo>
                  <a:lnTo>
                    <a:pt x="419025" y="326704"/>
                  </a:lnTo>
                  <a:lnTo>
                    <a:pt x="415653" y="339870"/>
                  </a:lnTo>
                  <a:lnTo>
                    <a:pt x="408908" y="349746"/>
                  </a:lnTo>
                  <a:lnTo>
                    <a:pt x="386987" y="346454"/>
                  </a:lnTo>
                  <a:lnTo>
                    <a:pt x="366752" y="362912"/>
                  </a:lnTo>
                  <a:lnTo>
                    <a:pt x="363380" y="371142"/>
                  </a:lnTo>
                  <a:lnTo>
                    <a:pt x="361694" y="367850"/>
                  </a:lnTo>
                  <a:lnTo>
                    <a:pt x="354949" y="371142"/>
                  </a:lnTo>
                  <a:lnTo>
                    <a:pt x="353263" y="374433"/>
                  </a:lnTo>
                  <a:lnTo>
                    <a:pt x="344832" y="374433"/>
                  </a:lnTo>
                  <a:lnTo>
                    <a:pt x="306048" y="302015"/>
                  </a:lnTo>
                  <a:lnTo>
                    <a:pt x="316166" y="292140"/>
                  </a:lnTo>
                  <a:lnTo>
                    <a:pt x="314479" y="288849"/>
                  </a:lnTo>
                  <a:lnTo>
                    <a:pt x="319538" y="285557"/>
                  </a:lnTo>
                  <a:lnTo>
                    <a:pt x="319538" y="282265"/>
                  </a:lnTo>
                  <a:lnTo>
                    <a:pt x="322911" y="275682"/>
                  </a:lnTo>
                  <a:lnTo>
                    <a:pt x="317852" y="265807"/>
                  </a:lnTo>
                  <a:lnTo>
                    <a:pt x="322911" y="260869"/>
                  </a:lnTo>
                  <a:lnTo>
                    <a:pt x="333028" y="254286"/>
                  </a:lnTo>
                  <a:lnTo>
                    <a:pt x="341459" y="267452"/>
                  </a:lnTo>
                  <a:lnTo>
                    <a:pt x="363380" y="255931"/>
                  </a:lnTo>
                  <a:lnTo>
                    <a:pt x="368439" y="259223"/>
                  </a:lnTo>
                  <a:lnTo>
                    <a:pt x="375184" y="249348"/>
                  </a:lnTo>
                  <a:lnTo>
                    <a:pt x="381929" y="247702"/>
                  </a:lnTo>
                  <a:close/>
                  <a:moveTo>
                    <a:pt x="393732" y="165409"/>
                  </a:moveTo>
                  <a:lnTo>
                    <a:pt x="398791" y="168700"/>
                  </a:lnTo>
                  <a:lnTo>
                    <a:pt x="392046" y="175284"/>
                  </a:lnTo>
                  <a:lnTo>
                    <a:pt x="392046" y="176930"/>
                  </a:lnTo>
                  <a:lnTo>
                    <a:pt x="383615" y="181867"/>
                  </a:lnTo>
                  <a:lnTo>
                    <a:pt x="380242" y="175284"/>
                  </a:lnTo>
                  <a:lnTo>
                    <a:pt x="378556" y="176930"/>
                  </a:lnTo>
                  <a:lnTo>
                    <a:pt x="375184" y="173638"/>
                  </a:lnTo>
                  <a:lnTo>
                    <a:pt x="380242" y="167055"/>
                  </a:lnTo>
                  <a:lnTo>
                    <a:pt x="383615" y="170346"/>
                  </a:lnTo>
                  <a:lnTo>
                    <a:pt x="388673" y="167055"/>
                  </a:lnTo>
                  <a:lnTo>
                    <a:pt x="385301" y="170346"/>
                  </a:lnTo>
                  <a:lnTo>
                    <a:pt x="390360" y="175284"/>
                  </a:lnTo>
                  <a:lnTo>
                    <a:pt x="393732" y="171992"/>
                  </a:lnTo>
                  <a:lnTo>
                    <a:pt x="388673" y="167055"/>
                  </a:lnTo>
                  <a:lnTo>
                    <a:pt x="390360" y="163763"/>
                  </a:lnTo>
                  <a:lnTo>
                    <a:pt x="393732" y="165409"/>
                  </a:lnTo>
                  <a:close/>
                  <a:moveTo>
                    <a:pt x="434202" y="150596"/>
                  </a:moveTo>
                  <a:lnTo>
                    <a:pt x="432515" y="147304"/>
                  </a:lnTo>
                  <a:lnTo>
                    <a:pt x="435888" y="147304"/>
                  </a:lnTo>
                  <a:lnTo>
                    <a:pt x="434202" y="150596"/>
                  </a:lnTo>
                  <a:close/>
                  <a:moveTo>
                    <a:pt x="446005" y="119324"/>
                  </a:moveTo>
                  <a:lnTo>
                    <a:pt x="435888" y="144013"/>
                  </a:lnTo>
                  <a:lnTo>
                    <a:pt x="435888" y="135783"/>
                  </a:lnTo>
                  <a:lnTo>
                    <a:pt x="437574" y="135783"/>
                  </a:lnTo>
                  <a:lnTo>
                    <a:pt x="440946" y="120971"/>
                  </a:lnTo>
                  <a:lnTo>
                    <a:pt x="444319" y="120971"/>
                  </a:lnTo>
                  <a:lnTo>
                    <a:pt x="449377" y="112741"/>
                  </a:lnTo>
                  <a:lnTo>
                    <a:pt x="446005" y="119324"/>
                  </a:lnTo>
                  <a:close/>
                  <a:moveTo>
                    <a:pt x="61546" y="12344"/>
                  </a:moveTo>
                  <a:lnTo>
                    <a:pt x="63232" y="10698"/>
                  </a:lnTo>
                  <a:lnTo>
                    <a:pt x="196444" y="40323"/>
                  </a:lnTo>
                  <a:lnTo>
                    <a:pt x="201502" y="30448"/>
                  </a:lnTo>
                  <a:lnTo>
                    <a:pt x="199816" y="20573"/>
                  </a:lnTo>
                  <a:lnTo>
                    <a:pt x="206561" y="7406"/>
                  </a:lnTo>
                  <a:lnTo>
                    <a:pt x="218365" y="7406"/>
                  </a:lnTo>
                  <a:lnTo>
                    <a:pt x="228482" y="17281"/>
                  </a:lnTo>
                  <a:lnTo>
                    <a:pt x="252089" y="18927"/>
                  </a:lnTo>
                  <a:lnTo>
                    <a:pt x="265579" y="23864"/>
                  </a:lnTo>
                  <a:lnTo>
                    <a:pt x="309421" y="53490"/>
                  </a:lnTo>
                  <a:lnTo>
                    <a:pt x="329656" y="46906"/>
                  </a:lnTo>
                  <a:lnTo>
                    <a:pt x="334714" y="28802"/>
                  </a:lnTo>
                  <a:lnTo>
                    <a:pt x="341459" y="28802"/>
                  </a:lnTo>
                  <a:lnTo>
                    <a:pt x="343145" y="23864"/>
                  </a:lnTo>
                  <a:lnTo>
                    <a:pt x="343145" y="27156"/>
                  </a:lnTo>
                  <a:lnTo>
                    <a:pt x="348204" y="28802"/>
                  </a:lnTo>
                  <a:lnTo>
                    <a:pt x="373497" y="25510"/>
                  </a:lnTo>
                  <a:lnTo>
                    <a:pt x="388673" y="17281"/>
                  </a:lnTo>
                  <a:lnTo>
                    <a:pt x="395418" y="25510"/>
                  </a:lnTo>
                  <a:lnTo>
                    <a:pt x="397105" y="25510"/>
                  </a:lnTo>
                  <a:lnTo>
                    <a:pt x="400477" y="18927"/>
                  </a:lnTo>
                  <a:lnTo>
                    <a:pt x="413967" y="20573"/>
                  </a:lnTo>
                  <a:lnTo>
                    <a:pt x="440946" y="35386"/>
                  </a:lnTo>
                  <a:lnTo>
                    <a:pt x="446005" y="30448"/>
                  </a:lnTo>
                  <a:lnTo>
                    <a:pt x="456123" y="35386"/>
                  </a:lnTo>
                  <a:lnTo>
                    <a:pt x="459495" y="43615"/>
                  </a:lnTo>
                  <a:lnTo>
                    <a:pt x="467926" y="37031"/>
                  </a:lnTo>
                  <a:lnTo>
                    <a:pt x="488161" y="45261"/>
                  </a:lnTo>
                  <a:lnTo>
                    <a:pt x="513454" y="40323"/>
                  </a:lnTo>
                  <a:lnTo>
                    <a:pt x="516827" y="41969"/>
                  </a:lnTo>
                  <a:lnTo>
                    <a:pt x="516827" y="45261"/>
                  </a:lnTo>
                  <a:lnTo>
                    <a:pt x="515140" y="50198"/>
                  </a:lnTo>
                  <a:lnTo>
                    <a:pt x="501650" y="45261"/>
                  </a:lnTo>
                  <a:lnTo>
                    <a:pt x="493219" y="50198"/>
                  </a:lnTo>
                  <a:lnTo>
                    <a:pt x="483102" y="65011"/>
                  </a:lnTo>
                  <a:lnTo>
                    <a:pt x="471298" y="69949"/>
                  </a:lnTo>
                  <a:lnTo>
                    <a:pt x="461181" y="79824"/>
                  </a:lnTo>
                  <a:lnTo>
                    <a:pt x="451064" y="109449"/>
                  </a:lnTo>
                  <a:lnTo>
                    <a:pt x="442632" y="114387"/>
                  </a:lnTo>
                  <a:lnTo>
                    <a:pt x="439260" y="119324"/>
                  </a:lnTo>
                  <a:lnTo>
                    <a:pt x="434202" y="119324"/>
                  </a:lnTo>
                  <a:lnTo>
                    <a:pt x="425770" y="122616"/>
                  </a:lnTo>
                  <a:lnTo>
                    <a:pt x="434202" y="120971"/>
                  </a:lnTo>
                  <a:lnTo>
                    <a:pt x="430829" y="122616"/>
                  </a:lnTo>
                  <a:lnTo>
                    <a:pt x="434202" y="127554"/>
                  </a:lnTo>
                  <a:lnTo>
                    <a:pt x="430829" y="140721"/>
                  </a:lnTo>
                  <a:lnTo>
                    <a:pt x="432515" y="145658"/>
                  </a:lnTo>
                  <a:lnTo>
                    <a:pt x="425770" y="147304"/>
                  </a:lnTo>
                  <a:lnTo>
                    <a:pt x="415653" y="142367"/>
                  </a:lnTo>
                  <a:lnTo>
                    <a:pt x="410594" y="132492"/>
                  </a:lnTo>
                  <a:lnTo>
                    <a:pt x="403850" y="134137"/>
                  </a:lnTo>
                  <a:lnTo>
                    <a:pt x="410594" y="130845"/>
                  </a:lnTo>
                  <a:lnTo>
                    <a:pt x="400477" y="135783"/>
                  </a:lnTo>
                  <a:lnTo>
                    <a:pt x="397105" y="135783"/>
                  </a:lnTo>
                  <a:lnTo>
                    <a:pt x="388673" y="144013"/>
                  </a:lnTo>
                  <a:lnTo>
                    <a:pt x="383615" y="145658"/>
                  </a:lnTo>
                  <a:lnTo>
                    <a:pt x="373497" y="130845"/>
                  </a:lnTo>
                  <a:lnTo>
                    <a:pt x="373497" y="139075"/>
                  </a:lnTo>
                  <a:lnTo>
                    <a:pt x="371811" y="129200"/>
                  </a:lnTo>
                  <a:lnTo>
                    <a:pt x="366752" y="130845"/>
                  </a:lnTo>
                  <a:lnTo>
                    <a:pt x="358321" y="120971"/>
                  </a:lnTo>
                  <a:lnTo>
                    <a:pt x="354949" y="125908"/>
                  </a:lnTo>
                  <a:lnTo>
                    <a:pt x="351577" y="124262"/>
                  </a:lnTo>
                  <a:lnTo>
                    <a:pt x="354949" y="125908"/>
                  </a:lnTo>
                  <a:lnTo>
                    <a:pt x="351577" y="127554"/>
                  </a:lnTo>
                  <a:lnTo>
                    <a:pt x="356635" y="129200"/>
                  </a:lnTo>
                  <a:lnTo>
                    <a:pt x="353263" y="130845"/>
                  </a:lnTo>
                  <a:lnTo>
                    <a:pt x="388673" y="158825"/>
                  </a:lnTo>
                  <a:lnTo>
                    <a:pt x="405536" y="162117"/>
                  </a:lnTo>
                  <a:lnTo>
                    <a:pt x="435888" y="158825"/>
                  </a:lnTo>
                  <a:lnTo>
                    <a:pt x="405536" y="162117"/>
                  </a:lnTo>
                  <a:lnTo>
                    <a:pt x="381929" y="155534"/>
                  </a:lnTo>
                  <a:lnTo>
                    <a:pt x="373497" y="157179"/>
                  </a:lnTo>
                  <a:lnTo>
                    <a:pt x="373497" y="158825"/>
                  </a:lnTo>
                  <a:lnTo>
                    <a:pt x="376870" y="163763"/>
                  </a:lnTo>
                  <a:lnTo>
                    <a:pt x="371811" y="165409"/>
                  </a:lnTo>
                  <a:lnTo>
                    <a:pt x="366752" y="163763"/>
                  </a:lnTo>
                  <a:lnTo>
                    <a:pt x="366752" y="157179"/>
                  </a:lnTo>
                  <a:lnTo>
                    <a:pt x="349890" y="157179"/>
                  </a:lnTo>
                  <a:lnTo>
                    <a:pt x="349890" y="158825"/>
                  </a:lnTo>
                  <a:lnTo>
                    <a:pt x="351577" y="160471"/>
                  </a:lnTo>
                  <a:lnTo>
                    <a:pt x="349890" y="163763"/>
                  </a:lnTo>
                  <a:lnTo>
                    <a:pt x="354949" y="163763"/>
                  </a:lnTo>
                  <a:lnTo>
                    <a:pt x="356635" y="165409"/>
                  </a:lnTo>
                  <a:lnTo>
                    <a:pt x="354949" y="168700"/>
                  </a:lnTo>
                  <a:lnTo>
                    <a:pt x="351577" y="165409"/>
                  </a:lnTo>
                  <a:lnTo>
                    <a:pt x="353263" y="168700"/>
                  </a:lnTo>
                  <a:lnTo>
                    <a:pt x="365066" y="175284"/>
                  </a:lnTo>
                  <a:lnTo>
                    <a:pt x="373497" y="176930"/>
                  </a:lnTo>
                  <a:lnTo>
                    <a:pt x="375184" y="185159"/>
                  </a:lnTo>
                  <a:lnTo>
                    <a:pt x="393732" y="181867"/>
                  </a:lnTo>
                  <a:lnTo>
                    <a:pt x="398791" y="185159"/>
                  </a:lnTo>
                  <a:lnTo>
                    <a:pt x="392046" y="178576"/>
                  </a:lnTo>
                  <a:lnTo>
                    <a:pt x="400477" y="173638"/>
                  </a:lnTo>
                  <a:lnTo>
                    <a:pt x="427457" y="195034"/>
                  </a:lnTo>
                  <a:lnTo>
                    <a:pt x="437574" y="190097"/>
                  </a:lnTo>
                  <a:lnTo>
                    <a:pt x="439260" y="191742"/>
                  </a:lnTo>
                  <a:lnTo>
                    <a:pt x="432515" y="196680"/>
                  </a:lnTo>
                  <a:lnTo>
                    <a:pt x="432515" y="199972"/>
                  </a:lnTo>
                  <a:lnTo>
                    <a:pt x="439260" y="201618"/>
                  </a:lnTo>
                  <a:lnTo>
                    <a:pt x="430829" y="219722"/>
                  </a:lnTo>
                  <a:lnTo>
                    <a:pt x="425770" y="221368"/>
                  </a:lnTo>
                  <a:lnTo>
                    <a:pt x="419025" y="219722"/>
                  </a:lnTo>
                  <a:lnTo>
                    <a:pt x="412281" y="223014"/>
                  </a:lnTo>
                  <a:lnTo>
                    <a:pt x="375184" y="190097"/>
                  </a:lnTo>
                  <a:lnTo>
                    <a:pt x="366752" y="186805"/>
                  </a:lnTo>
                  <a:lnTo>
                    <a:pt x="361694" y="190097"/>
                  </a:lnTo>
                  <a:lnTo>
                    <a:pt x="351577" y="209847"/>
                  </a:lnTo>
                  <a:lnTo>
                    <a:pt x="336400" y="229597"/>
                  </a:lnTo>
                  <a:lnTo>
                    <a:pt x="316166" y="239473"/>
                  </a:lnTo>
                  <a:lnTo>
                    <a:pt x="304362" y="234535"/>
                  </a:lnTo>
                  <a:lnTo>
                    <a:pt x="297617" y="236181"/>
                  </a:lnTo>
                  <a:lnTo>
                    <a:pt x="295931" y="242764"/>
                  </a:lnTo>
                  <a:lnTo>
                    <a:pt x="280755" y="247702"/>
                  </a:lnTo>
                  <a:lnTo>
                    <a:pt x="282441" y="262515"/>
                  </a:lnTo>
                  <a:lnTo>
                    <a:pt x="277383" y="265807"/>
                  </a:lnTo>
                  <a:lnTo>
                    <a:pt x="277383" y="269098"/>
                  </a:lnTo>
                  <a:lnTo>
                    <a:pt x="282441" y="272390"/>
                  </a:lnTo>
                  <a:lnTo>
                    <a:pt x="279069" y="277328"/>
                  </a:lnTo>
                  <a:lnTo>
                    <a:pt x="275696" y="277328"/>
                  </a:lnTo>
                  <a:lnTo>
                    <a:pt x="265579" y="270744"/>
                  </a:lnTo>
                  <a:lnTo>
                    <a:pt x="255462" y="267452"/>
                  </a:lnTo>
                  <a:lnTo>
                    <a:pt x="196444" y="269098"/>
                  </a:lnTo>
                  <a:lnTo>
                    <a:pt x="194758" y="247702"/>
                  </a:lnTo>
                  <a:lnTo>
                    <a:pt x="176209" y="247702"/>
                  </a:lnTo>
                  <a:lnTo>
                    <a:pt x="169464" y="250994"/>
                  </a:lnTo>
                  <a:lnTo>
                    <a:pt x="169464" y="255931"/>
                  </a:lnTo>
                  <a:lnTo>
                    <a:pt x="137426" y="259223"/>
                  </a:lnTo>
                  <a:lnTo>
                    <a:pt x="132367" y="254286"/>
                  </a:lnTo>
                  <a:lnTo>
                    <a:pt x="107074" y="236181"/>
                  </a:lnTo>
                  <a:lnTo>
                    <a:pt x="95270" y="219722"/>
                  </a:lnTo>
                  <a:lnTo>
                    <a:pt x="42997" y="185159"/>
                  </a:lnTo>
                  <a:lnTo>
                    <a:pt x="41311" y="178576"/>
                  </a:lnTo>
                  <a:lnTo>
                    <a:pt x="48056" y="145658"/>
                  </a:lnTo>
                  <a:lnTo>
                    <a:pt x="44684" y="132492"/>
                  </a:lnTo>
                  <a:lnTo>
                    <a:pt x="48056" y="129200"/>
                  </a:lnTo>
                  <a:lnTo>
                    <a:pt x="48056" y="86407"/>
                  </a:lnTo>
                  <a:lnTo>
                    <a:pt x="4214" y="76532"/>
                  </a:lnTo>
                  <a:lnTo>
                    <a:pt x="19390" y="4114"/>
                  </a:lnTo>
                  <a:lnTo>
                    <a:pt x="61546" y="1234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1" name="Meerssen">
              <a:extLst>
                <a:ext uri="{FF2B5EF4-FFF2-40B4-BE49-F238E27FC236}">
                  <a16:creationId xmlns:a16="http://schemas.microsoft.com/office/drawing/2014/main" id="{798D0861-DA69-4602-BEA3-602A198633D1}"/>
                </a:ext>
              </a:extLst>
            </p:cNvPr>
            <p:cNvSpPr/>
            <p:nvPr/>
          </p:nvSpPr>
          <p:spPr>
            <a:xfrm>
              <a:off x="6571738" y="5409932"/>
              <a:ext cx="105463" cy="129026"/>
            </a:xfrm>
            <a:custGeom>
              <a:avLst/>
              <a:gdLst/>
              <a:ahLst/>
              <a:cxnLst/>
              <a:rect l="l" t="t" r="r" b="b"/>
              <a:pathLst>
                <a:path w="140498" h="182880" extrusionOk="0">
                  <a:moveTo>
                    <a:pt x="56487" y="4114"/>
                  </a:moveTo>
                  <a:lnTo>
                    <a:pt x="59859" y="9052"/>
                  </a:lnTo>
                  <a:lnTo>
                    <a:pt x="59859" y="13989"/>
                  </a:lnTo>
                  <a:lnTo>
                    <a:pt x="63232" y="13989"/>
                  </a:lnTo>
                  <a:lnTo>
                    <a:pt x="59859" y="22218"/>
                  </a:lnTo>
                  <a:lnTo>
                    <a:pt x="68291" y="27156"/>
                  </a:lnTo>
                  <a:lnTo>
                    <a:pt x="71663" y="32094"/>
                  </a:lnTo>
                  <a:lnTo>
                    <a:pt x="73349" y="32094"/>
                  </a:lnTo>
                  <a:lnTo>
                    <a:pt x="75036" y="30448"/>
                  </a:lnTo>
                  <a:lnTo>
                    <a:pt x="102015" y="45260"/>
                  </a:lnTo>
                  <a:lnTo>
                    <a:pt x="93584" y="65011"/>
                  </a:lnTo>
                  <a:lnTo>
                    <a:pt x="76722" y="91345"/>
                  </a:lnTo>
                  <a:lnTo>
                    <a:pt x="69977" y="106157"/>
                  </a:lnTo>
                  <a:lnTo>
                    <a:pt x="71663" y="109449"/>
                  </a:lnTo>
                  <a:lnTo>
                    <a:pt x="76722" y="111095"/>
                  </a:lnTo>
                  <a:lnTo>
                    <a:pt x="102015" y="81470"/>
                  </a:lnTo>
                  <a:lnTo>
                    <a:pt x="105388" y="81470"/>
                  </a:lnTo>
                  <a:lnTo>
                    <a:pt x="144171" y="74886"/>
                  </a:lnTo>
                  <a:lnTo>
                    <a:pt x="142484" y="79824"/>
                  </a:lnTo>
                  <a:lnTo>
                    <a:pt x="142484" y="86407"/>
                  </a:lnTo>
                  <a:lnTo>
                    <a:pt x="135740" y="89699"/>
                  </a:lnTo>
                  <a:lnTo>
                    <a:pt x="144171" y="102866"/>
                  </a:lnTo>
                  <a:lnTo>
                    <a:pt x="139112" y="106157"/>
                  </a:lnTo>
                  <a:lnTo>
                    <a:pt x="144171" y="106157"/>
                  </a:lnTo>
                  <a:lnTo>
                    <a:pt x="147543" y="112741"/>
                  </a:lnTo>
                  <a:lnTo>
                    <a:pt x="144171" y="117679"/>
                  </a:lnTo>
                  <a:lnTo>
                    <a:pt x="142484" y="112741"/>
                  </a:lnTo>
                  <a:lnTo>
                    <a:pt x="135740" y="114387"/>
                  </a:lnTo>
                  <a:lnTo>
                    <a:pt x="137426" y="132492"/>
                  </a:lnTo>
                  <a:lnTo>
                    <a:pt x="140798" y="142367"/>
                  </a:lnTo>
                  <a:lnTo>
                    <a:pt x="139112" y="148950"/>
                  </a:lnTo>
                  <a:lnTo>
                    <a:pt x="125622" y="150596"/>
                  </a:lnTo>
                  <a:lnTo>
                    <a:pt x="123936" y="147304"/>
                  </a:lnTo>
                  <a:lnTo>
                    <a:pt x="117191" y="150596"/>
                  </a:lnTo>
                  <a:lnTo>
                    <a:pt x="107074" y="147304"/>
                  </a:lnTo>
                  <a:lnTo>
                    <a:pt x="98643" y="167054"/>
                  </a:lnTo>
                  <a:lnTo>
                    <a:pt x="100329" y="170346"/>
                  </a:lnTo>
                  <a:lnTo>
                    <a:pt x="98643" y="171992"/>
                  </a:lnTo>
                  <a:lnTo>
                    <a:pt x="102015" y="171992"/>
                  </a:lnTo>
                  <a:lnTo>
                    <a:pt x="98643" y="175284"/>
                  </a:lnTo>
                  <a:lnTo>
                    <a:pt x="90211" y="173638"/>
                  </a:lnTo>
                  <a:lnTo>
                    <a:pt x="85153" y="181867"/>
                  </a:lnTo>
                  <a:lnTo>
                    <a:pt x="86839" y="188451"/>
                  </a:lnTo>
                  <a:lnTo>
                    <a:pt x="78408" y="190096"/>
                  </a:lnTo>
                  <a:lnTo>
                    <a:pt x="71663" y="176929"/>
                  </a:lnTo>
                  <a:lnTo>
                    <a:pt x="58173" y="178576"/>
                  </a:lnTo>
                  <a:lnTo>
                    <a:pt x="56487" y="175284"/>
                  </a:lnTo>
                  <a:lnTo>
                    <a:pt x="51428" y="176929"/>
                  </a:lnTo>
                  <a:lnTo>
                    <a:pt x="51428" y="173638"/>
                  </a:lnTo>
                  <a:lnTo>
                    <a:pt x="37939" y="170346"/>
                  </a:lnTo>
                  <a:lnTo>
                    <a:pt x="41311" y="152242"/>
                  </a:lnTo>
                  <a:lnTo>
                    <a:pt x="26135" y="147304"/>
                  </a:lnTo>
                  <a:lnTo>
                    <a:pt x="24449" y="129199"/>
                  </a:lnTo>
                  <a:lnTo>
                    <a:pt x="21076" y="122616"/>
                  </a:lnTo>
                  <a:lnTo>
                    <a:pt x="12645" y="116033"/>
                  </a:lnTo>
                  <a:lnTo>
                    <a:pt x="16018" y="111095"/>
                  </a:lnTo>
                  <a:lnTo>
                    <a:pt x="4214" y="101220"/>
                  </a:lnTo>
                  <a:lnTo>
                    <a:pt x="5900" y="92991"/>
                  </a:lnTo>
                  <a:lnTo>
                    <a:pt x="10959" y="89699"/>
                  </a:lnTo>
                  <a:lnTo>
                    <a:pt x="7586" y="88053"/>
                  </a:lnTo>
                  <a:lnTo>
                    <a:pt x="16018" y="89699"/>
                  </a:lnTo>
                  <a:lnTo>
                    <a:pt x="26135" y="76532"/>
                  </a:lnTo>
                  <a:lnTo>
                    <a:pt x="26135" y="51844"/>
                  </a:lnTo>
                  <a:lnTo>
                    <a:pt x="34566" y="35385"/>
                  </a:lnTo>
                  <a:lnTo>
                    <a:pt x="48056" y="23864"/>
                  </a:lnTo>
                  <a:lnTo>
                    <a:pt x="56487"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2" name="Renswoude">
              <a:extLst>
                <a:ext uri="{FF2B5EF4-FFF2-40B4-BE49-F238E27FC236}">
                  <a16:creationId xmlns:a16="http://schemas.microsoft.com/office/drawing/2014/main" id="{A914E814-09B3-479E-853F-DE9A0118287A}"/>
                </a:ext>
              </a:extLst>
            </p:cNvPr>
            <p:cNvSpPr/>
            <p:nvPr/>
          </p:nvSpPr>
          <p:spPr>
            <a:xfrm>
              <a:off x="6352087" y="3508511"/>
              <a:ext cx="58619" cy="113471"/>
            </a:xfrm>
            <a:custGeom>
              <a:avLst/>
              <a:gdLst/>
              <a:ahLst/>
              <a:cxnLst/>
              <a:rect l="l" t="t" r="r" b="b"/>
              <a:pathLst>
                <a:path w="105373" h="160020" extrusionOk="0">
                  <a:moveTo>
                    <a:pt x="88525" y="4114"/>
                  </a:moveTo>
                  <a:lnTo>
                    <a:pt x="93584" y="17281"/>
                  </a:lnTo>
                  <a:lnTo>
                    <a:pt x="88525" y="25510"/>
                  </a:lnTo>
                  <a:lnTo>
                    <a:pt x="93584" y="28802"/>
                  </a:lnTo>
                  <a:lnTo>
                    <a:pt x="96957" y="37031"/>
                  </a:lnTo>
                  <a:lnTo>
                    <a:pt x="95270" y="50198"/>
                  </a:lnTo>
                  <a:lnTo>
                    <a:pt x="98643" y="48552"/>
                  </a:lnTo>
                  <a:lnTo>
                    <a:pt x="98643" y="51844"/>
                  </a:lnTo>
                  <a:lnTo>
                    <a:pt x="103701" y="55136"/>
                  </a:lnTo>
                  <a:lnTo>
                    <a:pt x="107074" y="69949"/>
                  </a:lnTo>
                  <a:lnTo>
                    <a:pt x="102015" y="86407"/>
                  </a:lnTo>
                  <a:lnTo>
                    <a:pt x="103701" y="92991"/>
                  </a:lnTo>
                  <a:lnTo>
                    <a:pt x="98643" y="137429"/>
                  </a:lnTo>
                  <a:lnTo>
                    <a:pt x="100329" y="137429"/>
                  </a:lnTo>
                  <a:lnTo>
                    <a:pt x="100329" y="140720"/>
                  </a:lnTo>
                  <a:lnTo>
                    <a:pt x="80094" y="139075"/>
                  </a:lnTo>
                  <a:lnTo>
                    <a:pt x="73349" y="155533"/>
                  </a:lnTo>
                  <a:lnTo>
                    <a:pt x="59860" y="163763"/>
                  </a:lnTo>
                  <a:lnTo>
                    <a:pt x="51428" y="158825"/>
                  </a:lnTo>
                  <a:lnTo>
                    <a:pt x="37939" y="145658"/>
                  </a:lnTo>
                  <a:lnTo>
                    <a:pt x="36253" y="127554"/>
                  </a:lnTo>
                  <a:lnTo>
                    <a:pt x="7587" y="120970"/>
                  </a:lnTo>
                  <a:lnTo>
                    <a:pt x="4214" y="86407"/>
                  </a:lnTo>
                  <a:lnTo>
                    <a:pt x="10959" y="86407"/>
                  </a:lnTo>
                  <a:lnTo>
                    <a:pt x="14332" y="81469"/>
                  </a:lnTo>
                  <a:lnTo>
                    <a:pt x="17704" y="81469"/>
                  </a:lnTo>
                  <a:lnTo>
                    <a:pt x="19390" y="73240"/>
                  </a:lnTo>
                  <a:lnTo>
                    <a:pt x="26135" y="73240"/>
                  </a:lnTo>
                  <a:lnTo>
                    <a:pt x="26135" y="68302"/>
                  </a:lnTo>
                  <a:lnTo>
                    <a:pt x="41311" y="66657"/>
                  </a:lnTo>
                  <a:lnTo>
                    <a:pt x="46370" y="71594"/>
                  </a:lnTo>
                  <a:lnTo>
                    <a:pt x="58173" y="61719"/>
                  </a:lnTo>
                  <a:lnTo>
                    <a:pt x="59860" y="56781"/>
                  </a:lnTo>
                  <a:lnTo>
                    <a:pt x="51428" y="53490"/>
                  </a:lnTo>
                  <a:lnTo>
                    <a:pt x="58173" y="41969"/>
                  </a:lnTo>
                  <a:lnTo>
                    <a:pt x="68291" y="45260"/>
                  </a:lnTo>
                  <a:lnTo>
                    <a:pt x="69977" y="35385"/>
                  </a:lnTo>
                  <a:lnTo>
                    <a:pt x="64918" y="33739"/>
                  </a:lnTo>
                  <a:lnTo>
                    <a:pt x="71663" y="22218"/>
                  </a:lnTo>
                  <a:lnTo>
                    <a:pt x="61546" y="17281"/>
                  </a:lnTo>
                  <a:lnTo>
                    <a:pt x="59860" y="12343"/>
                  </a:lnTo>
                  <a:lnTo>
                    <a:pt x="75036" y="7405"/>
                  </a:lnTo>
                  <a:lnTo>
                    <a:pt x="78408" y="12343"/>
                  </a:lnTo>
                  <a:lnTo>
                    <a:pt x="81780" y="10697"/>
                  </a:lnTo>
                  <a:lnTo>
                    <a:pt x="80094" y="5760"/>
                  </a:lnTo>
                  <a:lnTo>
                    <a:pt x="88525"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3" name="Zundert">
              <a:extLst>
                <a:ext uri="{FF2B5EF4-FFF2-40B4-BE49-F238E27FC236}">
                  <a16:creationId xmlns:a16="http://schemas.microsoft.com/office/drawing/2014/main" id="{D41FC722-7139-4C9D-95EC-E15B7B70D976}"/>
                </a:ext>
              </a:extLst>
            </p:cNvPr>
            <p:cNvSpPr/>
            <p:nvPr/>
          </p:nvSpPr>
          <p:spPr>
            <a:xfrm>
              <a:off x="5332264" y="4413767"/>
              <a:ext cx="231502" cy="216005"/>
            </a:xfrm>
            <a:custGeom>
              <a:avLst/>
              <a:gdLst/>
              <a:ahLst/>
              <a:cxnLst/>
              <a:rect l="l" t="t" r="r" b="b"/>
              <a:pathLst>
                <a:path w="339536" h="308610" extrusionOk="0">
                  <a:moveTo>
                    <a:pt x="300990" y="25510"/>
                  </a:moveTo>
                  <a:lnTo>
                    <a:pt x="312793" y="35385"/>
                  </a:lnTo>
                  <a:lnTo>
                    <a:pt x="302676" y="40323"/>
                  </a:lnTo>
                  <a:lnTo>
                    <a:pt x="307735" y="45261"/>
                  </a:lnTo>
                  <a:lnTo>
                    <a:pt x="312793" y="43615"/>
                  </a:lnTo>
                  <a:lnTo>
                    <a:pt x="316166" y="37031"/>
                  </a:lnTo>
                  <a:lnTo>
                    <a:pt x="327969" y="46906"/>
                  </a:lnTo>
                  <a:lnTo>
                    <a:pt x="327969" y="50198"/>
                  </a:lnTo>
                  <a:lnTo>
                    <a:pt x="333028" y="45261"/>
                  </a:lnTo>
                  <a:lnTo>
                    <a:pt x="333028" y="48552"/>
                  </a:lnTo>
                  <a:lnTo>
                    <a:pt x="329656" y="58427"/>
                  </a:lnTo>
                  <a:lnTo>
                    <a:pt x="334714" y="63365"/>
                  </a:lnTo>
                  <a:lnTo>
                    <a:pt x="336400" y="78178"/>
                  </a:lnTo>
                  <a:lnTo>
                    <a:pt x="329656" y="81470"/>
                  </a:lnTo>
                  <a:lnTo>
                    <a:pt x="336400" y="79824"/>
                  </a:lnTo>
                  <a:lnTo>
                    <a:pt x="334714" y="97928"/>
                  </a:lnTo>
                  <a:lnTo>
                    <a:pt x="333028" y="111095"/>
                  </a:lnTo>
                  <a:lnTo>
                    <a:pt x="326283" y="111095"/>
                  </a:lnTo>
                  <a:lnTo>
                    <a:pt x="331342" y="112741"/>
                  </a:lnTo>
                  <a:lnTo>
                    <a:pt x="319538" y="160471"/>
                  </a:lnTo>
                  <a:lnTo>
                    <a:pt x="312793" y="163763"/>
                  </a:lnTo>
                  <a:lnTo>
                    <a:pt x="299304" y="188451"/>
                  </a:lnTo>
                  <a:lnTo>
                    <a:pt x="290872" y="195034"/>
                  </a:lnTo>
                  <a:lnTo>
                    <a:pt x="292559" y="199972"/>
                  </a:lnTo>
                  <a:lnTo>
                    <a:pt x="272324" y="204909"/>
                  </a:lnTo>
                  <a:lnTo>
                    <a:pt x="272324" y="208201"/>
                  </a:lnTo>
                  <a:lnTo>
                    <a:pt x="255462" y="241118"/>
                  </a:lnTo>
                  <a:lnTo>
                    <a:pt x="245344" y="242764"/>
                  </a:lnTo>
                  <a:lnTo>
                    <a:pt x="214992" y="257577"/>
                  </a:lnTo>
                  <a:lnTo>
                    <a:pt x="218365" y="302015"/>
                  </a:lnTo>
                  <a:lnTo>
                    <a:pt x="198130" y="305307"/>
                  </a:lnTo>
                  <a:lnTo>
                    <a:pt x="191385" y="300369"/>
                  </a:lnTo>
                  <a:lnTo>
                    <a:pt x="182954" y="308599"/>
                  </a:lnTo>
                  <a:lnTo>
                    <a:pt x="174523" y="311890"/>
                  </a:lnTo>
                  <a:lnTo>
                    <a:pt x="157661" y="302015"/>
                  </a:lnTo>
                  <a:lnTo>
                    <a:pt x="71663" y="285557"/>
                  </a:lnTo>
                  <a:lnTo>
                    <a:pt x="10959" y="308599"/>
                  </a:lnTo>
                  <a:lnTo>
                    <a:pt x="4214" y="244410"/>
                  </a:lnTo>
                  <a:lnTo>
                    <a:pt x="44684" y="157179"/>
                  </a:lnTo>
                  <a:lnTo>
                    <a:pt x="69977" y="163763"/>
                  </a:lnTo>
                  <a:lnTo>
                    <a:pt x="75036" y="150596"/>
                  </a:lnTo>
                  <a:lnTo>
                    <a:pt x="73349" y="150596"/>
                  </a:lnTo>
                  <a:lnTo>
                    <a:pt x="76722" y="140721"/>
                  </a:lnTo>
                  <a:lnTo>
                    <a:pt x="88525" y="132492"/>
                  </a:lnTo>
                  <a:lnTo>
                    <a:pt x="96956" y="130845"/>
                  </a:lnTo>
                  <a:lnTo>
                    <a:pt x="81780" y="96282"/>
                  </a:lnTo>
                  <a:lnTo>
                    <a:pt x="130681" y="102866"/>
                  </a:lnTo>
                  <a:lnTo>
                    <a:pt x="137426" y="101220"/>
                  </a:lnTo>
                  <a:lnTo>
                    <a:pt x="139112" y="104512"/>
                  </a:lnTo>
                  <a:lnTo>
                    <a:pt x="140798" y="97928"/>
                  </a:lnTo>
                  <a:lnTo>
                    <a:pt x="145857" y="97928"/>
                  </a:lnTo>
                  <a:lnTo>
                    <a:pt x="144171" y="84761"/>
                  </a:lnTo>
                  <a:lnTo>
                    <a:pt x="154288" y="78178"/>
                  </a:lnTo>
                  <a:lnTo>
                    <a:pt x="152602" y="73240"/>
                  </a:lnTo>
                  <a:lnTo>
                    <a:pt x="155974" y="69949"/>
                  </a:lnTo>
                  <a:lnTo>
                    <a:pt x="172837" y="65011"/>
                  </a:lnTo>
                  <a:lnTo>
                    <a:pt x="172837" y="81470"/>
                  </a:lnTo>
                  <a:lnTo>
                    <a:pt x="181268" y="79824"/>
                  </a:lnTo>
                  <a:lnTo>
                    <a:pt x="194758" y="71595"/>
                  </a:lnTo>
                  <a:lnTo>
                    <a:pt x="198130" y="65011"/>
                  </a:lnTo>
                  <a:lnTo>
                    <a:pt x="204875" y="61719"/>
                  </a:lnTo>
                  <a:lnTo>
                    <a:pt x="238599" y="25510"/>
                  </a:lnTo>
                  <a:lnTo>
                    <a:pt x="258834" y="17281"/>
                  </a:lnTo>
                  <a:lnTo>
                    <a:pt x="275696" y="4114"/>
                  </a:lnTo>
                  <a:lnTo>
                    <a:pt x="300990" y="2551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4" name="Hengelo">
              <a:extLst>
                <a:ext uri="{FF2B5EF4-FFF2-40B4-BE49-F238E27FC236}">
                  <a16:creationId xmlns:a16="http://schemas.microsoft.com/office/drawing/2014/main" id="{A774BFA8-D6FC-4AF7-B11D-1A392B284BC8}"/>
                </a:ext>
              </a:extLst>
            </p:cNvPr>
            <p:cNvSpPr/>
            <p:nvPr/>
          </p:nvSpPr>
          <p:spPr>
            <a:xfrm>
              <a:off x="7610609" y="3150001"/>
              <a:ext cx="152276" cy="212254"/>
            </a:xfrm>
            <a:custGeom>
              <a:avLst/>
              <a:gdLst/>
              <a:ahLst/>
              <a:cxnLst/>
              <a:rect l="l" t="t" r="r" b="b"/>
              <a:pathLst>
                <a:path w="234163" h="297180" extrusionOk="0">
                  <a:moveTo>
                    <a:pt x="161033" y="7406"/>
                  </a:moveTo>
                  <a:lnTo>
                    <a:pt x="162719" y="12343"/>
                  </a:lnTo>
                  <a:lnTo>
                    <a:pt x="167778" y="10698"/>
                  </a:lnTo>
                  <a:lnTo>
                    <a:pt x="184640" y="15635"/>
                  </a:lnTo>
                  <a:lnTo>
                    <a:pt x="188013" y="20573"/>
                  </a:lnTo>
                  <a:lnTo>
                    <a:pt x="177895" y="33740"/>
                  </a:lnTo>
                  <a:lnTo>
                    <a:pt x="179582" y="40323"/>
                  </a:lnTo>
                  <a:lnTo>
                    <a:pt x="191385" y="48552"/>
                  </a:lnTo>
                  <a:lnTo>
                    <a:pt x="220051" y="56782"/>
                  </a:lnTo>
                  <a:lnTo>
                    <a:pt x="230168" y="71594"/>
                  </a:lnTo>
                  <a:lnTo>
                    <a:pt x="226796" y="74886"/>
                  </a:lnTo>
                  <a:lnTo>
                    <a:pt x="228482" y="79824"/>
                  </a:lnTo>
                  <a:lnTo>
                    <a:pt x="220051" y="84761"/>
                  </a:lnTo>
                  <a:lnTo>
                    <a:pt x="221737" y="88053"/>
                  </a:lnTo>
                  <a:lnTo>
                    <a:pt x="211620" y="92991"/>
                  </a:lnTo>
                  <a:lnTo>
                    <a:pt x="208247" y="92991"/>
                  </a:lnTo>
                  <a:lnTo>
                    <a:pt x="198130" y="101220"/>
                  </a:lnTo>
                  <a:lnTo>
                    <a:pt x="216678" y="116033"/>
                  </a:lnTo>
                  <a:lnTo>
                    <a:pt x="216678" y="124262"/>
                  </a:lnTo>
                  <a:lnTo>
                    <a:pt x="211620" y="130845"/>
                  </a:lnTo>
                  <a:lnTo>
                    <a:pt x="216678" y="147304"/>
                  </a:lnTo>
                  <a:lnTo>
                    <a:pt x="193071" y="162117"/>
                  </a:lnTo>
                  <a:lnTo>
                    <a:pt x="181268" y="173638"/>
                  </a:lnTo>
                  <a:lnTo>
                    <a:pt x="172836" y="206555"/>
                  </a:lnTo>
                  <a:lnTo>
                    <a:pt x="113819" y="186805"/>
                  </a:lnTo>
                  <a:lnTo>
                    <a:pt x="100329" y="199972"/>
                  </a:lnTo>
                  <a:lnTo>
                    <a:pt x="105388" y="214785"/>
                  </a:lnTo>
                  <a:lnTo>
                    <a:pt x="86839" y="237827"/>
                  </a:lnTo>
                  <a:lnTo>
                    <a:pt x="91897" y="255931"/>
                  </a:lnTo>
                  <a:lnTo>
                    <a:pt x="102015" y="272390"/>
                  </a:lnTo>
                  <a:lnTo>
                    <a:pt x="103701" y="302015"/>
                  </a:lnTo>
                  <a:lnTo>
                    <a:pt x="21076" y="265806"/>
                  </a:lnTo>
                  <a:lnTo>
                    <a:pt x="4214" y="241118"/>
                  </a:lnTo>
                  <a:lnTo>
                    <a:pt x="5900" y="234535"/>
                  </a:lnTo>
                  <a:lnTo>
                    <a:pt x="19390" y="218076"/>
                  </a:lnTo>
                  <a:lnTo>
                    <a:pt x="26135" y="181867"/>
                  </a:lnTo>
                  <a:lnTo>
                    <a:pt x="27821" y="190097"/>
                  </a:lnTo>
                  <a:lnTo>
                    <a:pt x="32880" y="188451"/>
                  </a:lnTo>
                  <a:lnTo>
                    <a:pt x="31194" y="175284"/>
                  </a:lnTo>
                  <a:lnTo>
                    <a:pt x="27821" y="175284"/>
                  </a:lnTo>
                  <a:lnTo>
                    <a:pt x="29507" y="163763"/>
                  </a:lnTo>
                  <a:lnTo>
                    <a:pt x="36252" y="153888"/>
                  </a:lnTo>
                  <a:lnTo>
                    <a:pt x="73349" y="155533"/>
                  </a:lnTo>
                  <a:lnTo>
                    <a:pt x="80094" y="153888"/>
                  </a:lnTo>
                  <a:lnTo>
                    <a:pt x="71663" y="119324"/>
                  </a:lnTo>
                  <a:lnTo>
                    <a:pt x="73349" y="112741"/>
                  </a:lnTo>
                  <a:lnTo>
                    <a:pt x="71663" y="96282"/>
                  </a:lnTo>
                  <a:lnTo>
                    <a:pt x="63232" y="79824"/>
                  </a:lnTo>
                  <a:lnTo>
                    <a:pt x="75036" y="74886"/>
                  </a:lnTo>
                  <a:lnTo>
                    <a:pt x="78408" y="68303"/>
                  </a:lnTo>
                  <a:lnTo>
                    <a:pt x="93584" y="66657"/>
                  </a:lnTo>
                  <a:lnTo>
                    <a:pt x="100329" y="56782"/>
                  </a:lnTo>
                  <a:lnTo>
                    <a:pt x="103701" y="58427"/>
                  </a:lnTo>
                  <a:lnTo>
                    <a:pt x="112132" y="55136"/>
                  </a:lnTo>
                  <a:lnTo>
                    <a:pt x="127309" y="38677"/>
                  </a:lnTo>
                  <a:lnTo>
                    <a:pt x="137426" y="37031"/>
                  </a:lnTo>
                  <a:lnTo>
                    <a:pt x="130681" y="25510"/>
                  </a:lnTo>
                  <a:lnTo>
                    <a:pt x="144170" y="20573"/>
                  </a:lnTo>
                  <a:lnTo>
                    <a:pt x="150916" y="17281"/>
                  </a:lnTo>
                  <a:lnTo>
                    <a:pt x="150916" y="4114"/>
                  </a:lnTo>
                  <a:lnTo>
                    <a:pt x="161033" y="5760"/>
                  </a:lnTo>
                  <a:lnTo>
                    <a:pt x="161033"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5" name="Renkum">
              <a:extLst>
                <a:ext uri="{FF2B5EF4-FFF2-40B4-BE49-F238E27FC236}">
                  <a16:creationId xmlns:a16="http://schemas.microsoft.com/office/drawing/2014/main" id="{1437EFCC-7717-45B7-9714-465672DE99F8}"/>
                </a:ext>
              </a:extLst>
            </p:cNvPr>
            <p:cNvSpPr/>
            <p:nvPr/>
          </p:nvSpPr>
          <p:spPr>
            <a:xfrm>
              <a:off x="6580068" y="3640790"/>
              <a:ext cx="169448" cy="121524"/>
            </a:xfrm>
            <a:custGeom>
              <a:avLst/>
              <a:gdLst/>
              <a:ahLst/>
              <a:cxnLst/>
              <a:rect l="l" t="t" r="r" b="b"/>
              <a:pathLst>
                <a:path w="245871" h="160020" extrusionOk="0">
                  <a:moveTo>
                    <a:pt x="155974" y="4114"/>
                  </a:moveTo>
                  <a:lnTo>
                    <a:pt x="149230" y="17281"/>
                  </a:lnTo>
                  <a:lnTo>
                    <a:pt x="147543" y="33740"/>
                  </a:lnTo>
                  <a:lnTo>
                    <a:pt x="140798" y="53490"/>
                  </a:lnTo>
                  <a:lnTo>
                    <a:pt x="176209" y="63365"/>
                  </a:lnTo>
                  <a:lnTo>
                    <a:pt x="208247" y="66657"/>
                  </a:lnTo>
                  <a:lnTo>
                    <a:pt x="221737" y="71595"/>
                  </a:lnTo>
                  <a:lnTo>
                    <a:pt x="233541" y="71595"/>
                  </a:lnTo>
                  <a:lnTo>
                    <a:pt x="231855" y="83116"/>
                  </a:lnTo>
                  <a:lnTo>
                    <a:pt x="235227" y="83116"/>
                  </a:lnTo>
                  <a:lnTo>
                    <a:pt x="231855" y="97928"/>
                  </a:lnTo>
                  <a:lnTo>
                    <a:pt x="236913" y="101220"/>
                  </a:lnTo>
                  <a:lnTo>
                    <a:pt x="238599" y="109449"/>
                  </a:lnTo>
                  <a:lnTo>
                    <a:pt x="233541" y="116033"/>
                  </a:lnTo>
                  <a:lnTo>
                    <a:pt x="236913" y="120971"/>
                  </a:lnTo>
                  <a:lnTo>
                    <a:pt x="245344" y="122616"/>
                  </a:lnTo>
                  <a:lnTo>
                    <a:pt x="238599" y="130845"/>
                  </a:lnTo>
                  <a:lnTo>
                    <a:pt x="225110" y="135783"/>
                  </a:lnTo>
                  <a:lnTo>
                    <a:pt x="196444" y="127554"/>
                  </a:lnTo>
                  <a:lnTo>
                    <a:pt x="174523" y="127554"/>
                  </a:lnTo>
                  <a:lnTo>
                    <a:pt x="161033" y="132491"/>
                  </a:lnTo>
                  <a:lnTo>
                    <a:pt x="115505" y="158825"/>
                  </a:lnTo>
                  <a:lnTo>
                    <a:pt x="107074" y="162117"/>
                  </a:lnTo>
                  <a:lnTo>
                    <a:pt x="90212" y="157179"/>
                  </a:lnTo>
                  <a:lnTo>
                    <a:pt x="51428" y="135783"/>
                  </a:lnTo>
                  <a:lnTo>
                    <a:pt x="31194" y="140721"/>
                  </a:lnTo>
                  <a:lnTo>
                    <a:pt x="17704" y="150596"/>
                  </a:lnTo>
                  <a:lnTo>
                    <a:pt x="14332" y="142367"/>
                  </a:lnTo>
                  <a:lnTo>
                    <a:pt x="4214" y="140721"/>
                  </a:lnTo>
                  <a:lnTo>
                    <a:pt x="16018" y="111095"/>
                  </a:lnTo>
                  <a:lnTo>
                    <a:pt x="9273" y="107803"/>
                  </a:lnTo>
                  <a:lnTo>
                    <a:pt x="21076" y="61719"/>
                  </a:lnTo>
                  <a:lnTo>
                    <a:pt x="32880" y="61719"/>
                  </a:lnTo>
                  <a:lnTo>
                    <a:pt x="37939" y="58427"/>
                  </a:lnTo>
                  <a:lnTo>
                    <a:pt x="34566" y="48552"/>
                  </a:lnTo>
                  <a:lnTo>
                    <a:pt x="42997" y="43615"/>
                  </a:lnTo>
                  <a:lnTo>
                    <a:pt x="41311" y="33740"/>
                  </a:lnTo>
                  <a:lnTo>
                    <a:pt x="51428" y="15635"/>
                  </a:lnTo>
                  <a:lnTo>
                    <a:pt x="64918" y="12343"/>
                  </a:lnTo>
                  <a:lnTo>
                    <a:pt x="110446" y="9052"/>
                  </a:lnTo>
                  <a:lnTo>
                    <a:pt x="132367" y="9052"/>
                  </a:lnTo>
                  <a:lnTo>
                    <a:pt x="140798" y="12343"/>
                  </a:lnTo>
                  <a:lnTo>
                    <a:pt x="139112" y="9052"/>
                  </a:lnTo>
                  <a:lnTo>
                    <a:pt x="155974"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6" name="Haarlem">
              <a:extLst>
                <a:ext uri="{FF2B5EF4-FFF2-40B4-BE49-F238E27FC236}">
                  <a16:creationId xmlns:a16="http://schemas.microsoft.com/office/drawing/2014/main" id="{94D1C515-CB09-4B15-A82C-D28BF35C2DA4}"/>
                </a:ext>
              </a:extLst>
            </p:cNvPr>
            <p:cNvSpPr/>
            <p:nvPr/>
          </p:nvSpPr>
          <p:spPr>
            <a:xfrm>
              <a:off x="5417917" y="2968840"/>
              <a:ext cx="86413" cy="151275"/>
            </a:xfrm>
            <a:custGeom>
              <a:avLst/>
              <a:gdLst/>
              <a:ahLst/>
              <a:cxnLst/>
              <a:rect l="l" t="t" r="r" b="b"/>
              <a:pathLst>
                <a:path w="140498" h="217170" extrusionOk="0">
                  <a:moveTo>
                    <a:pt x="83467" y="4114"/>
                  </a:moveTo>
                  <a:lnTo>
                    <a:pt x="107074" y="12343"/>
                  </a:lnTo>
                  <a:lnTo>
                    <a:pt x="115505" y="18926"/>
                  </a:lnTo>
                  <a:lnTo>
                    <a:pt x="118877" y="27156"/>
                  </a:lnTo>
                  <a:lnTo>
                    <a:pt x="128995" y="25510"/>
                  </a:lnTo>
                  <a:lnTo>
                    <a:pt x="130681" y="40323"/>
                  </a:lnTo>
                  <a:lnTo>
                    <a:pt x="122250" y="48552"/>
                  </a:lnTo>
                  <a:lnTo>
                    <a:pt x="115505" y="50198"/>
                  </a:lnTo>
                  <a:lnTo>
                    <a:pt x="118877" y="56781"/>
                  </a:lnTo>
                  <a:lnTo>
                    <a:pt x="110446" y="63365"/>
                  </a:lnTo>
                  <a:lnTo>
                    <a:pt x="110446" y="69949"/>
                  </a:lnTo>
                  <a:lnTo>
                    <a:pt x="125622" y="74886"/>
                  </a:lnTo>
                  <a:lnTo>
                    <a:pt x="117191" y="88053"/>
                  </a:lnTo>
                  <a:lnTo>
                    <a:pt x="118877" y="94636"/>
                  </a:lnTo>
                  <a:lnTo>
                    <a:pt x="123936" y="97928"/>
                  </a:lnTo>
                  <a:lnTo>
                    <a:pt x="128995" y="96282"/>
                  </a:lnTo>
                  <a:lnTo>
                    <a:pt x="130681" y="101220"/>
                  </a:lnTo>
                  <a:lnTo>
                    <a:pt x="137426" y="102866"/>
                  </a:lnTo>
                  <a:lnTo>
                    <a:pt x="135740" y="114387"/>
                  </a:lnTo>
                  <a:lnTo>
                    <a:pt x="117191" y="132491"/>
                  </a:lnTo>
                  <a:lnTo>
                    <a:pt x="113819" y="140720"/>
                  </a:lnTo>
                  <a:lnTo>
                    <a:pt x="120564" y="178575"/>
                  </a:lnTo>
                  <a:lnTo>
                    <a:pt x="118877" y="186805"/>
                  </a:lnTo>
                  <a:lnTo>
                    <a:pt x="80094" y="216430"/>
                  </a:lnTo>
                  <a:lnTo>
                    <a:pt x="64918" y="219722"/>
                  </a:lnTo>
                  <a:lnTo>
                    <a:pt x="64918" y="193388"/>
                  </a:lnTo>
                  <a:lnTo>
                    <a:pt x="58173" y="178575"/>
                  </a:lnTo>
                  <a:lnTo>
                    <a:pt x="61546" y="170346"/>
                  </a:lnTo>
                  <a:lnTo>
                    <a:pt x="59860" y="165409"/>
                  </a:lnTo>
                  <a:lnTo>
                    <a:pt x="51428" y="167054"/>
                  </a:lnTo>
                  <a:lnTo>
                    <a:pt x="42997" y="163763"/>
                  </a:lnTo>
                  <a:lnTo>
                    <a:pt x="31194" y="165409"/>
                  </a:lnTo>
                  <a:lnTo>
                    <a:pt x="14331" y="160471"/>
                  </a:lnTo>
                  <a:lnTo>
                    <a:pt x="16018" y="150596"/>
                  </a:lnTo>
                  <a:lnTo>
                    <a:pt x="10959" y="150596"/>
                  </a:lnTo>
                  <a:lnTo>
                    <a:pt x="12645" y="140720"/>
                  </a:lnTo>
                  <a:lnTo>
                    <a:pt x="7587" y="139075"/>
                  </a:lnTo>
                  <a:lnTo>
                    <a:pt x="7587" y="127554"/>
                  </a:lnTo>
                  <a:lnTo>
                    <a:pt x="4214" y="125908"/>
                  </a:lnTo>
                  <a:lnTo>
                    <a:pt x="9273" y="109449"/>
                  </a:lnTo>
                  <a:lnTo>
                    <a:pt x="17704" y="107803"/>
                  </a:lnTo>
                  <a:lnTo>
                    <a:pt x="22763" y="96282"/>
                  </a:lnTo>
                  <a:lnTo>
                    <a:pt x="37939" y="101220"/>
                  </a:lnTo>
                  <a:lnTo>
                    <a:pt x="41311" y="91345"/>
                  </a:lnTo>
                  <a:lnTo>
                    <a:pt x="42997" y="79823"/>
                  </a:lnTo>
                  <a:lnTo>
                    <a:pt x="54801" y="43615"/>
                  </a:lnTo>
                  <a:lnTo>
                    <a:pt x="61546" y="46906"/>
                  </a:lnTo>
                  <a:lnTo>
                    <a:pt x="8346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7" name="Middelburg">
              <a:extLst>
                <a:ext uri="{FF2B5EF4-FFF2-40B4-BE49-F238E27FC236}">
                  <a16:creationId xmlns:a16="http://schemas.microsoft.com/office/drawing/2014/main" id="{80A5794F-F9A0-4021-B100-366800CD4A16}"/>
                </a:ext>
              </a:extLst>
            </p:cNvPr>
            <p:cNvSpPr/>
            <p:nvPr/>
          </p:nvSpPr>
          <p:spPr>
            <a:xfrm>
              <a:off x="4312180" y="4415402"/>
              <a:ext cx="189595" cy="109661"/>
            </a:xfrm>
            <a:custGeom>
              <a:avLst/>
              <a:gdLst/>
              <a:ahLst/>
              <a:cxnLst/>
              <a:rect l="l" t="t" r="r" b="b"/>
              <a:pathLst>
                <a:path w="269287" h="160020" extrusionOk="0">
                  <a:moveTo>
                    <a:pt x="198130" y="53490"/>
                  </a:moveTo>
                  <a:lnTo>
                    <a:pt x="203189" y="53490"/>
                  </a:lnTo>
                  <a:lnTo>
                    <a:pt x="209934" y="60074"/>
                  </a:lnTo>
                  <a:lnTo>
                    <a:pt x="201502" y="60074"/>
                  </a:lnTo>
                  <a:lnTo>
                    <a:pt x="198130" y="53490"/>
                  </a:lnTo>
                  <a:close/>
                  <a:moveTo>
                    <a:pt x="235227" y="40323"/>
                  </a:moveTo>
                  <a:lnTo>
                    <a:pt x="230168" y="38677"/>
                  </a:lnTo>
                  <a:lnTo>
                    <a:pt x="233541" y="37031"/>
                  </a:lnTo>
                  <a:lnTo>
                    <a:pt x="235227" y="40323"/>
                  </a:lnTo>
                  <a:close/>
                  <a:moveTo>
                    <a:pt x="238599" y="33740"/>
                  </a:moveTo>
                  <a:lnTo>
                    <a:pt x="238599" y="33740"/>
                  </a:lnTo>
                  <a:close/>
                  <a:moveTo>
                    <a:pt x="236913" y="32094"/>
                  </a:moveTo>
                  <a:lnTo>
                    <a:pt x="236913" y="33740"/>
                  </a:lnTo>
                  <a:lnTo>
                    <a:pt x="236913" y="32094"/>
                  </a:lnTo>
                  <a:lnTo>
                    <a:pt x="236913" y="32094"/>
                  </a:lnTo>
                  <a:close/>
                  <a:moveTo>
                    <a:pt x="236913" y="32094"/>
                  </a:moveTo>
                  <a:lnTo>
                    <a:pt x="236913" y="30448"/>
                  </a:lnTo>
                  <a:lnTo>
                    <a:pt x="236913" y="32094"/>
                  </a:lnTo>
                  <a:lnTo>
                    <a:pt x="236913" y="32094"/>
                  </a:lnTo>
                  <a:close/>
                  <a:moveTo>
                    <a:pt x="226796" y="30448"/>
                  </a:moveTo>
                  <a:lnTo>
                    <a:pt x="225110" y="28802"/>
                  </a:lnTo>
                  <a:lnTo>
                    <a:pt x="228482" y="25510"/>
                  </a:lnTo>
                  <a:lnTo>
                    <a:pt x="226796" y="30448"/>
                  </a:lnTo>
                  <a:close/>
                  <a:moveTo>
                    <a:pt x="221737" y="32094"/>
                  </a:moveTo>
                  <a:lnTo>
                    <a:pt x="225110" y="33740"/>
                  </a:lnTo>
                  <a:lnTo>
                    <a:pt x="221737" y="35385"/>
                  </a:lnTo>
                  <a:lnTo>
                    <a:pt x="218365" y="32094"/>
                  </a:lnTo>
                  <a:lnTo>
                    <a:pt x="225110" y="23864"/>
                  </a:lnTo>
                  <a:lnTo>
                    <a:pt x="221737" y="32094"/>
                  </a:lnTo>
                  <a:close/>
                  <a:moveTo>
                    <a:pt x="184640" y="25510"/>
                  </a:moveTo>
                  <a:lnTo>
                    <a:pt x="181268" y="23864"/>
                  </a:lnTo>
                  <a:lnTo>
                    <a:pt x="184640" y="17281"/>
                  </a:lnTo>
                  <a:lnTo>
                    <a:pt x="184640" y="25510"/>
                  </a:lnTo>
                  <a:close/>
                  <a:moveTo>
                    <a:pt x="63232" y="5760"/>
                  </a:moveTo>
                  <a:lnTo>
                    <a:pt x="69977" y="27156"/>
                  </a:lnTo>
                  <a:lnTo>
                    <a:pt x="95270" y="27156"/>
                  </a:lnTo>
                  <a:lnTo>
                    <a:pt x="96956" y="40323"/>
                  </a:lnTo>
                  <a:lnTo>
                    <a:pt x="107074" y="41969"/>
                  </a:lnTo>
                  <a:lnTo>
                    <a:pt x="130681" y="37031"/>
                  </a:lnTo>
                  <a:lnTo>
                    <a:pt x="134053" y="43615"/>
                  </a:lnTo>
                  <a:lnTo>
                    <a:pt x="167778" y="7406"/>
                  </a:lnTo>
                  <a:lnTo>
                    <a:pt x="179582" y="33740"/>
                  </a:lnTo>
                  <a:lnTo>
                    <a:pt x="177895" y="35385"/>
                  </a:lnTo>
                  <a:lnTo>
                    <a:pt x="198130" y="58427"/>
                  </a:lnTo>
                  <a:lnTo>
                    <a:pt x="199816" y="68303"/>
                  </a:lnTo>
                  <a:lnTo>
                    <a:pt x="201502" y="63365"/>
                  </a:lnTo>
                  <a:lnTo>
                    <a:pt x="206561" y="71595"/>
                  </a:lnTo>
                  <a:lnTo>
                    <a:pt x="201502" y="61719"/>
                  </a:lnTo>
                  <a:lnTo>
                    <a:pt x="230168" y="60074"/>
                  </a:lnTo>
                  <a:lnTo>
                    <a:pt x="223423" y="56782"/>
                  </a:lnTo>
                  <a:lnTo>
                    <a:pt x="209934" y="60074"/>
                  </a:lnTo>
                  <a:lnTo>
                    <a:pt x="204875" y="53490"/>
                  </a:lnTo>
                  <a:lnTo>
                    <a:pt x="204875" y="50198"/>
                  </a:lnTo>
                  <a:lnTo>
                    <a:pt x="214992" y="48552"/>
                  </a:lnTo>
                  <a:lnTo>
                    <a:pt x="228482" y="38677"/>
                  </a:lnTo>
                  <a:lnTo>
                    <a:pt x="236913" y="45261"/>
                  </a:lnTo>
                  <a:lnTo>
                    <a:pt x="233541" y="41969"/>
                  </a:lnTo>
                  <a:lnTo>
                    <a:pt x="238599" y="40323"/>
                  </a:lnTo>
                  <a:lnTo>
                    <a:pt x="233541" y="37031"/>
                  </a:lnTo>
                  <a:lnTo>
                    <a:pt x="241972" y="37031"/>
                  </a:lnTo>
                  <a:lnTo>
                    <a:pt x="240286" y="33740"/>
                  </a:lnTo>
                  <a:lnTo>
                    <a:pt x="268951" y="53490"/>
                  </a:lnTo>
                  <a:lnTo>
                    <a:pt x="267265" y="63365"/>
                  </a:lnTo>
                  <a:lnTo>
                    <a:pt x="213306" y="76532"/>
                  </a:lnTo>
                  <a:lnTo>
                    <a:pt x="213306" y="83116"/>
                  </a:lnTo>
                  <a:lnTo>
                    <a:pt x="204875" y="83116"/>
                  </a:lnTo>
                  <a:lnTo>
                    <a:pt x="194758" y="109449"/>
                  </a:lnTo>
                  <a:lnTo>
                    <a:pt x="194758" y="132492"/>
                  </a:lnTo>
                  <a:lnTo>
                    <a:pt x="199816" y="134137"/>
                  </a:lnTo>
                  <a:lnTo>
                    <a:pt x="182954" y="140721"/>
                  </a:lnTo>
                  <a:lnTo>
                    <a:pt x="142485" y="163763"/>
                  </a:lnTo>
                  <a:lnTo>
                    <a:pt x="130681" y="167055"/>
                  </a:lnTo>
                  <a:lnTo>
                    <a:pt x="117191" y="163763"/>
                  </a:lnTo>
                  <a:lnTo>
                    <a:pt x="85153" y="135783"/>
                  </a:lnTo>
                  <a:lnTo>
                    <a:pt x="73349" y="148950"/>
                  </a:lnTo>
                  <a:lnTo>
                    <a:pt x="68291" y="142367"/>
                  </a:lnTo>
                  <a:lnTo>
                    <a:pt x="53115" y="147304"/>
                  </a:lnTo>
                  <a:lnTo>
                    <a:pt x="42997" y="137429"/>
                  </a:lnTo>
                  <a:lnTo>
                    <a:pt x="39625" y="147304"/>
                  </a:lnTo>
                  <a:lnTo>
                    <a:pt x="36252" y="144013"/>
                  </a:lnTo>
                  <a:lnTo>
                    <a:pt x="26135" y="140721"/>
                  </a:lnTo>
                  <a:lnTo>
                    <a:pt x="24449" y="135783"/>
                  </a:lnTo>
                  <a:lnTo>
                    <a:pt x="21076" y="137429"/>
                  </a:lnTo>
                  <a:lnTo>
                    <a:pt x="17704" y="129200"/>
                  </a:lnTo>
                  <a:lnTo>
                    <a:pt x="14332" y="129200"/>
                  </a:lnTo>
                  <a:lnTo>
                    <a:pt x="9273" y="112741"/>
                  </a:lnTo>
                  <a:lnTo>
                    <a:pt x="17704" y="109449"/>
                  </a:lnTo>
                  <a:lnTo>
                    <a:pt x="17704" y="101220"/>
                  </a:lnTo>
                  <a:lnTo>
                    <a:pt x="12645" y="86407"/>
                  </a:lnTo>
                  <a:lnTo>
                    <a:pt x="7587" y="81470"/>
                  </a:lnTo>
                  <a:lnTo>
                    <a:pt x="7587" y="76532"/>
                  </a:lnTo>
                  <a:lnTo>
                    <a:pt x="4214" y="71595"/>
                  </a:lnTo>
                  <a:lnTo>
                    <a:pt x="16018" y="66657"/>
                  </a:lnTo>
                  <a:lnTo>
                    <a:pt x="9273" y="56782"/>
                  </a:lnTo>
                  <a:lnTo>
                    <a:pt x="16018" y="55136"/>
                  </a:lnTo>
                  <a:lnTo>
                    <a:pt x="17704" y="40323"/>
                  </a:lnTo>
                  <a:lnTo>
                    <a:pt x="37939" y="33740"/>
                  </a:lnTo>
                  <a:lnTo>
                    <a:pt x="34566" y="18927"/>
                  </a:lnTo>
                  <a:lnTo>
                    <a:pt x="29507" y="15635"/>
                  </a:lnTo>
                  <a:lnTo>
                    <a:pt x="27821" y="10698"/>
                  </a:lnTo>
                  <a:lnTo>
                    <a:pt x="48056" y="4114"/>
                  </a:lnTo>
                  <a:lnTo>
                    <a:pt x="49742" y="5760"/>
                  </a:lnTo>
                  <a:lnTo>
                    <a:pt x="64918" y="4114"/>
                  </a:lnTo>
                  <a:lnTo>
                    <a:pt x="63232"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8" name="Bernheze">
              <a:extLst>
                <a:ext uri="{FF2B5EF4-FFF2-40B4-BE49-F238E27FC236}">
                  <a16:creationId xmlns:a16="http://schemas.microsoft.com/office/drawing/2014/main" id="{F5AD97D2-6171-4834-B2AA-4B375B91CEA9}"/>
                </a:ext>
              </a:extLst>
            </p:cNvPr>
            <p:cNvSpPr/>
            <p:nvPr/>
          </p:nvSpPr>
          <p:spPr>
            <a:xfrm>
              <a:off x="6265814" y="4108603"/>
              <a:ext cx="197591" cy="197132"/>
            </a:xfrm>
            <a:custGeom>
              <a:avLst/>
              <a:gdLst/>
              <a:ahLst/>
              <a:cxnLst/>
              <a:rect l="l" t="t" r="r" b="b"/>
              <a:pathLst>
                <a:path w="280996" h="274320" extrusionOk="0">
                  <a:moveTo>
                    <a:pt x="174523" y="4114"/>
                  </a:moveTo>
                  <a:lnTo>
                    <a:pt x="199816" y="12343"/>
                  </a:lnTo>
                  <a:lnTo>
                    <a:pt x="214993" y="22218"/>
                  </a:lnTo>
                  <a:lnTo>
                    <a:pt x="231855" y="25510"/>
                  </a:lnTo>
                  <a:lnTo>
                    <a:pt x="247031" y="23864"/>
                  </a:lnTo>
                  <a:lnTo>
                    <a:pt x="258834" y="40323"/>
                  </a:lnTo>
                  <a:lnTo>
                    <a:pt x="275697" y="79823"/>
                  </a:lnTo>
                  <a:lnTo>
                    <a:pt x="274010" y="81470"/>
                  </a:lnTo>
                  <a:lnTo>
                    <a:pt x="275697" y="83115"/>
                  </a:lnTo>
                  <a:lnTo>
                    <a:pt x="268952" y="83115"/>
                  </a:lnTo>
                  <a:lnTo>
                    <a:pt x="277383" y="109449"/>
                  </a:lnTo>
                  <a:lnTo>
                    <a:pt x="274010" y="111095"/>
                  </a:lnTo>
                  <a:lnTo>
                    <a:pt x="270638" y="122616"/>
                  </a:lnTo>
                  <a:lnTo>
                    <a:pt x="255462" y="140720"/>
                  </a:lnTo>
                  <a:lnTo>
                    <a:pt x="240286" y="147304"/>
                  </a:lnTo>
                  <a:lnTo>
                    <a:pt x="240286" y="152242"/>
                  </a:lnTo>
                  <a:lnTo>
                    <a:pt x="235227" y="153887"/>
                  </a:lnTo>
                  <a:lnTo>
                    <a:pt x="235227" y="155533"/>
                  </a:lnTo>
                  <a:lnTo>
                    <a:pt x="218365" y="190096"/>
                  </a:lnTo>
                  <a:lnTo>
                    <a:pt x="218365" y="195034"/>
                  </a:lnTo>
                  <a:lnTo>
                    <a:pt x="221737" y="191742"/>
                  </a:lnTo>
                  <a:lnTo>
                    <a:pt x="221737" y="195034"/>
                  </a:lnTo>
                  <a:lnTo>
                    <a:pt x="225110" y="193388"/>
                  </a:lnTo>
                  <a:lnTo>
                    <a:pt x="226796" y="198326"/>
                  </a:lnTo>
                  <a:lnTo>
                    <a:pt x="228482" y="198326"/>
                  </a:lnTo>
                  <a:lnTo>
                    <a:pt x="231855" y="208201"/>
                  </a:lnTo>
                  <a:lnTo>
                    <a:pt x="226796" y="213138"/>
                  </a:lnTo>
                  <a:lnTo>
                    <a:pt x="230168" y="218076"/>
                  </a:lnTo>
                  <a:lnTo>
                    <a:pt x="223424" y="224660"/>
                  </a:lnTo>
                  <a:lnTo>
                    <a:pt x="188013" y="244410"/>
                  </a:lnTo>
                  <a:lnTo>
                    <a:pt x="188013" y="259223"/>
                  </a:lnTo>
                  <a:lnTo>
                    <a:pt x="174523" y="255931"/>
                  </a:lnTo>
                  <a:lnTo>
                    <a:pt x="171151" y="262514"/>
                  </a:lnTo>
                  <a:lnTo>
                    <a:pt x="162720" y="262514"/>
                  </a:lnTo>
                  <a:lnTo>
                    <a:pt x="161033" y="269098"/>
                  </a:lnTo>
                  <a:lnTo>
                    <a:pt x="149230" y="265806"/>
                  </a:lnTo>
                  <a:lnTo>
                    <a:pt x="130681" y="254285"/>
                  </a:lnTo>
                  <a:lnTo>
                    <a:pt x="130681" y="262514"/>
                  </a:lnTo>
                  <a:lnTo>
                    <a:pt x="118878" y="277327"/>
                  </a:lnTo>
                  <a:lnTo>
                    <a:pt x="73349" y="239472"/>
                  </a:lnTo>
                  <a:lnTo>
                    <a:pt x="4214" y="213138"/>
                  </a:lnTo>
                  <a:lnTo>
                    <a:pt x="12645" y="206555"/>
                  </a:lnTo>
                  <a:lnTo>
                    <a:pt x="19390" y="186805"/>
                  </a:lnTo>
                  <a:lnTo>
                    <a:pt x="37939" y="186805"/>
                  </a:lnTo>
                  <a:lnTo>
                    <a:pt x="44684" y="173638"/>
                  </a:lnTo>
                  <a:lnTo>
                    <a:pt x="59860" y="119324"/>
                  </a:lnTo>
                  <a:lnTo>
                    <a:pt x="61546" y="125908"/>
                  </a:lnTo>
                  <a:lnTo>
                    <a:pt x="76722" y="127554"/>
                  </a:lnTo>
                  <a:lnTo>
                    <a:pt x="75036" y="122616"/>
                  </a:lnTo>
                  <a:lnTo>
                    <a:pt x="78408" y="122616"/>
                  </a:lnTo>
                  <a:lnTo>
                    <a:pt x="88526" y="97928"/>
                  </a:lnTo>
                  <a:lnTo>
                    <a:pt x="96957" y="97928"/>
                  </a:lnTo>
                  <a:lnTo>
                    <a:pt x="110447" y="86407"/>
                  </a:lnTo>
                  <a:lnTo>
                    <a:pt x="120564" y="83115"/>
                  </a:lnTo>
                  <a:lnTo>
                    <a:pt x="122250" y="78178"/>
                  </a:lnTo>
                  <a:lnTo>
                    <a:pt x="120564" y="78178"/>
                  </a:lnTo>
                  <a:lnTo>
                    <a:pt x="118878" y="73240"/>
                  </a:lnTo>
                  <a:lnTo>
                    <a:pt x="103702" y="71594"/>
                  </a:lnTo>
                  <a:lnTo>
                    <a:pt x="103702" y="69949"/>
                  </a:lnTo>
                  <a:lnTo>
                    <a:pt x="98643" y="68302"/>
                  </a:lnTo>
                  <a:lnTo>
                    <a:pt x="90212" y="43615"/>
                  </a:lnTo>
                  <a:lnTo>
                    <a:pt x="91898" y="41969"/>
                  </a:lnTo>
                  <a:lnTo>
                    <a:pt x="83467" y="30448"/>
                  </a:lnTo>
                  <a:lnTo>
                    <a:pt x="134054" y="9052"/>
                  </a:lnTo>
                  <a:lnTo>
                    <a:pt x="135740" y="10697"/>
                  </a:lnTo>
                  <a:lnTo>
                    <a:pt x="162720" y="4114"/>
                  </a:lnTo>
                  <a:lnTo>
                    <a:pt x="174523"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29" name="Brielle">
              <a:extLst>
                <a:ext uri="{FF2B5EF4-FFF2-40B4-BE49-F238E27FC236}">
                  <a16:creationId xmlns:a16="http://schemas.microsoft.com/office/drawing/2014/main" id="{619E7D67-0174-41A7-BAED-FB41B7EBFDA9}"/>
                </a:ext>
              </a:extLst>
            </p:cNvPr>
            <p:cNvSpPr/>
            <p:nvPr/>
          </p:nvSpPr>
          <p:spPr>
            <a:xfrm>
              <a:off x="4914026" y="3784389"/>
              <a:ext cx="123357" cy="123253"/>
            </a:xfrm>
            <a:custGeom>
              <a:avLst/>
              <a:gdLst/>
              <a:ahLst/>
              <a:cxnLst/>
              <a:rect l="l" t="t" r="r" b="b"/>
              <a:pathLst>
                <a:path w="163914" h="194310" extrusionOk="0">
                  <a:moveTo>
                    <a:pt x="39625" y="12343"/>
                  </a:moveTo>
                  <a:lnTo>
                    <a:pt x="51428" y="22219"/>
                  </a:lnTo>
                  <a:lnTo>
                    <a:pt x="54801" y="33740"/>
                  </a:lnTo>
                  <a:lnTo>
                    <a:pt x="66604" y="37031"/>
                  </a:lnTo>
                  <a:lnTo>
                    <a:pt x="130681" y="88053"/>
                  </a:lnTo>
                  <a:lnTo>
                    <a:pt x="144171" y="111095"/>
                  </a:lnTo>
                  <a:lnTo>
                    <a:pt x="150916" y="135783"/>
                  </a:lnTo>
                  <a:lnTo>
                    <a:pt x="161033" y="147304"/>
                  </a:lnTo>
                  <a:lnTo>
                    <a:pt x="76722" y="201618"/>
                  </a:lnTo>
                  <a:lnTo>
                    <a:pt x="73349" y="201618"/>
                  </a:lnTo>
                  <a:lnTo>
                    <a:pt x="73349" y="193388"/>
                  </a:lnTo>
                  <a:lnTo>
                    <a:pt x="63232" y="188451"/>
                  </a:lnTo>
                  <a:lnTo>
                    <a:pt x="80094" y="170346"/>
                  </a:lnTo>
                  <a:lnTo>
                    <a:pt x="46370" y="157179"/>
                  </a:lnTo>
                  <a:lnTo>
                    <a:pt x="39625" y="158825"/>
                  </a:lnTo>
                  <a:lnTo>
                    <a:pt x="29508" y="137429"/>
                  </a:lnTo>
                  <a:lnTo>
                    <a:pt x="37939" y="132492"/>
                  </a:lnTo>
                  <a:lnTo>
                    <a:pt x="32880" y="124262"/>
                  </a:lnTo>
                  <a:lnTo>
                    <a:pt x="41311" y="119324"/>
                  </a:lnTo>
                  <a:lnTo>
                    <a:pt x="32880" y="111095"/>
                  </a:lnTo>
                  <a:lnTo>
                    <a:pt x="26135" y="94637"/>
                  </a:lnTo>
                  <a:lnTo>
                    <a:pt x="4214" y="63365"/>
                  </a:lnTo>
                  <a:lnTo>
                    <a:pt x="5900" y="50198"/>
                  </a:lnTo>
                  <a:lnTo>
                    <a:pt x="14331" y="43615"/>
                  </a:lnTo>
                  <a:lnTo>
                    <a:pt x="21076" y="46906"/>
                  </a:lnTo>
                  <a:lnTo>
                    <a:pt x="31194" y="25510"/>
                  </a:lnTo>
                  <a:lnTo>
                    <a:pt x="16018" y="13989"/>
                  </a:lnTo>
                  <a:lnTo>
                    <a:pt x="19390" y="4114"/>
                  </a:lnTo>
                  <a:lnTo>
                    <a:pt x="29508" y="10698"/>
                  </a:lnTo>
                  <a:lnTo>
                    <a:pt x="39625"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0" name="Achtkarspelen">
              <a:extLst>
                <a:ext uri="{FF2B5EF4-FFF2-40B4-BE49-F238E27FC236}">
                  <a16:creationId xmlns:a16="http://schemas.microsoft.com/office/drawing/2014/main" id="{9D256BF4-D06F-4623-A88B-8E5479C4FAC6}"/>
                </a:ext>
              </a:extLst>
            </p:cNvPr>
            <p:cNvSpPr/>
            <p:nvPr/>
          </p:nvSpPr>
          <p:spPr>
            <a:xfrm>
              <a:off x="6874527" y="1596857"/>
              <a:ext cx="217765" cy="216005"/>
            </a:xfrm>
            <a:custGeom>
              <a:avLst/>
              <a:gdLst/>
              <a:ahLst/>
              <a:cxnLst/>
              <a:rect l="l" t="t" r="r" b="b"/>
              <a:pathLst>
                <a:path w="316120" h="308610" extrusionOk="0">
                  <a:moveTo>
                    <a:pt x="262207" y="4114"/>
                  </a:moveTo>
                  <a:lnTo>
                    <a:pt x="295931" y="15635"/>
                  </a:lnTo>
                  <a:lnTo>
                    <a:pt x="299304" y="28802"/>
                  </a:lnTo>
                  <a:lnTo>
                    <a:pt x="307735" y="35385"/>
                  </a:lnTo>
                  <a:lnTo>
                    <a:pt x="319538" y="35385"/>
                  </a:lnTo>
                  <a:lnTo>
                    <a:pt x="319538" y="40323"/>
                  </a:lnTo>
                  <a:lnTo>
                    <a:pt x="322911" y="43615"/>
                  </a:lnTo>
                  <a:lnTo>
                    <a:pt x="322911" y="50198"/>
                  </a:lnTo>
                  <a:lnTo>
                    <a:pt x="316166" y="53490"/>
                  </a:lnTo>
                  <a:lnTo>
                    <a:pt x="319538" y="60073"/>
                  </a:lnTo>
                  <a:lnTo>
                    <a:pt x="317852" y="65011"/>
                  </a:lnTo>
                  <a:lnTo>
                    <a:pt x="312793" y="63365"/>
                  </a:lnTo>
                  <a:lnTo>
                    <a:pt x="299304" y="71594"/>
                  </a:lnTo>
                  <a:lnTo>
                    <a:pt x="306049" y="78178"/>
                  </a:lnTo>
                  <a:lnTo>
                    <a:pt x="309421" y="78178"/>
                  </a:lnTo>
                  <a:lnTo>
                    <a:pt x="309421" y="79824"/>
                  </a:lnTo>
                  <a:lnTo>
                    <a:pt x="295931" y="84761"/>
                  </a:lnTo>
                  <a:lnTo>
                    <a:pt x="294245" y="88053"/>
                  </a:lnTo>
                  <a:lnTo>
                    <a:pt x="297617" y="91345"/>
                  </a:lnTo>
                  <a:lnTo>
                    <a:pt x="294245" y="91345"/>
                  </a:lnTo>
                  <a:lnTo>
                    <a:pt x="297617" y="92991"/>
                  </a:lnTo>
                  <a:lnTo>
                    <a:pt x="299304" y="96282"/>
                  </a:lnTo>
                  <a:lnTo>
                    <a:pt x="302676" y="96282"/>
                  </a:lnTo>
                  <a:lnTo>
                    <a:pt x="309421" y="101220"/>
                  </a:lnTo>
                  <a:lnTo>
                    <a:pt x="309421" y="111095"/>
                  </a:lnTo>
                  <a:lnTo>
                    <a:pt x="317852" y="119324"/>
                  </a:lnTo>
                  <a:lnTo>
                    <a:pt x="317852" y="130845"/>
                  </a:lnTo>
                  <a:lnTo>
                    <a:pt x="309421" y="137429"/>
                  </a:lnTo>
                  <a:lnTo>
                    <a:pt x="309421" y="144012"/>
                  </a:lnTo>
                  <a:lnTo>
                    <a:pt x="300990" y="158825"/>
                  </a:lnTo>
                  <a:lnTo>
                    <a:pt x="294245" y="163763"/>
                  </a:lnTo>
                  <a:lnTo>
                    <a:pt x="287500" y="173638"/>
                  </a:lnTo>
                  <a:lnTo>
                    <a:pt x="279069" y="173638"/>
                  </a:lnTo>
                  <a:lnTo>
                    <a:pt x="272324" y="178576"/>
                  </a:lnTo>
                  <a:lnTo>
                    <a:pt x="272324" y="190096"/>
                  </a:lnTo>
                  <a:lnTo>
                    <a:pt x="262207" y="199972"/>
                  </a:lnTo>
                  <a:lnTo>
                    <a:pt x="247031" y="244410"/>
                  </a:lnTo>
                  <a:lnTo>
                    <a:pt x="240286" y="250993"/>
                  </a:lnTo>
                  <a:lnTo>
                    <a:pt x="240286" y="272390"/>
                  </a:lnTo>
                  <a:lnTo>
                    <a:pt x="203189" y="293786"/>
                  </a:lnTo>
                  <a:lnTo>
                    <a:pt x="196444" y="275681"/>
                  </a:lnTo>
                  <a:lnTo>
                    <a:pt x="157661" y="308599"/>
                  </a:lnTo>
                  <a:lnTo>
                    <a:pt x="154288" y="305307"/>
                  </a:lnTo>
                  <a:lnTo>
                    <a:pt x="154288" y="297078"/>
                  </a:lnTo>
                  <a:lnTo>
                    <a:pt x="144171" y="295432"/>
                  </a:lnTo>
                  <a:lnTo>
                    <a:pt x="139112" y="290494"/>
                  </a:lnTo>
                  <a:lnTo>
                    <a:pt x="134053" y="292140"/>
                  </a:lnTo>
                  <a:lnTo>
                    <a:pt x="147543" y="232889"/>
                  </a:lnTo>
                  <a:lnTo>
                    <a:pt x="139112" y="231243"/>
                  </a:lnTo>
                  <a:lnTo>
                    <a:pt x="139112" y="232889"/>
                  </a:lnTo>
                  <a:lnTo>
                    <a:pt x="132367" y="224660"/>
                  </a:lnTo>
                  <a:lnTo>
                    <a:pt x="123936" y="209847"/>
                  </a:lnTo>
                  <a:lnTo>
                    <a:pt x="100329" y="185159"/>
                  </a:lnTo>
                  <a:lnTo>
                    <a:pt x="91898" y="158825"/>
                  </a:lnTo>
                  <a:lnTo>
                    <a:pt x="100329" y="155533"/>
                  </a:lnTo>
                  <a:lnTo>
                    <a:pt x="98643" y="152242"/>
                  </a:lnTo>
                  <a:lnTo>
                    <a:pt x="93584" y="152242"/>
                  </a:lnTo>
                  <a:lnTo>
                    <a:pt x="93584" y="150596"/>
                  </a:lnTo>
                  <a:lnTo>
                    <a:pt x="96957" y="148950"/>
                  </a:lnTo>
                  <a:lnTo>
                    <a:pt x="95270" y="144012"/>
                  </a:lnTo>
                  <a:lnTo>
                    <a:pt x="96957" y="142367"/>
                  </a:lnTo>
                  <a:lnTo>
                    <a:pt x="103701" y="139075"/>
                  </a:lnTo>
                  <a:lnTo>
                    <a:pt x="16018" y="102866"/>
                  </a:lnTo>
                  <a:lnTo>
                    <a:pt x="4214" y="76532"/>
                  </a:lnTo>
                  <a:lnTo>
                    <a:pt x="9273" y="73240"/>
                  </a:lnTo>
                  <a:lnTo>
                    <a:pt x="16018" y="76532"/>
                  </a:lnTo>
                  <a:lnTo>
                    <a:pt x="17704" y="73240"/>
                  </a:lnTo>
                  <a:lnTo>
                    <a:pt x="32880" y="73240"/>
                  </a:lnTo>
                  <a:lnTo>
                    <a:pt x="85153" y="58427"/>
                  </a:lnTo>
                  <a:lnTo>
                    <a:pt x="128995" y="38677"/>
                  </a:lnTo>
                  <a:lnTo>
                    <a:pt x="139112" y="30448"/>
                  </a:lnTo>
                  <a:lnTo>
                    <a:pt x="149230" y="30448"/>
                  </a:lnTo>
                  <a:lnTo>
                    <a:pt x="184640" y="18927"/>
                  </a:lnTo>
                  <a:lnTo>
                    <a:pt x="189699" y="28802"/>
                  </a:lnTo>
                  <a:lnTo>
                    <a:pt x="193071" y="27156"/>
                  </a:lnTo>
                  <a:lnTo>
                    <a:pt x="194758" y="30448"/>
                  </a:lnTo>
                  <a:lnTo>
                    <a:pt x="209934" y="20573"/>
                  </a:lnTo>
                  <a:lnTo>
                    <a:pt x="213306" y="25510"/>
                  </a:lnTo>
                  <a:lnTo>
                    <a:pt x="218365" y="20573"/>
                  </a:lnTo>
                  <a:lnTo>
                    <a:pt x="223423" y="20573"/>
                  </a:lnTo>
                  <a:lnTo>
                    <a:pt x="228482" y="25510"/>
                  </a:lnTo>
                  <a:lnTo>
                    <a:pt x="236913" y="27156"/>
                  </a:lnTo>
                  <a:lnTo>
                    <a:pt x="240286" y="32094"/>
                  </a:lnTo>
                  <a:lnTo>
                    <a:pt x="243658" y="30448"/>
                  </a:lnTo>
                  <a:lnTo>
                    <a:pt x="243658" y="27156"/>
                  </a:lnTo>
                  <a:lnTo>
                    <a:pt x="257148" y="20573"/>
                  </a:lnTo>
                  <a:lnTo>
                    <a:pt x="250403" y="10697"/>
                  </a:lnTo>
                  <a:lnTo>
                    <a:pt x="255462" y="5760"/>
                  </a:lnTo>
                  <a:lnTo>
                    <a:pt x="257148" y="9052"/>
                  </a:lnTo>
                  <a:lnTo>
                    <a:pt x="26220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1" name="Wijk bij Duurstede">
              <a:extLst>
                <a:ext uri="{FF2B5EF4-FFF2-40B4-BE49-F238E27FC236}">
                  <a16:creationId xmlns:a16="http://schemas.microsoft.com/office/drawing/2014/main" id="{E7265708-A6E9-4247-86BC-9F44AE641B1F}"/>
                </a:ext>
              </a:extLst>
            </p:cNvPr>
            <p:cNvSpPr/>
            <p:nvPr/>
          </p:nvSpPr>
          <p:spPr>
            <a:xfrm>
              <a:off x="6082695" y="3626093"/>
              <a:ext cx="176260" cy="136705"/>
            </a:xfrm>
            <a:custGeom>
              <a:avLst/>
              <a:gdLst/>
              <a:ahLst/>
              <a:cxnLst/>
              <a:rect l="l" t="t" r="r" b="b"/>
              <a:pathLst>
                <a:path w="269287" h="171450" extrusionOk="0">
                  <a:moveTo>
                    <a:pt x="154288" y="20573"/>
                  </a:moveTo>
                  <a:lnTo>
                    <a:pt x="161033" y="20573"/>
                  </a:lnTo>
                  <a:lnTo>
                    <a:pt x="169464" y="30448"/>
                  </a:lnTo>
                  <a:lnTo>
                    <a:pt x="216679" y="65011"/>
                  </a:lnTo>
                  <a:lnTo>
                    <a:pt x="243658" y="61719"/>
                  </a:lnTo>
                  <a:lnTo>
                    <a:pt x="268951" y="78178"/>
                  </a:lnTo>
                  <a:lnTo>
                    <a:pt x="243658" y="97928"/>
                  </a:lnTo>
                  <a:lnTo>
                    <a:pt x="211620" y="102866"/>
                  </a:lnTo>
                  <a:lnTo>
                    <a:pt x="226796" y="125908"/>
                  </a:lnTo>
                  <a:lnTo>
                    <a:pt x="236913" y="127554"/>
                  </a:lnTo>
                  <a:lnTo>
                    <a:pt x="236913" y="130845"/>
                  </a:lnTo>
                  <a:lnTo>
                    <a:pt x="233541" y="134137"/>
                  </a:lnTo>
                  <a:lnTo>
                    <a:pt x="233541" y="137429"/>
                  </a:lnTo>
                  <a:lnTo>
                    <a:pt x="231855" y="140720"/>
                  </a:lnTo>
                  <a:lnTo>
                    <a:pt x="214992" y="144012"/>
                  </a:lnTo>
                  <a:lnTo>
                    <a:pt x="189699" y="139075"/>
                  </a:lnTo>
                  <a:lnTo>
                    <a:pt x="176209" y="140720"/>
                  </a:lnTo>
                  <a:lnTo>
                    <a:pt x="164406" y="148950"/>
                  </a:lnTo>
                  <a:lnTo>
                    <a:pt x="145857" y="170346"/>
                  </a:lnTo>
                  <a:lnTo>
                    <a:pt x="125622" y="178575"/>
                  </a:lnTo>
                  <a:lnTo>
                    <a:pt x="115505" y="176930"/>
                  </a:lnTo>
                  <a:lnTo>
                    <a:pt x="93584" y="162117"/>
                  </a:lnTo>
                  <a:lnTo>
                    <a:pt x="49742" y="153888"/>
                  </a:lnTo>
                  <a:lnTo>
                    <a:pt x="26135" y="139075"/>
                  </a:lnTo>
                  <a:lnTo>
                    <a:pt x="41311" y="127554"/>
                  </a:lnTo>
                  <a:lnTo>
                    <a:pt x="48056" y="114387"/>
                  </a:lnTo>
                  <a:lnTo>
                    <a:pt x="22763" y="102866"/>
                  </a:lnTo>
                  <a:lnTo>
                    <a:pt x="21076" y="88053"/>
                  </a:lnTo>
                  <a:lnTo>
                    <a:pt x="26135" y="84761"/>
                  </a:lnTo>
                  <a:lnTo>
                    <a:pt x="9273" y="78178"/>
                  </a:lnTo>
                  <a:lnTo>
                    <a:pt x="4214" y="73240"/>
                  </a:lnTo>
                  <a:lnTo>
                    <a:pt x="31194" y="66657"/>
                  </a:lnTo>
                  <a:lnTo>
                    <a:pt x="37939" y="61719"/>
                  </a:lnTo>
                  <a:lnTo>
                    <a:pt x="41311" y="61719"/>
                  </a:lnTo>
                  <a:lnTo>
                    <a:pt x="42997" y="71594"/>
                  </a:lnTo>
                  <a:lnTo>
                    <a:pt x="49742" y="74886"/>
                  </a:lnTo>
                  <a:lnTo>
                    <a:pt x="53115" y="73240"/>
                  </a:lnTo>
                  <a:lnTo>
                    <a:pt x="58174" y="68302"/>
                  </a:lnTo>
                  <a:lnTo>
                    <a:pt x="54801" y="55136"/>
                  </a:lnTo>
                  <a:lnTo>
                    <a:pt x="61546" y="48552"/>
                  </a:lnTo>
                  <a:lnTo>
                    <a:pt x="59860" y="46906"/>
                  </a:lnTo>
                  <a:lnTo>
                    <a:pt x="61546" y="43615"/>
                  </a:lnTo>
                  <a:lnTo>
                    <a:pt x="75036" y="45260"/>
                  </a:lnTo>
                  <a:lnTo>
                    <a:pt x="78408" y="48552"/>
                  </a:lnTo>
                  <a:lnTo>
                    <a:pt x="115505" y="4114"/>
                  </a:lnTo>
                  <a:lnTo>
                    <a:pt x="128995" y="13989"/>
                  </a:lnTo>
                  <a:lnTo>
                    <a:pt x="154288" y="2057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2" name="Urk">
              <a:extLst>
                <a:ext uri="{FF2B5EF4-FFF2-40B4-BE49-F238E27FC236}">
                  <a16:creationId xmlns:a16="http://schemas.microsoft.com/office/drawing/2014/main" id="{54333755-418F-4923-AB41-14D08B3FD2EB}"/>
                </a:ext>
              </a:extLst>
            </p:cNvPr>
            <p:cNvSpPr/>
            <p:nvPr/>
          </p:nvSpPr>
          <p:spPr>
            <a:xfrm>
              <a:off x="6449958" y="2572334"/>
              <a:ext cx="62053" cy="49550"/>
            </a:xfrm>
            <a:custGeom>
              <a:avLst/>
              <a:gdLst/>
              <a:ahLst/>
              <a:cxnLst/>
              <a:rect l="l" t="t" r="r" b="b"/>
              <a:pathLst>
                <a:path w="93665" h="80010" extrusionOk="0">
                  <a:moveTo>
                    <a:pt x="81780" y="4114"/>
                  </a:moveTo>
                  <a:lnTo>
                    <a:pt x="78408" y="15635"/>
                  </a:lnTo>
                  <a:lnTo>
                    <a:pt x="100329" y="43615"/>
                  </a:lnTo>
                  <a:lnTo>
                    <a:pt x="80094" y="56782"/>
                  </a:lnTo>
                  <a:lnTo>
                    <a:pt x="91898" y="71595"/>
                  </a:lnTo>
                  <a:lnTo>
                    <a:pt x="90211" y="83116"/>
                  </a:lnTo>
                  <a:lnTo>
                    <a:pt x="49742" y="83116"/>
                  </a:lnTo>
                  <a:lnTo>
                    <a:pt x="41311" y="79824"/>
                  </a:lnTo>
                  <a:lnTo>
                    <a:pt x="39625" y="81470"/>
                  </a:lnTo>
                  <a:lnTo>
                    <a:pt x="19390" y="66657"/>
                  </a:lnTo>
                  <a:lnTo>
                    <a:pt x="21076" y="65011"/>
                  </a:lnTo>
                  <a:lnTo>
                    <a:pt x="14331" y="65011"/>
                  </a:lnTo>
                  <a:lnTo>
                    <a:pt x="21076" y="63365"/>
                  </a:lnTo>
                  <a:lnTo>
                    <a:pt x="19390" y="58428"/>
                  </a:lnTo>
                  <a:lnTo>
                    <a:pt x="12645" y="61719"/>
                  </a:lnTo>
                  <a:lnTo>
                    <a:pt x="14331" y="58428"/>
                  </a:lnTo>
                  <a:lnTo>
                    <a:pt x="10959" y="58428"/>
                  </a:lnTo>
                  <a:lnTo>
                    <a:pt x="14331" y="56782"/>
                  </a:lnTo>
                  <a:lnTo>
                    <a:pt x="5900" y="56782"/>
                  </a:lnTo>
                  <a:lnTo>
                    <a:pt x="9273" y="58428"/>
                  </a:lnTo>
                  <a:lnTo>
                    <a:pt x="12645" y="66657"/>
                  </a:lnTo>
                  <a:lnTo>
                    <a:pt x="9273" y="60074"/>
                  </a:lnTo>
                  <a:lnTo>
                    <a:pt x="4214" y="56782"/>
                  </a:lnTo>
                  <a:lnTo>
                    <a:pt x="5900" y="50198"/>
                  </a:lnTo>
                  <a:lnTo>
                    <a:pt x="5900" y="18927"/>
                  </a:lnTo>
                  <a:lnTo>
                    <a:pt x="10959" y="18927"/>
                  </a:lnTo>
                  <a:lnTo>
                    <a:pt x="27821" y="5760"/>
                  </a:lnTo>
                  <a:lnTo>
                    <a:pt x="31194" y="9052"/>
                  </a:lnTo>
                  <a:lnTo>
                    <a:pt x="54801" y="4114"/>
                  </a:lnTo>
                  <a:lnTo>
                    <a:pt x="81780" y="4114"/>
                  </a:lnTo>
                  <a:close/>
                </a:path>
              </a:pathLst>
            </a:custGeom>
            <a:solidFill>
              <a:srgbClr val="17722B"/>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3" name="Gennep">
              <a:extLst>
                <a:ext uri="{FF2B5EF4-FFF2-40B4-BE49-F238E27FC236}">
                  <a16:creationId xmlns:a16="http://schemas.microsoft.com/office/drawing/2014/main" id="{44BD1A9F-03ED-4CC9-A979-BAD7F3AB62BB}"/>
                </a:ext>
              </a:extLst>
            </p:cNvPr>
            <p:cNvSpPr/>
            <p:nvPr/>
          </p:nvSpPr>
          <p:spPr>
            <a:xfrm>
              <a:off x="6801149" y="4089552"/>
              <a:ext cx="130197" cy="178201"/>
            </a:xfrm>
            <a:custGeom>
              <a:avLst/>
              <a:gdLst/>
              <a:ahLst/>
              <a:cxnLst/>
              <a:rect l="l" t="t" r="r" b="b"/>
              <a:pathLst>
                <a:path w="199038" h="251460" extrusionOk="0">
                  <a:moveTo>
                    <a:pt x="54801" y="12343"/>
                  </a:moveTo>
                  <a:lnTo>
                    <a:pt x="59859" y="28802"/>
                  </a:lnTo>
                  <a:lnTo>
                    <a:pt x="86839" y="25510"/>
                  </a:lnTo>
                  <a:lnTo>
                    <a:pt x="118877" y="27156"/>
                  </a:lnTo>
                  <a:lnTo>
                    <a:pt x="134053" y="38677"/>
                  </a:lnTo>
                  <a:lnTo>
                    <a:pt x="174523" y="58427"/>
                  </a:lnTo>
                  <a:lnTo>
                    <a:pt x="177895" y="61719"/>
                  </a:lnTo>
                  <a:lnTo>
                    <a:pt x="179581" y="68302"/>
                  </a:lnTo>
                  <a:lnTo>
                    <a:pt x="182954" y="68302"/>
                  </a:lnTo>
                  <a:lnTo>
                    <a:pt x="182954" y="76532"/>
                  </a:lnTo>
                  <a:lnTo>
                    <a:pt x="188013" y="76532"/>
                  </a:lnTo>
                  <a:lnTo>
                    <a:pt x="186326" y="71594"/>
                  </a:lnTo>
                  <a:lnTo>
                    <a:pt x="198130" y="78178"/>
                  </a:lnTo>
                  <a:lnTo>
                    <a:pt x="193071" y="88053"/>
                  </a:lnTo>
                  <a:lnTo>
                    <a:pt x="176209" y="88053"/>
                  </a:lnTo>
                  <a:lnTo>
                    <a:pt x="172836" y="91345"/>
                  </a:lnTo>
                  <a:lnTo>
                    <a:pt x="169464" y="97928"/>
                  </a:lnTo>
                  <a:lnTo>
                    <a:pt x="171150" y="117678"/>
                  </a:lnTo>
                  <a:lnTo>
                    <a:pt x="176209" y="127554"/>
                  </a:lnTo>
                  <a:lnTo>
                    <a:pt x="177895" y="139075"/>
                  </a:lnTo>
                  <a:lnTo>
                    <a:pt x="172836" y="144012"/>
                  </a:lnTo>
                  <a:lnTo>
                    <a:pt x="179581" y="155533"/>
                  </a:lnTo>
                  <a:lnTo>
                    <a:pt x="176209" y="160471"/>
                  </a:lnTo>
                  <a:lnTo>
                    <a:pt x="174523" y="171992"/>
                  </a:lnTo>
                  <a:lnTo>
                    <a:pt x="177895" y="176929"/>
                  </a:lnTo>
                  <a:lnTo>
                    <a:pt x="166092" y="193388"/>
                  </a:lnTo>
                  <a:lnTo>
                    <a:pt x="177895" y="208201"/>
                  </a:lnTo>
                  <a:lnTo>
                    <a:pt x="167778" y="216430"/>
                  </a:lnTo>
                  <a:lnTo>
                    <a:pt x="152602" y="211493"/>
                  </a:lnTo>
                  <a:lnTo>
                    <a:pt x="150915" y="216430"/>
                  </a:lnTo>
                  <a:lnTo>
                    <a:pt x="140798" y="226305"/>
                  </a:lnTo>
                  <a:lnTo>
                    <a:pt x="132367" y="229597"/>
                  </a:lnTo>
                  <a:lnTo>
                    <a:pt x="132367" y="227951"/>
                  </a:lnTo>
                  <a:lnTo>
                    <a:pt x="93584" y="255931"/>
                  </a:lnTo>
                  <a:lnTo>
                    <a:pt x="80094" y="242764"/>
                  </a:lnTo>
                  <a:lnTo>
                    <a:pt x="75036" y="229597"/>
                  </a:lnTo>
                  <a:lnTo>
                    <a:pt x="75036" y="175284"/>
                  </a:lnTo>
                  <a:lnTo>
                    <a:pt x="61546" y="122616"/>
                  </a:lnTo>
                  <a:lnTo>
                    <a:pt x="59859" y="97928"/>
                  </a:lnTo>
                  <a:lnTo>
                    <a:pt x="53115" y="91345"/>
                  </a:lnTo>
                  <a:lnTo>
                    <a:pt x="41311" y="86407"/>
                  </a:lnTo>
                  <a:lnTo>
                    <a:pt x="4214" y="78178"/>
                  </a:lnTo>
                  <a:lnTo>
                    <a:pt x="7586" y="68302"/>
                  </a:lnTo>
                  <a:lnTo>
                    <a:pt x="17704" y="56781"/>
                  </a:lnTo>
                  <a:lnTo>
                    <a:pt x="27821" y="38677"/>
                  </a:lnTo>
                  <a:lnTo>
                    <a:pt x="27821" y="25510"/>
                  </a:lnTo>
                  <a:lnTo>
                    <a:pt x="32880" y="20573"/>
                  </a:lnTo>
                  <a:lnTo>
                    <a:pt x="42997" y="18926"/>
                  </a:lnTo>
                  <a:lnTo>
                    <a:pt x="54801" y="12343"/>
                  </a:lnTo>
                  <a:lnTo>
                    <a:pt x="56487" y="4114"/>
                  </a:lnTo>
                  <a:lnTo>
                    <a:pt x="54801" y="1234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4" name="Kampen">
              <a:extLst>
                <a:ext uri="{FF2B5EF4-FFF2-40B4-BE49-F238E27FC236}">
                  <a16:creationId xmlns:a16="http://schemas.microsoft.com/office/drawing/2014/main" id="{2B567883-E6D2-4CE5-9DD8-F9462EF3292E}"/>
                </a:ext>
              </a:extLst>
            </p:cNvPr>
            <p:cNvSpPr/>
            <p:nvPr/>
          </p:nvSpPr>
          <p:spPr>
            <a:xfrm>
              <a:off x="6646808" y="2659321"/>
              <a:ext cx="248241" cy="242379"/>
            </a:xfrm>
            <a:custGeom>
              <a:avLst/>
              <a:gdLst/>
              <a:ahLst/>
              <a:cxnLst/>
              <a:rect l="l" t="t" r="r" b="b"/>
              <a:pathLst>
                <a:path w="386369" h="365760" extrusionOk="0">
                  <a:moveTo>
                    <a:pt x="134053" y="252639"/>
                  </a:moveTo>
                  <a:lnTo>
                    <a:pt x="132367" y="246056"/>
                  </a:lnTo>
                  <a:lnTo>
                    <a:pt x="134053" y="249348"/>
                  </a:lnTo>
                  <a:lnTo>
                    <a:pt x="134053" y="252639"/>
                  </a:lnTo>
                  <a:close/>
                  <a:moveTo>
                    <a:pt x="96957" y="150596"/>
                  </a:moveTo>
                  <a:lnTo>
                    <a:pt x="93584" y="148950"/>
                  </a:lnTo>
                  <a:lnTo>
                    <a:pt x="96957" y="145658"/>
                  </a:lnTo>
                  <a:lnTo>
                    <a:pt x="96957" y="150596"/>
                  </a:lnTo>
                  <a:close/>
                  <a:moveTo>
                    <a:pt x="90212" y="142367"/>
                  </a:moveTo>
                  <a:lnTo>
                    <a:pt x="91898" y="145658"/>
                  </a:lnTo>
                  <a:lnTo>
                    <a:pt x="88526" y="147304"/>
                  </a:lnTo>
                  <a:lnTo>
                    <a:pt x="88526" y="144012"/>
                  </a:lnTo>
                  <a:lnTo>
                    <a:pt x="90212" y="142367"/>
                  </a:lnTo>
                  <a:close/>
                  <a:moveTo>
                    <a:pt x="81781" y="134137"/>
                  </a:moveTo>
                  <a:lnTo>
                    <a:pt x="88526" y="135783"/>
                  </a:lnTo>
                  <a:lnTo>
                    <a:pt x="91898" y="132491"/>
                  </a:lnTo>
                  <a:lnTo>
                    <a:pt x="91898" y="135783"/>
                  </a:lnTo>
                  <a:lnTo>
                    <a:pt x="88526" y="137429"/>
                  </a:lnTo>
                  <a:lnTo>
                    <a:pt x="80094" y="134137"/>
                  </a:lnTo>
                  <a:lnTo>
                    <a:pt x="83467" y="120970"/>
                  </a:lnTo>
                  <a:lnTo>
                    <a:pt x="81781" y="134137"/>
                  </a:lnTo>
                  <a:close/>
                  <a:moveTo>
                    <a:pt x="80094" y="119324"/>
                  </a:moveTo>
                  <a:lnTo>
                    <a:pt x="80094" y="125908"/>
                  </a:lnTo>
                  <a:lnTo>
                    <a:pt x="75036" y="132491"/>
                  </a:lnTo>
                  <a:lnTo>
                    <a:pt x="73349" y="125908"/>
                  </a:lnTo>
                  <a:lnTo>
                    <a:pt x="76722" y="129200"/>
                  </a:lnTo>
                  <a:lnTo>
                    <a:pt x="78408" y="119324"/>
                  </a:lnTo>
                  <a:lnTo>
                    <a:pt x="80094" y="119324"/>
                  </a:lnTo>
                  <a:close/>
                  <a:moveTo>
                    <a:pt x="61546" y="112741"/>
                  </a:moveTo>
                  <a:lnTo>
                    <a:pt x="66605" y="120970"/>
                  </a:lnTo>
                  <a:lnTo>
                    <a:pt x="73349" y="124262"/>
                  </a:lnTo>
                  <a:lnTo>
                    <a:pt x="66605" y="120970"/>
                  </a:lnTo>
                  <a:lnTo>
                    <a:pt x="59860" y="112741"/>
                  </a:lnTo>
                  <a:lnTo>
                    <a:pt x="61546" y="111095"/>
                  </a:lnTo>
                  <a:lnTo>
                    <a:pt x="61546" y="112741"/>
                  </a:lnTo>
                  <a:close/>
                  <a:moveTo>
                    <a:pt x="32880" y="84761"/>
                  </a:moveTo>
                  <a:lnTo>
                    <a:pt x="37939" y="89699"/>
                  </a:lnTo>
                  <a:lnTo>
                    <a:pt x="19390" y="84761"/>
                  </a:lnTo>
                  <a:lnTo>
                    <a:pt x="24449" y="91345"/>
                  </a:lnTo>
                  <a:lnTo>
                    <a:pt x="24449" y="96282"/>
                  </a:lnTo>
                  <a:lnTo>
                    <a:pt x="16018" y="84761"/>
                  </a:lnTo>
                  <a:lnTo>
                    <a:pt x="17704" y="81470"/>
                  </a:lnTo>
                  <a:lnTo>
                    <a:pt x="24449" y="84761"/>
                  </a:lnTo>
                  <a:lnTo>
                    <a:pt x="29508" y="81470"/>
                  </a:lnTo>
                  <a:lnTo>
                    <a:pt x="32880" y="84761"/>
                  </a:lnTo>
                  <a:close/>
                  <a:moveTo>
                    <a:pt x="48056" y="74886"/>
                  </a:moveTo>
                  <a:lnTo>
                    <a:pt x="54801" y="79824"/>
                  </a:lnTo>
                  <a:lnTo>
                    <a:pt x="48056" y="78178"/>
                  </a:lnTo>
                  <a:lnTo>
                    <a:pt x="48056" y="81470"/>
                  </a:lnTo>
                  <a:lnTo>
                    <a:pt x="42997" y="74886"/>
                  </a:lnTo>
                  <a:lnTo>
                    <a:pt x="41311" y="83115"/>
                  </a:lnTo>
                  <a:lnTo>
                    <a:pt x="48056" y="83115"/>
                  </a:lnTo>
                  <a:lnTo>
                    <a:pt x="48056" y="88053"/>
                  </a:lnTo>
                  <a:lnTo>
                    <a:pt x="53115" y="88053"/>
                  </a:lnTo>
                  <a:lnTo>
                    <a:pt x="56487" y="81470"/>
                  </a:lnTo>
                  <a:lnTo>
                    <a:pt x="64918" y="86407"/>
                  </a:lnTo>
                  <a:lnTo>
                    <a:pt x="58174" y="84761"/>
                  </a:lnTo>
                  <a:lnTo>
                    <a:pt x="63232" y="86407"/>
                  </a:lnTo>
                  <a:lnTo>
                    <a:pt x="56487" y="86407"/>
                  </a:lnTo>
                  <a:lnTo>
                    <a:pt x="53115" y="88053"/>
                  </a:lnTo>
                  <a:lnTo>
                    <a:pt x="56487" y="89699"/>
                  </a:lnTo>
                  <a:lnTo>
                    <a:pt x="49742" y="92991"/>
                  </a:lnTo>
                  <a:lnTo>
                    <a:pt x="42997" y="86407"/>
                  </a:lnTo>
                  <a:lnTo>
                    <a:pt x="39625" y="76532"/>
                  </a:lnTo>
                  <a:lnTo>
                    <a:pt x="41311" y="71594"/>
                  </a:lnTo>
                  <a:lnTo>
                    <a:pt x="48056" y="74886"/>
                  </a:lnTo>
                  <a:close/>
                  <a:moveTo>
                    <a:pt x="68291" y="60073"/>
                  </a:moveTo>
                  <a:lnTo>
                    <a:pt x="68291" y="63365"/>
                  </a:lnTo>
                  <a:lnTo>
                    <a:pt x="71663" y="65011"/>
                  </a:lnTo>
                  <a:lnTo>
                    <a:pt x="76722" y="73240"/>
                  </a:lnTo>
                  <a:lnTo>
                    <a:pt x="76722" y="65011"/>
                  </a:lnTo>
                  <a:lnTo>
                    <a:pt x="76722" y="73240"/>
                  </a:lnTo>
                  <a:lnTo>
                    <a:pt x="81781" y="81470"/>
                  </a:lnTo>
                  <a:lnTo>
                    <a:pt x="71663" y="79824"/>
                  </a:lnTo>
                  <a:lnTo>
                    <a:pt x="69977" y="68303"/>
                  </a:lnTo>
                  <a:lnTo>
                    <a:pt x="63232" y="56782"/>
                  </a:lnTo>
                  <a:lnTo>
                    <a:pt x="64918" y="53490"/>
                  </a:lnTo>
                  <a:lnTo>
                    <a:pt x="68291" y="60073"/>
                  </a:lnTo>
                  <a:close/>
                  <a:moveTo>
                    <a:pt x="66605" y="48552"/>
                  </a:moveTo>
                  <a:lnTo>
                    <a:pt x="76722" y="61719"/>
                  </a:lnTo>
                  <a:lnTo>
                    <a:pt x="73349" y="63365"/>
                  </a:lnTo>
                  <a:lnTo>
                    <a:pt x="75036" y="63365"/>
                  </a:lnTo>
                  <a:lnTo>
                    <a:pt x="69977" y="61719"/>
                  </a:lnTo>
                  <a:lnTo>
                    <a:pt x="66605" y="48552"/>
                  </a:lnTo>
                  <a:lnTo>
                    <a:pt x="63232" y="53490"/>
                  </a:lnTo>
                  <a:lnTo>
                    <a:pt x="63232" y="48552"/>
                  </a:lnTo>
                  <a:lnTo>
                    <a:pt x="66605" y="48552"/>
                  </a:lnTo>
                  <a:close/>
                  <a:moveTo>
                    <a:pt x="54801" y="48552"/>
                  </a:moveTo>
                  <a:lnTo>
                    <a:pt x="59860" y="53490"/>
                  </a:lnTo>
                  <a:lnTo>
                    <a:pt x="53115" y="48552"/>
                  </a:lnTo>
                  <a:lnTo>
                    <a:pt x="58174" y="68303"/>
                  </a:lnTo>
                  <a:lnTo>
                    <a:pt x="64918" y="69949"/>
                  </a:lnTo>
                  <a:lnTo>
                    <a:pt x="61546" y="63365"/>
                  </a:lnTo>
                  <a:lnTo>
                    <a:pt x="61546" y="55136"/>
                  </a:lnTo>
                  <a:lnTo>
                    <a:pt x="61546" y="63365"/>
                  </a:lnTo>
                  <a:lnTo>
                    <a:pt x="68291" y="76532"/>
                  </a:lnTo>
                  <a:lnTo>
                    <a:pt x="59860" y="69949"/>
                  </a:lnTo>
                  <a:lnTo>
                    <a:pt x="53115" y="69949"/>
                  </a:lnTo>
                  <a:lnTo>
                    <a:pt x="41311" y="58427"/>
                  </a:lnTo>
                  <a:lnTo>
                    <a:pt x="42997" y="51844"/>
                  </a:lnTo>
                  <a:lnTo>
                    <a:pt x="49742" y="48552"/>
                  </a:lnTo>
                  <a:lnTo>
                    <a:pt x="54801" y="48552"/>
                  </a:lnTo>
                  <a:close/>
                  <a:moveTo>
                    <a:pt x="88526" y="48552"/>
                  </a:moveTo>
                  <a:lnTo>
                    <a:pt x="90212" y="51844"/>
                  </a:lnTo>
                  <a:lnTo>
                    <a:pt x="85153" y="53490"/>
                  </a:lnTo>
                  <a:lnTo>
                    <a:pt x="81781" y="53490"/>
                  </a:lnTo>
                  <a:lnTo>
                    <a:pt x="86839" y="51844"/>
                  </a:lnTo>
                  <a:lnTo>
                    <a:pt x="88526" y="48552"/>
                  </a:lnTo>
                  <a:lnTo>
                    <a:pt x="81781" y="50198"/>
                  </a:lnTo>
                  <a:lnTo>
                    <a:pt x="80094" y="56782"/>
                  </a:lnTo>
                  <a:lnTo>
                    <a:pt x="78408" y="51844"/>
                  </a:lnTo>
                  <a:lnTo>
                    <a:pt x="75036" y="51844"/>
                  </a:lnTo>
                  <a:lnTo>
                    <a:pt x="78408" y="61719"/>
                  </a:lnTo>
                  <a:lnTo>
                    <a:pt x="80094" y="60073"/>
                  </a:lnTo>
                  <a:lnTo>
                    <a:pt x="78408" y="61719"/>
                  </a:lnTo>
                  <a:lnTo>
                    <a:pt x="69977" y="48552"/>
                  </a:lnTo>
                  <a:lnTo>
                    <a:pt x="88526" y="48552"/>
                  </a:lnTo>
                  <a:close/>
                  <a:moveTo>
                    <a:pt x="316166" y="4114"/>
                  </a:moveTo>
                  <a:lnTo>
                    <a:pt x="326283" y="10697"/>
                  </a:lnTo>
                  <a:lnTo>
                    <a:pt x="326283" y="30448"/>
                  </a:lnTo>
                  <a:lnTo>
                    <a:pt x="309421" y="51844"/>
                  </a:lnTo>
                  <a:lnTo>
                    <a:pt x="295931" y="79824"/>
                  </a:lnTo>
                  <a:lnTo>
                    <a:pt x="314480" y="117679"/>
                  </a:lnTo>
                  <a:lnTo>
                    <a:pt x="358322" y="96282"/>
                  </a:lnTo>
                  <a:lnTo>
                    <a:pt x="390360" y="160471"/>
                  </a:lnTo>
                  <a:lnTo>
                    <a:pt x="346518" y="183513"/>
                  </a:lnTo>
                  <a:lnTo>
                    <a:pt x="351577" y="196680"/>
                  </a:lnTo>
                  <a:lnTo>
                    <a:pt x="386987" y="213139"/>
                  </a:lnTo>
                  <a:lnTo>
                    <a:pt x="386987" y="239473"/>
                  </a:lnTo>
                  <a:lnTo>
                    <a:pt x="378556" y="241118"/>
                  </a:lnTo>
                  <a:lnTo>
                    <a:pt x="376870" y="239473"/>
                  </a:lnTo>
                  <a:lnTo>
                    <a:pt x="368439" y="242764"/>
                  </a:lnTo>
                  <a:lnTo>
                    <a:pt x="363380" y="255931"/>
                  </a:lnTo>
                  <a:lnTo>
                    <a:pt x="366753" y="267452"/>
                  </a:lnTo>
                  <a:lnTo>
                    <a:pt x="383615" y="282265"/>
                  </a:lnTo>
                  <a:lnTo>
                    <a:pt x="375184" y="292140"/>
                  </a:lnTo>
                  <a:lnTo>
                    <a:pt x="370125" y="293786"/>
                  </a:lnTo>
                  <a:lnTo>
                    <a:pt x="360008" y="290494"/>
                  </a:lnTo>
                  <a:lnTo>
                    <a:pt x="351577" y="295432"/>
                  </a:lnTo>
                  <a:lnTo>
                    <a:pt x="289186" y="362912"/>
                  </a:lnTo>
                  <a:lnTo>
                    <a:pt x="279069" y="344808"/>
                  </a:lnTo>
                  <a:lnTo>
                    <a:pt x="270638" y="343162"/>
                  </a:lnTo>
                  <a:lnTo>
                    <a:pt x="262207" y="348099"/>
                  </a:lnTo>
                  <a:lnTo>
                    <a:pt x="247031" y="362912"/>
                  </a:lnTo>
                  <a:lnTo>
                    <a:pt x="243658" y="361266"/>
                  </a:lnTo>
                  <a:lnTo>
                    <a:pt x="230168" y="367850"/>
                  </a:lnTo>
                  <a:lnTo>
                    <a:pt x="206561" y="311890"/>
                  </a:lnTo>
                  <a:lnTo>
                    <a:pt x="171151" y="265806"/>
                  </a:lnTo>
                  <a:lnTo>
                    <a:pt x="157661" y="254285"/>
                  </a:lnTo>
                  <a:lnTo>
                    <a:pt x="154288" y="252639"/>
                  </a:lnTo>
                  <a:lnTo>
                    <a:pt x="139112" y="260869"/>
                  </a:lnTo>
                  <a:lnTo>
                    <a:pt x="139112" y="257577"/>
                  </a:lnTo>
                  <a:lnTo>
                    <a:pt x="134053" y="254285"/>
                  </a:lnTo>
                  <a:lnTo>
                    <a:pt x="135740" y="249348"/>
                  </a:lnTo>
                  <a:lnTo>
                    <a:pt x="132367" y="241118"/>
                  </a:lnTo>
                  <a:lnTo>
                    <a:pt x="135740" y="239473"/>
                  </a:lnTo>
                  <a:lnTo>
                    <a:pt x="132367" y="237827"/>
                  </a:lnTo>
                  <a:lnTo>
                    <a:pt x="134053" y="229597"/>
                  </a:lnTo>
                  <a:lnTo>
                    <a:pt x="130681" y="219722"/>
                  </a:lnTo>
                  <a:lnTo>
                    <a:pt x="132367" y="216430"/>
                  </a:lnTo>
                  <a:lnTo>
                    <a:pt x="128995" y="216430"/>
                  </a:lnTo>
                  <a:lnTo>
                    <a:pt x="134053" y="214785"/>
                  </a:lnTo>
                  <a:lnTo>
                    <a:pt x="130681" y="214785"/>
                  </a:lnTo>
                  <a:lnTo>
                    <a:pt x="128995" y="204909"/>
                  </a:lnTo>
                  <a:lnTo>
                    <a:pt x="125622" y="201618"/>
                  </a:lnTo>
                  <a:lnTo>
                    <a:pt x="123936" y="195034"/>
                  </a:lnTo>
                  <a:lnTo>
                    <a:pt x="127309" y="196680"/>
                  </a:lnTo>
                  <a:lnTo>
                    <a:pt x="123936" y="183513"/>
                  </a:lnTo>
                  <a:lnTo>
                    <a:pt x="125622" y="178576"/>
                  </a:lnTo>
                  <a:lnTo>
                    <a:pt x="120564" y="181867"/>
                  </a:lnTo>
                  <a:lnTo>
                    <a:pt x="115505" y="167054"/>
                  </a:lnTo>
                  <a:lnTo>
                    <a:pt x="110447" y="165409"/>
                  </a:lnTo>
                  <a:lnTo>
                    <a:pt x="112133" y="163763"/>
                  </a:lnTo>
                  <a:lnTo>
                    <a:pt x="102015" y="155533"/>
                  </a:lnTo>
                  <a:lnTo>
                    <a:pt x="98643" y="139075"/>
                  </a:lnTo>
                  <a:lnTo>
                    <a:pt x="91898" y="125908"/>
                  </a:lnTo>
                  <a:lnTo>
                    <a:pt x="76722" y="114387"/>
                  </a:lnTo>
                  <a:lnTo>
                    <a:pt x="66605" y="114387"/>
                  </a:lnTo>
                  <a:lnTo>
                    <a:pt x="59860" y="107803"/>
                  </a:lnTo>
                  <a:lnTo>
                    <a:pt x="4214" y="106158"/>
                  </a:lnTo>
                  <a:lnTo>
                    <a:pt x="98643" y="109449"/>
                  </a:lnTo>
                  <a:lnTo>
                    <a:pt x="98643" y="107803"/>
                  </a:lnTo>
                  <a:lnTo>
                    <a:pt x="83467" y="104512"/>
                  </a:lnTo>
                  <a:lnTo>
                    <a:pt x="5901" y="104512"/>
                  </a:lnTo>
                  <a:lnTo>
                    <a:pt x="5901" y="94636"/>
                  </a:lnTo>
                  <a:lnTo>
                    <a:pt x="7587" y="94636"/>
                  </a:lnTo>
                  <a:lnTo>
                    <a:pt x="9273" y="101220"/>
                  </a:lnTo>
                  <a:lnTo>
                    <a:pt x="19390" y="104512"/>
                  </a:lnTo>
                  <a:lnTo>
                    <a:pt x="48056" y="104512"/>
                  </a:lnTo>
                  <a:lnTo>
                    <a:pt x="53115" y="102866"/>
                  </a:lnTo>
                  <a:lnTo>
                    <a:pt x="61546" y="92991"/>
                  </a:lnTo>
                  <a:lnTo>
                    <a:pt x="68291" y="91345"/>
                  </a:lnTo>
                  <a:lnTo>
                    <a:pt x="68291" y="94636"/>
                  </a:lnTo>
                  <a:lnTo>
                    <a:pt x="59860" y="97928"/>
                  </a:lnTo>
                  <a:lnTo>
                    <a:pt x="59860" y="101220"/>
                  </a:lnTo>
                  <a:lnTo>
                    <a:pt x="64918" y="102866"/>
                  </a:lnTo>
                  <a:lnTo>
                    <a:pt x="69977" y="97928"/>
                  </a:lnTo>
                  <a:lnTo>
                    <a:pt x="80094" y="96282"/>
                  </a:lnTo>
                  <a:lnTo>
                    <a:pt x="81781" y="99574"/>
                  </a:lnTo>
                  <a:lnTo>
                    <a:pt x="83467" y="97928"/>
                  </a:lnTo>
                  <a:lnTo>
                    <a:pt x="88526" y="99574"/>
                  </a:lnTo>
                  <a:lnTo>
                    <a:pt x="86839" y="102866"/>
                  </a:lnTo>
                  <a:lnTo>
                    <a:pt x="88526" y="99574"/>
                  </a:lnTo>
                  <a:lnTo>
                    <a:pt x="98643" y="107803"/>
                  </a:lnTo>
                  <a:lnTo>
                    <a:pt x="100329" y="104512"/>
                  </a:lnTo>
                  <a:lnTo>
                    <a:pt x="91898" y="96282"/>
                  </a:lnTo>
                  <a:lnTo>
                    <a:pt x="88526" y="91345"/>
                  </a:lnTo>
                  <a:lnTo>
                    <a:pt x="90212" y="89699"/>
                  </a:lnTo>
                  <a:lnTo>
                    <a:pt x="86839" y="89699"/>
                  </a:lnTo>
                  <a:lnTo>
                    <a:pt x="85153" y="86407"/>
                  </a:lnTo>
                  <a:lnTo>
                    <a:pt x="86839" y="86407"/>
                  </a:lnTo>
                  <a:lnTo>
                    <a:pt x="86839" y="83115"/>
                  </a:lnTo>
                  <a:lnTo>
                    <a:pt x="91898" y="74886"/>
                  </a:lnTo>
                  <a:lnTo>
                    <a:pt x="91898" y="71594"/>
                  </a:lnTo>
                  <a:lnTo>
                    <a:pt x="86839" y="69949"/>
                  </a:lnTo>
                  <a:lnTo>
                    <a:pt x="86839" y="65011"/>
                  </a:lnTo>
                  <a:lnTo>
                    <a:pt x="88526" y="60073"/>
                  </a:lnTo>
                  <a:lnTo>
                    <a:pt x="90212" y="60073"/>
                  </a:lnTo>
                  <a:lnTo>
                    <a:pt x="93584" y="50198"/>
                  </a:lnTo>
                  <a:lnTo>
                    <a:pt x="96957" y="51844"/>
                  </a:lnTo>
                  <a:lnTo>
                    <a:pt x="95270" y="48552"/>
                  </a:lnTo>
                  <a:lnTo>
                    <a:pt x="100329" y="46906"/>
                  </a:lnTo>
                  <a:lnTo>
                    <a:pt x="100329" y="48552"/>
                  </a:lnTo>
                  <a:lnTo>
                    <a:pt x="98643" y="46906"/>
                  </a:lnTo>
                  <a:lnTo>
                    <a:pt x="98643" y="40323"/>
                  </a:lnTo>
                  <a:lnTo>
                    <a:pt x="186326" y="20573"/>
                  </a:lnTo>
                  <a:lnTo>
                    <a:pt x="198130" y="20573"/>
                  </a:lnTo>
                  <a:lnTo>
                    <a:pt x="194758" y="23864"/>
                  </a:lnTo>
                  <a:lnTo>
                    <a:pt x="198130" y="27156"/>
                  </a:lnTo>
                  <a:lnTo>
                    <a:pt x="194758" y="27156"/>
                  </a:lnTo>
                  <a:lnTo>
                    <a:pt x="196444" y="30448"/>
                  </a:lnTo>
                  <a:lnTo>
                    <a:pt x="199816" y="25510"/>
                  </a:lnTo>
                  <a:lnTo>
                    <a:pt x="199816" y="28802"/>
                  </a:lnTo>
                  <a:lnTo>
                    <a:pt x="204875" y="27156"/>
                  </a:lnTo>
                  <a:lnTo>
                    <a:pt x="214992" y="33739"/>
                  </a:lnTo>
                  <a:lnTo>
                    <a:pt x="221737" y="32094"/>
                  </a:lnTo>
                  <a:lnTo>
                    <a:pt x="221737" y="37031"/>
                  </a:lnTo>
                  <a:lnTo>
                    <a:pt x="221737" y="30448"/>
                  </a:lnTo>
                  <a:lnTo>
                    <a:pt x="236913" y="32094"/>
                  </a:lnTo>
                  <a:lnTo>
                    <a:pt x="238599" y="28802"/>
                  </a:lnTo>
                  <a:lnTo>
                    <a:pt x="247031" y="27156"/>
                  </a:lnTo>
                  <a:lnTo>
                    <a:pt x="250403" y="20573"/>
                  </a:lnTo>
                  <a:lnTo>
                    <a:pt x="270638" y="12343"/>
                  </a:lnTo>
                  <a:lnTo>
                    <a:pt x="275697" y="4114"/>
                  </a:lnTo>
                  <a:lnTo>
                    <a:pt x="306049" y="10697"/>
                  </a:lnTo>
                  <a:lnTo>
                    <a:pt x="306049" y="9052"/>
                  </a:lnTo>
                  <a:lnTo>
                    <a:pt x="309421" y="9052"/>
                  </a:lnTo>
                  <a:lnTo>
                    <a:pt x="300990" y="7406"/>
                  </a:lnTo>
                  <a:lnTo>
                    <a:pt x="314480" y="7406"/>
                  </a:lnTo>
                  <a:lnTo>
                    <a:pt x="311107" y="5760"/>
                  </a:lnTo>
                  <a:lnTo>
                    <a:pt x="316166"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5" name="Maastricht">
              <a:extLst>
                <a:ext uri="{FF2B5EF4-FFF2-40B4-BE49-F238E27FC236}">
                  <a16:creationId xmlns:a16="http://schemas.microsoft.com/office/drawing/2014/main" id="{822E993E-AA39-45D0-897E-9E9520F71902}"/>
                </a:ext>
              </a:extLst>
            </p:cNvPr>
            <p:cNvSpPr/>
            <p:nvPr/>
          </p:nvSpPr>
          <p:spPr>
            <a:xfrm>
              <a:off x="6502966" y="5467632"/>
              <a:ext cx="132102" cy="183857"/>
            </a:xfrm>
            <a:custGeom>
              <a:avLst/>
              <a:gdLst/>
              <a:ahLst/>
              <a:cxnLst/>
              <a:rect l="l" t="t" r="r" b="b"/>
              <a:pathLst>
                <a:path w="199038" h="262890" extrusionOk="0">
                  <a:moveTo>
                    <a:pt x="125622" y="13989"/>
                  </a:moveTo>
                  <a:lnTo>
                    <a:pt x="120564" y="17281"/>
                  </a:lnTo>
                  <a:lnTo>
                    <a:pt x="118878" y="27156"/>
                  </a:lnTo>
                  <a:lnTo>
                    <a:pt x="130681" y="35385"/>
                  </a:lnTo>
                  <a:lnTo>
                    <a:pt x="127309" y="40323"/>
                  </a:lnTo>
                  <a:lnTo>
                    <a:pt x="135740" y="46906"/>
                  </a:lnTo>
                  <a:lnTo>
                    <a:pt x="139112" y="53490"/>
                  </a:lnTo>
                  <a:lnTo>
                    <a:pt x="140799" y="71595"/>
                  </a:lnTo>
                  <a:lnTo>
                    <a:pt x="155974" y="76532"/>
                  </a:lnTo>
                  <a:lnTo>
                    <a:pt x="152602" y="94637"/>
                  </a:lnTo>
                  <a:lnTo>
                    <a:pt x="166092" y="97928"/>
                  </a:lnTo>
                  <a:lnTo>
                    <a:pt x="166092" y="101220"/>
                  </a:lnTo>
                  <a:lnTo>
                    <a:pt x="171151" y="99574"/>
                  </a:lnTo>
                  <a:lnTo>
                    <a:pt x="172837" y="102866"/>
                  </a:lnTo>
                  <a:lnTo>
                    <a:pt x="186326" y="101220"/>
                  </a:lnTo>
                  <a:lnTo>
                    <a:pt x="193072" y="114387"/>
                  </a:lnTo>
                  <a:lnTo>
                    <a:pt x="198130" y="114387"/>
                  </a:lnTo>
                  <a:lnTo>
                    <a:pt x="198130" y="119324"/>
                  </a:lnTo>
                  <a:lnTo>
                    <a:pt x="177895" y="135783"/>
                  </a:lnTo>
                  <a:lnTo>
                    <a:pt x="189699" y="140721"/>
                  </a:lnTo>
                  <a:lnTo>
                    <a:pt x="189699" y="165409"/>
                  </a:lnTo>
                  <a:lnTo>
                    <a:pt x="186326" y="173638"/>
                  </a:lnTo>
                  <a:lnTo>
                    <a:pt x="164405" y="176929"/>
                  </a:lnTo>
                  <a:lnTo>
                    <a:pt x="164405" y="180221"/>
                  </a:lnTo>
                  <a:lnTo>
                    <a:pt x="162719" y="181867"/>
                  </a:lnTo>
                  <a:lnTo>
                    <a:pt x="172837" y="183513"/>
                  </a:lnTo>
                  <a:lnTo>
                    <a:pt x="172837" y="188451"/>
                  </a:lnTo>
                  <a:lnTo>
                    <a:pt x="171151" y="188451"/>
                  </a:lnTo>
                  <a:lnTo>
                    <a:pt x="172837" y="201618"/>
                  </a:lnTo>
                  <a:lnTo>
                    <a:pt x="172837" y="208201"/>
                  </a:lnTo>
                  <a:lnTo>
                    <a:pt x="171151" y="206555"/>
                  </a:lnTo>
                  <a:lnTo>
                    <a:pt x="171151" y="219722"/>
                  </a:lnTo>
                  <a:lnTo>
                    <a:pt x="169464" y="218076"/>
                  </a:lnTo>
                  <a:lnTo>
                    <a:pt x="167778" y="223013"/>
                  </a:lnTo>
                  <a:lnTo>
                    <a:pt x="145857" y="231243"/>
                  </a:lnTo>
                  <a:lnTo>
                    <a:pt x="140799" y="237826"/>
                  </a:lnTo>
                  <a:lnTo>
                    <a:pt x="127309" y="239473"/>
                  </a:lnTo>
                  <a:lnTo>
                    <a:pt x="127309" y="265806"/>
                  </a:lnTo>
                  <a:lnTo>
                    <a:pt x="113819" y="262515"/>
                  </a:lnTo>
                  <a:lnTo>
                    <a:pt x="115505" y="254285"/>
                  </a:lnTo>
                  <a:lnTo>
                    <a:pt x="95270" y="254285"/>
                  </a:lnTo>
                  <a:lnTo>
                    <a:pt x="88526" y="249348"/>
                  </a:lnTo>
                  <a:lnTo>
                    <a:pt x="90212" y="246056"/>
                  </a:lnTo>
                  <a:lnTo>
                    <a:pt x="83467" y="246056"/>
                  </a:lnTo>
                  <a:lnTo>
                    <a:pt x="76722" y="242764"/>
                  </a:lnTo>
                  <a:lnTo>
                    <a:pt x="69977" y="246056"/>
                  </a:lnTo>
                  <a:lnTo>
                    <a:pt x="66605" y="234535"/>
                  </a:lnTo>
                  <a:lnTo>
                    <a:pt x="58174" y="236181"/>
                  </a:lnTo>
                  <a:lnTo>
                    <a:pt x="53115" y="231243"/>
                  </a:lnTo>
                  <a:lnTo>
                    <a:pt x="49742" y="234535"/>
                  </a:lnTo>
                  <a:lnTo>
                    <a:pt x="27821" y="226306"/>
                  </a:lnTo>
                  <a:lnTo>
                    <a:pt x="31194" y="216430"/>
                  </a:lnTo>
                  <a:lnTo>
                    <a:pt x="24449" y="208201"/>
                  </a:lnTo>
                  <a:lnTo>
                    <a:pt x="19390" y="209847"/>
                  </a:lnTo>
                  <a:lnTo>
                    <a:pt x="24449" y="198326"/>
                  </a:lnTo>
                  <a:lnTo>
                    <a:pt x="21076" y="193388"/>
                  </a:lnTo>
                  <a:lnTo>
                    <a:pt x="19390" y="195034"/>
                  </a:lnTo>
                  <a:lnTo>
                    <a:pt x="17704" y="188451"/>
                  </a:lnTo>
                  <a:lnTo>
                    <a:pt x="12645" y="183513"/>
                  </a:lnTo>
                  <a:lnTo>
                    <a:pt x="14332" y="180221"/>
                  </a:lnTo>
                  <a:lnTo>
                    <a:pt x="9273" y="176929"/>
                  </a:lnTo>
                  <a:lnTo>
                    <a:pt x="9273" y="170346"/>
                  </a:lnTo>
                  <a:lnTo>
                    <a:pt x="4214" y="160471"/>
                  </a:lnTo>
                  <a:lnTo>
                    <a:pt x="7587" y="160471"/>
                  </a:lnTo>
                  <a:lnTo>
                    <a:pt x="5901" y="155534"/>
                  </a:lnTo>
                  <a:lnTo>
                    <a:pt x="10959" y="153887"/>
                  </a:lnTo>
                  <a:lnTo>
                    <a:pt x="5901" y="145658"/>
                  </a:lnTo>
                  <a:lnTo>
                    <a:pt x="10959" y="137429"/>
                  </a:lnTo>
                  <a:lnTo>
                    <a:pt x="9273" y="135783"/>
                  </a:lnTo>
                  <a:lnTo>
                    <a:pt x="12645" y="132492"/>
                  </a:lnTo>
                  <a:lnTo>
                    <a:pt x="9273" y="132492"/>
                  </a:lnTo>
                  <a:lnTo>
                    <a:pt x="12645" y="122616"/>
                  </a:lnTo>
                  <a:lnTo>
                    <a:pt x="9273" y="119324"/>
                  </a:lnTo>
                  <a:lnTo>
                    <a:pt x="21076" y="109449"/>
                  </a:lnTo>
                  <a:lnTo>
                    <a:pt x="12645" y="102866"/>
                  </a:lnTo>
                  <a:lnTo>
                    <a:pt x="22763" y="92990"/>
                  </a:lnTo>
                  <a:lnTo>
                    <a:pt x="26135" y="96282"/>
                  </a:lnTo>
                  <a:lnTo>
                    <a:pt x="31194" y="89699"/>
                  </a:lnTo>
                  <a:lnTo>
                    <a:pt x="34566" y="91345"/>
                  </a:lnTo>
                  <a:lnTo>
                    <a:pt x="39625" y="84761"/>
                  </a:lnTo>
                  <a:lnTo>
                    <a:pt x="51428" y="76532"/>
                  </a:lnTo>
                  <a:lnTo>
                    <a:pt x="66605" y="79824"/>
                  </a:lnTo>
                  <a:lnTo>
                    <a:pt x="66605" y="73240"/>
                  </a:lnTo>
                  <a:lnTo>
                    <a:pt x="71663" y="61719"/>
                  </a:lnTo>
                  <a:lnTo>
                    <a:pt x="86839" y="48552"/>
                  </a:lnTo>
                  <a:lnTo>
                    <a:pt x="93584" y="38677"/>
                  </a:lnTo>
                  <a:lnTo>
                    <a:pt x="95270" y="27156"/>
                  </a:lnTo>
                  <a:lnTo>
                    <a:pt x="93584" y="13989"/>
                  </a:lnTo>
                  <a:lnTo>
                    <a:pt x="98643" y="7405"/>
                  </a:lnTo>
                  <a:lnTo>
                    <a:pt x="112133" y="4114"/>
                  </a:lnTo>
                  <a:lnTo>
                    <a:pt x="125622" y="1398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6" name="Heemskerk">
              <a:extLst>
                <a:ext uri="{FF2B5EF4-FFF2-40B4-BE49-F238E27FC236}">
                  <a16:creationId xmlns:a16="http://schemas.microsoft.com/office/drawing/2014/main" id="{652975AC-7168-4F0A-8CD3-B0FD7944C767}"/>
                </a:ext>
              </a:extLst>
            </p:cNvPr>
            <p:cNvSpPr/>
            <p:nvPr/>
          </p:nvSpPr>
          <p:spPr>
            <a:xfrm>
              <a:off x="5411365" y="2823876"/>
              <a:ext cx="120672" cy="75608"/>
            </a:xfrm>
            <a:custGeom>
              <a:avLst/>
              <a:gdLst/>
              <a:ahLst/>
              <a:cxnLst/>
              <a:rect l="l" t="t" r="r" b="b"/>
              <a:pathLst>
                <a:path w="199038" h="114300" extrusionOk="0">
                  <a:moveTo>
                    <a:pt x="125622" y="7406"/>
                  </a:moveTo>
                  <a:lnTo>
                    <a:pt x="169464" y="17281"/>
                  </a:lnTo>
                  <a:lnTo>
                    <a:pt x="161033" y="37031"/>
                  </a:lnTo>
                  <a:lnTo>
                    <a:pt x="164405" y="56782"/>
                  </a:lnTo>
                  <a:lnTo>
                    <a:pt x="167778" y="58427"/>
                  </a:lnTo>
                  <a:lnTo>
                    <a:pt x="166092" y="63365"/>
                  </a:lnTo>
                  <a:lnTo>
                    <a:pt x="181268" y="61719"/>
                  </a:lnTo>
                  <a:lnTo>
                    <a:pt x="184640" y="56782"/>
                  </a:lnTo>
                  <a:lnTo>
                    <a:pt x="188013" y="58427"/>
                  </a:lnTo>
                  <a:lnTo>
                    <a:pt x="186326" y="66657"/>
                  </a:lnTo>
                  <a:lnTo>
                    <a:pt x="184640" y="66657"/>
                  </a:lnTo>
                  <a:lnTo>
                    <a:pt x="179582" y="74886"/>
                  </a:lnTo>
                  <a:lnTo>
                    <a:pt x="182954" y="81470"/>
                  </a:lnTo>
                  <a:lnTo>
                    <a:pt x="193071" y="89699"/>
                  </a:lnTo>
                  <a:lnTo>
                    <a:pt x="204875" y="94636"/>
                  </a:lnTo>
                  <a:lnTo>
                    <a:pt x="194758" y="99574"/>
                  </a:lnTo>
                  <a:lnTo>
                    <a:pt x="186326" y="109449"/>
                  </a:lnTo>
                  <a:lnTo>
                    <a:pt x="186326" y="114387"/>
                  </a:lnTo>
                  <a:lnTo>
                    <a:pt x="174523" y="106158"/>
                  </a:lnTo>
                  <a:lnTo>
                    <a:pt x="171150" y="112741"/>
                  </a:lnTo>
                  <a:lnTo>
                    <a:pt x="167778" y="112741"/>
                  </a:lnTo>
                  <a:lnTo>
                    <a:pt x="166092" y="102866"/>
                  </a:lnTo>
                  <a:lnTo>
                    <a:pt x="159347" y="104512"/>
                  </a:lnTo>
                  <a:lnTo>
                    <a:pt x="154288" y="99574"/>
                  </a:lnTo>
                  <a:lnTo>
                    <a:pt x="154288" y="101220"/>
                  </a:lnTo>
                  <a:lnTo>
                    <a:pt x="140798" y="97928"/>
                  </a:lnTo>
                  <a:lnTo>
                    <a:pt x="123936" y="76532"/>
                  </a:lnTo>
                  <a:lnTo>
                    <a:pt x="107074" y="86407"/>
                  </a:lnTo>
                  <a:lnTo>
                    <a:pt x="91898" y="81470"/>
                  </a:lnTo>
                  <a:lnTo>
                    <a:pt x="76722" y="81470"/>
                  </a:lnTo>
                  <a:lnTo>
                    <a:pt x="41311" y="88053"/>
                  </a:lnTo>
                  <a:lnTo>
                    <a:pt x="34566" y="92991"/>
                  </a:lnTo>
                  <a:lnTo>
                    <a:pt x="29507" y="94636"/>
                  </a:lnTo>
                  <a:lnTo>
                    <a:pt x="21076" y="89699"/>
                  </a:lnTo>
                  <a:lnTo>
                    <a:pt x="22763" y="86407"/>
                  </a:lnTo>
                  <a:lnTo>
                    <a:pt x="21076" y="88053"/>
                  </a:lnTo>
                  <a:lnTo>
                    <a:pt x="17704" y="84761"/>
                  </a:lnTo>
                  <a:lnTo>
                    <a:pt x="10959" y="84761"/>
                  </a:lnTo>
                  <a:lnTo>
                    <a:pt x="4214" y="83115"/>
                  </a:lnTo>
                  <a:lnTo>
                    <a:pt x="22763" y="5760"/>
                  </a:lnTo>
                  <a:lnTo>
                    <a:pt x="105388" y="7406"/>
                  </a:lnTo>
                  <a:lnTo>
                    <a:pt x="115505" y="4114"/>
                  </a:lnTo>
                  <a:lnTo>
                    <a:pt x="125622"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7" name="Oirschot">
              <a:extLst>
                <a:ext uri="{FF2B5EF4-FFF2-40B4-BE49-F238E27FC236}">
                  <a16:creationId xmlns:a16="http://schemas.microsoft.com/office/drawing/2014/main" id="{B72AE64A-8F8F-4527-9F3E-04A17E3EA5A8}"/>
                </a:ext>
              </a:extLst>
            </p:cNvPr>
            <p:cNvSpPr/>
            <p:nvPr/>
          </p:nvSpPr>
          <p:spPr>
            <a:xfrm>
              <a:off x="6020907" y="4412679"/>
              <a:ext cx="226944" cy="216005"/>
            </a:xfrm>
            <a:custGeom>
              <a:avLst/>
              <a:gdLst/>
              <a:ahLst/>
              <a:cxnLst/>
              <a:rect l="l" t="t" r="r" b="b"/>
              <a:pathLst>
                <a:path w="316120" h="308610" extrusionOk="0">
                  <a:moveTo>
                    <a:pt x="157661" y="10697"/>
                  </a:moveTo>
                  <a:lnTo>
                    <a:pt x="186327" y="20573"/>
                  </a:lnTo>
                  <a:lnTo>
                    <a:pt x="213306" y="7405"/>
                  </a:lnTo>
                  <a:lnTo>
                    <a:pt x="225110" y="7405"/>
                  </a:lnTo>
                  <a:lnTo>
                    <a:pt x="231855" y="18926"/>
                  </a:lnTo>
                  <a:lnTo>
                    <a:pt x="240286" y="22218"/>
                  </a:lnTo>
                  <a:lnTo>
                    <a:pt x="262207" y="23864"/>
                  </a:lnTo>
                  <a:lnTo>
                    <a:pt x="279069" y="55136"/>
                  </a:lnTo>
                  <a:lnTo>
                    <a:pt x="275697" y="58427"/>
                  </a:lnTo>
                  <a:lnTo>
                    <a:pt x="258834" y="61719"/>
                  </a:lnTo>
                  <a:lnTo>
                    <a:pt x="257148" y="68302"/>
                  </a:lnTo>
                  <a:lnTo>
                    <a:pt x="257148" y="81470"/>
                  </a:lnTo>
                  <a:lnTo>
                    <a:pt x="253776" y="83115"/>
                  </a:lnTo>
                  <a:lnTo>
                    <a:pt x="250403" y="89699"/>
                  </a:lnTo>
                  <a:lnTo>
                    <a:pt x="253776" y="116033"/>
                  </a:lnTo>
                  <a:lnTo>
                    <a:pt x="255462" y="116033"/>
                  </a:lnTo>
                  <a:lnTo>
                    <a:pt x="260520" y="140720"/>
                  </a:lnTo>
                  <a:lnTo>
                    <a:pt x="268952" y="148950"/>
                  </a:lnTo>
                  <a:lnTo>
                    <a:pt x="306049" y="163763"/>
                  </a:lnTo>
                  <a:lnTo>
                    <a:pt x="312793" y="160471"/>
                  </a:lnTo>
                  <a:lnTo>
                    <a:pt x="312793" y="201617"/>
                  </a:lnTo>
                  <a:lnTo>
                    <a:pt x="295931" y="218076"/>
                  </a:lnTo>
                  <a:lnTo>
                    <a:pt x="263893" y="211493"/>
                  </a:lnTo>
                  <a:lnTo>
                    <a:pt x="260520" y="221368"/>
                  </a:lnTo>
                  <a:lnTo>
                    <a:pt x="225110" y="206555"/>
                  </a:lnTo>
                  <a:lnTo>
                    <a:pt x="226796" y="213138"/>
                  </a:lnTo>
                  <a:lnTo>
                    <a:pt x="223424" y="214784"/>
                  </a:lnTo>
                  <a:lnTo>
                    <a:pt x="226796" y="221368"/>
                  </a:lnTo>
                  <a:lnTo>
                    <a:pt x="221737" y="221368"/>
                  </a:lnTo>
                  <a:lnTo>
                    <a:pt x="220051" y="218076"/>
                  </a:lnTo>
                  <a:lnTo>
                    <a:pt x="213306" y="218076"/>
                  </a:lnTo>
                  <a:lnTo>
                    <a:pt x="213306" y="221368"/>
                  </a:lnTo>
                  <a:lnTo>
                    <a:pt x="204875" y="226306"/>
                  </a:lnTo>
                  <a:lnTo>
                    <a:pt x="196444" y="224660"/>
                  </a:lnTo>
                  <a:lnTo>
                    <a:pt x="177895" y="229597"/>
                  </a:lnTo>
                  <a:lnTo>
                    <a:pt x="169464" y="244410"/>
                  </a:lnTo>
                  <a:lnTo>
                    <a:pt x="164406" y="239472"/>
                  </a:lnTo>
                  <a:lnTo>
                    <a:pt x="150916" y="241118"/>
                  </a:lnTo>
                  <a:lnTo>
                    <a:pt x="140799" y="250993"/>
                  </a:lnTo>
                  <a:lnTo>
                    <a:pt x="118878" y="254285"/>
                  </a:lnTo>
                  <a:lnTo>
                    <a:pt x="93584" y="262514"/>
                  </a:lnTo>
                  <a:lnTo>
                    <a:pt x="100329" y="280619"/>
                  </a:lnTo>
                  <a:lnTo>
                    <a:pt x="80094" y="290494"/>
                  </a:lnTo>
                  <a:lnTo>
                    <a:pt x="76722" y="303661"/>
                  </a:lnTo>
                  <a:lnTo>
                    <a:pt x="64918" y="310245"/>
                  </a:lnTo>
                  <a:lnTo>
                    <a:pt x="54801" y="311890"/>
                  </a:lnTo>
                  <a:lnTo>
                    <a:pt x="54801" y="305307"/>
                  </a:lnTo>
                  <a:lnTo>
                    <a:pt x="46370" y="298723"/>
                  </a:lnTo>
                  <a:lnTo>
                    <a:pt x="42997" y="290494"/>
                  </a:lnTo>
                  <a:lnTo>
                    <a:pt x="34566" y="290494"/>
                  </a:lnTo>
                  <a:lnTo>
                    <a:pt x="32880" y="283911"/>
                  </a:lnTo>
                  <a:lnTo>
                    <a:pt x="12645" y="297078"/>
                  </a:lnTo>
                  <a:lnTo>
                    <a:pt x="4214" y="298723"/>
                  </a:lnTo>
                  <a:lnTo>
                    <a:pt x="34566" y="213138"/>
                  </a:lnTo>
                  <a:lnTo>
                    <a:pt x="51428" y="196680"/>
                  </a:lnTo>
                  <a:lnTo>
                    <a:pt x="58173" y="157179"/>
                  </a:lnTo>
                  <a:lnTo>
                    <a:pt x="66605" y="153888"/>
                  </a:lnTo>
                  <a:lnTo>
                    <a:pt x="63232" y="134137"/>
                  </a:lnTo>
                  <a:lnTo>
                    <a:pt x="91898" y="134137"/>
                  </a:lnTo>
                  <a:lnTo>
                    <a:pt x="93584" y="116033"/>
                  </a:lnTo>
                  <a:lnTo>
                    <a:pt x="98643" y="116033"/>
                  </a:lnTo>
                  <a:lnTo>
                    <a:pt x="98643" y="107803"/>
                  </a:lnTo>
                  <a:lnTo>
                    <a:pt x="75036" y="97928"/>
                  </a:lnTo>
                  <a:lnTo>
                    <a:pt x="69977" y="109449"/>
                  </a:lnTo>
                  <a:lnTo>
                    <a:pt x="59860" y="112741"/>
                  </a:lnTo>
                  <a:lnTo>
                    <a:pt x="56487" y="89699"/>
                  </a:lnTo>
                  <a:lnTo>
                    <a:pt x="66605" y="79823"/>
                  </a:lnTo>
                  <a:lnTo>
                    <a:pt x="73349" y="56781"/>
                  </a:lnTo>
                  <a:lnTo>
                    <a:pt x="86839" y="68302"/>
                  </a:lnTo>
                  <a:lnTo>
                    <a:pt x="95270" y="55136"/>
                  </a:lnTo>
                  <a:lnTo>
                    <a:pt x="102015" y="33739"/>
                  </a:lnTo>
                  <a:lnTo>
                    <a:pt x="113819" y="32094"/>
                  </a:lnTo>
                  <a:lnTo>
                    <a:pt x="117191" y="23864"/>
                  </a:lnTo>
                  <a:lnTo>
                    <a:pt x="123936" y="27156"/>
                  </a:lnTo>
                  <a:lnTo>
                    <a:pt x="127309" y="18926"/>
                  </a:lnTo>
                  <a:lnTo>
                    <a:pt x="137426" y="22218"/>
                  </a:lnTo>
                  <a:lnTo>
                    <a:pt x="139112" y="13989"/>
                  </a:lnTo>
                  <a:lnTo>
                    <a:pt x="130681" y="10697"/>
                  </a:lnTo>
                  <a:lnTo>
                    <a:pt x="132367" y="4114"/>
                  </a:lnTo>
                  <a:lnTo>
                    <a:pt x="157661" y="10697"/>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8" name="Waalwijk">
              <a:extLst>
                <a:ext uri="{FF2B5EF4-FFF2-40B4-BE49-F238E27FC236}">
                  <a16:creationId xmlns:a16="http://schemas.microsoft.com/office/drawing/2014/main" id="{11AD8E13-EC68-418E-A4B3-095B6EAC8ABC}"/>
                </a:ext>
              </a:extLst>
            </p:cNvPr>
            <p:cNvSpPr/>
            <p:nvPr/>
          </p:nvSpPr>
          <p:spPr>
            <a:xfrm>
              <a:off x="5723171" y="4130923"/>
              <a:ext cx="221201" cy="121465"/>
            </a:xfrm>
            <a:custGeom>
              <a:avLst/>
              <a:gdLst/>
              <a:ahLst/>
              <a:cxnLst/>
              <a:rect l="l" t="t" r="r" b="b"/>
              <a:pathLst>
                <a:path w="304412" h="171450" extrusionOk="0">
                  <a:moveTo>
                    <a:pt x="174523" y="33740"/>
                  </a:moveTo>
                  <a:lnTo>
                    <a:pt x="203189" y="33740"/>
                  </a:lnTo>
                  <a:lnTo>
                    <a:pt x="221737" y="28802"/>
                  </a:lnTo>
                  <a:lnTo>
                    <a:pt x="255462" y="5760"/>
                  </a:lnTo>
                  <a:lnTo>
                    <a:pt x="258834" y="10698"/>
                  </a:lnTo>
                  <a:lnTo>
                    <a:pt x="279069" y="17281"/>
                  </a:lnTo>
                  <a:lnTo>
                    <a:pt x="285814" y="28802"/>
                  </a:lnTo>
                  <a:lnTo>
                    <a:pt x="294245" y="35385"/>
                  </a:lnTo>
                  <a:lnTo>
                    <a:pt x="300990" y="51844"/>
                  </a:lnTo>
                  <a:lnTo>
                    <a:pt x="287500" y="55136"/>
                  </a:lnTo>
                  <a:lnTo>
                    <a:pt x="292559" y="116033"/>
                  </a:lnTo>
                  <a:lnTo>
                    <a:pt x="285814" y="116033"/>
                  </a:lnTo>
                  <a:lnTo>
                    <a:pt x="274010" y="122616"/>
                  </a:lnTo>
                  <a:lnTo>
                    <a:pt x="267265" y="120970"/>
                  </a:lnTo>
                  <a:lnTo>
                    <a:pt x="252089" y="129199"/>
                  </a:lnTo>
                  <a:lnTo>
                    <a:pt x="221737" y="129199"/>
                  </a:lnTo>
                  <a:lnTo>
                    <a:pt x="223424" y="137429"/>
                  </a:lnTo>
                  <a:lnTo>
                    <a:pt x="218365" y="137429"/>
                  </a:lnTo>
                  <a:lnTo>
                    <a:pt x="218365" y="152242"/>
                  </a:lnTo>
                  <a:lnTo>
                    <a:pt x="206561" y="152242"/>
                  </a:lnTo>
                  <a:lnTo>
                    <a:pt x="201503" y="152242"/>
                  </a:lnTo>
                  <a:lnTo>
                    <a:pt x="201503" y="148950"/>
                  </a:lnTo>
                  <a:lnTo>
                    <a:pt x="198130" y="150596"/>
                  </a:lnTo>
                  <a:lnTo>
                    <a:pt x="117191" y="117678"/>
                  </a:lnTo>
                  <a:lnTo>
                    <a:pt x="108760" y="168700"/>
                  </a:lnTo>
                  <a:lnTo>
                    <a:pt x="64918" y="176930"/>
                  </a:lnTo>
                  <a:lnTo>
                    <a:pt x="64918" y="162117"/>
                  </a:lnTo>
                  <a:lnTo>
                    <a:pt x="56487" y="127554"/>
                  </a:lnTo>
                  <a:lnTo>
                    <a:pt x="42997" y="109449"/>
                  </a:lnTo>
                  <a:lnTo>
                    <a:pt x="26135" y="116033"/>
                  </a:lnTo>
                  <a:lnTo>
                    <a:pt x="4214" y="10698"/>
                  </a:lnTo>
                  <a:lnTo>
                    <a:pt x="34566" y="4114"/>
                  </a:lnTo>
                  <a:lnTo>
                    <a:pt x="63232" y="4114"/>
                  </a:lnTo>
                  <a:lnTo>
                    <a:pt x="91898" y="10698"/>
                  </a:lnTo>
                  <a:lnTo>
                    <a:pt x="142485" y="28802"/>
                  </a:lnTo>
                  <a:lnTo>
                    <a:pt x="174523" y="3374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39" name="Noordoostpolder">
              <a:extLst>
                <a:ext uri="{FF2B5EF4-FFF2-40B4-BE49-F238E27FC236}">
                  <a16:creationId xmlns:a16="http://schemas.microsoft.com/office/drawing/2014/main" id="{521DE7DA-F343-4370-8F18-E2EBD55D019C}"/>
                </a:ext>
              </a:extLst>
            </p:cNvPr>
            <p:cNvSpPr/>
            <p:nvPr/>
          </p:nvSpPr>
          <p:spPr>
            <a:xfrm>
              <a:off x="6456824" y="2313875"/>
              <a:ext cx="437462" cy="365573"/>
            </a:xfrm>
            <a:custGeom>
              <a:avLst/>
              <a:gdLst/>
              <a:ahLst/>
              <a:cxnLst/>
              <a:rect l="l" t="t" r="r" b="b"/>
              <a:pathLst>
                <a:path w="643949" h="571500" extrusionOk="0">
                  <a:moveTo>
                    <a:pt x="366753" y="573583"/>
                  </a:moveTo>
                  <a:lnTo>
                    <a:pt x="366753" y="573583"/>
                  </a:lnTo>
                  <a:close/>
                  <a:moveTo>
                    <a:pt x="378556" y="566999"/>
                  </a:moveTo>
                  <a:lnTo>
                    <a:pt x="376870" y="566999"/>
                  </a:lnTo>
                  <a:lnTo>
                    <a:pt x="378556" y="566999"/>
                  </a:lnTo>
                  <a:close/>
                  <a:moveTo>
                    <a:pt x="397105" y="555478"/>
                  </a:moveTo>
                  <a:lnTo>
                    <a:pt x="376870" y="562062"/>
                  </a:lnTo>
                  <a:lnTo>
                    <a:pt x="376870" y="563708"/>
                  </a:lnTo>
                  <a:lnTo>
                    <a:pt x="375184" y="562062"/>
                  </a:lnTo>
                  <a:lnTo>
                    <a:pt x="365066" y="565353"/>
                  </a:lnTo>
                  <a:lnTo>
                    <a:pt x="253776" y="565353"/>
                  </a:lnTo>
                  <a:lnTo>
                    <a:pt x="247030" y="568645"/>
                  </a:lnTo>
                  <a:lnTo>
                    <a:pt x="253776" y="565353"/>
                  </a:lnTo>
                  <a:lnTo>
                    <a:pt x="365066" y="563708"/>
                  </a:lnTo>
                  <a:lnTo>
                    <a:pt x="397105" y="555478"/>
                  </a:lnTo>
                  <a:close/>
                  <a:moveTo>
                    <a:pt x="464553" y="547249"/>
                  </a:moveTo>
                  <a:lnTo>
                    <a:pt x="462867" y="547249"/>
                  </a:lnTo>
                  <a:lnTo>
                    <a:pt x="464553" y="547249"/>
                  </a:lnTo>
                  <a:lnTo>
                    <a:pt x="464553" y="547249"/>
                  </a:lnTo>
                  <a:close/>
                  <a:moveTo>
                    <a:pt x="447691" y="545603"/>
                  </a:moveTo>
                  <a:lnTo>
                    <a:pt x="456122" y="543957"/>
                  </a:lnTo>
                  <a:lnTo>
                    <a:pt x="461181" y="548895"/>
                  </a:lnTo>
                  <a:lnTo>
                    <a:pt x="380242" y="565353"/>
                  </a:lnTo>
                  <a:lnTo>
                    <a:pt x="415653" y="553832"/>
                  </a:lnTo>
                  <a:lnTo>
                    <a:pt x="420712" y="553832"/>
                  </a:lnTo>
                  <a:lnTo>
                    <a:pt x="427457" y="550541"/>
                  </a:lnTo>
                  <a:lnTo>
                    <a:pt x="444319" y="545603"/>
                  </a:lnTo>
                  <a:lnTo>
                    <a:pt x="447691" y="542311"/>
                  </a:lnTo>
                  <a:lnTo>
                    <a:pt x="449378" y="543957"/>
                  </a:lnTo>
                  <a:lnTo>
                    <a:pt x="447691" y="545603"/>
                  </a:lnTo>
                  <a:close/>
                  <a:moveTo>
                    <a:pt x="634862" y="494581"/>
                  </a:moveTo>
                  <a:lnTo>
                    <a:pt x="636549" y="494581"/>
                  </a:lnTo>
                  <a:lnTo>
                    <a:pt x="628117" y="491290"/>
                  </a:lnTo>
                  <a:lnTo>
                    <a:pt x="634862" y="494581"/>
                  </a:lnTo>
                  <a:close/>
                  <a:moveTo>
                    <a:pt x="639921" y="483060"/>
                  </a:moveTo>
                  <a:lnTo>
                    <a:pt x="641607" y="484706"/>
                  </a:lnTo>
                  <a:lnTo>
                    <a:pt x="639921" y="484706"/>
                  </a:lnTo>
                  <a:lnTo>
                    <a:pt x="639921" y="483060"/>
                  </a:lnTo>
                  <a:close/>
                  <a:moveTo>
                    <a:pt x="639921" y="479769"/>
                  </a:moveTo>
                  <a:lnTo>
                    <a:pt x="639921" y="483060"/>
                  </a:lnTo>
                  <a:lnTo>
                    <a:pt x="638235" y="481414"/>
                  </a:lnTo>
                  <a:lnTo>
                    <a:pt x="639921" y="479769"/>
                  </a:lnTo>
                  <a:close/>
                  <a:moveTo>
                    <a:pt x="634862" y="476477"/>
                  </a:moveTo>
                  <a:lnTo>
                    <a:pt x="638235" y="478123"/>
                  </a:lnTo>
                  <a:lnTo>
                    <a:pt x="634862" y="481414"/>
                  </a:lnTo>
                  <a:lnTo>
                    <a:pt x="634862" y="476477"/>
                  </a:lnTo>
                  <a:close/>
                  <a:moveTo>
                    <a:pt x="634862" y="474831"/>
                  </a:moveTo>
                  <a:lnTo>
                    <a:pt x="634862" y="476477"/>
                  </a:lnTo>
                  <a:lnTo>
                    <a:pt x="633176" y="474831"/>
                  </a:lnTo>
                  <a:lnTo>
                    <a:pt x="634862" y="474831"/>
                  </a:lnTo>
                  <a:close/>
                  <a:moveTo>
                    <a:pt x="633176" y="473185"/>
                  </a:moveTo>
                  <a:lnTo>
                    <a:pt x="633176" y="473185"/>
                  </a:lnTo>
                  <a:close/>
                  <a:moveTo>
                    <a:pt x="621372" y="473185"/>
                  </a:moveTo>
                  <a:lnTo>
                    <a:pt x="631490" y="476477"/>
                  </a:lnTo>
                  <a:lnTo>
                    <a:pt x="634862" y="481414"/>
                  </a:lnTo>
                  <a:lnTo>
                    <a:pt x="633176" y="486352"/>
                  </a:lnTo>
                  <a:lnTo>
                    <a:pt x="629804" y="487998"/>
                  </a:lnTo>
                  <a:lnTo>
                    <a:pt x="614627" y="479769"/>
                  </a:lnTo>
                  <a:lnTo>
                    <a:pt x="616314" y="474831"/>
                  </a:lnTo>
                  <a:lnTo>
                    <a:pt x="621372" y="473185"/>
                  </a:lnTo>
                  <a:close/>
                  <a:moveTo>
                    <a:pt x="631490" y="471539"/>
                  </a:moveTo>
                  <a:lnTo>
                    <a:pt x="629804" y="469893"/>
                  </a:lnTo>
                  <a:lnTo>
                    <a:pt x="631490" y="471539"/>
                  </a:lnTo>
                  <a:close/>
                  <a:moveTo>
                    <a:pt x="628117" y="468247"/>
                  </a:moveTo>
                  <a:lnTo>
                    <a:pt x="629804" y="468247"/>
                  </a:lnTo>
                  <a:lnTo>
                    <a:pt x="628117" y="468247"/>
                  </a:lnTo>
                  <a:lnTo>
                    <a:pt x="628117" y="468247"/>
                  </a:lnTo>
                  <a:close/>
                  <a:moveTo>
                    <a:pt x="626431" y="464956"/>
                  </a:moveTo>
                  <a:lnTo>
                    <a:pt x="626431" y="466602"/>
                  </a:lnTo>
                  <a:lnTo>
                    <a:pt x="626431" y="464956"/>
                  </a:lnTo>
                  <a:close/>
                  <a:moveTo>
                    <a:pt x="624745" y="464956"/>
                  </a:moveTo>
                  <a:lnTo>
                    <a:pt x="626431" y="464956"/>
                  </a:lnTo>
                  <a:lnTo>
                    <a:pt x="624745" y="464956"/>
                  </a:lnTo>
                  <a:lnTo>
                    <a:pt x="624745" y="464956"/>
                  </a:lnTo>
                  <a:close/>
                  <a:moveTo>
                    <a:pt x="616314" y="458372"/>
                  </a:moveTo>
                  <a:lnTo>
                    <a:pt x="619686" y="461664"/>
                  </a:lnTo>
                  <a:lnTo>
                    <a:pt x="612941" y="458372"/>
                  </a:lnTo>
                  <a:lnTo>
                    <a:pt x="616314" y="458372"/>
                  </a:lnTo>
                  <a:close/>
                  <a:moveTo>
                    <a:pt x="611255" y="456727"/>
                  </a:moveTo>
                  <a:lnTo>
                    <a:pt x="609569" y="456727"/>
                  </a:lnTo>
                  <a:lnTo>
                    <a:pt x="611255" y="456727"/>
                  </a:lnTo>
                  <a:close/>
                  <a:moveTo>
                    <a:pt x="604510" y="455081"/>
                  </a:moveTo>
                  <a:lnTo>
                    <a:pt x="602824" y="455081"/>
                  </a:lnTo>
                  <a:lnTo>
                    <a:pt x="604510" y="455081"/>
                  </a:lnTo>
                  <a:close/>
                  <a:moveTo>
                    <a:pt x="601138" y="455081"/>
                  </a:moveTo>
                  <a:lnTo>
                    <a:pt x="601138" y="455081"/>
                  </a:lnTo>
                  <a:close/>
                  <a:moveTo>
                    <a:pt x="599451" y="455081"/>
                  </a:moveTo>
                  <a:lnTo>
                    <a:pt x="597765" y="453435"/>
                  </a:lnTo>
                  <a:lnTo>
                    <a:pt x="599451" y="455081"/>
                  </a:lnTo>
                  <a:close/>
                  <a:moveTo>
                    <a:pt x="594393" y="453435"/>
                  </a:moveTo>
                  <a:lnTo>
                    <a:pt x="592706" y="451789"/>
                  </a:lnTo>
                  <a:lnTo>
                    <a:pt x="596079" y="453435"/>
                  </a:lnTo>
                  <a:lnTo>
                    <a:pt x="594393" y="453435"/>
                  </a:lnTo>
                  <a:close/>
                  <a:moveTo>
                    <a:pt x="245344" y="22219"/>
                  </a:moveTo>
                  <a:lnTo>
                    <a:pt x="289186" y="66657"/>
                  </a:lnTo>
                  <a:lnTo>
                    <a:pt x="297617" y="101220"/>
                  </a:lnTo>
                  <a:lnTo>
                    <a:pt x="306049" y="92991"/>
                  </a:lnTo>
                  <a:lnTo>
                    <a:pt x="322911" y="122616"/>
                  </a:lnTo>
                  <a:lnTo>
                    <a:pt x="341459" y="139075"/>
                  </a:lnTo>
                  <a:lnTo>
                    <a:pt x="341459" y="145658"/>
                  </a:lnTo>
                  <a:lnTo>
                    <a:pt x="368439" y="144012"/>
                  </a:lnTo>
                  <a:lnTo>
                    <a:pt x="378556" y="147304"/>
                  </a:lnTo>
                  <a:lnTo>
                    <a:pt x="388674" y="145658"/>
                  </a:lnTo>
                  <a:lnTo>
                    <a:pt x="403849" y="152242"/>
                  </a:lnTo>
                  <a:lnTo>
                    <a:pt x="434201" y="173638"/>
                  </a:lnTo>
                  <a:lnTo>
                    <a:pt x="440946" y="183513"/>
                  </a:lnTo>
                  <a:lnTo>
                    <a:pt x="456122" y="193388"/>
                  </a:lnTo>
                  <a:lnTo>
                    <a:pt x="457808" y="198326"/>
                  </a:lnTo>
                  <a:lnTo>
                    <a:pt x="464553" y="201618"/>
                  </a:lnTo>
                  <a:lnTo>
                    <a:pt x="472985" y="201618"/>
                  </a:lnTo>
                  <a:lnTo>
                    <a:pt x="498278" y="227951"/>
                  </a:lnTo>
                  <a:lnTo>
                    <a:pt x="518513" y="277327"/>
                  </a:lnTo>
                  <a:lnTo>
                    <a:pt x="528630" y="313536"/>
                  </a:lnTo>
                  <a:lnTo>
                    <a:pt x="542120" y="320120"/>
                  </a:lnTo>
                  <a:lnTo>
                    <a:pt x="548865" y="331641"/>
                  </a:lnTo>
                  <a:lnTo>
                    <a:pt x="547178" y="339870"/>
                  </a:lnTo>
                  <a:lnTo>
                    <a:pt x="553924" y="339870"/>
                  </a:lnTo>
                  <a:lnTo>
                    <a:pt x="562354" y="353037"/>
                  </a:lnTo>
                  <a:lnTo>
                    <a:pt x="564041" y="364558"/>
                  </a:lnTo>
                  <a:lnTo>
                    <a:pt x="558982" y="372788"/>
                  </a:lnTo>
                  <a:lnTo>
                    <a:pt x="553924" y="372788"/>
                  </a:lnTo>
                  <a:lnTo>
                    <a:pt x="545492" y="384308"/>
                  </a:lnTo>
                  <a:lnTo>
                    <a:pt x="540433" y="384308"/>
                  </a:lnTo>
                  <a:lnTo>
                    <a:pt x="532003" y="390892"/>
                  </a:lnTo>
                  <a:lnTo>
                    <a:pt x="516826" y="408996"/>
                  </a:lnTo>
                  <a:lnTo>
                    <a:pt x="515140" y="418872"/>
                  </a:lnTo>
                  <a:lnTo>
                    <a:pt x="518513" y="423809"/>
                  </a:lnTo>
                  <a:lnTo>
                    <a:pt x="525258" y="425455"/>
                  </a:lnTo>
                  <a:lnTo>
                    <a:pt x="525258" y="420518"/>
                  </a:lnTo>
                  <a:lnTo>
                    <a:pt x="528630" y="420518"/>
                  </a:lnTo>
                  <a:lnTo>
                    <a:pt x="547178" y="427101"/>
                  </a:lnTo>
                  <a:lnTo>
                    <a:pt x="565727" y="430393"/>
                  </a:lnTo>
                  <a:lnTo>
                    <a:pt x="592706" y="451789"/>
                  </a:lnTo>
                  <a:lnTo>
                    <a:pt x="587648" y="450143"/>
                  </a:lnTo>
                  <a:lnTo>
                    <a:pt x="592706" y="456727"/>
                  </a:lnTo>
                  <a:lnTo>
                    <a:pt x="562354" y="496227"/>
                  </a:lnTo>
                  <a:lnTo>
                    <a:pt x="365066" y="562062"/>
                  </a:lnTo>
                  <a:lnTo>
                    <a:pt x="241972" y="562062"/>
                  </a:lnTo>
                  <a:lnTo>
                    <a:pt x="235227" y="563708"/>
                  </a:lnTo>
                  <a:lnTo>
                    <a:pt x="233541" y="565353"/>
                  </a:lnTo>
                  <a:lnTo>
                    <a:pt x="240286" y="565353"/>
                  </a:lnTo>
                  <a:lnTo>
                    <a:pt x="243658" y="571937"/>
                  </a:lnTo>
                  <a:lnTo>
                    <a:pt x="248716" y="571937"/>
                  </a:lnTo>
                  <a:lnTo>
                    <a:pt x="245344" y="573583"/>
                  </a:lnTo>
                  <a:lnTo>
                    <a:pt x="241972" y="571937"/>
                  </a:lnTo>
                  <a:lnTo>
                    <a:pt x="240286" y="566999"/>
                  </a:lnTo>
                  <a:lnTo>
                    <a:pt x="231855" y="566999"/>
                  </a:lnTo>
                  <a:lnTo>
                    <a:pt x="231855" y="563708"/>
                  </a:lnTo>
                  <a:lnTo>
                    <a:pt x="228482" y="563708"/>
                  </a:lnTo>
                  <a:lnTo>
                    <a:pt x="228482" y="565353"/>
                  </a:lnTo>
                  <a:lnTo>
                    <a:pt x="225110" y="562062"/>
                  </a:lnTo>
                  <a:lnTo>
                    <a:pt x="110446" y="562062"/>
                  </a:lnTo>
                  <a:lnTo>
                    <a:pt x="90212" y="555478"/>
                  </a:lnTo>
                  <a:lnTo>
                    <a:pt x="93584" y="553832"/>
                  </a:lnTo>
                  <a:lnTo>
                    <a:pt x="37939" y="471539"/>
                  </a:lnTo>
                  <a:lnTo>
                    <a:pt x="39625" y="469893"/>
                  </a:lnTo>
                  <a:lnTo>
                    <a:pt x="48056" y="473185"/>
                  </a:lnTo>
                  <a:lnTo>
                    <a:pt x="88525" y="473185"/>
                  </a:lnTo>
                  <a:lnTo>
                    <a:pt x="90212" y="461664"/>
                  </a:lnTo>
                  <a:lnTo>
                    <a:pt x="78408" y="446851"/>
                  </a:lnTo>
                  <a:lnTo>
                    <a:pt x="98643" y="433685"/>
                  </a:lnTo>
                  <a:lnTo>
                    <a:pt x="76722" y="405705"/>
                  </a:lnTo>
                  <a:lnTo>
                    <a:pt x="80094" y="394184"/>
                  </a:lnTo>
                  <a:lnTo>
                    <a:pt x="53115" y="394184"/>
                  </a:lnTo>
                  <a:lnTo>
                    <a:pt x="29507" y="399121"/>
                  </a:lnTo>
                  <a:lnTo>
                    <a:pt x="26135" y="395830"/>
                  </a:lnTo>
                  <a:lnTo>
                    <a:pt x="9273" y="408996"/>
                  </a:lnTo>
                  <a:lnTo>
                    <a:pt x="4214" y="408996"/>
                  </a:lnTo>
                  <a:lnTo>
                    <a:pt x="7587" y="195034"/>
                  </a:lnTo>
                  <a:lnTo>
                    <a:pt x="108760" y="37031"/>
                  </a:lnTo>
                  <a:lnTo>
                    <a:pt x="117191" y="33740"/>
                  </a:lnTo>
                  <a:lnTo>
                    <a:pt x="167778" y="27156"/>
                  </a:lnTo>
                  <a:lnTo>
                    <a:pt x="167778" y="23864"/>
                  </a:lnTo>
                  <a:lnTo>
                    <a:pt x="169464" y="27156"/>
                  </a:lnTo>
                  <a:lnTo>
                    <a:pt x="177895" y="27156"/>
                  </a:lnTo>
                  <a:lnTo>
                    <a:pt x="182954" y="17281"/>
                  </a:lnTo>
                  <a:lnTo>
                    <a:pt x="198130" y="23864"/>
                  </a:lnTo>
                  <a:lnTo>
                    <a:pt x="206561" y="28802"/>
                  </a:lnTo>
                  <a:lnTo>
                    <a:pt x="199816" y="4114"/>
                  </a:lnTo>
                  <a:lnTo>
                    <a:pt x="236913" y="13989"/>
                  </a:lnTo>
                  <a:lnTo>
                    <a:pt x="245344" y="2221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0" name="Landerd">
              <a:extLst>
                <a:ext uri="{FF2B5EF4-FFF2-40B4-BE49-F238E27FC236}">
                  <a16:creationId xmlns:a16="http://schemas.microsoft.com/office/drawing/2014/main" id="{B36B6FDE-883B-41B6-83C5-5660878BC292}"/>
                </a:ext>
              </a:extLst>
            </p:cNvPr>
            <p:cNvSpPr/>
            <p:nvPr/>
          </p:nvSpPr>
          <p:spPr>
            <a:xfrm>
              <a:off x="6438444" y="4049543"/>
              <a:ext cx="162551" cy="218028"/>
            </a:xfrm>
            <a:custGeom>
              <a:avLst/>
              <a:gdLst/>
              <a:ahLst/>
              <a:cxnLst/>
              <a:rect l="l" t="t" r="r" b="b"/>
              <a:pathLst>
                <a:path w="257579" h="285750" extrusionOk="0">
                  <a:moveTo>
                    <a:pt x="161033" y="18927"/>
                  </a:moveTo>
                  <a:lnTo>
                    <a:pt x="171150" y="25510"/>
                  </a:lnTo>
                  <a:lnTo>
                    <a:pt x="179582" y="25510"/>
                  </a:lnTo>
                  <a:lnTo>
                    <a:pt x="184640" y="35386"/>
                  </a:lnTo>
                  <a:lnTo>
                    <a:pt x="196443" y="35386"/>
                  </a:lnTo>
                  <a:lnTo>
                    <a:pt x="193071" y="46906"/>
                  </a:lnTo>
                  <a:lnTo>
                    <a:pt x="198130" y="46906"/>
                  </a:lnTo>
                  <a:lnTo>
                    <a:pt x="194757" y="66657"/>
                  </a:lnTo>
                  <a:lnTo>
                    <a:pt x="191385" y="76532"/>
                  </a:lnTo>
                  <a:lnTo>
                    <a:pt x="204875" y="79824"/>
                  </a:lnTo>
                  <a:lnTo>
                    <a:pt x="203189" y="91345"/>
                  </a:lnTo>
                  <a:lnTo>
                    <a:pt x="221737" y="89699"/>
                  </a:lnTo>
                  <a:lnTo>
                    <a:pt x="221737" y="94637"/>
                  </a:lnTo>
                  <a:lnTo>
                    <a:pt x="208247" y="99574"/>
                  </a:lnTo>
                  <a:lnTo>
                    <a:pt x="213306" y="104512"/>
                  </a:lnTo>
                  <a:lnTo>
                    <a:pt x="208247" y="106158"/>
                  </a:lnTo>
                  <a:lnTo>
                    <a:pt x="201502" y="116033"/>
                  </a:lnTo>
                  <a:lnTo>
                    <a:pt x="193071" y="140721"/>
                  </a:lnTo>
                  <a:lnTo>
                    <a:pt x="247030" y="223014"/>
                  </a:lnTo>
                  <a:lnTo>
                    <a:pt x="260520" y="288849"/>
                  </a:lnTo>
                  <a:lnTo>
                    <a:pt x="247030" y="283911"/>
                  </a:lnTo>
                  <a:lnTo>
                    <a:pt x="245344" y="270744"/>
                  </a:lnTo>
                  <a:lnTo>
                    <a:pt x="240286" y="270744"/>
                  </a:lnTo>
                  <a:lnTo>
                    <a:pt x="240286" y="267452"/>
                  </a:lnTo>
                  <a:lnTo>
                    <a:pt x="250403" y="262515"/>
                  </a:lnTo>
                  <a:lnTo>
                    <a:pt x="241972" y="231243"/>
                  </a:lnTo>
                  <a:lnTo>
                    <a:pt x="161033" y="254286"/>
                  </a:lnTo>
                  <a:lnTo>
                    <a:pt x="152602" y="250994"/>
                  </a:lnTo>
                  <a:lnTo>
                    <a:pt x="75036" y="171992"/>
                  </a:lnTo>
                  <a:lnTo>
                    <a:pt x="76722" y="160471"/>
                  </a:lnTo>
                  <a:lnTo>
                    <a:pt x="36252" y="165409"/>
                  </a:lnTo>
                  <a:lnTo>
                    <a:pt x="32880" y="150596"/>
                  </a:lnTo>
                  <a:lnTo>
                    <a:pt x="39625" y="152242"/>
                  </a:lnTo>
                  <a:lnTo>
                    <a:pt x="37939" y="150596"/>
                  </a:lnTo>
                  <a:lnTo>
                    <a:pt x="39625" y="148950"/>
                  </a:lnTo>
                  <a:lnTo>
                    <a:pt x="22763" y="109449"/>
                  </a:lnTo>
                  <a:lnTo>
                    <a:pt x="10959" y="92991"/>
                  </a:lnTo>
                  <a:lnTo>
                    <a:pt x="12645" y="89699"/>
                  </a:lnTo>
                  <a:lnTo>
                    <a:pt x="9273" y="89699"/>
                  </a:lnTo>
                  <a:lnTo>
                    <a:pt x="5900" y="83116"/>
                  </a:lnTo>
                  <a:lnTo>
                    <a:pt x="4214" y="61720"/>
                  </a:lnTo>
                  <a:lnTo>
                    <a:pt x="34566" y="55136"/>
                  </a:lnTo>
                  <a:lnTo>
                    <a:pt x="36252" y="46906"/>
                  </a:lnTo>
                  <a:lnTo>
                    <a:pt x="63232" y="33740"/>
                  </a:lnTo>
                  <a:lnTo>
                    <a:pt x="64918" y="37031"/>
                  </a:lnTo>
                  <a:lnTo>
                    <a:pt x="93584" y="28802"/>
                  </a:lnTo>
                  <a:lnTo>
                    <a:pt x="95270" y="28802"/>
                  </a:lnTo>
                  <a:lnTo>
                    <a:pt x="91898" y="22219"/>
                  </a:lnTo>
                  <a:lnTo>
                    <a:pt x="108760" y="17281"/>
                  </a:lnTo>
                  <a:lnTo>
                    <a:pt x="113819" y="13989"/>
                  </a:lnTo>
                  <a:lnTo>
                    <a:pt x="132367" y="35386"/>
                  </a:lnTo>
                  <a:lnTo>
                    <a:pt x="142484" y="43615"/>
                  </a:lnTo>
                  <a:lnTo>
                    <a:pt x="147543" y="17281"/>
                  </a:lnTo>
                  <a:lnTo>
                    <a:pt x="152602" y="5760"/>
                  </a:lnTo>
                  <a:lnTo>
                    <a:pt x="154288" y="4114"/>
                  </a:lnTo>
                  <a:lnTo>
                    <a:pt x="161033" y="18927"/>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1" name="Emmen">
              <a:extLst>
                <a:ext uri="{FF2B5EF4-FFF2-40B4-BE49-F238E27FC236}">
                  <a16:creationId xmlns:a16="http://schemas.microsoft.com/office/drawing/2014/main" id="{31A8E55F-FD57-4829-BF72-2F2F0BED7C32}"/>
                </a:ext>
              </a:extLst>
            </p:cNvPr>
            <p:cNvSpPr/>
            <p:nvPr/>
          </p:nvSpPr>
          <p:spPr>
            <a:xfrm>
              <a:off x="7720392" y="2242020"/>
              <a:ext cx="298494" cy="399804"/>
            </a:xfrm>
            <a:custGeom>
              <a:avLst/>
              <a:gdLst/>
              <a:ahLst/>
              <a:cxnLst/>
              <a:rect l="l" t="t" r="r" b="b"/>
              <a:pathLst>
                <a:path w="398077" h="582930" extrusionOk="0">
                  <a:moveTo>
                    <a:pt x="319538" y="13989"/>
                  </a:moveTo>
                  <a:lnTo>
                    <a:pt x="322911" y="22218"/>
                  </a:lnTo>
                  <a:lnTo>
                    <a:pt x="327969" y="20573"/>
                  </a:lnTo>
                  <a:lnTo>
                    <a:pt x="353262" y="55136"/>
                  </a:lnTo>
                  <a:lnTo>
                    <a:pt x="356635" y="55136"/>
                  </a:lnTo>
                  <a:lnTo>
                    <a:pt x="361694" y="63365"/>
                  </a:lnTo>
                  <a:lnTo>
                    <a:pt x="373497" y="58427"/>
                  </a:lnTo>
                  <a:lnTo>
                    <a:pt x="366753" y="69949"/>
                  </a:lnTo>
                  <a:lnTo>
                    <a:pt x="366753" y="86407"/>
                  </a:lnTo>
                  <a:lnTo>
                    <a:pt x="398791" y="86407"/>
                  </a:lnTo>
                  <a:lnTo>
                    <a:pt x="368438" y="153888"/>
                  </a:lnTo>
                  <a:lnTo>
                    <a:pt x="353262" y="558770"/>
                  </a:lnTo>
                  <a:lnTo>
                    <a:pt x="333028" y="583458"/>
                  </a:lnTo>
                  <a:lnTo>
                    <a:pt x="329655" y="585104"/>
                  </a:lnTo>
                  <a:lnTo>
                    <a:pt x="324597" y="580166"/>
                  </a:lnTo>
                  <a:lnTo>
                    <a:pt x="314480" y="580166"/>
                  </a:lnTo>
                  <a:lnTo>
                    <a:pt x="289186" y="575228"/>
                  </a:lnTo>
                  <a:lnTo>
                    <a:pt x="280755" y="571937"/>
                  </a:lnTo>
                  <a:lnTo>
                    <a:pt x="272324" y="563708"/>
                  </a:lnTo>
                  <a:lnTo>
                    <a:pt x="258834" y="565353"/>
                  </a:lnTo>
                  <a:lnTo>
                    <a:pt x="233541" y="553832"/>
                  </a:lnTo>
                  <a:lnTo>
                    <a:pt x="221737" y="565353"/>
                  </a:lnTo>
                  <a:lnTo>
                    <a:pt x="208247" y="565353"/>
                  </a:lnTo>
                  <a:lnTo>
                    <a:pt x="199816" y="571937"/>
                  </a:lnTo>
                  <a:lnTo>
                    <a:pt x="188012" y="571937"/>
                  </a:lnTo>
                  <a:lnTo>
                    <a:pt x="177895" y="575228"/>
                  </a:lnTo>
                  <a:lnTo>
                    <a:pt x="162719" y="570291"/>
                  </a:lnTo>
                  <a:lnTo>
                    <a:pt x="147543" y="570291"/>
                  </a:lnTo>
                  <a:lnTo>
                    <a:pt x="142484" y="566999"/>
                  </a:lnTo>
                  <a:lnTo>
                    <a:pt x="140798" y="555478"/>
                  </a:lnTo>
                  <a:lnTo>
                    <a:pt x="123936" y="550541"/>
                  </a:lnTo>
                  <a:lnTo>
                    <a:pt x="115505" y="543957"/>
                  </a:lnTo>
                  <a:lnTo>
                    <a:pt x="88525" y="547249"/>
                  </a:lnTo>
                  <a:lnTo>
                    <a:pt x="78408" y="540665"/>
                  </a:lnTo>
                  <a:lnTo>
                    <a:pt x="61546" y="548895"/>
                  </a:lnTo>
                  <a:lnTo>
                    <a:pt x="41311" y="430393"/>
                  </a:lnTo>
                  <a:lnTo>
                    <a:pt x="27821" y="428747"/>
                  </a:lnTo>
                  <a:lnTo>
                    <a:pt x="9273" y="366204"/>
                  </a:lnTo>
                  <a:lnTo>
                    <a:pt x="7586" y="366204"/>
                  </a:lnTo>
                  <a:lnTo>
                    <a:pt x="4214" y="354683"/>
                  </a:lnTo>
                  <a:lnTo>
                    <a:pt x="21076" y="344808"/>
                  </a:lnTo>
                  <a:lnTo>
                    <a:pt x="10959" y="326703"/>
                  </a:lnTo>
                  <a:lnTo>
                    <a:pt x="14331" y="313536"/>
                  </a:lnTo>
                  <a:lnTo>
                    <a:pt x="21076" y="305307"/>
                  </a:lnTo>
                  <a:lnTo>
                    <a:pt x="21076" y="293786"/>
                  </a:lnTo>
                  <a:lnTo>
                    <a:pt x="16018" y="293786"/>
                  </a:lnTo>
                  <a:lnTo>
                    <a:pt x="22763" y="280619"/>
                  </a:lnTo>
                  <a:lnTo>
                    <a:pt x="14331" y="274035"/>
                  </a:lnTo>
                  <a:lnTo>
                    <a:pt x="9273" y="267452"/>
                  </a:lnTo>
                  <a:lnTo>
                    <a:pt x="14331" y="255931"/>
                  </a:lnTo>
                  <a:lnTo>
                    <a:pt x="9273" y="241118"/>
                  </a:lnTo>
                  <a:lnTo>
                    <a:pt x="34566" y="176930"/>
                  </a:lnTo>
                  <a:lnTo>
                    <a:pt x="44684" y="158825"/>
                  </a:lnTo>
                  <a:lnTo>
                    <a:pt x="58173" y="147304"/>
                  </a:lnTo>
                  <a:lnTo>
                    <a:pt x="63232" y="139075"/>
                  </a:lnTo>
                  <a:lnTo>
                    <a:pt x="85153" y="127554"/>
                  </a:lnTo>
                  <a:lnTo>
                    <a:pt x="122249" y="101220"/>
                  </a:lnTo>
                  <a:lnTo>
                    <a:pt x="182954" y="65011"/>
                  </a:lnTo>
                  <a:lnTo>
                    <a:pt x="184640" y="60073"/>
                  </a:lnTo>
                  <a:lnTo>
                    <a:pt x="186326" y="60073"/>
                  </a:lnTo>
                  <a:lnTo>
                    <a:pt x="184640" y="56782"/>
                  </a:lnTo>
                  <a:lnTo>
                    <a:pt x="186326" y="50198"/>
                  </a:lnTo>
                  <a:lnTo>
                    <a:pt x="194757" y="33739"/>
                  </a:lnTo>
                  <a:lnTo>
                    <a:pt x="199816" y="27156"/>
                  </a:lnTo>
                  <a:lnTo>
                    <a:pt x="204875" y="25510"/>
                  </a:lnTo>
                  <a:lnTo>
                    <a:pt x="208247" y="28802"/>
                  </a:lnTo>
                  <a:lnTo>
                    <a:pt x="268951" y="5760"/>
                  </a:lnTo>
                  <a:lnTo>
                    <a:pt x="317852" y="4114"/>
                  </a:lnTo>
                  <a:lnTo>
                    <a:pt x="319538" y="13989"/>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2" name="Elburg">
              <a:extLst>
                <a:ext uri="{FF2B5EF4-FFF2-40B4-BE49-F238E27FC236}">
                  <a16:creationId xmlns:a16="http://schemas.microsoft.com/office/drawing/2014/main" id="{AFC0EF6E-2CF4-4AA5-9164-48F8EC2A77EE}"/>
                </a:ext>
              </a:extLst>
            </p:cNvPr>
            <p:cNvSpPr/>
            <p:nvPr/>
          </p:nvSpPr>
          <p:spPr>
            <a:xfrm>
              <a:off x="6615805" y="2897370"/>
              <a:ext cx="185063" cy="199037"/>
            </a:xfrm>
            <a:custGeom>
              <a:avLst/>
              <a:gdLst/>
              <a:ahLst/>
              <a:cxnLst/>
              <a:rect l="l" t="t" r="r" b="b"/>
              <a:pathLst>
                <a:path w="257579" h="274320" extrusionOk="0">
                  <a:moveTo>
                    <a:pt x="105388" y="48552"/>
                  </a:moveTo>
                  <a:lnTo>
                    <a:pt x="105388" y="50198"/>
                  </a:lnTo>
                  <a:lnTo>
                    <a:pt x="103701" y="48552"/>
                  </a:lnTo>
                  <a:lnTo>
                    <a:pt x="105388" y="48552"/>
                  </a:lnTo>
                  <a:close/>
                  <a:moveTo>
                    <a:pt x="132367" y="4114"/>
                  </a:moveTo>
                  <a:lnTo>
                    <a:pt x="161033" y="25510"/>
                  </a:lnTo>
                  <a:lnTo>
                    <a:pt x="166092" y="23864"/>
                  </a:lnTo>
                  <a:lnTo>
                    <a:pt x="164405" y="27156"/>
                  </a:lnTo>
                  <a:lnTo>
                    <a:pt x="176209" y="35385"/>
                  </a:lnTo>
                  <a:lnTo>
                    <a:pt x="177895" y="40323"/>
                  </a:lnTo>
                  <a:lnTo>
                    <a:pt x="181268" y="40323"/>
                  </a:lnTo>
                  <a:lnTo>
                    <a:pt x="181268" y="43615"/>
                  </a:lnTo>
                  <a:lnTo>
                    <a:pt x="186326" y="45261"/>
                  </a:lnTo>
                  <a:lnTo>
                    <a:pt x="176209" y="58427"/>
                  </a:lnTo>
                  <a:lnTo>
                    <a:pt x="181268" y="60074"/>
                  </a:lnTo>
                  <a:lnTo>
                    <a:pt x="172836" y="66657"/>
                  </a:lnTo>
                  <a:lnTo>
                    <a:pt x="220051" y="125908"/>
                  </a:lnTo>
                  <a:lnTo>
                    <a:pt x="245344" y="142367"/>
                  </a:lnTo>
                  <a:lnTo>
                    <a:pt x="230168" y="153888"/>
                  </a:lnTo>
                  <a:lnTo>
                    <a:pt x="257148" y="195034"/>
                  </a:lnTo>
                  <a:lnTo>
                    <a:pt x="238599" y="206555"/>
                  </a:lnTo>
                  <a:lnTo>
                    <a:pt x="184640" y="275682"/>
                  </a:lnTo>
                  <a:lnTo>
                    <a:pt x="177895" y="267452"/>
                  </a:lnTo>
                  <a:lnTo>
                    <a:pt x="167778" y="272390"/>
                  </a:lnTo>
                  <a:lnTo>
                    <a:pt x="102015" y="196680"/>
                  </a:lnTo>
                  <a:lnTo>
                    <a:pt x="100329" y="181867"/>
                  </a:lnTo>
                  <a:lnTo>
                    <a:pt x="96956" y="181867"/>
                  </a:lnTo>
                  <a:lnTo>
                    <a:pt x="95270" y="170346"/>
                  </a:lnTo>
                  <a:lnTo>
                    <a:pt x="88525" y="173638"/>
                  </a:lnTo>
                  <a:lnTo>
                    <a:pt x="86839" y="168700"/>
                  </a:lnTo>
                  <a:lnTo>
                    <a:pt x="56487" y="181867"/>
                  </a:lnTo>
                  <a:lnTo>
                    <a:pt x="51428" y="175284"/>
                  </a:lnTo>
                  <a:lnTo>
                    <a:pt x="42997" y="176930"/>
                  </a:lnTo>
                  <a:lnTo>
                    <a:pt x="26135" y="186805"/>
                  </a:lnTo>
                  <a:lnTo>
                    <a:pt x="22763" y="178575"/>
                  </a:lnTo>
                  <a:lnTo>
                    <a:pt x="16018" y="178575"/>
                  </a:lnTo>
                  <a:lnTo>
                    <a:pt x="4214" y="158825"/>
                  </a:lnTo>
                  <a:lnTo>
                    <a:pt x="27821" y="142367"/>
                  </a:lnTo>
                  <a:lnTo>
                    <a:pt x="41311" y="127554"/>
                  </a:lnTo>
                  <a:lnTo>
                    <a:pt x="44683" y="129200"/>
                  </a:lnTo>
                  <a:lnTo>
                    <a:pt x="42997" y="127554"/>
                  </a:lnTo>
                  <a:lnTo>
                    <a:pt x="53115" y="120970"/>
                  </a:lnTo>
                  <a:lnTo>
                    <a:pt x="64918" y="107803"/>
                  </a:lnTo>
                  <a:lnTo>
                    <a:pt x="76722" y="99574"/>
                  </a:lnTo>
                  <a:lnTo>
                    <a:pt x="95270" y="76532"/>
                  </a:lnTo>
                  <a:lnTo>
                    <a:pt x="102015" y="63365"/>
                  </a:lnTo>
                  <a:lnTo>
                    <a:pt x="98643" y="60074"/>
                  </a:lnTo>
                  <a:lnTo>
                    <a:pt x="100329" y="58427"/>
                  </a:lnTo>
                  <a:lnTo>
                    <a:pt x="103701" y="60074"/>
                  </a:lnTo>
                  <a:lnTo>
                    <a:pt x="105388" y="55136"/>
                  </a:lnTo>
                  <a:lnTo>
                    <a:pt x="102015" y="56782"/>
                  </a:lnTo>
                  <a:lnTo>
                    <a:pt x="103701" y="51844"/>
                  </a:lnTo>
                  <a:lnTo>
                    <a:pt x="105388" y="51844"/>
                  </a:lnTo>
                  <a:lnTo>
                    <a:pt x="105388" y="53490"/>
                  </a:lnTo>
                  <a:lnTo>
                    <a:pt x="107074" y="51844"/>
                  </a:lnTo>
                  <a:lnTo>
                    <a:pt x="100329" y="43615"/>
                  </a:lnTo>
                  <a:lnTo>
                    <a:pt x="95270" y="40323"/>
                  </a:lnTo>
                  <a:lnTo>
                    <a:pt x="96956" y="35385"/>
                  </a:lnTo>
                  <a:lnTo>
                    <a:pt x="98643" y="35385"/>
                  </a:lnTo>
                  <a:lnTo>
                    <a:pt x="115505" y="53490"/>
                  </a:lnTo>
                  <a:lnTo>
                    <a:pt x="115505" y="50198"/>
                  </a:lnTo>
                  <a:lnTo>
                    <a:pt x="98643" y="33740"/>
                  </a:lnTo>
                  <a:lnTo>
                    <a:pt x="98643" y="30448"/>
                  </a:lnTo>
                  <a:lnTo>
                    <a:pt x="110446" y="7406"/>
                  </a:lnTo>
                  <a:lnTo>
                    <a:pt x="112132" y="9052"/>
                  </a:lnTo>
                  <a:lnTo>
                    <a:pt x="107074" y="17281"/>
                  </a:lnTo>
                  <a:lnTo>
                    <a:pt x="108760" y="20573"/>
                  </a:lnTo>
                  <a:lnTo>
                    <a:pt x="107074" y="17281"/>
                  </a:lnTo>
                  <a:lnTo>
                    <a:pt x="103701" y="23864"/>
                  </a:lnTo>
                  <a:lnTo>
                    <a:pt x="103701" y="32094"/>
                  </a:lnTo>
                  <a:lnTo>
                    <a:pt x="108760" y="32094"/>
                  </a:lnTo>
                  <a:lnTo>
                    <a:pt x="110446" y="35385"/>
                  </a:lnTo>
                  <a:lnTo>
                    <a:pt x="115505" y="32094"/>
                  </a:lnTo>
                  <a:lnTo>
                    <a:pt x="123936" y="13989"/>
                  </a:lnTo>
                  <a:lnTo>
                    <a:pt x="128995" y="13989"/>
                  </a:lnTo>
                  <a:lnTo>
                    <a:pt x="132367"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3" name="Etten-Leur">
              <a:extLst>
                <a:ext uri="{FF2B5EF4-FFF2-40B4-BE49-F238E27FC236}">
                  <a16:creationId xmlns:a16="http://schemas.microsoft.com/office/drawing/2014/main" id="{4AA8E872-2E97-4ED4-B483-4CEC70330DA9}"/>
                </a:ext>
              </a:extLst>
            </p:cNvPr>
            <p:cNvSpPr/>
            <p:nvPr/>
          </p:nvSpPr>
          <p:spPr>
            <a:xfrm>
              <a:off x="5389928" y="4273434"/>
              <a:ext cx="104307" cy="197074"/>
            </a:xfrm>
            <a:custGeom>
              <a:avLst/>
              <a:gdLst/>
              <a:ahLst/>
              <a:cxnLst/>
              <a:rect l="l" t="t" r="r" b="b"/>
              <a:pathLst>
                <a:path w="163914" h="285750" extrusionOk="0">
                  <a:moveTo>
                    <a:pt x="117191" y="28802"/>
                  </a:moveTo>
                  <a:lnTo>
                    <a:pt x="112133" y="37031"/>
                  </a:lnTo>
                  <a:lnTo>
                    <a:pt x="110446" y="38677"/>
                  </a:lnTo>
                  <a:lnTo>
                    <a:pt x="110446" y="43615"/>
                  </a:lnTo>
                  <a:lnTo>
                    <a:pt x="112133" y="56782"/>
                  </a:lnTo>
                  <a:lnTo>
                    <a:pt x="113819" y="58427"/>
                  </a:lnTo>
                  <a:lnTo>
                    <a:pt x="113819" y="65011"/>
                  </a:lnTo>
                  <a:lnTo>
                    <a:pt x="118878" y="66657"/>
                  </a:lnTo>
                  <a:lnTo>
                    <a:pt x="118878" y="78178"/>
                  </a:lnTo>
                  <a:lnTo>
                    <a:pt x="135740" y="79824"/>
                  </a:lnTo>
                  <a:lnTo>
                    <a:pt x="135740" y="88053"/>
                  </a:lnTo>
                  <a:lnTo>
                    <a:pt x="145857" y="91345"/>
                  </a:lnTo>
                  <a:lnTo>
                    <a:pt x="162719" y="165409"/>
                  </a:lnTo>
                  <a:lnTo>
                    <a:pt x="164406" y="221368"/>
                  </a:lnTo>
                  <a:lnTo>
                    <a:pt x="142485" y="231243"/>
                  </a:lnTo>
                  <a:lnTo>
                    <a:pt x="108760" y="267452"/>
                  </a:lnTo>
                  <a:lnTo>
                    <a:pt x="102015" y="270744"/>
                  </a:lnTo>
                  <a:lnTo>
                    <a:pt x="98643" y="277328"/>
                  </a:lnTo>
                  <a:lnTo>
                    <a:pt x="85153" y="285557"/>
                  </a:lnTo>
                  <a:lnTo>
                    <a:pt x="76722" y="287203"/>
                  </a:lnTo>
                  <a:lnTo>
                    <a:pt x="80094" y="224660"/>
                  </a:lnTo>
                  <a:lnTo>
                    <a:pt x="73349" y="226306"/>
                  </a:lnTo>
                  <a:lnTo>
                    <a:pt x="66605" y="223014"/>
                  </a:lnTo>
                  <a:lnTo>
                    <a:pt x="64918" y="214785"/>
                  </a:lnTo>
                  <a:lnTo>
                    <a:pt x="63232" y="216431"/>
                  </a:lnTo>
                  <a:lnTo>
                    <a:pt x="59860" y="213139"/>
                  </a:lnTo>
                  <a:lnTo>
                    <a:pt x="58173" y="214785"/>
                  </a:lnTo>
                  <a:lnTo>
                    <a:pt x="56487" y="203264"/>
                  </a:lnTo>
                  <a:lnTo>
                    <a:pt x="32880" y="198326"/>
                  </a:lnTo>
                  <a:lnTo>
                    <a:pt x="21077" y="186805"/>
                  </a:lnTo>
                  <a:lnTo>
                    <a:pt x="5901" y="183513"/>
                  </a:lnTo>
                  <a:lnTo>
                    <a:pt x="5901" y="180221"/>
                  </a:lnTo>
                  <a:lnTo>
                    <a:pt x="4214" y="168700"/>
                  </a:lnTo>
                  <a:lnTo>
                    <a:pt x="10959" y="167055"/>
                  </a:lnTo>
                  <a:lnTo>
                    <a:pt x="10959" y="165409"/>
                  </a:lnTo>
                  <a:lnTo>
                    <a:pt x="17704" y="124262"/>
                  </a:lnTo>
                  <a:lnTo>
                    <a:pt x="14332" y="111095"/>
                  </a:lnTo>
                  <a:lnTo>
                    <a:pt x="36253" y="79824"/>
                  </a:lnTo>
                  <a:lnTo>
                    <a:pt x="41311" y="68303"/>
                  </a:lnTo>
                  <a:lnTo>
                    <a:pt x="36253" y="65011"/>
                  </a:lnTo>
                  <a:lnTo>
                    <a:pt x="36253" y="58427"/>
                  </a:lnTo>
                  <a:lnTo>
                    <a:pt x="34566" y="51844"/>
                  </a:lnTo>
                  <a:lnTo>
                    <a:pt x="26135" y="45261"/>
                  </a:lnTo>
                  <a:lnTo>
                    <a:pt x="26135" y="35385"/>
                  </a:lnTo>
                  <a:lnTo>
                    <a:pt x="22763" y="27156"/>
                  </a:lnTo>
                  <a:lnTo>
                    <a:pt x="29508" y="20573"/>
                  </a:lnTo>
                  <a:lnTo>
                    <a:pt x="39625" y="18927"/>
                  </a:lnTo>
                  <a:lnTo>
                    <a:pt x="56487" y="28802"/>
                  </a:lnTo>
                  <a:lnTo>
                    <a:pt x="64918" y="30448"/>
                  </a:lnTo>
                  <a:lnTo>
                    <a:pt x="73349" y="25510"/>
                  </a:lnTo>
                  <a:lnTo>
                    <a:pt x="78408" y="17281"/>
                  </a:lnTo>
                  <a:lnTo>
                    <a:pt x="85153" y="10698"/>
                  </a:lnTo>
                  <a:lnTo>
                    <a:pt x="113819" y="4114"/>
                  </a:lnTo>
                  <a:lnTo>
                    <a:pt x="120564" y="5760"/>
                  </a:lnTo>
                  <a:lnTo>
                    <a:pt x="120564" y="13989"/>
                  </a:lnTo>
                  <a:lnTo>
                    <a:pt x="117191" y="13989"/>
                  </a:lnTo>
                  <a:lnTo>
                    <a:pt x="120564" y="18927"/>
                  </a:lnTo>
                  <a:lnTo>
                    <a:pt x="117191" y="28802"/>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4" name="Noord-Beveland">
              <a:extLst>
                <a:ext uri="{FF2B5EF4-FFF2-40B4-BE49-F238E27FC236}">
                  <a16:creationId xmlns:a16="http://schemas.microsoft.com/office/drawing/2014/main" id="{75473DB8-EF57-4AB4-BF67-8891174971A5}"/>
                </a:ext>
              </a:extLst>
            </p:cNvPr>
            <p:cNvSpPr/>
            <p:nvPr/>
          </p:nvSpPr>
          <p:spPr>
            <a:xfrm>
              <a:off x="4388131" y="4307184"/>
              <a:ext cx="266109" cy="140399"/>
            </a:xfrm>
            <a:custGeom>
              <a:avLst/>
              <a:gdLst/>
              <a:ahLst/>
              <a:cxnLst/>
              <a:rect l="l" t="t" r="r" b="b"/>
              <a:pathLst>
                <a:path w="398077" h="194310" extrusionOk="0">
                  <a:moveTo>
                    <a:pt x="351576" y="153888"/>
                  </a:moveTo>
                  <a:lnTo>
                    <a:pt x="354949" y="153888"/>
                  </a:lnTo>
                  <a:lnTo>
                    <a:pt x="351576" y="155533"/>
                  </a:lnTo>
                  <a:lnTo>
                    <a:pt x="353263" y="158825"/>
                  </a:lnTo>
                  <a:lnTo>
                    <a:pt x="344832" y="155533"/>
                  </a:lnTo>
                  <a:lnTo>
                    <a:pt x="351576" y="153888"/>
                  </a:lnTo>
                  <a:close/>
                  <a:moveTo>
                    <a:pt x="241972" y="153888"/>
                  </a:moveTo>
                  <a:lnTo>
                    <a:pt x="238599" y="153888"/>
                  </a:lnTo>
                  <a:lnTo>
                    <a:pt x="236913" y="152242"/>
                  </a:lnTo>
                  <a:lnTo>
                    <a:pt x="241972" y="153888"/>
                  </a:lnTo>
                  <a:close/>
                  <a:moveTo>
                    <a:pt x="233541" y="150596"/>
                  </a:moveTo>
                  <a:lnTo>
                    <a:pt x="228482" y="147304"/>
                  </a:lnTo>
                  <a:lnTo>
                    <a:pt x="230168" y="147304"/>
                  </a:lnTo>
                  <a:lnTo>
                    <a:pt x="233541" y="150596"/>
                  </a:lnTo>
                  <a:close/>
                  <a:moveTo>
                    <a:pt x="218365" y="137429"/>
                  </a:moveTo>
                  <a:lnTo>
                    <a:pt x="216679" y="140720"/>
                  </a:lnTo>
                  <a:lnTo>
                    <a:pt x="206561" y="132491"/>
                  </a:lnTo>
                  <a:lnTo>
                    <a:pt x="218365" y="137429"/>
                  </a:lnTo>
                  <a:close/>
                  <a:moveTo>
                    <a:pt x="252089" y="4114"/>
                  </a:moveTo>
                  <a:lnTo>
                    <a:pt x="272324" y="4114"/>
                  </a:lnTo>
                  <a:lnTo>
                    <a:pt x="285814" y="10697"/>
                  </a:lnTo>
                  <a:lnTo>
                    <a:pt x="306048" y="4114"/>
                  </a:lnTo>
                  <a:lnTo>
                    <a:pt x="312793" y="5760"/>
                  </a:lnTo>
                  <a:lnTo>
                    <a:pt x="312793" y="4114"/>
                  </a:lnTo>
                  <a:lnTo>
                    <a:pt x="316166" y="9052"/>
                  </a:lnTo>
                  <a:lnTo>
                    <a:pt x="331342" y="9052"/>
                  </a:lnTo>
                  <a:lnTo>
                    <a:pt x="319538" y="10697"/>
                  </a:lnTo>
                  <a:lnTo>
                    <a:pt x="317852" y="13989"/>
                  </a:lnTo>
                  <a:lnTo>
                    <a:pt x="331342" y="12343"/>
                  </a:lnTo>
                  <a:lnTo>
                    <a:pt x="331342" y="9052"/>
                  </a:lnTo>
                  <a:lnTo>
                    <a:pt x="333028" y="13989"/>
                  </a:lnTo>
                  <a:lnTo>
                    <a:pt x="348204" y="18927"/>
                  </a:lnTo>
                  <a:lnTo>
                    <a:pt x="358321" y="28802"/>
                  </a:lnTo>
                  <a:lnTo>
                    <a:pt x="361694" y="25510"/>
                  </a:lnTo>
                  <a:lnTo>
                    <a:pt x="358321" y="28802"/>
                  </a:lnTo>
                  <a:lnTo>
                    <a:pt x="366753" y="37031"/>
                  </a:lnTo>
                  <a:lnTo>
                    <a:pt x="365066" y="37031"/>
                  </a:lnTo>
                  <a:lnTo>
                    <a:pt x="378556" y="68302"/>
                  </a:lnTo>
                  <a:lnTo>
                    <a:pt x="388673" y="81470"/>
                  </a:lnTo>
                  <a:lnTo>
                    <a:pt x="392046" y="76532"/>
                  </a:lnTo>
                  <a:lnTo>
                    <a:pt x="393732" y="79823"/>
                  </a:lnTo>
                  <a:lnTo>
                    <a:pt x="397105" y="79823"/>
                  </a:lnTo>
                  <a:lnTo>
                    <a:pt x="393732" y="79823"/>
                  </a:lnTo>
                  <a:lnTo>
                    <a:pt x="397105" y="81470"/>
                  </a:lnTo>
                  <a:lnTo>
                    <a:pt x="388673" y="84761"/>
                  </a:lnTo>
                  <a:lnTo>
                    <a:pt x="388673" y="86407"/>
                  </a:lnTo>
                  <a:lnTo>
                    <a:pt x="395418" y="84761"/>
                  </a:lnTo>
                  <a:lnTo>
                    <a:pt x="395418" y="88053"/>
                  </a:lnTo>
                  <a:lnTo>
                    <a:pt x="393732" y="86407"/>
                  </a:lnTo>
                  <a:lnTo>
                    <a:pt x="395418" y="97928"/>
                  </a:lnTo>
                  <a:lnTo>
                    <a:pt x="397105" y="101220"/>
                  </a:lnTo>
                  <a:lnTo>
                    <a:pt x="400477" y="99574"/>
                  </a:lnTo>
                  <a:lnTo>
                    <a:pt x="397105" y="101220"/>
                  </a:lnTo>
                  <a:lnTo>
                    <a:pt x="400477" y="107803"/>
                  </a:lnTo>
                  <a:lnTo>
                    <a:pt x="403849" y="106157"/>
                  </a:lnTo>
                  <a:lnTo>
                    <a:pt x="403849" y="107803"/>
                  </a:lnTo>
                  <a:lnTo>
                    <a:pt x="400477" y="116033"/>
                  </a:lnTo>
                  <a:lnTo>
                    <a:pt x="393732" y="120970"/>
                  </a:lnTo>
                  <a:lnTo>
                    <a:pt x="381929" y="122616"/>
                  </a:lnTo>
                  <a:lnTo>
                    <a:pt x="383615" y="127554"/>
                  </a:lnTo>
                  <a:lnTo>
                    <a:pt x="380242" y="122616"/>
                  </a:lnTo>
                  <a:lnTo>
                    <a:pt x="361694" y="127554"/>
                  </a:lnTo>
                  <a:lnTo>
                    <a:pt x="360008" y="134137"/>
                  </a:lnTo>
                  <a:lnTo>
                    <a:pt x="349890" y="147304"/>
                  </a:lnTo>
                  <a:lnTo>
                    <a:pt x="351576" y="152242"/>
                  </a:lnTo>
                  <a:lnTo>
                    <a:pt x="360008" y="153888"/>
                  </a:lnTo>
                  <a:lnTo>
                    <a:pt x="344832" y="153888"/>
                  </a:lnTo>
                  <a:lnTo>
                    <a:pt x="333028" y="152242"/>
                  </a:lnTo>
                  <a:lnTo>
                    <a:pt x="319538" y="139075"/>
                  </a:lnTo>
                  <a:lnTo>
                    <a:pt x="319538" y="135783"/>
                  </a:lnTo>
                  <a:lnTo>
                    <a:pt x="306048" y="124262"/>
                  </a:lnTo>
                  <a:lnTo>
                    <a:pt x="280755" y="125908"/>
                  </a:lnTo>
                  <a:lnTo>
                    <a:pt x="274010" y="129199"/>
                  </a:lnTo>
                  <a:lnTo>
                    <a:pt x="270638" y="134137"/>
                  </a:lnTo>
                  <a:lnTo>
                    <a:pt x="267265" y="127554"/>
                  </a:lnTo>
                  <a:lnTo>
                    <a:pt x="263893" y="127554"/>
                  </a:lnTo>
                  <a:lnTo>
                    <a:pt x="267265" y="135783"/>
                  </a:lnTo>
                  <a:lnTo>
                    <a:pt x="262207" y="130845"/>
                  </a:lnTo>
                  <a:lnTo>
                    <a:pt x="262207" y="125908"/>
                  </a:lnTo>
                  <a:lnTo>
                    <a:pt x="258834" y="125908"/>
                  </a:lnTo>
                  <a:lnTo>
                    <a:pt x="265579" y="139075"/>
                  </a:lnTo>
                  <a:lnTo>
                    <a:pt x="255462" y="142367"/>
                  </a:lnTo>
                  <a:lnTo>
                    <a:pt x="228482" y="135783"/>
                  </a:lnTo>
                  <a:lnTo>
                    <a:pt x="213306" y="125908"/>
                  </a:lnTo>
                  <a:lnTo>
                    <a:pt x="189699" y="124262"/>
                  </a:lnTo>
                  <a:lnTo>
                    <a:pt x="152602" y="142367"/>
                  </a:lnTo>
                  <a:lnTo>
                    <a:pt x="139112" y="157179"/>
                  </a:lnTo>
                  <a:lnTo>
                    <a:pt x="117191" y="170346"/>
                  </a:lnTo>
                  <a:lnTo>
                    <a:pt x="103701" y="190096"/>
                  </a:lnTo>
                  <a:lnTo>
                    <a:pt x="96957" y="191742"/>
                  </a:lnTo>
                  <a:lnTo>
                    <a:pt x="95270" y="186805"/>
                  </a:lnTo>
                  <a:lnTo>
                    <a:pt x="93584" y="196680"/>
                  </a:lnTo>
                  <a:lnTo>
                    <a:pt x="95270" y="186805"/>
                  </a:lnTo>
                  <a:lnTo>
                    <a:pt x="91898" y="170346"/>
                  </a:lnTo>
                  <a:lnTo>
                    <a:pt x="96957" y="157179"/>
                  </a:lnTo>
                  <a:lnTo>
                    <a:pt x="102015" y="160471"/>
                  </a:lnTo>
                  <a:lnTo>
                    <a:pt x="102015" y="165409"/>
                  </a:lnTo>
                  <a:lnTo>
                    <a:pt x="107074" y="168700"/>
                  </a:lnTo>
                  <a:lnTo>
                    <a:pt x="93584" y="142367"/>
                  </a:lnTo>
                  <a:lnTo>
                    <a:pt x="98643" y="139075"/>
                  </a:lnTo>
                  <a:lnTo>
                    <a:pt x="93584" y="140720"/>
                  </a:lnTo>
                  <a:lnTo>
                    <a:pt x="78408" y="119324"/>
                  </a:lnTo>
                  <a:lnTo>
                    <a:pt x="83467" y="114387"/>
                  </a:lnTo>
                  <a:lnTo>
                    <a:pt x="98643" y="94636"/>
                  </a:lnTo>
                  <a:lnTo>
                    <a:pt x="90212" y="101220"/>
                  </a:lnTo>
                  <a:lnTo>
                    <a:pt x="83467" y="114387"/>
                  </a:lnTo>
                  <a:lnTo>
                    <a:pt x="83467" y="112741"/>
                  </a:lnTo>
                  <a:lnTo>
                    <a:pt x="78408" y="117678"/>
                  </a:lnTo>
                  <a:lnTo>
                    <a:pt x="71663" y="114387"/>
                  </a:lnTo>
                  <a:lnTo>
                    <a:pt x="63232" y="109449"/>
                  </a:lnTo>
                  <a:lnTo>
                    <a:pt x="51429" y="96282"/>
                  </a:lnTo>
                  <a:lnTo>
                    <a:pt x="36253" y="86407"/>
                  </a:lnTo>
                  <a:lnTo>
                    <a:pt x="32880" y="88053"/>
                  </a:lnTo>
                  <a:lnTo>
                    <a:pt x="24449" y="84761"/>
                  </a:lnTo>
                  <a:lnTo>
                    <a:pt x="19390" y="73240"/>
                  </a:lnTo>
                  <a:lnTo>
                    <a:pt x="19390" y="61719"/>
                  </a:lnTo>
                  <a:lnTo>
                    <a:pt x="10959" y="46906"/>
                  </a:lnTo>
                  <a:lnTo>
                    <a:pt x="16018" y="38677"/>
                  </a:lnTo>
                  <a:lnTo>
                    <a:pt x="4214" y="40323"/>
                  </a:lnTo>
                  <a:lnTo>
                    <a:pt x="4214" y="35385"/>
                  </a:lnTo>
                  <a:lnTo>
                    <a:pt x="24449" y="32094"/>
                  </a:lnTo>
                  <a:lnTo>
                    <a:pt x="73349" y="10697"/>
                  </a:lnTo>
                  <a:lnTo>
                    <a:pt x="78408" y="12343"/>
                  </a:lnTo>
                  <a:lnTo>
                    <a:pt x="73349" y="13989"/>
                  </a:lnTo>
                  <a:lnTo>
                    <a:pt x="75036" y="18927"/>
                  </a:lnTo>
                  <a:lnTo>
                    <a:pt x="80094" y="17281"/>
                  </a:lnTo>
                  <a:lnTo>
                    <a:pt x="81781" y="10697"/>
                  </a:lnTo>
                  <a:lnTo>
                    <a:pt x="83467" y="17281"/>
                  </a:lnTo>
                  <a:lnTo>
                    <a:pt x="85153" y="18927"/>
                  </a:lnTo>
                  <a:lnTo>
                    <a:pt x="98643" y="13989"/>
                  </a:lnTo>
                  <a:lnTo>
                    <a:pt x="98643" y="17281"/>
                  </a:lnTo>
                  <a:lnTo>
                    <a:pt x="112133" y="25510"/>
                  </a:lnTo>
                  <a:lnTo>
                    <a:pt x="128995" y="23864"/>
                  </a:lnTo>
                  <a:lnTo>
                    <a:pt x="127309" y="27156"/>
                  </a:lnTo>
                  <a:lnTo>
                    <a:pt x="118878" y="27156"/>
                  </a:lnTo>
                  <a:lnTo>
                    <a:pt x="120564" y="33739"/>
                  </a:lnTo>
                  <a:lnTo>
                    <a:pt x="130681" y="33739"/>
                  </a:lnTo>
                  <a:lnTo>
                    <a:pt x="127309" y="27156"/>
                  </a:lnTo>
                  <a:lnTo>
                    <a:pt x="134054" y="35385"/>
                  </a:lnTo>
                  <a:lnTo>
                    <a:pt x="144171" y="32094"/>
                  </a:lnTo>
                  <a:lnTo>
                    <a:pt x="155974" y="25510"/>
                  </a:lnTo>
                  <a:lnTo>
                    <a:pt x="162719" y="28802"/>
                  </a:lnTo>
                  <a:lnTo>
                    <a:pt x="167778" y="22218"/>
                  </a:lnTo>
                  <a:lnTo>
                    <a:pt x="177895" y="22218"/>
                  </a:lnTo>
                  <a:lnTo>
                    <a:pt x="177895" y="17281"/>
                  </a:lnTo>
                  <a:lnTo>
                    <a:pt x="179582" y="22218"/>
                  </a:lnTo>
                  <a:lnTo>
                    <a:pt x="189699" y="22218"/>
                  </a:lnTo>
                  <a:lnTo>
                    <a:pt x="193071" y="15635"/>
                  </a:lnTo>
                  <a:lnTo>
                    <a:pt x="213306" y="22218"/>
                  </a:lnTo>
                  <a:lnTo>
                    <a:pt x="223423" y="10697"/>
                  </a:lnTo>
                  <a:lnTo>
                    <a:pt x="243658" y="10697"/>
                  </a:lnTo>
                  <a:lnTo>
                    <a:pt x="248717" y="5760"/>
                  </a:lnTo>
                  <a:lnTo>
                    <a:pt x="247031" y="10697"/>
                  </a:lnTo>
                  <a:lnTo>
                    <a:pt x="252089" y="10697"/>
                  </a:lnTo>
                  <a:lnTo>
                    <a:pt x="250403" y="7405"/>
                  </a:lnTo>
                  <a:lnTo>
                    <a:pt x="253775" y="9052"/>
                  </a:lnTo>
                  <a:lnTo>
                    <a:pt x="257148" y="4114"/>
                  </a:lnTo>
                  <a:lnTo>
                    <a:pt x="253775" y="9052"/>
                  </a:lnTo>
                  <a:lnTo>
                    <a:pt x="248717" y="7405"/>
                  </a:lnTo>
                  <a:lnTo>
                    <a:pt x="252089"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5" name="Neder-Betuwe">
              <a:extLst>
                <a:ext uri="{FF2B5EF4-FFF2-40B4-BE49-F238E27FC236}">
                  <a16:creationId xmlns:a16="http://schemas.microsoft.com/office/drawing/2014/main" id="{408EA612-AEAC-4C11-B1E6-4A32EBACA5D1}"/>
                </a:ext>
              </a:extLst>
            </p:cNvPr>
            <p:cNvSpPr/>
            <p:nvPr/>
          </p:nvSpPr>
          <p:spPr>
            <a:xfrm>
              <a:off x="6304523" y="3762070"/>
              <a:ext cx="275634" cy="110094"/>
            </a:xfrm>
            <a:custGeom>
              <a:avLst/>
              <a:gdLst/>
              <a:ahLst/>
              <a:cxnLst/>
              <a:rect l="l" t="t" r="r" b="b"/>
              <a:pathLst>
                <a:path w="398077" h="160020" extrusionOk="0">
                  <a:moveTo>
                    <a:pt x="321224" y="5760"/>
                  </a:moveTo>
                  <a:lnTo>
                    <a:pt x="329656" y="5760"/>
                  </a:lnTo>
                  <a:lnTo>
                    <a:pt x="312793" y="22218"/>
                  </a:lnTo>
                  <a:lnTo>
                    <a:pt x="307735" y="17281"/>
                  </a:lnTo>
                  <a:lnTo>
                    <a:pt x="306049" y="18927"/>
                  </a:lnTo>
                  <a:lnTo>
                    <a:pt x="299304" y="35385"/>
                  </a:lnTo>
                  <a:lnTo>
                    <a:pt x="300990" y="37031"/>
                  </a:lnTo>
                  <a:lnTo>
                    <a:pt x="311107" y="30448"/>
                  </a:lnTo>
                  <a:lnTo>
                    <a:pt x="312793" y="33740"/>
                  </a:lnTo>
                  <a:lnTo>
                    <a:pt x="322911" y="28802"/>
                  </a:lnTo>
                  <a:lnTo>
                    <a:pt x="326283" y="35385"/>
                  </a:lnTo>
                  <a:lnTo>
                    <a:pt x="329656" y="33740"/>
                  </a:lnTo>
                  <a:lnTo>
                    <a:pt x="333028" y="40323"/>
                  </a:lnTo>
                  <a:lnTo>
                    <a:pt x="319538" y="45260"/>
                  </a:lnTo>
                  <a:lnTo>
                    <a:pt x="321224" y="61719"/>
                  </a:lnTo>
                  <a:lnTo>
                    <a:pt x="338087" y="60073"/>
                  </a:lnTo>
                  <a:lnTo>
                    <a:pt x="365066" y="48552"/>
                  </a:lnTo>
                  <a:lnTo>
                    <a:pt x="371811" y="50198"/>
                  </a:lnTo>
                  <a:lnTo>
                    <a:pt x="376870" y="58427"/>
                  </a:lnTo>
                  <a:lnTo>
                    <a:pt x="366753" y="55136"/>
                  </a:lnTo>
                  <a:lnTo>
                    <a:pt x="358322" y="61719"/>
                  </a:lnTo>
                  <a:lnTo>
                    <a:pt x="348204" y="63365"/>
                  </a:lnTo>
                  <a:lnTo>
                    <a:pt x="344832" y="71594"/>
                  </a:lnTo>
                  <a:lnTo>
                    <a:pt x="348204" y="74886"/>
                  </a:lnTo>
                  <a:lnTo>
                    <a:pt x="344832" y="78178"/>
                  </a:lnTo>
                  <a:lnTo>
                    <a:pt x="346518" y="79824"/>
                  </a:lnTo>
                  <a:lnTo>
                    <a:pt x="344832" y="83115"/>
                  </a:lnTo>
                  <a:lnTo>
                    <a:pt x="353263" y="89699"/>
                  </a:lnTo>
                  <a:lnTo>
                    <a:pt x="373497" y="81470"/>
                  </a:lnTo>
                  <a:lnTo>
                    <a:pt x="376870" y="83115"/>
                  </a:lnTo>
                  <a:lnTo>
                    <a:pt x="370125" y="89699"/>
                  </a:lnTo>
                  <a:lnTo>
                    <a:pt x="381929" y="99574"/>
                  </a:lnTo>
                  <a:lnTo>
                    <a:pt x="392046" y="114387"/>
                  </a:lnTo>
                  <a:lnTo>
                    <a:pt x="390360" y="124262"/>
                  </a:lnTo>
                  <a:lnTo>
                    <a:pt x="395418" y="130845"/>
                  </a:lnTo>
                  <a:lnTo>
                    <a:pt x="392046" y="139075"/>
                  </a:lnTo>
                  <a:lnTo>
                    <a:pt x="398791" y="140720"/>
                  </a:lnTo>
                  <a:lnTo>
                    <a:pt x="392046" y="150596"/>
                  </a:lnTo>
                  <a:lnTo>
                    <a:pt x="370125" y="144012"/>
                  </a:lnTo>
                  <a:lnTo>
                    <a:pt x="331342" y="144012"/>
                  </a:lnTo>
                  <a:lnTo>
                    <a:pt x="282441" y="135783"/>
                  </a:lnTo>
                  <a:lnTo>
                    <a:pt x="228482" y="135783"/>
                  </a:lnTo>
                  <a:lnTo>
                    <a:pt x="179582" y="130845"/>
                  </a:lnTo>
                  <a:lnTo>
                    <a:pt x="149230" y="135783"/>
                  </a:lnTo>
                  <a:lnTo>
                    <a:pt x="113819" y="152242"/>
                  </a:lnTo>
                  <a:lnTo>
                    <a:pt x="90212" y="158825"/>
                  </a:lnTo>
                  <a:lnTo>
                    <a:pt x="21076" y="160471"/>
                  </a:lnTo>
                  <a:lnTo>
                    <a:pt x="7587" y="124262"/>
                  </a:lnTo>
                  <a:lnTo>
                    <a:pt x="34566" y="116033"/>
                  </a:lnTo>
                  <a:lnTo>
                    <a:pt x="32880" y="106157"/>
                  </a:lnTo>
                  <a:lnTo>
                    <a:pt x="31194" y="107803"/>
                  </a:lnTo>
                  <a:lnTo>
                    <a:pt x="26135" y="97928"/>
                  </a:lnTo>
                  <a:lnTo>
                    <a:pt x="29507" y="86407"/>
                  </a:lnTo>
                  <a:lnTo>
                    <a:pt x="17704" y="83115"/>
                  </a:lnTo>
                  <a:lnTo>
                    <a:pt x="5901" y="84761"/>
                  </a:lnTo>
                  <a:lnTo>
                    <a:pt x="4214" y="79824"/>
                  </a:lnTo>
                  <a:lnTo>
                    <a:pt x="12645" y="79824"/>
                  </a:lnTo>
                  <a:lnTo>
                    <a:pt x="14332" y="76532"/>
                  </a:lnTo>
                  <a:lnTo>
                    <a:pt x="22763" y="76532"/>
                  </a:lnTo>
                  <a:lnTo>
                    <a:pt x="39625" y="84761"/>
                  </a:lnTo>
                  <a:lnTo>
                    <a:pt x="46370" y="79824"/>
                  </a:lnTo>
                  <a:lnTo>
                    <a:pt x="58174" y="79824"/>
                  </a:lnTo>
                  <a:lnTo>
                    <a:pt x="56487" y="76532"/>
                  </a:lnTo>
                  <a:lnTo>
                    <a:pt x="61546" y="74886"/>
                  </a:lnTo>
                  <a:lnTo>
                    <a:pt x="63232" y="76532"/>
                  </a:lnTo>
                  <a:lnTo>
                    <a:pt x="58174" y="79824"/>
                  </a:lnTo>
                  <a:lnTo>
                    <a:pt x="59860" y="84761"/>
                  </a:lnTo>
                  <a:lnTo>
                    <a:pt x="56487" y="83115"/>
                  </a:lnTo>
                  <a:lnTo>
                    <a:pt x="54801" y="89699"/>
                  </a:lnTo>
                  <a:lnTo>
                    <a:pt x="59860" y="89699"/>
                  </a:lnTo>
                  <a:lnTo>
                    <a:pt x="66605" y="89699"/>
                  </a:lnTo>
                  <a:lnTo>
                    <a:pt x="73349" y="78178"/>
                  </a:lnTo>
                  <a:lnTo>
                    <a:pt x="78408" y="79824"/>
                  </a:lnTo>
                  <a:lnTo>
                    <a:pt x="83467" y="76532"/>
                  </a:lnTo>
                  <a:lnTo>
                    <a:pt x="95270" y="83115"/>
                  </a:lnTo>
                  <a:lnTo>
                    <a:pt x="149230" y="81470"/>
                  </a:lnTo>
                  <a:lnTo>
                    <a:pt x="155974" y="91345"/>
                  </a:lnTo>
                  <a:lnTo>
                    <a:pt x="162719" y="88053"/>
                  </a:lnTo>
                  <a:lnTo>
                    <a:pt x="159347" y="79824"/>
                  </a:lnTo>
                  <a:lnTo>
                    <a:pt x="159347" y="51844"/>
                  </a:lnTo>
                  <a:lnTo>
                    <a:pt x="150916" y="51844"/>
                  </a:lnTo>
                  <a:lnTo>
                    <a:pt x="137426" y="45260"/>
                  </a:lnTo>
                  <a:lnTo>
                    <a:pt x="127309" y="28802"/>
                  </a:lnTo>
                  <a:lnTo>
                    <a:pt x="150916" y="32094"/>
                  </a:lnTo>
                  <a:lnTo>
                    <a:pt x="169464" y="28802"/>
                  </a:lnTo>
                  <a:lnTo>
                    <a:pt x="177895" y="33740"/>
                  </a:lnTo>
                  <a:lnTo>
                    <a:pt x="186326" y="33740"/>
                  </a:lnTo>
                  <a:lnTo>
                    <a:pt x="204875" y="20573"/>
                  </a:lnTo>
                  <a:lnTo>
                    <a:pt x="208247" y="12343"/>
                  </a:lnTo>
                  <a:lnTo>
                    <a:pt x="238599" y="30448"/>
                  </a:lnTo>
                  <a:lnTo>
                    <a:pt x="258834" y="33740"/>
                  </a:lnTo>
                  <a:lnTo>
                    <a:pt x="258834" y="37031"/>
                  </a:lnTo>
                  <a:lnTo>
                    <a:pt x="263893" y="38677"/>
                  </a:lnTo>
                  <a:lnTo>
                    <a:pt x="274010" y="45260"/>
                  </a:lnTo>
                  <a:lnTo>
                    <a:pt x="280755" y="46906"/>
                  </a:lnTo>
                  <a:lnTo>
                    <a:pt x="289186" y="41969"/>
                  </a:lnTo>
                  <a:lnTo>
                    <a:pt x="297617" y="27156"/>
                  </a:lnTo>
                  <a:lnTo>
                    <a:pt x="297617" y="22218"/>
                  </a:lnTo>
                  <a:lnTo>
                    <a:pt x="304362" y="13989"/>
                  </a:lnTo>
                  <a:lnTo>
                    <a:pt x="295931" y="7406"/>
                  </a:lnTo>
                  <a:lnTo>
                    <a:pt x="304362" y="4114"/>
                  </a:lnTo>
                  <a:lnTo>
                    <a:pt x="321224"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6" name="Lisse">
              <a:extLst>
                <a:ext uri="{FF2B5EF4-FFF2-40B4-BE49-F238E27FC236}">
                  <a16:creationId xmlns:a16="http://schemas.microsoft.com/office/drawing/2014/main" id="{ABD5AF6F-6148-4E38-A2CA-72C8C11BF04B}"/>
                </a:ext>
              </a:extLst>
            </p:cNvPr>
            <p:cNvSpPr/>
            <p:nvPr/>
          </p:nvSpPr>
          <p:spPr>
            <a:xfrm>
              <a:off x="5333018" y="3223214"/>
              <a:ext cx="56258" cy="100569"/>
            </a:xfrm>
            <a:custGeom>
              <a:avLst/>
              <a:gdLst/>
              <a:ahLst/>
              <a:cxnLst/>
              <a:rect l="l" t="t" r="r" b="b"/>
              <a:pathLst>
                <a:path w="93665" h="160020" extrusionOk="0">
                  <a:moveTo>
                    <a:pt x="61546" y="12343"/>
                  </a:moveTo>
                  <a:lnTo>
                    <a:pt x="93584" y="41969"/>
                  </a:lnTo>
                  <a:lnTo>
                    <a:pt x="86839" y="50198"/>
                  </a:lnTo>
                  <a:lnTo>
                    <a:pt x="88525" y="69949"/>
                  </a:lnTo>
                  <a:lnTo>
                    <a:pt x="78408" y="129199"/>
                  </a:lnTo>
                  <a:lnTo>
                    <a:pt x="64918" y="137429"/>
                  </a:lnTo>
                  <a:lnTo>
                    <a:pt x="59860" y="147304"/>
                  </a:lnTo>
                  <a:lnTo>
                    <a:pt x="64918" y="158825"/>
                  </a:lnTo>
                  <a:lnTo>
                    <a:pt x="41311" y="140720"/>
                  </a:lnTo>
                  <a:lnTo>
                    <a:pt x="21076" y="127554"/>
                  </a:lnTo>
                  <a:lnTo>
                    <a:pt x="27821" y="120970"/>
                  </a:lnTo>
                  <a:lnTo>
                    <a:pt x="24449" y="117678"/>
                  </a:lnTo>
                  <a:lnTo>
                    <a:pt x="27821" y="112741"/>
                  </a:lnTo>
                  <a:lnTo>
                    <a:pt x="19390" y="106157"/>
                  </a:lnTo>
                  <a:lnTo>
                    <a:pt x="22763" y="97928"/>
                  </a:lnTo>
                  <a:lnTo>
                    <a:pt x="4214" y="79823"/>
                  </a:lnTo>
                  <a:lnTo>
                    <a:pt x="32880" y="37031"/>
                  </a:lnTo>
                  <a:lnTo>
                    <a:pt x="29508" y="33739"/>
                  </a:lnTo>
                  <a:lnTo>
                    <a:pt x="37939" y="22218"/>
                  </a:lnTo>
                  <a:lnTo>
                    <a:pt x="39625" y="23864"/>
                  </a:lnTo>
                  <a:lnTo>
                    <a:pt x="48056" y="4114"/>
                  </a:lnTo>
                  <a:lnTo>
                    <a:pt x="61546" y="1234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7" name="Soest">
              <a:extLst>
                <a:ext uri="{FF2B5EF4-FFF2-40B4-BE49-F238E27FC236}">
                  <a16:creationId xmlns:a16="http://schemas.microsoft.com/office/drawing/2014/main" id="{91186A1D-F41E-482B-99C8-0D1D5F5E6DF9}"/>
                </a:ext>
              </a:extLst>
            </p:cNvPr>
            <p:cNvSpPr/>
            <p:nvPr/>
          </p:nvSpPr>
          <p:spPr>
            <a:xfrm>
              <a:off x="6083848" y="3361643"/>
              <a:ext cx="106212" cy="147840"/>
            </a:xfrm>
            <a:custGeom>
              <a:avLst/>
              <a:gdLst/>
              <a:ahLst/>
              <a:cxnLst/>
              <a:rect l="l" t="t" r="r" b="b"/>
              <a:pathLst>
                <a:path w="163914" h="228600" extrusionOk="0">
                  <a:moveTo>
                    <a:pt x="105388" y="4114"/>
                  </a:moveTo>
                  <a:lnTo>
                    <a:pt x="107074" y="5760"/>
                  </a:lnTo>
                  <a:lnTo>
                    <a:pt x="110446" y="4114"/>
                  </a:lnTo>
                  <a:lnTo>
                    <a:pt x="113819" y="5760"/>
                  </a:lnTo>
                  <a:lnTo>
                    <a:pt x="105388" y="27156"/>
                  </a:lnTo>
                  <a:lnTo>
                    <a:pt x="107074" y="35385"/>
                  </a:lnTo>
                  <a:lnTo>
                    <a:pt x="123936" y="38677"/>
                  </a:lnTo>
                  <a:lnTo>
                    <a:pt x="128995" y="43615"/>
                  </a:lnTo>
                  <a:lnTo>
                    <a:pt x="127309" y="56782"/>
                  </a:lnTo>
                  <a:lnTo>
                    <a:pt x="147543" y="56782"/>
                  </a:lnTo>
                  <a:lnTo>
                    <a:pt x="152602" y="66657"/>
                  </a:lnTo>
                  <a:lnTo>
                    <a:pt x="167778" y="73240"/>
                  </a:lnTo>
                  <a:lnTo>
                    <a:pt x="167778" y="78178"/>
                  </a:lnTo>
                  <a:lnTo>
                    <a:pt x="162719" y="79824"/>
                  </a:lnTo>
                  <a:lnTo>
                    <a:pt x="164405" y="84761"/>
                  </a:lnTo>
                  <a:lnTo>
                    <a:pt x="157661" y="111095"/>
                  </a:lnTo>
                  <a:lnTo>
                    <a:pt x="150916" y="111095"/>
                  </a:lnTo>
                  <a:lnTo>
                    <a:pt x="145857" y="145658"/>
                  </a:lnTo>
                  <a:lnTo>
                    <a:pt x="139112" y="165409"/>
                  </a:lnTo>
                  <a:lnTo>
                    <a:pt x="142484" y="180221"/>
                  </a:lnTo>
                  <a:lnTo>
                    <a:pt x="139112" y="191742"/>
                  </a:lnTo>
                  <a:lnTo>
                    <a:pt x="100329" y="231243"/>
                  </a:lnTo>
                  <a:lnTo>
                    <a:pt x="78408" y="221368"/>
                  </a:lnTo>
                  <a:lnTo>
                    <a:pt x="63232" y="226306"/>
                  </a:lnTo>
                  <a:lnTo>
                    <a:pt x="48056" y="190097"/>
                  </a:lnTo>
                  <a:lnTo>
                    <a:pt x="36252" y="195034"/>
                  </a:lnTo>
                  <a:lnTo>
                    <a:pt x="24449" y="167055"/>
                  </a:lnTo>
                  <a:lnTo>
                    <a:pt x="26135" y="150596"/>
                  </a:lnTo>
                  <a:lnTo>
                    <a:pt x="22763" y="135783"/>
                  </a:lnTo>
                  <a:lnTo>
                    <a:pt x="4214" y="86407"/>
                  </a:lnTo>
                  <a:lnTo>
                    <a:pt x="10959" y="76532"/>
                  </a:lnTo>
                  <a:lnTo>
                    <a:pt x="41311" y="45261"/>
                  </a:lnTo>
                  <a:lnTo>
                    <a:pt x="96956" y="13989"/>
                  </a:lnTo>
                  <a:lnTo>
                    <a:pt x="105388"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8" name="Loppersum">
              <a:extLst>
                <a:ext uri="{FF2B5EF4-FFF2-40B4-BE49-F238E27FC236}">
                  <a16:creationId xmlns:a16="http://schemas.microsoft.com/office/drawing/2014/main" id="{CCEB7F39-4574-4D83-AC3C-FF3752D658E8}"/>
                </a:ext>
              </a:extLst>
            </p:cNvPr>
            <p:cNvSpPr/>
            <p:nvPr/>
          </p:nvSpPr>
          <p:spPr>
            <a:xfrm>
              <a:off x="7457910" y="1371057"/>
              <a:ext cx="253553" cy="200766"/>
            </a:xfrm>
            <a:custGeom>
              <a:avLst/>
              <a:gdLst/>
              <a:ahLst/>
              <a:cxnLst/>
              <a:rect l="l" t="t" r="r" b="b"/>
              <a:pathLst>
                <a:path w="362953" h="308610" extrusionOk="0">
                  <a:moveTo>
                    <a:pt x="284127" y="10697"/>
                  </a:moveTo>
                  <a:lnTo>
                    <a:pt x="290872" y="10697"/>
                  </a:lnTo>
                  <a:lnTo>
                    <a:pt x="297617" y="20573"/>
                  </a:lnTo>
                  <a:lnTo>
                    <a:pt x="274010" y="35385"/>
                  </a:lnTo>
                  <a:lnTo>
                    <a:pt x="280755" y="48552"/>
                  </a:lnTo>
                  <a:lnTo>
                    <a:pt x="306048" y="88053"/>
                  </a:lnTo>
                  <a:lnTo>
                    <a:pt x="302676" y="89699"/>
                  </a:lnTo>
                  <a:lnTo>
                    <a:pt x="307734" y="96282"/>
                  </a:lnTo>
                  <a:lnTo>
                    <a:pt x="306048" y="97928"/>
                  </a:lnTo>
                  <a:lnTo>
                    <a:pt x="314479" y="106157"/>
                  </a:lnTo>
                  <a:lnTo>
                    <a:pt x="311107" y="111095"/>
                  </a:lnTo>
                  <a:lnTo>
                    <a:pt x="327969" y="125908"/>
                  </a:lnTo>
                  <a:lnTo>
                    <a:pt x="334714" y="120970"/>
                  </a:lnTo>
                  <a:lnTo>
                    <a:pt x="338086" y="125908"/>
                  </a:lnTo>
                  <a:lnTo>
                    <a:pt x="343145" y="124262"/>
                  </a:lnTo>
                  <a:lnTo>
                    <a:pt x="348204" y="129200"/>
                  </a:lnTo>
                  <a:lnTo>
                    <a:pt x="349890" y="135783"/>
                  </a:lnTo>
                  <a:lnTo>
                    <a:pt x="346518" y="150596"/>
                  </a:lnTo>
                  <a:lnTo>
                    <a:pt x="348204" y="157179"/>
                  </a:lnTo>
                  <a:lnTo>
                    <a:pt x="356635" y="155533"/>
                  </a:lnTo>
                  <a:lnTo>
                    <a:pt x="358321" y="162117"/>
                  </a:lnTo>
                  <a:lnTo>
                    <a:pt x="361693" y="160471"/>
                  </a:lnTo>
                  <a:lnTo>
                    <a:pt x="361693" y="181867"/>
                  </a:lnTo>
                  <a:lnTo>
                    <a:pt x="370125" y="196680"/>
                  </a:lnTo>
                  <a:lnTo>
                    <a:pt x="363380" y="204909"/>
                  </a:lnTo>
                  <a:lnTo>
                    <a:pt x="346518" y="203263"/>
                  </a:lnTo>
                  <a:lnTo>
                    <a:pt x="334714" y="206555"/>
                  </a:lnTo>
                  <a:lnTo>
                    <a:pt x="331341" y="211493"/>
                  </a:lnTo>
                  <a:lnTo>
                    <a:pt x="327969" y="209847"/>
                  </a:lnTo>
                  <a:lnTo>
                    <a:pt x="327969" y="206555"/>
                  </a:lnTo>
                  <a:lnTo>
                    <a:pt x="322911" y="208201"/>
                  </a:lnTo>
                  <a:lnTo>
                    <a:pt x="322911" y="213139"/>
                  </a:lnTo>
                  <a:lnTo>
                    <a:pt x="319538" y="213139"/>
                  </a:lnTo>
                  <a:lnTo>
                    <a:pt x="321224" y="219722"/>
                  </a:lnTo>
                  <a:lnTo>
                    <a:pt x="317852" y="221368"/>
                  </a:lnTo>
                  <a:lnTo>
                    <a:pt x="321224" y="229597"/>
                  </a:lnTo>
                  <a:lnTo>
                    <a:pt x="317852" y="232889"/>
                  </a:lnTo>
                  <a:lnTo>
                    <a:pt x="329655" y="255931"/>
                  </a:lnTo>
                  <a:lnTo>
                    <a:pt x="324597" y="259223"/>
                  </a:lnTo>
                  <a:lnTo>
                    <a:pt x="334714" y="275681"/>
                  </a:lnTo>
                  <a:lnTo>
                    <a:pt x="274010" y="311890"/>
                  </a:lnTo>
                  <a:lnTo>
                    <a:pt x="268951" y="303661"/>
                  </a:lnTo>
                  <a:lnTo>
                    <a:pt x="272324" y="302015"/>
                  </a:lnTo>
                  <a:lnTo>
                    <a:pt x="268951" y="293786"/>
                  </a:lnTo>
                  <a:lnTo>
                    <a:pt x="272324" y="292140"/>
                  </a:lnTo>
                  <a:lnTo>
                    <a:pt x="260520" y="277327"/>
                  </a:lnTo>
                  <a:lnTo>
                    <a:pt x="255461" y="283911"/>
                  </a:lnTo>
                  <a:lnTo>
                    <a:pt x="247030" y="272390"/>
                  </a:lnTo>
                  <a:lnTo>
                    <a:pt x="243658" y="275681"/>
                  </a:lnTo>
                  <a:lnTo>
                    <a:pt x="231854" y="255931"/>
                  </a:lnTo>
                  <a:lnTo>
                    <a:pt x="236913" y="249348"/>
                  </a:lnTo>
                  <a:lnTo>
                    <a:pt x="235227" y="244410"/>
                  </a:lnTo>
                  <a:lnTo>
                    <a:pt x="228482" y="246056"/>
                  </a:lnTo>
                  <a:lnTo>
                    <a:pt x="220051" y="241118"/>
                  </a:lnTo>
                  <a:lnTo>
                    <a:pt x="214992" y="244410"/>
                  </a:lnTo>
                  <a:lnTo>
                    <a:pt x="208247" y="260869"/>
                  </a:lnTo>
                  <a:lnTo>
                    <a:pt x="204875" y="260869"/>
                  </a:lnTo>
                  <a:lnTo>
                    <a:pt x="177895" y="249348"/>
                  </a:lnTo>
                  <a:lnTo>
                    <a:pt x="174522" y="255931"/>
                  </a:lnTo>
                  <a:lnTo>
                    <a:pt x="172836" y="255931"/>
                  </a:lnTo>
                  <a:lnTo>
                    <a:pt x="149229" y="280619"/>
                  </a:lnTo>
                  <a:lnTo>
                    <a:pt x="135740" y="267452"/>
                  </a:lnTo>
                  <a:lnTo>
                    <a:pt x="125622" y="262515"/>
                  </a:lnTo>
                  <a:lnTo>
                    <a:pt x="91897" y="252639"/>
                  </a:lnTo>
                  <a:lnTo>
                    <a:pt x="80094" y="255931"/>
                  </a:lnTo>
                  <a:lnTo>
                    <a:pt x="71663" y="239472"/>
                  </a:lnTo>
                  <a:lnTo>
                    <a:pt x="46370" y="241118"/>
                  </a:lnTo>
                  <a:lnTo>
                    <a:pt x="34566" y="219722"/>
                  </a:lnTo>
                  <a:lnTo>
                    <a:pt x="36252" y="214785"/>
                  </a:lnTo>
                  <a:lnTo>
                    <a:pt x="31194" y="203263"/>
                  </a:lnTo>
                  <a:lnTo>
                    <a:pt x="17704" y="204909"/>
                  </a:lnTo>
                  <a:lnTo>
                    <a:pt x="12645" y="190097"/>
                  </a:lnTo>
                  <a:lnTo>
                    <a:pt x="4214" y="190097"/>
                  </a:lnTo>
                  <a:lnTo>
                    <a:pt x="22763" y="185159"/>
                  </a:lnTo>
                  <a:lnTo>
                    <a:pt x="22763" y="176930"/>
                  </a:lnTo>
                  <a:lnTo>
                    <a:pt x="17704" y="178575"/>
                  </a:lnTo>
                  <a:lnTo>
                    <a:pt x="9273" y="162117"/>
                  </a:lnTo>
                  <a:lnTo>
                    <a:pt x="19390" y="155533"/>
                  </a:lnTo>
                  <a:lnTo>
                    <a:pt x="22763" y="155533"/>
                  </a:lnTo>
                  <a:lnTo>
                    <a:pt x="24449" y="158825"/>
                  </a:lnTo>
                  <a:lnTo>
                    <a:pt x="41311" y="158825"/>
                  </a:lnTo>
                  <a:lnTo>
                    <a:pt x="42997" y="155533"/>
                  </a:lnTo>
                  <a:lnTo>
                    <a:pt x="53115" y="153888"/>
                  </a:lnTo>
                  <a:lnTo>
                    <a:pt x="56487" y="147304"/>
                  </a:lnTo>
                  <a:lnTo>
                    <a:pt x="53115" y="129200"/>
                  </a:lnTo>
                  <a:lnTo>
                    <a:pt x="64918" y="124262"/>
                  </a:lnTo>
                  <a:lnTo>
                    <a:pt x="68290" y="129200"/>
                  </a:lnTo>
                  <a:lnTo>
                    <a:pt x="66604" y="124262"/>
                  </a:lnTo>
                  <a:lnTo>
                    <a:pt x="76722" y="122616"/>
                  </a:lnTo>
                  <a:lnTo>
                    <a:pt x="76722" y="117679"/>
                  </a:lnTo>
                  <a:lnTo>
                    <a:pt x="80094" y="114387"/>
                  </a:lnTo>
                  <a:lnTo>
                    <a:pt x="83467" y="119324"/>
                  </a:lnTo>
                  <a:lnTo>
                    <a:pt x="91897" y="119324"/>
                  </a:lnTo>
                  <a:lnTo>
                    <a:pt x="95270" y="116033"/>
                  </a:lnTo>
                  <a:lnTo>
                    <a:pt x="98642" y="116033"/>
                  </a:lnTo>
                  <a:lnTo>
                    <a:pt x="98642" y="114387"/>
                  </a:lnTo>
                  <a:lnTo>
                    <a:pt x="102015" y="116033"/>
                  </a:lnTo>
                  <a:lnTo>
                    <a:pt x="108760" y="112741"/>
                  </a:lnTo>
                  <a:lnTo>
                    <a:pt x="118877" y="117679"/>
                  </a:lnTo>
                  <a:lnTo>
                    <a:pt x="123936" y="116033"/>
                  </a:lnTo>
                  <a:lnTo>
                    <a:pt x="127309" y="112741"/>
                  </a:lnTo>
                  <a:lnTo>
                    <a:pt x="134053" y="116033"/>
                  </a:lnTo>
                  <a:lnTo>
                    <a:pt x="139112" y="112741"/>
                  </a:lnTo>
                  <a:lnTo>
                    <a:pt x="149229" y="116033"/>
                  </a:lnTo>
                  <a:lnTo>
                    <a:pt x="157661" y="122616"/>
                  </a:lnTo>
                  <a:lnTo>
                    <a:pt x="164405" y="112741"/>
                  </a:lnTo>
                  <a:lnTo>
                    <a:pt x="174522" y="106157"/>
                  </a:lnTo>
                  <a:lnTo>
                    <a:pt x="204875" y="76532"/>
                  </a:lnTo>
                  <a:lnTo>
                    <a:pt x="233540" y="41969"/>
                  </a:lnTo>
                  <a:lnTo>
                    <a:pt x="263893" y="22218"/>
                  </a:lnTo>
                  <a:lnTo>
                    <a:pt x="275696" y="4114"/>
                  </a:lnTo>
                  <a:lnTo>
                    <a:pt x="282441" y="4114"/>
                  </a:lnTo>
                  <a:lnTo>
                    <a:pt x="284127" y="1069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49" name="Houten">
              <a:extLst>
                <a:ext uri="{FF2B5EF4-FFF2-40B4-BE49-F238E27FC236}">
                  <a16:creationId xmlns:a16="http://schemas.microsoft.com/office/drawing/2014/main" id="{0441311D-AA05-498C-BFAF-F59ED9A59D21}"/>
                </a:ext>
              </a:extLst>
            </p:cNvPr>
            <p:cNvSpPr/>
            <p:nvPr/>
          </p:nvSpPr>
          <p:spPr>
            <a:xfrm>
              <a:off x="5943805" y="3585809"/>
              <a:ext cx="169075" cy="180165"/>
            </a:xfrm>
            <a:custGeom>
              <a:avLst/>
              <a:gdLst/>
              <a:ahLst/>
              <a:cxnLst/>
              <a:rect l="l" t="t" r="r" b="b"/>
              <a:pathLst>
                <a:path w="234163" h="240030" extrusionOk="0">
                  <a:moveTo>
                    <a:pt x="56487" y="4114"/>
                  </a:moveTo>
                  <a:lnTo>
                    <a:pt x="68290" y="32094"/>
                  </a:lnTo>
                  <a:lnTo>
                    <a:pt x="95270" y="28802"/>
                  </a:lnTo>
                  <a:lnTo>
                    <a:pt x="113819" y="37031"/>
                  </a:lnTo>
                  <a:lnTo>
                    <a:pt x="112132" y="51844"/>
                  </a:lnTo>
                  <a:lnTo>
                    <a:pt x="115505" y="58427"/>
                  </a:lnTo>
                  <a:lnTo>
                    <a:pt x="120563" y="53490"/>
                  </a:lnTo>
                  <a:lnTo>
                    <a:pt x="128995" y="65011"/>
                  </a:lnTo>
                  <a:lnTo>
                    <a:pt x="125622" y="79824"/>
                  </a:lnTo>
                  <a:lnTo>
                    <a:pt x="132367" y="92991"/>
                  </a:lnTo>
                  <a:lnTo>
                    <a:pt x="130681" y="99574"/>
                  </a:lnTo>
                  <a:lnTo>
                    <a:pt x="155974" y="104512"/>
                  </a:lnTo>
                  <a:lnTo>
                    <a:pt x="172836" y="114387"/>
                  </a:lnTo>
                  <a:lnTo>
                    <a:pt x="196443" y="150596"/>
                  </a:lnTo>
                  <a:lnTo>
                    <a:pt x="213306" y="157179"/>
                  </a:lnTo>
                  <a:lnTo>
                    <a:pt x="208247" y="160471"/>
                  </a:lnTo>
                  <a:lnTo>
                    <a:pt x="209934" y="175284"/>
                  </a:lnTo>
                  <a:lnTo>
                    <a:pt x="235227" y="186805"/>
                  </a:lnTo>
                  <a:lnTo>
                    <a:pt x="228482" y="199972"/>
                  </a:lnTo>
                  <a:lnTo>
                    <a:pt x="213306" y="211493"/>
                  </a:lnTo>
                  <a:lnTo>
                    <a:pt x="196443" y="195034"/>
                  </a:lnTo>
                  <a:lnTo>
                    <a:pt x="181268" y="193388"/>
                  </a:lnTo>
                  <a:lnTo>
                    <a:pt x="172836" y="199972"/>
                  </a:lnTo>
                  <a:lnTo>
                    <a:pt x="155974" y="231243"/>
                  </a:lnTo>
                  <a:lnTo>
                    <a:pt x="147543" y="236181"/>
                  </a:lnTo>
                  <a:lnTo>
                    <a:pt x="135740" y="239472"/>
                  </a:lnTo>
                  <a:lnTo>
                    <a:pt x="117191" y="234535"/>
                  </a:lnTo>
                  <a:lnTo>
                    <a:pt x="90211" y="216430"/>
                  </a:lnTo>
                  <a:lnTo>
                    <a:pt x="58173" y="209847"/>
                  </a:lnTo>
                  <a:lnTo>
                    <a:pt x="48056" y="201617"/>
                  </a:lnTo>
                  <a:lnTo>
                    <a:pt x="42997" y="193388"/>
                  </a:lnTo>
                  <a:lnTo>
                    <a:pt x="34566" y="155533"/>
                  </a:lnTo>
                  <a:lnTo>
                    <a:pt x="26135" y="148950"/>
                  </a:lnTo>
                  <a:lnTo>
                    <a:pt x="4214" y="140720"/>
                  </a:lnTo>
                  <a:lnTo>
                    <a:pt x="17704" y="81470"/>
                  </a:lnTo>
                  <a:lnTo>
                    <a:pt x="21076" y="81470"/>
                  </a:lnTo>
                  <a:lnTo>
                    <a:pt x="7586" y="68303"/>
                  </a:lnTo>
                  <a:lnTo>
                    <a:pt x="19390" y="20573"/>
                  </a:lnTo>
                  <a:lnTo>
                    <a:pt x="12645" y="20573"/>
                  </a:lnTo>
                  <a:lnTo>
                    <a:pt x="16018" y="9052"/>
                  </a:lnTo>
                  <a:lnTo>
                    <a:pt x="44684" y="13989"/>
                  </a:lnTo>
                  <a:lnTo>
                    <a:pt x="5648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0" name="Velsen">
              <a:extLst>
                <a:ext uri="{FF2B5EF4-FFF2-40B4-BE49-F238E27FC236}">
                  <a16:creationId xmlns:a16="http://schemas.microsoft.com/office/drawing/2014/main" id="{A688D5FB-899C-475F-BC1A-F718E09811B6}"/>
                </a:ext>
              </a:extLst>
            </p:cNvPr>
            <p:cNvSpPr/>
            <p:nvPr/>
          </p:nvSpPr>
          <p:spPr>
            <a:xfrm>
              <a:off x="5342711" y="2878042"/>
              <a:ext cx="189998" cy="128968"/>
            </a:xfrm>
            <a:custGeom>
              <a:avLst/>
              <a:gdLst/>
              <a:ahLst/>
              <a:cxnLst/>
              <a:rect l="l" t="t" r="r" b="b"/>
              <a:pathLst>
                <a:path w="292704" h="194310" extrusionOk="0">
                  <a:moveTo>
                    <a:pt x="73349" y="65011"/>
                  </a:moveTo>
                  <a:lnTo>
                    <a:pt x="66604" y="65011"/>
                  </a:lnTo>
                  <a:lnTo>
                    <a:pt x="68291" y="61719"/>
                  </a:lnTo>
                  <a:lnTo>
                    <a:pt x="73349" y="60074"/>
                  </a:lnTo>
                  <a:lnTo>
                    <a:pt x="73349" y="65011"/>
                  </a:lnTo>
                  <a:close/>
                  <a:moveTo>
                    <a:pt x="112133" y="18927"/>
                  </a:moveTo>
                  <a:lnTo>
                    <a:pt x="113819" y="23864"/>
                  </a:lnTo>
                  <a:lnTo>
                    <a:pt x="127309" y="17281"/>
                  </a:lnTo>
                  <a:lnTo>
                    <a:pt x="135740" y="18927"/>
                  </a:lnTo>
                  <a:lnTo>
                    <a:pt x="179581" y="30448"/>
                  </a:lnTo>
                  <a:lnTo>
                    <a:pt x="177895" y="33740"/>
                  </a:lnTo>
                  <a:lnTo>
                    <a:pt x="181268" y="35385"/>
                  </a:lnTo>
                  <a:lnTo>
                    <a:pt x="188013" y="33740"/>
                  </a:lnTo>
                  <a:lnTo>
                    <a:pt x="209934" y="55136"/>
                  </a:lnTo>
                  <a:lnTo>
                    <a:pt x="199816" y="71595"/>
                  </a:lnTo>
                  <a:lnTo>
                    <a:pt x="272324" y="132492"/>
                  </a:lnTo>
                  <a:lnTo>
                    <a:pt x="290872" y="140721"/>
                  </a:lnTo>
                  <a:lnTo>
                    <a:pt x="274010" y="153888"/>
                  </a:lnTo>
                  <a:lnTo>
                    <a:pt x="258834" y="160471"/>
                  </a:lnTo>
                  <a:lnTo>
                    <a:pt x="230168" y="188451"/>
                  </a:lnTo>
                  <a:lnTo>
                    <a:pt x="228482" y="173638"/>
                  </a:lnTo>
                  <a:lnTo>
                    <a:pt x="218365" y="175284"/>
                  </a:lnTo>
                  <a:lnTo>
                    <a:pt x="214992" y="167054"/>
                  </a:lnTo>
                  <a:lnTo>
                    <a:pt x="206561" y="160471"/>
                  </a:lnTo>
                  <a:lnTo>
                    <a:pt x="182954" y="152242"/>
                  </a:lnTo>
                  <a:lnTo>
                    <a:pt x="161033" y="195034"/>
                  </a:lnTo>
                  <a:lnTo>
                    <a:pt x="147543" y="190096"/>
                  </a:lnTo>
                  <a:lnTo>
                    <a:pt x="149229" y="181867"/>
                  </a:lnTo>
                  <a:lnTo>
                    <a:pt x="145857" y="180221"/>
                  </a:lnTo>
                  <a:lnTo>
                    <a:pt x="145857" y="170346"/>
                  </a:lnTo>
                  <a:lnTo>
                    <a:pt x="140798" y="167054"/>
                  </a:lnTo>
                  <a:lnTo>
                    <a:pt x="144171" y="163763"/>
                  </a:lnTo>
                  <a:lnTo>
                    <a:pt x="139112" y="160471"/>
                  </a:lnTo>
                  <a:lnTo>
                    <a:pt x="134053" y="160471"/>
                  </a:lnTo>
                  <a:lnTo>
                    <a:pt x="88525" y="135783"/>
                  </a:lnTo>
                  <a:lnTo>
                    <a:pt x="46370" y="127554"/>
                  </a:lnTo>
                  <a:lnTo>
                    <a:pt x="48056" y="109449"/>
                  </a:lnTo>
                  <a:lnTo>
                    <a:pt x="39625" y="74886"/>
                  </a:lnTo>
                  <a:lnTo>
                    <a:pt x="36252" y="71595"/>
                  </a:lnTo>
                  <a:lnTo>
                    <a:pt x="12645" y="78178"/>
                  </a:lnTo>
                  <a:lnTo>
                    <a:pt x="5900" y="71595"/>
                  </a:lnTo>
                  <a:lnTo>
                    <a:pt x="4214" y="65011"/>
                  </a:lnTo>
                  <a:lnTo>
                    <a:pt x="7587" y="73240"/>
                  </a:lnTo>
                  <a:lnTo>
                    <a:pt x="14331" y="78178"/>
                  </a:lnTo>
                  <a:lnTo>
                    <a:pt x="39625" y="68303"/>
                  </a:lnTo>
                  <a:lnTo>
                    <a:pt x="44684" y="71595"/>
                  </a:lnTo>
                  <a:lnTo>
                    <a:pt x="42997" y="73240"/>
                  </a:lnTo>
                  <a:lnTo>
                    <a:pt x="46370" y="81470"/>
                  </a:lnTo>
                  <a:lnTo>
                    <a:pt x="54801" y="79824"/>
                  </a:lnTo>
                  <a:lnTo>
                    <a:pt x="54801" y="76532"/>
                  </a:lnTo>
                  <a:lnTo>
                    <a:pt x="46370" y="73240"/>
                  </a:lnTo>
                  <a:lnTo>
                    <a:pt x="49742" y="74886"/>
                  </a:lnTo>
                  <a:lnTo>
                    <a:pt x="53115" y="69949"/>
                  </a:lnTo>
                  <a:lnTo>
                    <a:pt x="51428" y="68303"/>
                  </a:lnTo>
                  <a:lnTo>
                    <a:pt x="59860" y="68303"/>
                  </a:lnTo>
                  <a:lnTo>
                    <a:pt x="58173" y="74886"/>
                  </a:lnTo>
                  <a:lnTo>
                    <a:pt x="59860" y="76532"/>
                  </a:lnTo>
                  <a:lnTo>
                    <a:pt x="63232" y="69949"/>
                  </a:lnTo>
                  <a:lnTo>
                    <a:pt x="75036" y="68303"/>
                  </a:lnTo>
                  <a:lnTo>
                    <a:pt x="71663" y="69949"/>
                  </a:lnTo>
                  <a:lnTo>
                    <a:pt x="76722" y="76532"/>
                  </a:lnTo>
                  <a:lnTo>
                    <a:pt x="73349" y="78178"/>
                  </a:lnTo>
                  <a:lnTo>
                    <a:pt x="76722" y="76532"/>
                  </a:lnTo>
                  <a:lnTo>
                    <a:pt x="73349" y="79824"/>
                  </a:lnTo>
                  <a:lnTo>
                    <a:pt x="76722" y="78178"/>
                  </a:lnTo>
                  <a:lnTo>
                    <a:pt x="86839" y="83116"/>
                  </a:lnTo>
                  <a:lnTo>
                    <a:pt x="86839" y="81470"/>
                  </a:lnTo>
                  <a:lnTo>
                    <a:pt x="80094" y="76532"/>
                  </a:lnTo>
                  <a:lnTo>
                    <a:pt x="76722" y="71595"/>
                  </a:lnTo>
                  <a:lnTo>
                    <a:pt x="78408" y="68303"/>
                  </a:lnTo>
                  <a:lnTo>
                    <a:pt x="100329" y="79824"/>
                  </a:lnTo>
                  <a:lnTo>
                    <a:pt x="98643" y="78178"/>
                  </a:lnTo>
                  <a:lnTo>
                    <a:pt x="100329" y="78178"/>
                  </a:lnTo>
                  <a:lnTo>
                    <a:pt x="80094" y="66657"/>
                  </a:lnTo>
                  <a:lnTo>
                    <a:pt x="91898" y="66657"/>
                  </a:lnTo>
                  <a:lnTo>
                    <a:pt x="91898" y="63365"/>
                  </a:lnTo>
                  <a:lnTo>
                    <a:pt x="86839" y="63365"/>
                  </a:lnTo>
                  <a:lnTo>
                    <a:pt x="90212" y="63365"/>
                  </a:lnTo>
                  <a:lnTo>
                    <a:pt x="102015" y="61719"/>
                  </a:lnTo>
                  <a:lnTo>
                    <a:pt x="102015" y="60074"/>
                  </a:lnTo>
                  <a:lnTo>
                    <a:pt x="93584" y="60074"/>
                  </a:lnTo>
                  <a:lnTo>
                    <a:pt x="95270" y="56782"/>
                  </a:lnTo>
                  <a:lnTo>
                    <a:pt x="113819" y="58427"/>
                  </a:lnTo>
                  <a:lnTo>
                    <a:pt x="115505" y="55136"/>
                  </a:lnTo>
                  <a:lnTo>
                    <a:pt x="95270" y="51844"/>
                  </a:lnTo>
                  <a:lnTo>
                    <a:pt x="108760" y="51844"/>
                  </a:lnTo>
                  <a:lnTo>
                    <a:pt x="107074" y="48552"/>
                  </a:lnTo>
                  <a:lnTo>
                    <a:pt x="108760" y="46906"/>
                  </a:lnTo>
                  <a:lnTo>
                    <a:pt x="102015" y="48552"/>
                  </a:lnTo>
                  <a:lnTo>
                    <a:pt x="98643" y="46906"/>
                  </a:lnTo>
                  <a:lnTo>
                    <a:pt x="102015" y="46906"/>
                  </a:lnTo>
                  <a:lnTo>
                    <a:pt x="120564" y="45261"/>
                  </a:lnTo>
                  <a:lnTo>
                    <a:pt x="120564" y="43615"/>
                  </a:lnTo>
                  <a:lnTo>
                    <a:pt x="107074" y="40323"/>
                  </a:lnTo>
                  <a:lnTo>
                    <a:pt x="100329" y="41969"/>
                  </a:lnTo>
                  <a:lnTo>
                    <a:pt x="83467" y="45261"/>
                  </a:lnTo>
                  <a:lnTo>
                    <a:pt x="75036" y="51844"/>
                  </a:lnTo>
                  <a:lnTo>
                    <a:pt x="58173" y="55136"/>
                  </a:lnTo>
                  <a:lnTo>
                    <a:pt x="42997" y="55136"/>
                  </a:lnTo>
                  <a:lnTo>
                    <a:pt x="37939" y="58427"/>
                  </a:lnTo>
                  <a:lnTo>
                    <a:pt x="41311" y="55136"/>
                  </a:lnTo>
                  <a:lnTo>
                    <a:pt x="29508" y="51844"/>
                  </a:lnTo>
                  <a:lnTo>
                    <a:pt x="19390" y="55136"/>
                  </a:lnTo>
                  <a:lnTo>
                    <a:pt x="27821" y="51844"/>
                  </a:lnTo>
                  <a:lnTo>
                    <a:pt x="54801" y="55136"/>
                  </a:lnTo>
                  <a:lnTo>
                    <a:pt x="81780" y="4114"/>
                  </a:lnTo>
                  <a:lnTo>
                    <a:pt x="102015" y="12343"/>
                  </a:lnTo>
                  <a:lnTo>
                    <a:pt x="112133" y="1892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1" name="Oosterhout">
              <a:extLst>
                <a:ext uri="{FF2B5EF4-FFF2-40B4-BE49-F238E27FC236}">
                  <a16:creationId xmlns:a16="http://schemas.microsoft.com/office/drawing/2014/main" id="{3D6FE5BA-11F6-4D47-AD04-556C009EA739}"/>
                </a:ext>
              </a:extLst>
            </p:cNvPr>
            <p:cNvSpPr/>
            <p:nvPr/>
          </p:nvSpPr>
          <p:spPr>
            <a:xfrm>
              <a:off x="5597142" y="4200055"/>
              <a:ext cx="152276" cy="181952"/>
            </a:xfrm>
            <a:custGeom>
              <a:avLst/>
              <a:gdLst/>
              <a:ahLst/>
              <a:cxnLst/>
              <a:rect l="l" t="t" r="r" b="b"/>
              <a:pathLst>
                <a:path w="234163" h="262890" extrusionOk="0">
                  <a:moveTo>
                    <a:pt x="130681" y="27156"/>
                  </a:moveTo>
                  <a:lnTo>
                    <a:pt x="150916" y="32094"/>
                  </a:lnTo>
                  <a:lnTo>
                    <a:pt x="157661" y="38678"/>
                  </a:lnTo>
                  <a:lnTo>
                    <a:pt x="157661" y="33740"/>
                  </a:lnTo>
                  <a:lnTo>
                    <a:pt x="186326" y="33740"/>
                  </a:lnTo>
                  <a:lnTo>
                    <a:pt x="208247" y="28802"/>
                  </a:lnTo>
                  <a:lnTo>
                    <a:pt x="209934" y="32094"/>
                  </a:lnTo>
                  <a:lnTo>
                    <a:pt x="214992" y="32094"/>
                  </a:lnTo>
                  <a:lnTo>
                    <a:pt x="223424" y="35386"/>
                  </a:lnTo>
                  <a:lnTo>
                    <a:pt x="228482" y="46907"/>
                  </a:lnTo>
                  <a:lnTo>
                    <a:pt x="235227" y="51844"/>
                  </a:lnTo>
                  <a:lnTo>
                    <a:pt x="235227" y="60074"/>
                  </a:lnTo>
                  <a:lnTo>
                    <a:pt x="240286" y="74886"/>
                  </a:lnTo>
                  <a:lnTo>
                    <a:pt x="236913" y="78178"/>
                  </a:lnTo>
                  <a:lnTo>
                    <a:pt x="238599" y="91345"/>
                  </a:lnTo>
                  <a:lnTo>
                    <a:pt x="206561" y="132492"/>
                  </a:lnTo>
                  <a:lnTo>
                    <a:pt x="203189" y="142367"/>
                  </a:lnTo>
                  <a:lnTo>
                    <a:pt x="204875" y="148950"/>
                  </a:lnTo>
                  <a:lnTo>
                    <a:pt x="193071" y="153888"/>
                  </a:lnTo>
                  <a:lnTo>
                    <a:pt x="211620" y="158825"/>
                  </a:lnTo>
                  <a:lnTo>
                    <a:pt x="208247" y="165409"/>
                  </a:lnTo>
                  <a:lnTo>
                    <a:pt x="203189" y="168701"/>
                  </a:lnTo>
                  <a:lnTo>
                    <a:pt x="204875" y="170346"/>
                  </a:lnTo>
                  <a:lnTo>
                    <a:pt x="204875" y="175284"/>
                  </a:lnTo>
                  <a:lnTo>
                    <a:pt x="213306" y="193389"/>
                  </a:lnTo>
                  <a:lnTo>
                    <a:pt x="214992" y="209847"/>
                  </a:lnTo>
                  <a:lnTo>
                    <a:pt x="211620" y="213139"/>
                  </a:lnTo>
                  <a:lnTo>
                    <a:pt x="204875" y="213139"/>
                  </a:lnTo>
                  <a:lnTo>
                    <a:pt x="208247" y="218076"/>
                  </a:lnTo>
                  <a:lnTo>
                    <a:pt x="137426" y="259223"/>
                  </a:lnTo>
                  <a:lnTo>
                    <a:pt x="139112" y="264160"/>
                  </a:lnTo>
                  <a:lnTo>
                    <a:pt x="115505" y="262515"/>
                  </a:lnTo>
                  <a:lnTo>
                    <a:pt x="107074" y="257577"/>
                  </a:lnTo>
                  <a:lnTo>
                    <a:pt x="98643" y="246056"/>
                  </a:lnTo>
                  <a:lnTo>
                    <a:pt x="96957" y="221368"/>
                  </a:lnTo>
                  <a:lnTo>
                    <a:pt x="85153" y="218076"/>
                  </a:lnTo>
                  <a:lnTo>
                    <a:pt x="93584" y="206555"/>
                  </a:lnTo>
                  <a:lnTo>
                    <a:pt x="100329" y="203264"/>
                  </a:lnTo>
                  <a:lnTo>
                    <a:pt x="93584" y="190097"/>
                  </a:lnTo>
                  <a:lnTo>
                    <a:pt x="98643" y="171992"/>
                  </a:lnTo>
                  <a:lnTo>
                    <a:pt x="76722" y="152242"/>
                  </a:lnTo>
                  <a:lnTo>
                    <a:pt x="73349" y="147304"/>
                  </a:lnTo>
                  <a:lnTo>
                    <a:pt x="66604" y="145659"/>
                  </a:lnTo>
                  <a:lnTo>
                    <a:pt x="61546" y="135783"/>
                  </a:lnTo>
                  <a:lnTo>
                    <a:pt x="51428" y="132492"/>
                  </a:lnTo>
                  <a:lnTo>
                    <a:pt x="16018" y="129200"/>
                  </a:lnTo>
                  <a:lnTo>
                    <a:pt x="17704" y="125908"/>
                  </a:lnTo>
                  <a:lnTo>
                    <a:pt x="14332" y="122617"/>
                  </a:lnTo>
                  <a:lnTo>
                    <a:pt x="27821" y="112741"/>
                  </a:lnTo>
                  <a:lnTo>
                    <a:pt x="27821" y="111095"/>
                  </a:lnTo>
                  <a:lnTo>
                    <a:pt x="24449" y="111095"/>
                  </a:lnTo>
                  <a:lnTo>
                    <a:pt x="4214" y="56782"/>
                  </a:lnTo>
                  <a:lnTo>
                    <a:pt x="27821" y="45261"/>
                  </a:lnTo>
                  <a:lnTo>
                    <a:pt x="100329" y="20573"/>
                  </a:lnTo>
                  <a:lnTo>
                    <a:pt x="102015" y="4114"/>
                  </a:lnTo>
                  <a:lnTo>
                    <a:pt x="122250" y="15635"/>
                  </a:lnTo>
                  <a:lnTo>
                    <a:pt x="120564" y="18927"/>
                  </a:lnTo>
                  <a:lnTo>
                    <a:pt x="130681" y="2715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2" name="Harlingen">
              <a:extLst>
                <a:ext uri="{FF2B5EF4-FFF2-40B4-BE49-F238E27FC236}">
                  <a16:creationId xmlns:a16="http://schemas.microsoft.com/office/drawing/2014/main" id="{F52C0BEE-F793-4354-9939-DE3D433F7E40}"/>
                </a:ext>
              </a:extLst>
            </p:cNvPr>
            <p:cNvSpPr/>
            <p:nvPr/>
          </p:nvSpPr>
          <p:spPr>
            <a:xfrm>
              <a:off x="6161433" y="1696635"/>
              <a:ext cx="181601" cy="219698"/>
            </a:xfrm>
            <a:custGeom>
              <a:avLst/>
              <a:gdLst/>
              <a:ahLst/>
              <a:cxnLst/>
              <a:rect l="l" t="t" r="r" b="b"/>
              <a:pathLst>
                <a:path w="257579" h="331470" extrusionOk="0">
                  <a:moveTo>
                    <a:pt x="24449" y="323412"/>
                  </a:moveTo>
                  <a:lnTo>
                    <a:pt x="24449" y="325057"/>
                  </a:lnTo>
                  <a:lnTo>
                    <a:pt x="24449" y="323412"/>
                  </a:lnTo>
                  <a:close/>
                  <a:moveTo>
                    <a:pt x="24449" y="323412"/>
                  </a:moveTo>
                  <a:lnTo>
                    <a:pt x="24449" y="323412"/>
                  </a:lnTo>
                  <a:close/>
                  <a:moveTo>
                    <a:pt x="24449" y="323412"/>
                  </a:moveTo>
                  <a:lnTo>
                    <a:pt x="21076" y="323412"/>
                  </a:lnTo>
                  <a:lnTo>
                    <a:pt x="24449" y="323412"/>
                  </a:lnTo>
                  <a:close/>
                  <a:moveTo>
                    <a:pt x="4214" y="320120"/>
                  </a:moveTo>
                  <a:lnTo>
                    <a:pt x="5900" y="329995"/>
                  </a:lnTo>
                  <a:lnTo>
                    <a:pt x="4214" y="318474"/>
                  </a:lnTo>
                  <a:lnTo>
                    <a:pt x="4214" y="320120"/>
                  </a:lnTo>
                  <a:close/>
                  <a:moveTo>
                    <a:pt x="17704" y="316828"/>
                  </a:moveTo>
                  <a:lnTo>
                    <a:pt x="17704" y="316828"/>
                  </a:lnTo>
                  <a:close/>
                  <a:moveTo>
                    <a:pt x="17704" y="316828"/>
                  </a:moveTo>
                  <a:lnTo>
                    <a:pt x="21076" y="318474"/>
                  </a:lnTo>
                  <a:lnTo>
                    <a:pt x="17704" y="316828"/>
                  </a:lnTo>
                  <a:close/>
                  <a:moveTo>
                    <a:pt x="135740" y="144012"/>
                  </a:moveTo>
                  <a:lnTo>
                    <a:pt x="134053" y="144012"/>
                  </a:lnTo>
                  <a:lnTo>
                    <a:pt x="135740" y="144012"/>
                  </a:lnTo>
                  <a:close/>
                  <a:moveTo>
                    <a:pt x="90212" y="71594"/>
                  </a:moveTo>
                  <a:lnTo>
                    <a:pt x="27821" y="48552"/>
                  </a:lnTo>
                  <a:lnTo>
                    <a:pt x="56487" y="58428"/>
                  </a:lnTo>
                  <a:lnTo>
                    <a:pt x="90212" y="71594"/>
                  </a:lnTo>
                  <a:close/>
                  <a:moveTo>
                    <a:pt x="204875" y="27156"/>
                  </a:moveTo>
                  <a:lnTo>
                    <a:pt x="209934" y="23864"/>
                  </a:lnTo>
                  <a:lnTo>
                    <a:pt x="211620" y="27156"/>
                  </a:lnTo>
                  <a:lnTo>
                    <a:pt x="218365" y="28802"/>
                  </a:lnTo>
                  <a:lnTo>
                    <a:pt x="252089" y="25510"/>
                  </a:lnTo>
                  <a:lnTo>
                    <a:pt x="252089" y="41969"/>
                  </a:lnTo>
                  <a:lnTo>
                    <a:pt x="248717" y="41969"/>
                  </a:lnTo>
                  <a:lnTo>
                    <a:pt x="245344" y="48552"/>
                  </a:lnTo>
                  <a:lnTo>
                    <a:pt x="236913" y="83116"/>
                  </a:lnTo>
                  <a:lnTo>
                    <a:pt x="236913" y="84761"/>
                  </a:lnTo>
                  <a:lnTo>
                    <a:pt x="262207" y="79824"/>
                  </a:lnTo>
                  <a:lnTo>
                    <a:pt x="257148" y="92991"/>
                  </a:lnTo>
                  <a:lnTo>
                    <a:pt x="250403" y="94637"/>
                  </a:lnTo>
                  <a:lnTo>
                    <a:pt x="248717" y="99574"/>
                  </a:lnTo>
                  <a:lnTo>
                    <a:pt x="245344" y="101220"/>
                  </a:lnTo>
                  <a:lnTo>
                    <a:pt x="243658" y="109449"/>
                  </a:lnTo>
                  <a:lnTo>
                    <a:pt x="247030" y="111095"/>
                  </a:lnTo>
                  <a:lnTo>
                    <a:pt x="241972" y="125908"/>
                  </a:lnTo>
                  <a:lnTo>
                    <a:pt x="236913" y="130845"/>
                  </a:lnTo>
                  <a:lnTo>
                    <a:pt x="231855" y="147304"/>
                  </a:lnTo>
                  <a:lnTo>
                    <a:pt x="230168" y="145658"/>
                  </a:lnTo>
                  <a:lnTo>
                    <a:pt x="220051" y="163763"/>
                  </a:lnTo>
                  <a:lnTo>
                    <a:pt x="209934" y="160471"/>
                  </a:lnTo>
                  <a:lnTo>
                    <a:pt x="211620" y="153888"/>
                  </a:lnTo>
                  <a:lnTo>
                    <a:pt x="199816" y="153888"/>
                  </a:lnTo>
                  <a:lnTo>
                    <a:pt x="194757" y="148950"/>
                  </a:lnTo>
                  <a:lnTo>
                    <a:pt x="184640" y="145658"/>
                  </a:lnTo>
                  <a:lnTo>
                    <a:pt x="182954" y="148950"/>
                  </a:lnTo>
                  <a:lnTo>
                    <a:pt x="171151" y="140721"/>
                  </a:lnTo>
                  <a:lnTo>
                    <a:pt x="171151" y="139075"/>
                  </a:lnTo>
                  <a:lnTo>
                    <a:pt x="150916" y="139075"/>
                  </a:lnTo>
                  <a:lnTo>
                    <a:pt x="144171" y="145658"/>
                  </a:lnTo>
                  <a:lnTo>
                    <a:pt x="137426" y="140721"/>
                  </a:lnTo>
                  <a:lnTo>
                    <a:pt x="135740" y="144012"/>
                  </a:lnTo>
                  <a:lnTo>
                    <a:pt x="135740" y="132491"/>
                  </a:lnTo>
                  <a:lnTo>
                    <a:pt x="142484" y="112741"/>
                  </a:lnTo>
                  <a:lnTo>
                    <a:pt x="140798" y="102866"/>
                  </a:lnTo>
                  <a:lnTo>
                    <a:pt x="125622" y="91345"/>
                  </a:lnTo>
                  <a:lnTo>
                    <a:pt x="122250" y="84761"/>
                  </a:lnTo>
                  <a:lnTo>
                    <a:pt x="125622" y="91345"/>
                  </a:lnTo>
                  <a:lnTo>
                    <a:pt x="128995" y="91345"/>
                  </a:lnTo>
                  <a:lnTo>
                    <a:pt x="134053" y="99574"/>
                  </a:lnTo>
                  <a:lnTo>
                    <a:pt x="140798" y="101220"/>
                  </a:lnTo>
                  <a:lnTo>
                    <a:pt x="132367" y="88053"/>
                  </a:lnTo>
                  <a:lnTo>
                    <a:pt x="135740" y="91345"/>
                  </a:lnTo>
                  <a:lnTo>
                    <a:pt x="135740" y="84761"/>
                  </a:lnTo>
                  <a:lnTo>
                    <a:pt x="147543" y="78178"/>
                  </a:lnTo>
                  <a:lnTo>
                    <a:pt x="140798" y="78178"/>
                  </a:lnTo>
                  <a:lnTo>
                    <a:pt x="140798" y="76532"/>
                  </a:lnTo>
                  <a:lnTo>
                    <a:pt x="145857" y="74886"/>
                  </a:lnTo>
                  <a:lnTo>
                    <a:pt x="147543" y="69949"/>
                  </a:lnTo>
                  <a:lnTo>
                    <a:pt x="162719" y="61719"/>
                  </a:lnTo>
                  <a:lnTo>
                    <a:pt x="171151" y="53490"/>
                  </a:lnTo>
                  <a:lnTo>
                    <a:pt x="176209" y="41969"/>
                  </a:lnTo>
                  <a:lnTo>
                    <a:pt x="171151" y="38677"/>
                  </a:lnTo>
                  <a:lnTo>
                    <a:pt x="166092" y="45261"/>
                  </a:lnTo>
                  <a:lnTo>
                    <a:pt x="169464" y="48552"/>
                  </a:lnTo>
                  <a:lnTo>
                    <a:pt x="169464" y="50198"/>
                  </a:lnTo>
                  <a:lnTo>
                    <a:pt x="162719" y="53490"/>
                  </a:lnTo>
                  <a:lnTo>
                    <a:pt x="159347" y="61719"/>
                  </a:lnTo>
                  <a:lnTo>
                    <a:pt x="139112" y="69949"/>
                  </a:lnTo>
                  <a:lnTo>
                    <a:pt x="135740" y="79824"/>
                  </a:lnTo>
                  <a:lnTo>
                    <a:pt x="130681" y="86407"/>
                  </a:lnTo>
                  <a:lnTo>
                    <a:pt x="127309" y="88053"/>
                  </a:lnTo>
                  <a:lnTo>
                    <a:pt x="128995" y="86407"/>
                  </a:lnTo>
                  <a:lnTo>
                    <a:pt x="125622" y="83116"/>
                  </a:lnTo>
                  <a:lnTo>
                    <a:pt x="130681" y="86407"/>
                  </a:lnTo>
                  <a:lnTo>
                    <a:pt x="134053" y="79824"/>
                  </a:lnTo>
                  <a:lnTo>
                    <a:pt x="137426" y="69949"/>
                  </a:lnTo>
                  <a:lnTo>
                    <a:pt x="150916" y="63365"/>
                  </a:lnTo>
                  <a:lnTo>
                    <a:pt x="174523" y="4114"/>
                  </a:lnTo>
                  <a:lnTo>
                    <a:pt x="201503" y="20573"/>
                  </a:lnTo>
                  <a:lnTo>
                    <a:pt x="204875" y="2715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3" name="Barendrecht">
              <a:extLst>
                <a:ext uri="{FF2B5EF4-FFF2-40B4-BE49-F238E27FC236}">
                  <a16:creationId xmlns:a16="http://schemas.microsoft.com/office/drawing/2014/main" id="{FEEF3E38-D171-4C17-A3E1-0D743F62C052}"/>
                </a:ext>
              </a:extLst>
            </p:cNvPr>
            <p:cNvSpPr/>
            <p:nvPr/>
          </p:nvSpPr>
          <p:spPr>
            <a:xfrm>
              <a:off x="5281644" y="3885528"/>
              <a:ext cx="97843" cy="64178"/>
            </a:xfrm>
            <a:custGeom>
              <a:avLst/>
              <a:gdLst/>
              <a:ahLst/>
              <a:cxnLst/>
              <a:rect l="l" t="t" r="r" b="b"/>
              <a:pathLst>
                <a:path w="140498" h="114300" extrusionOk="0">
                  <a:moveTo>
                    <a:pt x="112132" y="4114"/>
                  </a:moveTo>
                  <a:lnTo>
                    <a:pt x="134053" y="53490"/>
                  </a:lnTo>
                  <a:lnTo>
                    <a:pt x="135740" y="56782"/>
                  </a:lnTo>
                  <a:lnTo>
                    <a:pt x="142485" y="56782"/>
                  </a:lnTo>
                  <a:lnTo>
                    <a:pt x="144171" y="65011"/>
                  </a:lnTo>
                  <a:lnTo>
                    <a:pt x="140798" y="74886"/>
                  </a:lnTo>
                  <a:lnTo>
                    <a:pt x="127309" y="89699"/>
                  </a:lnTo>
                  <a:lnTo>
                    <a:pt x="117191" y="111095"/>
                  </a:lnTo>
                  <a:lnTo>
                    <a:pt x="105388" y="106158"/>
                  </a:lnTo>
                  <a:lnTo>
                    <a:pt x="73349" y="111095"/>
                  </a:lnTo>
                  <a:lnTo>
                    <a:pt x="37939" y="97928"/>
                  </a:lnTo>
                  <a:lnTo>
                    <a:pt x="17704" y="96282"/>
                  </a:lnTo>
                  <a:lnTo>
                    <a:pt x="19390" y="83116"/>
                  </a:lnTo>
                  <a:lnTo>
                    <a:pt x="22763" y="81470"/>
                  </a:lnTo>
                  <a:lnTo>
                    <a:pt x="19390" y="74886"/>
                  </a:lnTo>
                  <a:lnTo>
                    <a:pt x="19390" y="68303"/>
                  </a:lnTo>
                  <a:lnTo>
                    <a:pt x="16018" y="65011"/>
                  </a:lnTo>
                  <a:lnTo>
                    <a:pt x="19390" y="58427"/>
                  </a:lnTo>
                  <a:lnTo>
                    <a:pt x="5900" y="48552"/>
                  </a:lnTo>
                  <a:lnTo>
                    <a:pt x="7587" y="40323"/>
                  </a:lnTo>
                  <a:lnTo>
                    <a:pt x="4214" y="38677"/>
                  </a:lnTo>
                  <a:lnTo>
                    <a:pt x="4214" y="23864"/>
                  </a:lnTo>
                  <a:lnTo>
                    <a:pt x="26135" y="15635"/>
                  </a:lnTo>
                  <a:lnTo>
                    <a:pt x="75036" y="13989"/>
                  </a:lnTo>
                  <a:lnTo>
                    <a:pt x="85153" y="17281"/>
                  </a:lnTo>
                  <a:lnTo>
                    <a:pt x="100329" y="12343"/>
                  </a:lnTo>
                  <a:lnTo>
                    <a:pt x="112132"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4" name="Tytsjerksteradiel">
              <a:extLst>
                <a:ext uri="{FF2B5EF4-FFF2-40B4-BE49-F238E27FC236}">
                  <a16:creationId xmlns:a16="http://schemas.microsoft.com/office/drawing/2014/main" id="{FD2A8851-4E33-4F16-A212-670E50F4DEFD}"/>
                </a:ext>
              </a:extLst>
            </p:cNvPr>
            <p:cNvSpPr/>
            <p:nvPr/>
          </p:nvSpPr>
          <p:spPr>
            <a:xfrm>
              <a:off x="6682587" y="1574538"/>
              <a:ext cx="297364" cy="272681"/>
            </a:xfrm>
            <a:custGeom>
              <a:avLst/>
              <a:gdLst/>
              <a:ahLst/>
              <a:cxnLst/>
              <a:rect l="l" t="t" r="r" b="b"/>
              <a:pathLst>
                <a:path w="433202" h="400050" extrusionOk="0">
                  <a:moveTo>
                    <a:pt x="81781" y="32094"/>
                  </a:moveTo>
                  <a:lnTo>
                    <a:pt x="128995" y="74886"/>
                  </a:lnTo>
                  <a:lnTo>
                    <a:pt x="142485" y="78178"/>
                  </a:lnTo>
                  <a:lnTo>
                    <a:pt x="145857" y="84761"/>
                  </a:lnTo>
                  <a:lnTo>
                    <a:pt x="145857" y="91345"/>
                  </a:lnTo>
                  <a:lnTo>
                    <a:pt x="171151" y="94636"/>
                  </a:lnTo>
                  <a:lnTo>
                    <a:pt x="191385" y="148950"/>
                  </a:lnTo>
                  <a:lnTo>
                    <a:pt x="216678" y="148950"/>
                  </a:lnTo>
                  <a:lnTo>
                    <a:pt x="231855" y="144012"/>
                  </a:lnTo>
                  <a:lnTo>
                    <a:pt x="282441" y="116033"/>
                  </a:lnTo>
                  <a:lnTo>
                    <a:pt x="285814" y="117679"/>
                  </a:lnTo>
                  <a:lnTo>
                    <a:pt x="297617" y="142367"/>
                  </a:lnTo>
                  <a:lnTo>
                    <a:pt x="385301" y="178576"/>
                  </a:lnTo>
                  <a:lnTo>
                    <a:pt x="378556" y="181867"/>
                  </a:lnTo>
                  <a:lnTo>
                    <a:pt x="376870" y="183513"/>
                  </a:lnTo>
                  <a:lnTo>
                    <a:pt x="378556" y="188451"/>
                  </a:lnTo>
                  <a:lnTo>
                    <a:pt x="375184" y="190096"/>
                  </a:lnTo>
                  <a:lnTo>
                    <a:pt x="375184" y="191742"/>
                  </a:lnTo>
                  <a:lnTo>
                    <a:pt x="380242" y="191742"/>
                  </a:lnTo>
                  <a:lnTo>
                    <a:pt x="381928" y="195034"/>
                  </a:lnTo>
                  <a:lnTo>
                    <a:pt x="373497" y="198326"/>
                  </a:lnTo>
                  <a:lnTo>
                    <a:pt x="381928" y="224660"/>
                  </a:lnTo>
                  <a:lnTo>
                    <a:pt x="405536" y="249348"/>
                  </a:lnTo>
                  <a:lnTo>
                    <a:pt x="413967" y="264160"/>
                  </a:lnTo>
                  <a:lnTo>
                    <a:pt x="420712" y="272390"/>
                  </a:lnTo>
                  <a:lnTo>
                    <a:pt x="420712" y="270744"/>
                  </a:lnTo>
                  <a:lnTo>
                    <a:pt x="429143" y="272390"/>
                  </a:lnTo>
                  <a:lnTo>
                    <a:pt x="413967" y="334933"/>
                  </a:lnTo>
                  <a:lnTo>
                    <a:pt x="398791" y="320120"/>
                  </a:lnTo>
                  <a:lnTo>
                    <a:pt x="390360" y="326703"/>
                  </a:lnTo>
                  <a:lnTo>
                    <a:pt x="385301" y="313536"/>
                  </a:lnTo>
                  <a:lnTo>
                    <a:pt x="375184" y="320120"/>
                  </a:lnTo>
                  <a:lnTo>
                    <a:pt x="327969" y="320120"/>
                  </a:lnTo>
                  <a:lnTo>
                    <a:pt x="287500" y="323411"/>
                  </a:lnTo>
                  <a:lnTo>
                    <a:pt x="275697" y="326703"/>
                  </a:lnTo>
                  <a:lnTo>
                    <a:pt x="253776" y="341516"/>
                  </a:lnTo>
                  <a:lnTo>
                    <a:pt x="221737" y="374433"/>
                  </a:lnTo>
                  <a:lnTo>
                    <a:pt x="174523" y="399121"/>
                  </a:lnTo>
                  <a:lnTo>
                    <a:pt x="174523" y="405705"/>
                  </a:lnTo>
                  <a:lnTo>
                    <a:pt x="166092" y="395829"/>
                  </a:lnTo>
                  <a:lnTo>
                    <a:pt x="145857" y="384308"/>
                  </a:lnTo>
                  <a:lnTo>
                    <a:pt x="122250" y="349745"/>
                  </a:lnTo>
                  <a:lnTo>
                    <a:pt x="137426" y="339870"/>
                  </a:lnTo>
                  <a:lnTo>
                    <a:pt x="155974" y="315182"/>
                  </a:lnTo>
                  <a:lnTo>
                    <a:pt x="159347" y="292140"/>
                  </a:lnTo>
                  <a:lnTo>
                    <a:pt x="157661" y="288848"/>
                  </a:lnTo>
                  <a:lnTo>
                    <a:pt x="150916" y="292140"/>
                  </a:lnTo>
                  <a:lnTo>
                    <a:pt x="142485" y="293786"/>
                  </a:lnTo>
                  <a:lnTo>
                    <a:pt x="53115" y="287202"/>
                  </a:lnTo>
                  <a:lnTo>
                    <a:pt x="36253" y="237827"/>
                  </a:lnTo>
                  <a:lnTo>
                    <a:pt x="53115" y="232889"/>
                  </a:lnTo>
                  <a:lnTo>
                    <a:pt x="46370" y="213139"/>
                  </a:lnTo>
                  <a:lnTo>
                    <a:pt x="46370" y="208201"/>
                  </a:lnTo>
                  <a:lnTo>
                    <a:pt x="108760" y="195034"/>
                  </a:lnTo>
                  <a:lnTo>
                    <a:pt x="118878" y="190096"/>
                  </a:lnTo>
                  <a:lnTo>
                    <a:pt x="115505" y="186805"/>
                  </a:lnTo>
                  <a:lnTo>
                    <a:pt x="117191" y="180221"/>
                  </a:lnTo>
                  <a:lnTo>
                    <a:pt x="105388" y="181867"/>
                  </a:lnTo>
                  <a:lnTo>
                    <a:pt x="105388" y="180221"/>
                  </a:lnTo>
                  <a:lnTo>
                    <a:pt x="100329" y="180221"/>
                  </a:lnTo>
                  <a:lnTo>
                    <a:pt x="100329" y="173638"/>
                  </a:lnTo>
                  <a:lnTo>
                    <a:pt x="91898" y="175284"/>
                  </a:lnTo>
                  <a:lnTo>
                    <a:pt x="91898" y="167054"/>
                  </a:lnTo>
                  <a:lnTo>
                    <a:pt x="103701" y="167054"/>
                  </a:lnTo>
                  <a:lnTo>
                    <a:pt x="103701" y="162117"/>
                  </a:lnTo>
                  <a:lnTo>
                    <a:pt x="91898" y="162117"/>
                  </a:lnTo>
                  <a:lnTo>
                    <a:pt x="93584" y="157179"/>
                  </a:lnTo>
                  <a:lnTo>
                    <a:pt x="80094" y="157179"/>
                  </a:lnTo>
                  <a:lnTo>
                    <a:pt x="78408" y="137429"/>
                  </a:lnTo>
                  <a:lnTo>
                    <a:pt x="61546" y="142367"/>
                  </a:lnTo>
                  <a:lnTo>
                    <a:pt x="37939" y="144012"/>
                  </a:lnTo>
                  <a:lnTo>
                    <a:pt x="48056" y="112741"/>
                  </a:lnTo>
                  <a:lnTo>
                    <a:pt x="7587" y="114387"/>
                  </a:lnTo>
                  <a:lnTo>
                    <a:pt x="5900" y="109449"/>
                  </a:lnTo>
                  <a:lnTo>
                    <a:pt x="9273" y="102866"/>
                  </a:lnTo>
                  <a:lnTo>
                    <a:pt x="4214" y="79824"/>
                  </a:lnTo>
                  <a:lnTo>
                    <a:pt x="7587" y="71594"/>
                  </a:lnTo>
                  <a:lnTo>
                    <a:pt x="7587" y="51844"/>
                  </a:lnTo>
                  <a:lnTo>
                    <a:pt x="29508" y="12343"/>
                  </a:lnTo>
                  <a:lnTo>
                    <a:pt x="49742" y="4114"/>
                  </a:lnTo>
                  <a:lnTo>
                    <a:pt x="69977" y="17281"/>
                  </a:lnTo>
                  <a:lnTo>
                    <a:pt x="81781" y="3209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5" name="Voorschoten">
              <a:extLst>
                <a:ext uri="{FF2B5EF4-FFF2-40B4-BE49-F238E27FC236}">
                  <a16:creationId xmlns:a16="http://schemas.microsoft.com/office/drawing/2014/main" id="{F9D44C21-31C5-4D4F-83EC-247F03E07EB7}"/>
                </a:ext>
              </a:extLst>
            </p:cNvPr>
            <p:cNvSpPr/>
            <p:nvPr/>
          </p:nvSpPr>
          <p:spPr>
            <a:xfrm>
              <a:off x="5205650" y="3439487"/>
              <a:ext cx="60524" cy="68422"/>
            </a:xfrm>
            <a:custGeom>
              <a:avLst/>
              <a:gdLst/>
              <a:ahLst/>
              <a:cxnLst/>
              <a:rect l="l" t="t" r="r" b="b"/>
              <a:pathLst>
                <a:path w="105373" h="114300" extrusionOk="0">
                  <a:moveTo>
                    <a:pt x="98643" y="4114"/>
                  </a:moveTo>
                  <a:lnTo>
                    <a:pt x="103701" y="5760"/>
                  </a:lnTo>
                  <a:lnTo>
                    <a:pt x="105388" y="35385"/>
                  </a:lnTo>
                  <a:lnTo>
                    <a:pt x="108760" y="41969"/>
                  </a:lnTo>
                  <a:lnTo>
                    <a:pt x="107074" y="46906"/>
                  </a:lnTo>
                  <a:lnTo>
                    <a:pt x="73349" y="91345"/>
                  </a:lnTo>
                  <a:lnTo>
                    <a:pt x="59860" y="101220"/>
                  </a:lnTo>
                  <a:lnTo>
                    <a:pt x="53115" y="112741"/>
                  </a:lnTo>
                  <a:lnTo>
                    <a:pt x="44684" y="119324"/>
                  </a:lnTo>
                  <a:lnTo>
                    <a:pt x="34566" y="111095"/>
                  </a:lnTo>
                  <a:lnTo>
                    <a:pt x="22763" y="104511"/>
                  </a:lnTo>
                  <a:lnTo>
                    <a:pt x="21076" y="106157"/>
                  </a:lnTo>
                  <a:lnTo>
                    <a:pt x="19390" y="104511"/>
                  </a:lnTo>
                  <a:lnTo>
                    <a:pt x="21076" y="102866"/>
                  </a:lnTo>
                  <a:lnTo>
                    <a:pt x="4214" y="94636"/>
                  </a:lnTo>
                  <a:lnTo>
                    <a:pt x="22763" y="69949"/>
                  </a:lnTo>
                  <a:lnTo>
                    <a:pt x="31194" y="63365"/>
                  </a:lnTo>
                  <a:lnTo>
                    <a:pt x="68291" y="13989"/>
                  </a:lnTo>
                  <a:lnTo>
                    <a:pt x="69977" y="23864"/>
                  </a:lnTo>
                  <a:lnTo>
                    <a:pt x="78408" y="23864"/>
                  </a:lnTo>
                  <a:lnTo>
                    <a:pt x="93584" y="4114"/>
                  </a:lnTo>
                  <a:lnTo>
                    <a:pt x="98643"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6" name="Tubbergen">
              <a:extLst>
                <a:ext uri="{FF2B5EF4-FFF2-40B4-BE49-F238E27FC236}">
                  <a16:creationId xmlns:a16="http://schemas.microsoft.com/office/drawing/2014/main" id="{82C2B8DE-1958-46F0-9C69-565EAC07442A}"/>
                </a:ext>
              </a:extLst>
            </p:cNvPr>
            <p:cNvSpPr/>
            <p:nvPr/>
          </p:nvSpPr>
          <p:spPr>
            <a:xfrm>
              <a:off x="7569555" y="2895461"/>
              <a:ext cx="278288" cy="252338"/>
            </a:xfrm>
            <a:custGeom>
              <a:avLst/>
              <a:gdLst/>
              <a:ahLst/>
              <a:cxnLst/>
              <a:rect l="l" t="t" r="r" b="b"/>
              <a:pathLst>
                <a:path w="421494" h="365760" extrusionOk="0">
                  <a:moveTo>
                    <a:pt x="127309" y="37031"/>
                  </a:moveTo>
                  <a:lnTo>
                    <a:pt x="161033" y="48552"/>
                  </a:lnTo>
                  <a:lnTo>
                    <a:pt x="280755" y="45261"/>
                  </a:lnTo>
                  <a:lnTo>
                    <a:pt x="279069" y="68303"/>
                  </a:lnTo>
                  <a:lnTo>
                    <a:pt x="292559" y="65011"/>
                  </a:lnTo>
                  <a:lnTo>
                    <a:pt x="413966" y="101220"/>
                  </a:lnTo>
                  <a:lnTo>
                    <a:pt x="422398" y="97928"/>
                  </a:lnTo>
                  <a:lnTo>
                    <a:pt x="425770" y="107803"/>
                  </a:lnTo>
                  <a:lnTo>
                    <a:pt x="410594" y="107803"/>
                  </a:lnTo>
                  <a:lnTo>
                    <a:pt x="393732" y="104512"/>
                  </a:lnTo>
                  <a:lnTo>
                    <a:pt x="346518" y="109449"/>
                  </a:lnTo>
                  <a:lnTo>
                    <a:pt x="280755" y="124262"/>
                  </a:lnTo>
                  <a:lnTo>
                    <a:pt x="279069" y="153888"/>
                  </a:lnTo>
                  <a:lnTo>
                    <a:pt x="295931" y="170346"/>
                  </a:lnTo>
                  <a:lnTo>
                    <a:pt x="299304" y="277327"/>
                  </a:lnTo>
                  <a:lnTo>
                    <a:pt x="287500" y="285557"/>
                  </a:lnTo>
                  <a:lnTo>
                    <a:pt x="282441" y="280619"/>
                  </a:lnTo>
                  <a:lnTo>
                    <a:pt x="257147" y="280619"/>
                  </a:lnTo>
                  <a:lnTo>
                    <a:pt x="230168" y="274035"/>
                  </a:lnTo>
                  <a:lnTo>
                    <a:pt x="213306" y="282265"/>
                  </a:lnTo>
                  <a:lnTo>
                    <a:pt x="177895" y="287203"/>
                  </a:lnTo>
                  <a:lnTo>
                    <a:pt x="171150" y="311890"/>
                  </a:lnTo>
                  <a:lnTo>
                    <a:pt x="164405" y="320120"/>
                  </a:lnTo>
                  <a:lnTo>
                    <a:pt x="147543" y="328349"/>
                  </a:lnTo>
                  <a:lnTo>
                    <a:pt x="144171" y="331641"/>
                  </a:lnTo>
                  <a:lnTo>
                    <a:pt x="142484" y="356329"/>
                  </a:lnTo>
                  <a:lnTo>
                    <a:pt x="130681" y="362912"/>
                  </a:lnTo>
                  <a:lnTo>
                    <a:pt x="118877" y="346453"/>
                  </a:lnTo>
                  <a:lnTo>
                    <a:pt x="105388" y="339870"/>
                  </a:lnTo>
                  <a:lnTo>
                    <a:pt x="68291" y="329995"/>
                  </a:lnTo>
                  <a:lnTo>
                    <a:pt x="75036" y="323411"/>
                  </a:lnTo>
                  <a:lnTo>
                    <a:pt x="73349" y="321766"/>
                  </a:lnTo>
                  <a:lnTo>
                    <a:pt x="83467" y="308599"/>
                  </a:lnTo>
                  <a:lnTo>
                    <a:pt x="81780" y="287203"/>
                  </a:lnTo>
                  <a:lnTo>
                    <a:pt x="75036" y="274035"/>
                  </a:lnTo>
                  <a:lnTo>
                    <a:pt x="69977" y="255931"/>
                  </a:lnTo>
                  <a:lnTo>
                    <a:pt x="71663" y="249348"/>
                  </a:lnTo>
                  <a:lnTo>
                    <a:pt x="59859" y="246056"/>
                  </a:lnTo>
                  <a:lnTo>
                    <a:pt x="48056" y="214785"/>
                  </a:lnTo>
                  <a:lnTo>
                    <a:pt x="48056" y="208201"/>
                  </a:lnTo>
                  <a:lnTo>
                    <a:pt x="12645" y="160471"/>
                  </a:lnTo>
                  <a:lnTo>
                    <a:pt x="4214" y="152242"/>
                  </a:lnTo>
                  <a:lnTo>
                    <a:pt x="7586" y="140721"/>
                  </a:lnTo>
                  <a:lnTo>
                    <a:pt x="14332" y="137429"/>
                  </a:lnTo>
                  <a:lnTo>
                    <a:pt x="9273" y="134137"/>
                  </a:lnTo>
                  <a:lnTo>
                    <a:pt x="10959" y="129199"/>
                  </a:lnTo>
                  <a:lnTo>
                    <a:pt x="16018" y="127554"/>
                  </a:lnTo>
                  <a:lnTo>
                    <a:pt x="9273" y="111095"/>
                  </a:lnTo>
                  <a:lnTo>
                    <a:pt x="7586" y="94637"/>
                  </a:lnTo>
                  <a:lnTo>
                    <a:pt x="12645" y="88053"/>
                  </a:lnTo>
                  <a:lnTo>
                    <a:pt x="22763" y="83115"/>
                  </a:lnTo>
                  <a:lnTo>
                    <a:pt x="36252" y="79824"/>
                  </a:lnTo>
                  <a:lnTo>
                    <a:pt x="39625" y="71595"/>
                  </a:lnTo>
                  <a:lnTo>
                    <a:pt x="44684" y="68303"/>
                  </a:lnTo>
                  <a:lnTo>
                    <a:pt x="49742" y="45261"/>
                  </a:lnTo>
                  <a:lnTo>
                    <a:pt x="73349" y="4114"/>
                  </a:lnTo>
                  <a:lnTo>
                    <a:pt x="83467" y="7406"/>
                  </a:lnTo>
                  <a:lnTo>
                    <a:pt x="127309" y="3703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7" name="Montferland">
              <a:extLst>
                <a:ext uri="{FF2B5EF4-FFF2-40B4-BE49-F238E27FC236}">
                  <a16:creationId xmlns:a16="http://schemas.microsoft.com/office/drawing/2014/main" id="{8B1BCC45-E51E-4A71-A882-6355773088FD}"/>
                </a:ext>
              </a:extLst>
            </p:cNvPr>
            <p:cNvSpPr/>
            <p:nvPr/>
          </p:nvSpPr>
          <p:spPr>
            <a:xfrm>
              <a:off x="6962076" y="3723963"/>
              <a:ext cx="257739" cy="181892"/>
            </a:xfrm>
            <a:custGeom>
              <a:avLst/>
              <a:gdLst/>
              <a:ahLst/>
              <a:cxnLst/>
              <a:rect l="l" t="t" r="r" b="b"/>
              <a:pathLst>
                <a:path w="374661" h="274320" extrusionOk="0">
                  <a:moveTo>
                    <a:pt x="95270" y="37031"/>
                  </a:moveTo>
                  <a:lnTo>
                    <a:pt x="115505" y="63365"/>
                  </a:lnTo>
                  <a:lnTo>
                    <a:pt x="128995" y="68302"/>
                  </a:lnTo>
                  <a:lnTo>
                    <a:pt x="139112" y="79824"/>
                  </a:lnTo>
                  <a:lnTo>
                    <a:pt x="147543" y="81470"/>
                  </a:lnTo>
                  <a:lnTo>
                    <a:pt x="154288" y="88053"/>
                  </a:lnTo>
                  <a:lnTo>
                    <a:pt x="154288" y="92991"/>
                  </a:lnTo>
                  <a:lnTo>
                    <a:pt x="161033" y="97928"/>
                  </a:lnTo>
                  <a:lnTo>
                    <a:pt x="179582" y="107803"/>
                  </a:lnTo>
                  <a:lnTo>
                    <a:pt x="179582" y="106157"/>
                  </a:lnTo>
                  <a:lnTo>
                    <a:pt x="176209" y="102866"/>
                  </a:lnTo>
                  <a:lnTo>
                    <a:pt x="176209" y="94636"/>
                  </a:lnTo>
                  <a:lnTo>
                    <a:pt x="193072" y="92991"/>
                  </a:lnTo>
                  <a:lnTo>
                    <a:pt x="196444" y="89699"/>
                  </a:lnTo>
                  <a:lnTo>
                    <a:pt x="201503" y="92991"/>
                  </a:lnTo>
                  <a:lnTo>
                    <a:pt x="204875" y="91345"/>
                  </a:lnTo>
                  <a:lnTo>
                    <a:pt x="203189" y="89699"/>
                  </a:lnTo>
                  <a:lnTo>
                    <a:pt x="282441" y="91345"/>
                  </a:lnTo>
                  <a:lnTo>
                    <a:pt x="282441" y="94636"/>
                  </a:lnTo>
                  <a:lnTo>
                    <a:pt x="285814" y="94636"/>
                  </a:lnTo>
                  <a:lnTo>
                    <a:pt x="292559" y="91345"/>
                  </a:lnTo>
                  <a:lnTo>
                    <a:pt x="327970" y="88053"/>
                  </a:lnTo>
                  <a:lnTo>
                    <a:pt x="326283" y="94636"/>
                  </a:lnTo>
                  <a:lnTo>
                    <a:pt x="334714" y="104512"/>
                  </a:lnTo>
                  <a:lnTo>
                    <a:pt x="333028" y="106157"/>
                  </a:lnTo>
                  <a:lnTo>
                    <a:pt x="322911" y="101220"/>
                  </a:lnTo>
                  <a:lnTo>
                    <a:pt x="322911" y="104512"/>
                  </a:lnTo>
                  <a:lnTo>
                    <a:pt x="317852" y="109449"/>
                  </a:lnTo>
                  <a:lnTo>
                    <a:pt x="319538" y="116033"/>
                  </a:lnTo>
                  <a:lnTo>
                    <a:pt x="314480" y="119324"/>
                  </a:lnTo>
                  <a:lnTo>
                    <a:pt x="309421" y="134137"/>
                  </a:lnTo>
                  <a:lnTo>
                    <a:pt x="311107" y="140720"/>
                  </a:lnTo>
                  <a:lnTo>
                    <a:pt x="317852" y="145658"/>
                  </a:lnTo>
                  <a:lnTo>
                    <a:pt x="327970" y="147304"/>
                  </a:lnTo>
                  <a:lnTo>
                    <a:pt x="343145" y="145658"/>
                  </a:lnTo>
                  <a:lnTo>
                    <a:pt x="349890" y="150596"/>
                  </a:lnTo>
                  <a:lnTo>
                    <a:pt x="349890" y="163763"/>
                  </a:lnTo>
                  <a:lnTo>
                    <a:pt x="341459" y="170346"/>
                  </a:lnTo>
                  <a:lnTo>
                    <a:pt x="338087" y="167054"/>
                  </a:lnTo>
                  <a:lnTo>
                    <a:pt x="334714" y="180221"/>
                  </a:lnTo>
                  <a:lnTo>
                    <a:pt x="344832" y="196680"/>
                  </a:lnTo>
                  <a:lnTo>
                    <a:pt x="375184" y="211493"/>
                  </a:lnTo>
                  <a:lnTo>
                    <a:pt x="363380" y="221368"/>
                  </a:lnTo>
                  <a:lnTo>
                    <a:pt x="371811" y="239472"/>
                  </a:lnTo>
                  <a:lnTo>
                    <a:pt x="370125" y="239472"/>
                  </a:lnTo>
                  <a:lnTo>
                    <a:pt x="371811" y="242764"/>
                  </a:lnTo>
                  <a:lnTo>
                    <a:pt x="366753" y="246056"/>
                  </a:lnTo>
                  <a:lnTo>
                    <a:pt x="375184" y="255931"/>
                  </a:lnTo>
                  <a:lnTo>
                    <a:pt x="368439" y="259223"/>
                  </a:lnTo>
                  <a:lnTo>
                    <a:pt x="371811" y="264160"/>
                  </a:lnTo>
                  <a:lnTo>
                    <a:pt x="361694" y="270744"/>
                  </a:lnTo>
                  <a:lnTo>
                    <a:pt x="341459" y="269098"/>
                  </a:lnTo>
                  <a:lnTo>
                    <a:pt x="324597" y="272390"/>
                  </a:lnTo>
                  <a:lnTo>
                    <a:pt x="295931" y="257577"/>
                  </a:lnTo>
                  <a:lnTo>
                    <a:pt x="284128" y="257577"/>
                  </a:lnTo>
                  <a:lnTo>
                    <a:pt x="279069" y="259223"/>
                  </a:lnTo>
                  <a:lnTo>
                    <a:pt x="268951" y="272390"/>
                  </a:lnTo>
                  <a:lnTo>
                    <a:pt x="243658" y="269098"/>
                  </a:lnTo>
                  <a:lnTo>
                    <a:pt x="233541" y="270744"/>
                  </a:lnTo>
                  <a:lnTo>
                    <a:pt x="225110" y="269098"/>
                  </a:lnTo>
                  <a:lnTo>
                    <a:pt x="196444" y="275681"/>
                  </a:lnTo>
                  <a:lnTo>
                    <a:pt x="164406" y="255931"/>
                  </a:lnTo>
                  <a:lnTo>
                    <a:pt x="147543" y="239472"/>
                  </a:lnTo>
                  <a:lnTo>
                    <a:pt x="145857" y="231243"/>
                  </a:lnTo>
                  <a:lnTo>
                    <a:pt x="159347" y="227951"/>
                  </a:lnTo>
                  <a:lnTo>
                    <a:pt x="157661" y="224660"/>
                  </a:lnTo>
                  <a:lnTo>
                    <a:pt x="159347" y="218076"/>
                  </a:lnTo>
                  <a:lnTo>
                    <a:pt x="145857" y="211493"/>
                  </a:lnTo>
                  <a:lnTo>
                    <a:pt x="125622" y="195034"/>
                  </a:lnTo>
                  <a:lnTo>
                    <a:pt x="122250" y="195034"/>
                  </a:lnTo>
                  <a:lnTo>
                    <a:pt x="115505" y="190096"/>
                  </a:lnTo>
                  <a:lnTo>
                    <a:pt x="107074" y="181867"/>
                  </a:lnTo>
                  <a:lnTo>
                    <a:pt x="105388" y="170346"/>
                  </a:lnTo>
                  <a:lnTo>
                    <a:pt x="103701" y="170346"/>
                  </a:lnTo>
                  <a:lnTo>
                    <a:pt x="100329" y="176930"/>
                  </a:lnTo>
                  <a:lnTo>
                    <a:pt x="90212" y="170346"/>
                  </a:lnTo>
                  <a:lnTo>
                    <a:pt x="85153" y="165409"/>
                  </a:lnTo>
                  <a:lnTo>
                    <a:pt x="85153" y="153888"/>
                  </a:lnTo>
                  <a:lnTo>
                    <a:pt x="81781" y="160471"/>
                  </a:lnTo>
                  <a:lnTo>
                    <a:pt x="78408" y="160471"/>
                  </a:lnTo>
                  <a:lnTo>
                    <a:pt x="10959" y="109449"/>
                  </a:lnTo>
                  <a:lnTo>
                    <a:pt x="9273" y="104512"/>
                  </a:lnTo>
                  <a:lnTo>
                    <a:pt x="5901" y="104512"/>
                  </a:lnTo>
                  <a:lnTo>
                    <a:pt x="4214" y="35385"/>
                  </a:lnTo>
                  <a:lnTo>
                    <a:pt x="22763" y="37031"/>
                  </a:lnTo>
                  <a:lnTo>
                    <a:pt x="31194" y="37031"/>
                  </a:lnTo>
                  <a:lnTo>
                    <a:pt x="51429" y="25510"/>
                  </a:lnTo>
                  <a:lnTo>
                    <a:pt x="49742" y="20573"/>
                  </a:lnTo>
                  <a:lnTo>
                    <a:pt x="63232" y="9052"/>
                  </a:lnTo>
                  <a:lnTo>
                    <a:pt x="86839" y="4114"/>
                  </a:lnTo>
                  <a:lnTo>
                    <a:pt x="95270" y="3703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8" name="Zaanstad">
              <a:extLst>
                <a:ext uri="{FF2B5EF4-FFF2-40B4-BE49-F238E27FC236}">
                  <a16:creationId xmlns:a16="http://schemas.microsoft.com/office/drawing/2014/main" id="{DFFC4345-71D8-4E91-96D1-93A164BC07D3}"/>
                </a:ext>
              </a:extLst>
            </p:cNvPr>
            <p:cNvSpPr/>
            <p:nvPr/>
          </p:nvSpPr>
          <p:spPr>
            <a:xfrm>
              <a:off x="5487842" y="2825241"/>
              <a:ext cx="197591" cy="178201"/>
            </a:xfrm>
            <a:custGeom>
              <a:avLst/>
              <a:gdLst/>
              <a:ahLst/>
              <a:cxnLst/>
              <a:rect l="l" t="t" r="r" b="b"/>
              <a:pathLst>
                <a:path w="280996" h="251460" extrusionOk="0">
                  <a:moveTo>
                    <a:pt x="128995" y="5760"/>
                  </a:moveTo>
                  <a:lnTo>
                    <a:pt x="135740" y="10697"/>
                  </a:lnTo>
                  <a:lnTo>
                    <a:pt x="139112" y="7406"/>
                  </a:lnTo>
                  <a:lnTo>
                    <a:pt x="144171" y="9052"/>
                  </a:lnTo>
                  <a:lnTo>
                    <a:pt x="144171" y="7406"/>
                  </a:lnTo>
                  <a:lnTo>
                    <a:pt x="179582" y="9052"/>
                  </a:lnTo>
                  <a:lnTo>
                    <a:pt x="177895" y="27156"/>
                  </a:lnTo>
                  <a:lnTo>
                    <a:pt x="184640" y="38677"/>
                  </a:lnTo>
                  <a:lnTo>
                    <a:pt x="186327" y="63365"/>
                  </a:lnTo>
                  <a:lnTo>
                    <a:pt x="182954" y="76532"/>
                  </a:lnTo>
                  <a:lnTo>
                    <a:pt x="191385" y="76532"/>
                  </a:lnTo>
                  <a:lnTo>
                    <a:pt x="218365" y="97928"/>
                  </a:lnTo>
                  <a:lnTo>
                    <a:pt x="250403" y="104512"/>
                  </a:lnTo>
                  <a:lnTo>
                    <a:pt x="250403" y="111095"/>
                  </a:lnTo>
                  <a:lnTo>
                    <a:pt x="257148" y="122616"/>
                  </a:lnTo>
                  <a:lnTo>
                    <a:pt x="272324" y="127554"/>
                  </a:lnTo>
                  <a:lnTo>
                    <a:pt x="267265" y="150596"/>
                  </a:lnTo>
                  <a:lnTo>
                    <a:pt x="260520" y="160471"/>
                  </a:lnTo>
                  <a:lnTo>
                    <a:pt x="260520" y="168700"/>
                  </a:lnTo>
                  <a:lnTo>
                    <a:pt x="258834" y="170346"/>
                  </a:lnTo>
                  <a:lnTo>
                    <a:pt x="274010" y="195034"/>
                  </a:lnTo>
                  <a:lnTo>
                    <a:pt x="287500" y="226306"/>
                  </a:lnTo>
                  <a:lnTo>
                    <a:pt x="280755" y="237827"/>
                  </a:lnTo>
                  <a:lnTo>
                    <a:pt x="282441" y="247702"/>
                  </a:lnTo>
                  <a:lnTo>
                    <a:pt x="277383" y="257577"/>
                  </a:lnTo>
                  <a:lnTo>
                    <a:pt x="69977" y="213138"/>
                  </a:lnTo>
                  <a:lnTo>
                    <a:pt x="56487" y="206555"/>
                  </a:lnTo>
                  <a:lnTo>
                    <a:pt x="4214" y="160471"/>
                  </a:lnTo>
                  <a:lnTo>
                    <a:pt x="19390" y="144012"/>
                  </a:lnTo>
                  <a:lnTo>
                    <a:pt x="17704" y="142367"/>
                  </a:lnTo>
                  <a:lnTo>
                    <a:pt x="34566" y="129199"/>
                  </a:lnTo>
                  <a:lnTo>
                    <a:pt x="39625" y="124262"/>
                  </a:lnTo>
                  <a:lnTo>
                    <a:pt x="42997" y="101220"/>
                  </a:lnTo>
                  <a:lnTo>
                    <a:pt x="51429" y="97928"/>
                  </a:lnTo>
                  <a:lnTo>
                    <a:pt x="54801" y="81470"/>
                  </a:lnTo>
                  <a:lnTo>
                    <a:pt x="63232" y="71594"/>
                  </a:lnTo>
                  <a:lnTo>
                    <a:pt x="75036" y="66657"/>
                  </a:lnTo>
                  <a:lnTo>
                    <a:pt x="90212" y="63365"/>
                  </a:lnTo>
                  <a:lnTo>
                    <a:pt x="120564" y="35385"/>
                  </a:lnTo>
                  <a:lnTo>
                    <a:pt x="122250" y="28802"/>
                  </a:lnTo>
                  <a:lnTo>
                    <a:pt x="117191" y="18927"/>
                  </a:lnTo>
                  <a:lnTo>
                    <a:pt x="115505" y="12343"/>
                  </a:lnTo>
                  <a:lnTo>
                    <a:pt x="118878" y="5760"/>
                  </a:lnTo>
                  <a:lnTo>
                    <a:pt x="122250" y="4114"/>
                  </a:lnTo>
                  <a:lnTo>
                    <a:pt x="128995" y="5760"/>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59" name="Westerwolde">
              <a:extLst>
                <a:ext uri="{FF2B5EF4-FFF2-40B4-BE49-F238E27FC236}">
                  <a16:creationId xmlns:a16="http://schemas.microsoft.com/office/drawing/2014/main" id="{33AC4624-F55D-413B-BA00-DE0071E6AFF0}"/>
                </a:ext>
              </a:extLst>
            </p:cNvPr>
            <p:cNvSpPr/>
            <p:nvPr/>
          </p:nvSpPr>
          <p:spPr>
            <a:xfrm>
              <a:off x="7884993" y="1776110"/>
              <a:ext cx="240792" cy="519257"/>
            </a:xfrm>
            <a:custGeom>
              <a:avLst/>
              <a:gdLst>
                <a:gd name="connsiteX0" fmla="*/ 99210 w 208811"/>
                <a:gd name="connsiteY0" fmla="*/ 180159 h 533743"/>
                <a:gd name="connsiteX1" fmla="*/ 99214 w 208811"/>
                <a:gd name="connsiteY1" fmla="*/ 180166 h 533743"/>
                <a:gd name="connsiteX2" fmla="*/ 99215 w 208811"/>
                <a:gd name="connsiteY2" fmla="*/ 180166 h 533743"/>
                <a:gd name="connsiteX3" fmla="*/ 104983 w 208811"/>
                <a:gd name="connsiteY3" fmla="*/ 179040 h 533743"/>
                <a:gd name="connsiteX4" fmla="*/ 104982 w 208811"/>
                <a:gd name="connsiteY4" fmla="*/ 179040 h 533743"/>
                <a:gd name="connsiteX5" fmla="*/ 118826 w 208811"/>
                <a:gd name="connsiteY5" fmla="*/ 201561 h 533743"/>
                <a:gd name="connsiteX6" fmla="*/ 118827 w 208811"/>
                <a:gd name="connsiteY6" fmla="*/ 201561 h 533743"/>
                <a:gd name="connsiteX7" fmla="*/ 72680 w 208811"/>
                <a:gd name="connsiteY7" fmla="*/ 166654 h 533743"/>
                <a:gd name="connsiteX8" fmla="*/ 72680 w 208811"/>
                <a:gd name="connsiteY8" fmla="*/ 172284 h 533743"/>
                <a:gd name="connsiteX9" fmla="*/ 73699 w 208811"/>
                <a:gd name="connsiteY9" fmla="*/ 172616 h 533743"/>
                <a:gd name="connsiteX10" fmla="*/ 72681 w 208811"/>
                <a:gd name="connsiteY10" fmla="*/ 166654 h 533743"/>
                <a:gd name="connsiteX11" fmla="*/ 88826 w 208811"/>
                <a:gd name="connsiteY11" fmla="*/ 165531 h 533743"/>
                <a:gd name="connsiteX12" fmla="*/ 74717 w 208811"/>
                <a:gd name="connsiteY12" fmla="*/ 172947 h 533743"/>
                <a:gd name="connsiteX13" fmla="*/ 76141 w 208811"/>
                <a:gd name="connsiteY13" fmla="*/ 173410 h 533743"/>
                <a:gd name="connsiteX14" fmla="*/ 88832 w 208811"/>
                <a:gd name="connsiteY14" fmla="*/ 165528 h 533743"/>
                <a:gd name="connsiteX15" fmla="*/ 88831 w 208811"/>
                <a:gd name="connsiteY15" fmla="*/ 165528 h 533743"/>
                <a:gd name="connsiteX16" fmla="*/ 88837 w 208811"/>
                <a:gd name="connsiteY16" fmla="*/ 165535 h 533743"/>
                <a:gd name="connsiteX17" fmla="*/ 129210 w 208811"/>
                <a:gd name="connsiteY17" fmla="*/ 0 h 533743"/>
                <a:gd name="connsiteX18" fmla="*/ 158052 w 208811"/>
                <a:gd name="connsiteY18" fmla="*/ 20269 h 533743"/>
                <a:gd name="connsiteX19" fmla="*/ 161513 w 208811"/>
                <a:gd name="connsiteY19" fmla="*/ 12387 h 533743"/>
                <a:gd name="connsiteX20" fmla="*/ 167281 w 208811"/>
                <a:gd name="connsiteY20" fmla="*/ 9008 h 533743"/>
                <a:gd name="connsiteX21" fmla="*/ 174203 w 208811"/>
                <a:gd name="connsiteY21" fmla="*/ 7882 h 533743"/>
                <a:gd name="connsiteX22" fmla="*/ 174203 w 208811"/>
                <a:gd name="connsiteY22" fmla="*/ 20269 h 533743"/>
                <a:gd name="connsiteX23" fmla="*/ 168434 w 208811"/>
                <a:gd name="connsiteY23" fmla="*/ 32655 h 533743"/>
                <a:gd name="connsiteX24" fmla="*/ 164973 w 208811"/>
                <a:gd name="connsiteY24" fmla="*/ 36033 h 533743"/>
                <a:gd name="connsiteX25" fmla="*/ 163820 w 208811"/>
                <a:gd name="connsiteY25" fmla="*/ 36033 h 533743"/>
                <a:gd name="connsiteX26" fmla="*/ 164973 w 208811"/>
                <a:gd name="connsiteY26" fmla="*/ 41663 h 533743"/>
                <a:gd name="connsiteX27" fmla="*/ 166127 w 208811"/>
                <a:gd name="connsiteY27" fmla="*/ 54049 h 533743"/>
                <a:gd name="connsiteX28" fmla="*/ 171895 w 208811"/>
                <a:gd name="connsiteY28" fmla="*/ 59680 h 533743"/>
                <a:gd name="connsiteX29" fmla="*/ 168434 w 208811"/>
                <a:gd name="connsiteY29" fmla="*/ 63058 h 533743"/>
                <a:gd name="connsiteX30" fmla="*/ 189200 w 208811"/>
                <a:gd name="connsiteY30" fmla="*/ 76571 h 533743"/>
                <a:gd name="connsiteX31" fmla="*/ 186893 w 208811"/>
                <a:gd name="connsiteY31" fmla="*/ 129494 h 533743"/>
                <a:gd name="connsiteX32" fmla="*/ 193815 w 208811"/>
                <a:gd name="connsiteY32" fmla="*/ 172284 h 533743"/>
                <a:gd name="connsiteX33" fmla="*/ 193814 w 208811"/>
                <a:gd name="connsiteY33" fmla="*/ 172284 h 533743"/>
                <a:gd name="connsiteX34" fmla="*/ 204197 w 208811"/>
                <a:gd name="connsiteY34" fmla="*/ 245477 h 533743"/>
                <a:gd name="connsiteX35" fmla="*/ 208811 w 208811"/>
                <a:gd name="connsiteY35" fmla="*/ 252233 h 533743"/>
                <a:gd name="connsiteX36" fmla="*/ 200736 w 208811"/>
                <a:gd name="connsiteY36" fmla="*/ 262367 h 533743"/>
                <a:gd name="connsiteX37" fmla="*/ 175355 w 208811"/>
                <a:gd name="connsiteY37" fmla="*/ 361459 h 533743"/>
                <a:gd name="connsiteX38" fmla="*/ 99214 w 208811"/>
                <a:gd name="connsiteY38" fmla="*/ 490953 h 533743"/>
                <a:gd name="connsiteX39" fmla="*/ 81909 w 208811"/>
                <a:gd name="connsiteY39" fmla="*/ 514601 h 533743"/>
                <a:gd name="connsiteX40" fmla="*/ 88831 w 208811"/>
                <a:gd name="connsiteY40" fmla="*/ 533743 h 533743"/>
                <a:gd name="connsiteX41" fmla="*/ 66911 w 208811"/>
                <a:gd name="connsiteY41" fmla="*/ 533743 h 533743"/>
                <a:gd name="connsiteX42" fmla="*/ 66911 w 208811"/>
                <a:gd name="connsiteY42" fmla="*/ 522483 h 533743"/>
                <a:gd name="connsiteX43" fmla="*/ 71526 w 208811"/>
                <a:gd name="connsiteY43" fmla="*/ 514601 h 533743"/>
                <a:gd name="connsiteX44" fmla="*/ 64604 w 208811"/>
                <a:gd name="connsiteY44" fmla="*/ 519105 h 533743"/>
                <a:gd name="connsiteX45" fmla="*/ 59990 w 208811"/>
                <a:gd name="connsiteY45" fmla="*/ 512349 h 533743"/>
                <a:gd name="connsiteX46" fmla="*/ 57682 w 208811"/>
                <a:gd name="connsiteY46" fmla="*/ 512349 h 533743"/>
                <a:gd name="connsiteX47" fmla="*/ 40377 w 208811"/>
                <a:gd name="connsiteY47" fmla="*/ 488702 h 533743"/>
                <a:gd name="connsiteX48" fmla="*/ 36916 w 208811"/>
                <a:gd name="connsiteY48" fmla="*/ 489828 h 533743"/>
                <a:gd name="connsiteX49" fmla="*/ 33455 w 208811"/>
                <a:gd name="connsiteY49" fmla="*/ 477441 h 533743"/>
                <a:gd name="connsiteX50" fmla="*/ 6921 w 208811"/>
                <a:gd name="connsiteY50" fmla="*/ 478567 h 533743"/>
                <a:gd name="connsiteX51" fmla="*/ 36916 w 208811"/>
                <a:gd name="connsiteY51" fmla="*/ 406501 h 533743"/>
                <a:gd name="connsiteX52" fmla="*/ 17304 w 208811"/>
                <a:gd name="connsiteY52" fmla="*/ 401996 h 533743"/>
                <a:gd name="connsiteX53" fmla="*/ 19612 w 208811"/>
                <a:gd name="connsiteY53" fmla="*/ 394114 h 533743"/>
                <a:gd name="connsiteX54" fmla="*/ 26533 w 208811"/>
                <a:gd name="connsiteY54" fmla="*/ 385106 h 533743"/>
                <a:gd name="connsiteX55" fmla="*/ 55375 w 208811"/>
                <a:gd name="connsiteY55" fmla="*/ 381728 h 533743"/>
                <a:gd name="connsiteX56" fmla="*/ 55375 w 208811"/>
                <a:gd name="connsiteY56" fmla="*/ 347947 h 533743"/>
                <a:gd name="connsiteX57" fmla="*/ 59990 w 208811"/>
                <a:gd name="connsiteY57" fmla="*/ 344568 h 533743"/>
                <a:gd name="connsiteX58" fmla="*/ 61143 w 208811"/>
                <a:gd name="connsiteY58" fmla="*/ 261241 h 533743"/>
                <a:gd name="connsiteX59" fmla="*/ 88831 w 208811"/>
                <a:gd name="connsiteY59" fmla="*/ 238720 h 533743"/>
                <a:gd name="connsiteX60" fmla="*/ 86524 w 208811"/>
                <a:gd name="connsiteY60" fmla="*/ 230838 h 533743"/>
                <a:gd name="connsiteX61" fmla="*/ 80755 w 208811"/>
                <a:gd name="connsiteY61" fmla="*/ 228586 h 533743"/>
                <a:gd name="connsiteX62" fmla="*/ 76141 w 208811"/>
                <a:gd name="connsiteY62" fmla="*/ 222956 h 533743"/>
                <a:gd name="connsiteX63" fmla="*/ 70373 w 208811"/>
                <a:gd name="connsiteY63" fmla="*/ 225208 h 533743"/>
                <a:gd name="connsiteX64" fmla="*/ 69218 w 208811"/>
                <a:gd name="connsiteY64" fmla="*/ 220704 h 533743"/>
                <a:gd name="connsiteX65" fmla="*/ 70373 w 208811"/>
                <a:gd name="connsiteY65" fmla="*/ 201561 h 533743"/>
                <a:gd name="connsiteX66" fmla="*/ 73834 w 208811"/>
                <a:gd name="connsiteY66" fmla="*/ 200435 h 533743"/>
                <a:gd name="connsiteX67" fmla="*/ 73834 w 208811"/>
                <a:gd name="connsiteY67" fmla="*/ 197057 h 533743"/>
                <a:gd name="connsiteX68" fmla="*/ 69218 w 208811"/>
                <a:gd name="connsiteY68" fmla="*/ 193679 h 533743"/>
                <a:gd name="connsiteX69" fmla="*/ 57682 w 208811"/>
                <a:gd name="connsiteY69" fmla="*/ 194805 h 533743"/>
                <a:gd name="connsiteX70" fmla="*/ 56529 w 208811"/>
                <a:gd name="connsiteY70" fmla="*/ 195931 h 533743"/>
                <a:gd name="connsiteX71" fmla="*/ 55375 w 208811"/>
                <a:gd name="connsiteY71" fmla="*/ 195931 h 533743"/>
                <a:gd name="connsiteX72" fmla="*/ 54222 w 208811"/>
                <a:gd name="connsiteY72" fmla="*/ 192553 h 533743"/>
                <a:gd name="connsiteX73" fmla="*/ 56529 w 208811"/>
                <a:gd name="connsiteY73" fmla="*/ 192553 h 533743"/>
                <a:gd name="connsiteX74" fmla="*/ 54222 w 208811"/>
                <a:gd name="connsiteY74" fmla="*/ 188048 h 533743"/>
                <a:gd name="connsiteX75" fmla="*/ 55375 w 208811"/>
                <a:gd name="connsiteY75" fmla="*/ 189175 h 533743"/>
                <a:gd name="connsiteX76" fmla="*/ 56529 w 208811"/>
                <a:gd name="connsiteY76" fmla="*/ 184671 h 533743"/>
                <a:gd name="connsiteX77" fmla="*/ 55375 w 208811"/>
                <a:gd name="connsiteY77" fmla="*/ 183545 h 533743"/>
                <a:gd name="connsiteX78" fmla="*/ 61143 w 208811"/>
                <a:gd name="connsiteY78" fmla="*/ 184671 h 533743"/>
                <a:gd name="connsiteX79" fmla="*/ 63450 w 208811"/>
                <a:gd name="connsiteY79" fmla="*/ 182418 h 533743"/>
                <a:gd name="connsiteX80" fmla="*/ 66911 w 208811"/>
                <a:gd name="connsiteY80" fmla="*/ 165528 h 533743"/>
                <a:gd name="connsiteX81" fmla="*/ 71918 w 208811"/>
                <a:gd name="connsiteY81" fmla="*/ 166505 h 533743"/>
                <a:gd name="connsiteX82" fmla="*/ 66913 w 208811"/>
                <a:gd name="connsiteY82" fmla="*/ 165528 h 533743"/>
                <a:gd name="connsiteX83" fmla="*/ 55376 w 208811"/>
                <a:gd name="connsiteY83" fmla="*/ 156520 h 533743"/>
                <a:gd name="connsiteX84" fmla="*/ 54222 w 208811"/>
                <a:gd name="connsiteY84" fmla="*/ 157646 h 533743"/>
                <a:gd name="connsiteX85" fmla="*/ 51915 w 208811"/>
                <a:gd name="connsiteY85" fmla="*/ 156520 h 533743"/>
                <a:gd name="connsiteX86" fmla="*/ 46146 w 208811"/>
                <a:gd name="connsiteY86" fmla="*/ 158772 h 533743"/>
                <a:gd name="connsiteX87" fmla="*/ 46146 w 208811"/>
                <a:gd name="connsiteY87" fmla="*/ 157646 h 533743"/>
                <a:gd name="connsiteX88" fmla="*/ 19612 w 208811"/>
                <a:gd name="connsiteY88" fmla="*/ 161023 h 533743"/>
                <a:gd name="connsiteX89" fmla="*/ 18459 w 208811"/>
                <a:gd name="connsiteY89" fmla="*/ 157646 h 533743"/>
                <a:gd name="connsiteX90" fmla="*/ 14998 w 208811"/>
                <a:gd name="connsiteY90" fmla="*/ 157646 h 533743"/>
                <a:gd name="connsiteX91" fmla="*/ 3461 w 208811"/>
                <a:gd name="connsiteY91" fmla="*/ 149763 h 533743"/>
                <a:gd name="connsiteX92" fmla="*/ 0 w 208811"/>
                <a:gd name="connsiteY92" fmla="*/ 149763 h 533743"/>
                <a:gd name="connsiteX93" fmla="*/ 26534 w 208811"/>
                <a:gd name="connsiteY93" fmla="*/ 100218 h 533743"/>
                <a:gd name="connsiteX94" fmla="*/ 13844 w 208811"/>
                <a:gd name="connsiteY94" fmla="*/ 88957 h 533743"/>
                <a:gd name="connsiteX95" fmla="*/ 11537 w 208811"/>
                <a:gd name="connsiteY95" fmla="*/ 83327 h 533743"/>
                <a:gd name="connsiteX96" fmla="*/ 9229 w 208811"/>
                <a:gd name="connsiteY96" fmla="*/ 82201 h 533743"/>
                <a:gd name="connsiteX97" fmla="*/ 12691 w 208811"/>
                <a:gd name="connsiteY97" fmla="*/ 78822 h 533743"/>
                <a:gd name="connsiteX98" fmla="*/ 17305 w 208811"/>
                <a:gd name="connsiteY98" fmla="*/ 76571 h 533743"/>
                <a:gd name="connsiteX99" fmla="*/ 18459 w 208811"/>
                <a:gd name="connsiteY99" fmla="*/ 69815 h 533743"/>
                <a:gd name="connsiteX100" fmla="*/ 34610 w 208811"/>
                <a:gd name="connsiteY100" fmla="*/ 52924 h 533743"/>
                <a:gd name="connsiteX101" fmla="*/ 64605 w 208811"/>
                <a:gd name="connsiteY101" fmla="*/ 29277 h 533743"/>
                <a:gd name="connsiteX102" fmla="*/ 71527 w 208811"/>
                <a:gd name="connsiteY102" fmla="*/ 27025 h 533743"/>
                <a:gd name="connsiteX103" fmla="*/ 83064 w 208811"/>
                <a:gd name="connsiteY103" fmla="*/ 29277 h 533743"/>
                <a:gd name="connsiteX104" fmla="*/ 88832 w 208811"/>
                <a:gd name="connsiteY104" fmla="*/ 28151 h 533743"/>
                <a:gd name="connsiteX105" fmla="*/ 109598 w 208811"/>
                <a:gd name="connsiteY105" fmla="*/ 15764 h 533743"/>
                <a:gd name="connsiteX106" fmla="*/ 123441 w 208811"/>
                <a:gd name="connsiteY106" fmla="*/ 11260 h 533743"/>
                <a:gd name="connsiteX107" fmla="*/ 125749 w 208811"/>
                <a:gd name="connsiteY107" fmla="*/ 7882 h 533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08811" h="533743">
                  <a:moveTo>
                    <a:pt x="99210" y="180159"/>
                  </a:moveTo>
                  <a:lnTo>
                    <a:pt x="99214" y="180166"/>
                  </a:lnTo>
                  <a:lnTo>
                    <a:pt x="99215" y="180166"/>
                  </a:lnTo>
                  <a:close/>
                  <a:moveTo>
                    <a:pt x="104983" y="179040"/>
                  </a:moveTo>
                  <a:lnTo>
                    <a:pt x="104982" y="179040"/>
                  </a:lnTo>
                  <a:lnTo>
                    <a:pt x="118826" y="201561"/>
                  </a:lnTo>
                  <a:lnTo>
                    <a:pt x="118827" y="201561"/>
                  </a:lnTo>
                  <a:close/>
                  <a:moveTo>
                    <a:pt x="72680" y="166654"/>
                  </a:moveTo>
                  <a:lnTo>
                    <a:pt x="72680" y="172284"/>
                  </a:lnTo>
                  <a:lnTo>
                    <a:pt x="73699" y="172616"/>
                  </a:lnTo>
                  <a:lnTo>
                    <a:pt x="72681" y="166654"/>
                  </a:lnTo>
                  <a:close/>
                  <a:moveTo>
                    <a:pt x="88826" y="165531"/>
                  </a:moveTo>
                  <a:lnTo>
                    <a:pt x="74717" y="172947"/>
                  </a:lnTo>
                  <a:lnTo>
                    <a:pt x="76141" y="173410"/>
                  </a:lnTo>
                  <a:close/>
                  <a:moveTo>
                    <a:pt x="88832" y="165528"/>
                  </a:moveTo>
                  <a:lnTo>
                    <a:pt x="88831" y="165528"/>
                  </a:lnTo>
                  <a:lnTo>
                    <a:pt x="88837" y="165535"/>
                  </a:lnTo>
                  <a:close/>
                  <a:moveTo>
                    <a:pt x="129210" y="0"/>
                  </a:moveTo>
                  <a:lnTo>
                    <a:pt x="158052" y="20269"/>
                  </a:lnTo>
                  <a:lnTo>
                    <a:pt x="161513" y="12387"/>
                  </a:lnTo>
                  <a:lnTo>
                    <a:pt x="167281" y="9008"/>
                  </a:lnTo>
                  <a:lnTo>
                    <a:pt x="174203" y="7882"/>
                  </a:lnTo>
                  <a:lnTo>
                    <a:pt x="174203" y="20269"/>
                  </a:lnTo>
                  <a:lnTo>
                    <a:pt x="168434" y="32655"/>
                  </a:lnTo>
                  <a:lnTo>
                    <a:pt x="164973" y="36033"/>
                  </a:lnTo>
                  <a:lnTo>
                    <a:pt x="163820" y="36033"/>
                  </a:lnTo>
                  <a:lnTo>
                    <a:pt x="164973" y="41663"/>
                  </a:lnTo>
                  <a:lnTo>
                    <a:pt x="166127" y="54049"/>
                  </a:lnTo>
                  <a:lnTo>
                    <a:pt x="171895" y="59680"/>
                  </a:lnTo>
                  <a:lnTo>
                    <a:pt x="168434" y="63058"/>
                  </a:lnTo>
                  <a:lnTo>
                    <a:pt x="189200" y="76571"/>
                  </a:lnTo>
                  <a:lnTo>
                    <a:pt x="186893" y="129494"/>
                  </a:lnTo>
                  <a:lnTo>
                    <a:pt x="193815" y="172284"/>
                  </a:lnTo>
                  <a:lnTo>
                    <a:pt x="193814" y="172284"/>
                  </a:lnTo>
                  <a:lnTo>
                    <a:pt x="204197" y="245477"/>
                  </a:lnTo>
                  <a:lnTo>
                    <a:pt x="208811" y="252233"/>
                  </a:lnTo>
                  <a:lnTo>
                    <a:pt x="200736" y="262367"/>
                  </a:lnTo>
                  <a:lnTo>
                    <a:pt x="175355" y="361459"/>
                  </a:lnTo>
                  <a:lnTo>
                    <a:pt x="99214" y="490953"/>
                  </a:lnTo>
                  <a:lnTo>
                    <a:pt x="81909" y="514601"/>
                  </a:lnTo>
                  <a:lnTo>
                    <a:pt x="88831" y="533743"/>
                  </a:lnTo>
                  <a:lnTo>
                    <a:pt x="66911" y="533743"/>
                  </a:lnTo>
                  <a:lnTo>
                    <a:pt x="66911" y="522483"/>
                  </a:lnTo>
                  <a:lnTo>
                    <a:pt x="71526" y="514601"/>
                  </a:lnTo>
                  <a:lnTo>
                    <a:pt x="64604" y="519105"/>
                  </a:lnTo>
                  <a:lnTo>
                    <a:pt x="59990" y="512349"/>
                  </a:lnTo>
                  <a:lnTo>
                    <a:pt x="57682" y="512349"/>
                  </a:lnTo>
                  <a:lnTo>
                    <a:pt x="40377" y="488702"/>
                  </a:lnTo>
                  <a:lnTo>
                    <a:pt x="36916" y="489828"/>
                  </a:lnTo>
                  <a:lnTo>
                    <a:pt x="33455" y="477441"/>
                  </a:lnTo>
                  <a:lnTo>
                    <a:pt x="6921" y="478567"/>
                  </a:lnTo>
                  <a:lnTo>
                    <a:pt x="36916" y="406501"/>
                  </a:lnTo>
                  <a:lnTo>
                    <a:pt x="17304" y="401996"/>
                  </a:lnTo>
                  <a:lnTo>
                    <a:pt x="19612" y="394114"/>
                  </a:lnTo>
                  <a:lnTo>
                    <a:pt x="26533" y="385106"/>
                  </a:lnTo>
                  <a:lnTo>
                    <a:pt x="55375" y="381728"/>
                  </a:lnTo>
                  <a:lnTo>
                    <a:pt x="55375" y="347947"/>
                  </a:lnTo>
                  <a:lnTo>
                    <a:pt x="59990" y="344568"/>
                  </a:lnTo>
                  <a:lnTo>
                    <a:pt x="61143" y="261241"/>
                  </a:lnTo>
                  <a:lnTo>
                    <a:pt x="88831" y="238720"/>
                  </a:lnTo>
                  <a:lnTo>
                    <a:pt x="86524" y="230838"/>
                  </a:lnTo>
                  <a:lnTo>
                    <a:pt x="80755" y="228586"/>
                  </a:lnTo>
                  <a:lnTo>
                    <a:pt x="76141" y="222956"/>
                  </a:lnTo>
                  <a:lnTo>
                    <a:pt x="70373" y="225208"/>
                  </a:lnTo>
                  <a:lnTo>
                    <a:pt x="69218" y="220704"/>
                  </a:lnTo>
                  <a:lnTo>
                    <a:pt x="70373" y="201561"/>
                  </a:lnTo>
                  <a:lnTo>
                    <a:pt x="73834" y="200435"/>
                  </a:lnTo>
                  <a:lnTo>
                    <a:pt x="73834" y="197057"/>
                  </a:lnTo>
                  <a:lnTo>
                    <a:pt x="69218" y="193679"/>
                  </a:lnTo>
                  <a:lnTo>
                    <a:pt x="57682" y="194805"/>
                  </a:lnTo>
                  <a:lnTo>
                    <a:pt x="56529" y="195931"/>
                  </a:lnTo>
                  <a:lnTo>
                    <a:pt x="55375" y="195931"/>
                  </a:lnTo>
                  <a:lnTo>
                    <a:pt x="54222" y="192553"/>
                  </a:lnTo>
                  <a:lnTo>
                    <a:pt x="56529" y="192553"/>
                  </a:lnTo>
                  <a:lnTo>
                    <a:pt x="54222" y="188048"/>
                  </a:lnTo>
                  <a:lnTo>
                    <a:pt x="55375" y="189175"/>
                  </a:lnTo>
                  <a:lnTo>
                    <a:pt x="56529" y="184671"/>
                  </a:lnTo>
                  <a:lnTo>
                    <a:pt x="55375" y="183545"/>
                  </a:lnTo>
                  <a:lnTo>
                    <a:pt x="61143" y="184671"/>
                  </a:lnTo>
                  <a:lnTo>
                    <a:pt x="63450" y="182418"/>
                  </a:lnTo>
                  <a:lnTo>
                    <a:pt x="66911" y="165528"/>
                  </a:lnTo>
                  <a:lnTo>
                    <a:pt x="71918" y="166505"/>
                  </a:lnTo>
                  <a:lnTo>
                    <a:pt x="66913" y="165528"/>
                  </a:lnTo>
                  <a:lnTo>
                    <a:pt x="55376" y="156520"/>
                  </a:lnTo>
                  <a:lnTo>
                    <a:pt x="54222" y="157646"/>
                  </a:lnTo>
                  <a:lnTo>
                    <a:pt x="51915" y="156520"/>
                  </a:lnTo>
                  <a:lnTo>
                    <a:pt x="46146" y="158772"/>
                  </a:lnTo>
                  <a:lnTo>
                    <a:pt x="46146" y="157646"/>
                  </a:lnTo>
                  <a:lnTo>
                    <a:pt x="19612" y="161023"/>
                  </a:lnTo>
                  <a:lnTo>
                    <a:pt x="18459" y="157646"/>
                  </a:lnTo>
                  <a:lnTo>
                    <a:pt x="14998" y="157646"/>
                  </a:lnTo>
                  <a:lnTo>
                    <a:pt x="3461" y="149763"/>
                  </a:lnTo>
                  <a:lnTo>
                    <a:pt x="0" y="149763"/>
                  </a:lnTo>
                  <a:lnTo>
                    <a:pt x="26534" y="100218"/>
                  </a:lnTo>
                  <a:lnTo>
                    <a:pt x="13844" y="88957"/>
                  </a:lnTo>
                  <a:lnTo>
                    <a:pt x="11537" y="83327"/>
                  </a:lnTo>
                  <a:lnTo>
                    <a:pt x="9229" y="82201"/>
                  </a:lnTo>
                  <a:lnTo>
                    <a:pt x="12691" y="78822"/>
                  </a:lnTo>
                  <a:lnTo>
                    <a:pt x="17305" y="76571"/>
                  </a:lnTo>
                  <a:lnTo>
                    <a:pt x="18459" y="69815"/>
                  </a:lnTo>
                  <a:lnTo>
                    <a:pt x="34610" y="52924"/>
                  </a:lnTo>
                  <a:lnTo>
                    <a:pt x="64605" y="29277"/>
                  </a:lnTo>
                  <a:lnTo>
                    <a:pt x="71527" y="27025"/>
                  </a:lnTo>
                  <a:lnTo>
                    <a:pt x="83064" y="29277"/>
                  </a:lnTo>
                  <a:lnTo>
                    <a:pt x="88832" y="28151"/>
                  </a:lnTo>
                  <a:lnTo>
                    <a:pt x="109598" y="15764"/>
                  </a:lnTo>
                  <a:lnTo>
                    <a:pt x="123441" y="11260"/>
                  </a:lnTo>
                  <a:lnTo>
                    <a:pt x="125749" y="788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0" name="Veenendaal">
              <a:extLst>
                <a:ext uri="{FF2B5EF4-FFF2-40B4-BE49-F238E27FC236}">
                  <a16:creationId xmlns:a16="http://schemas.microsoft.com/office/drawing/2014/main" id="{554CE0EE-B1AF-41A5-9CF7-1912CE5E8AD5}"/>
                </a:ext>
              </a:extLst>
            </p:cNvPr>
            <p:cNvSpPr/>
            <p:nvPr/>
          </p:nvSpPr>
          <p:spPr>
            <a:xfrm>
              <a:off x="6368605" y="3601596"/>
              <a:ext cx="87569" cy="91222"/>
            </a:xfrm>
            <a:custGeom>
              <a:avLst/>
              <a:gdLst/>
              <a:ahLst/>
              <a:cxnLst/>
              <a:rect l="l" t="t" r="r" b="b"/>
              <a:pathLst>
                <a:path w="117081" h="125730" extrusionOk="0">
                  <a:moveTo>
                    <a:pt x="63232" y="4114"/>
                  </a:moveTo>
                  <a:lnTo>
                    <a:pt x="91898" y="7405"/>
                  </a:lnTo>
                  <a:lnTo>
                    <a:pt x="91898" y="18927"/>
                  </a:lnTo>
                  <a:lnTo>
                    <a:pt x="86839" y="25510"/>
                  </a:lnTo>
                  <a:lnTo>
                    <a:pt x="122250" y="40323"/>
                  </a:lnTo>
                  <a:lnTo>
                    <a:pt x="120564" y="48552"/>
                  </a:lnTo>
                  <a:lnTo>
                    <a:pt x="117191" y="48552"/>
                  </a:lnTo>
                  <a:lnTo>
                    <a:pt x="117191" y="53490"/>
                  </a:lnTo>
                  <a:lnTo>
                    <a:pt x="117191" y="73240"/>
                  </a:lnTo>
                  <a:lnTo>
                    <a:pt x="122250" y="74886"/>
                  </a:lnTo>
                  <a:lnTo>
                    <a:pt x="122250" y="86407"/>
                  </a:lnTo>
                  <a:lnTo>
                    <a:pt x="117191" y="84761"/>
                  </a:lnTo>
                  <a:lnTo>
                    <a:pt x="115505" y="94636"/>
                  </a:lnTo>
                  <a:lnTo>
                    <a:pt x="120564" y="101220"/>
                  </a:lnTo>
                  <a:lnTo>
                    <a:pt x="91898" y="130845"/>
                  </a:lnTo>
                  <a:lnTo>
                    <a:pt x="73349" y="114387"/>
                  </a:lnTo>
                  <a:lnTo>
                    <a:pt x="66605" y="125908"/>
                  </a:lnTo>
                  <a:lnTo>
                    <a:pt x="63232" y="124262"/>
                  </a:lnTo>
                  <a:lnTo>
                    <a:pt x="46370" y="106157"/>
                  </a:lnTo>
                  <a:lnTo>
                    <a:pt x="37939" y="102866"/>
                  </a:lnTo>
                  <a:lnTo>
                    <a:pt x="39625" y="99574"/>
                  </a:lnTo>
                  <a:lnTo>
                    <a:pt x="34566" y="97928"/>
                  </a:lnTo>
                  <a:lnTo>
                    <a:pt x="36252" y="92991"/>
                  </a:lnTo>
                  <a:lnTo>
                    <a:pt x="4214" y="78178"/>
                  </a:lnTo>
                  <a:lnTo>
                    <a:pt x="29507" y="27156"/>
                  </a:lnTo>
                  <a:lnTo>
                    <a:pt x="32880" y="28802"/>
                  </a:lnTo>
                  <a:lnTo>
                    <a:pt x="37939" y="23864"/>
                  </a:lnTo>
                  <a:lnTo>
                    <a:pt x="44684" y="23864"/>
                  </a:lnTo>
                  <a:lnTo>
                    <a:pt x="53115" y="4114"/>
                  </a:lnTo>
                  <a:lnTo>
                    <a:pt x="63232"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1" name="Bergeijk">
              <a:extLst>
                <a:ext uri="{FF2B5EF4-FFF2-40B4-BE49-F238E27FC236}">
                  <a16:creationId xmlns:a16="http://schemas.microsoft.com/office/drawing/2014/main" id="{82E70BE9-ACD7-42AF-B6D8-79527F4C752B}"/>
                </a:ext>
              </a:extLst>
            </p:cNvPr>
            <p:cNvSpPr/>
            <p:nvPr/>
          </p:nvSpPr>
          <p:spPr>
            <a:xfrm>
              <a:off x="6068837" y="4689645"/>
              <a:ext cx="216235" cy="197015"/>
            </a:xfrm>
            <a:custGeom>
              <a:avLst/>
              <a:gdLst/>
              <a:ahLst/>
              <a:cxnLst/>
              <a:rect l="l" t="t" r="r" b="b"/>
              <a:pathLst>
                <a:path w="327828" h="297180" extrusionOk="0">
                  <a:moveTo>
                    <a:pt x="299304" y="7406"/>
                  </a:moveTo>
                  <a:lnTo>
                    <a:pt x="302676" y="9052"/>
                  </a:lnTo>
                  <a:lnTo>
                    <a:pt x="307735" y="5760"/>
                  </a:lnTo>
                  <a:lnTo>
                    <a:pt x="314480" y="15635"/>
                  </a:lnTo>
                  <a:lnTo>
                    <a:pt x="311107" y="25510"/>
                  </a:lnTo>
                  <a:lnTo>
                    <a:pt x="302676" y="33740"/>
                  </a:lnTo>
                  <a:lnTo>
                    <a:pt x="306049" y="40323"/>
                  </a:lnTo>
                  <a:lnTo>
                    <a:pt x="304362" y="66657"/>
                  </a:lnTo>
                  <a:lnTo>
                    <a:pt x="311107" y="81470"/>
                  </a:lnTo>
                  <a:lnTo>
                    <a:pt x="309421" y="91345"/>
                  </a:lnTo>
                  <a:lnTo>
                    <a:pt x="312793" y="97928"/>
                  </a:lnTo>
                  <a:lnTo>
                    <a:pt x="307735" y="114387"/>
                  </a:lnTo>
                  <a:lnTo>
                    <a:pt x="309421" y="117679"/>
                  </a:lnTo>
                  <a:lnTo>
                    <a:pt x="311107" y="132492"/>
                  </a:lnTo>
                  <a:lnTo>
                    <a:pt x="326283" y="148950"/>
                  </a:lnTo>
                  <a:lnTo>
                    <a:pt x="314480" y="178576"/>
                  </a:lnTo>
                  <a:lnTo>
                    <a:pt x="311107" y="176930"/>
                  </a:lnTo>
                  <a:lnTo>
                    <a:pt x="304362" y="163763"/>
                  </a:lnTo>
                  <a:lnTo>
                    <a:pt x="299304" y="160471"/>
                  </a:lnTo>
                  <a:lnTo>
                    <a:pt x="295931" y="162117"/>
                  </a:lnTo>
                  <a:lnTo>
                    <a:pt x="294245" y="157179"/>
                  </a:lnTo>
                  <a:lnTo>
                    <a:pt x="275697" y="175284"/>
                  </a:lnTo>
                  <a:lnTo>
                    <a:pt x="270638" y="173638"/>
                  </a:lnTo>
                  <a:lnTo>
                    <a:pt x="265579" y="186805"/>
                  </a:lnTo>
                  <a:lnTo>
                    <a:pt x="267265" y="193389"/>
                  </a:lnTo>
                  <a:lnTo>
                    <a:pt x="263893" y="208201"/>
                  </a:lnTo>
                  <a:lnTo>
                    <a:pt x="265579" y="216431"/>
                  </a:lnTo>
                  <a:lnTo>
                    <a:pt x="262207" y="221368"/>
                  </a:lnTo>
                  <a:lnTo>
                    <a:pt x="270638" y="229597"/>
                  </a:lnTo>
                  <a:lnTo>
                    <a:pt x="255462" y="242764"/>
                  </a:lnTo>
                  <a:lnTo>
                    <a:pt x="300990" y="298724"/>
                  </a:lnTo>
                  <a:lnTo>
                    <a:pt x="191385" y="265806"/>
                  </a:lnTo>
                  <a:lnTo>
                    <a:pt x="191385" y="272390"/>
                  </a:lnTo>
                  <a:lnTo>
                    <a:pt x="186326" y="280619"/>
                  </a:lnTo>
                  <a:lnTo>
                    <a:pt x="184640" y="290495"/>
                  </a:lnTo>
                  <a:lnTo>
                    <a:pt x="176209" y="297078"/>
                  </a:lnTo>
                  <a:lnTo>
                    <a:pt x="144171" y="295432"/>
                  </a:lnTo>
                  <a:lnTo>
                    <a:pt x="113819" y="300370"/>
                  </a:lnTo>
                  <a:lnTo>
                    <a:pt x="61546" y="287203"/>
                  </a:lnTo>
                  <a:lnTo>
                    <a:pt x="22763" y="300370"/>
                  </a:lnTo>
                  <a:lnTo>
                    <a:pt x="4214" y="283911"/>
                  </a:lnTo>
                  <a:lnTo>
                    <a:pt x="29508" y="195034"/>
                  </a:lnTo>
                  <a:lnTo>
                    <a:pt x="27822" y="193389"/>
                  </a:lnTo>
                  <a:lnTo>
                    <a:pt x="32880" y="185159"/>
                  </a:lnTo>
                  <a:lnTo>
                    <a:pt x="56487" y="180221"/>
                  </a:lnTo>
                  <a:lnTo>
                    <a:pt x="56487" y="173638"/>
                  </a:lnTo>
                  <a:lnTo>
                    <a:pt x="63232" y="160471"/>
                  </a:lnTo>
                  <a:lnTo>
                    <a:pt x="107074" y="163763"/>
                  </a:lnTo>
                  <a:lnTo>
                    <a:pt x="132368" y="153888"/>
                  </a:lnTo>
                  <a:lnTo>
                    <a:pt x="134054" y="157179"/>
                  </a:lnTo>
                  <a:lnTo>
                    <a:pt x="145857" y="150596"/>
                  </a:lnTo>
                  <a:lnTo>
                    <a:pt x="154288" y="139075"/>
                  </a:lnTo>
                  <a:lnTo>
                    <a:pt x="152602" y="135783"/>
                  </a:lnTo>
                  <a:lnTo>
                    <a:pt x="155974" y="127554"/>
                  </a:lnTo>
                  <a:lnTo>
                    <a:pt x="159347" y="130846"/>
                  </a:lnTo>
                  <a:lnTo>
                    <a:pt x="193072" y="117679"/>
                  </a:lnTo>
                  <a:lnTo>
                    <a:pt x="184640" y="101220"/>
                  </a:lnTo>
                  <a:lnTo>
                    <a:pt x="191385" y="92991"/>
                  </a:lnTo>
                  <a:lnTo>
                    <a:pt x="184640" y="79824"/>
                  </a:lnTo>
                  <a:lnTo>
                    <a:pt x="194758" y="63365"/>
                  </a:lnTo>
                  <a:lnTo>
                    <a:pt x="228482" y="40323"/>
                  </a:lnTo>
                  <a:lnTo>
                    <a:pt x="240286" y="40323"/>
                  </a:lnTo>
                  <a:lnTo>
                    <a:pt x="257148" y="22219"/>
                  </a:lnTo>
                  <a:lnTo>
                    <a:pt x="265579" y="18927"/>
                  </a:lnTo>
                  <a:lnTo>
                    <a:pt x="268952" y="12344"/>
                  </a:lnTo>
                  <a:lnTo>
                    <a:pt x="287500" y="13989"/>
                  </a:lnTo>
                  <a:lnTo>
                    <a:pt x="294245" y="4114"/>
                  </a:lnTo>
                  <a:lnTo>
                    <a:pt x="299304"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2" name="Uithoorn">
              <a:extLst>
                <a:ext uri="{FF2B5EF4-FFF2-40B4-BE49-F238E27FC236}">
                  <a16:creationId xmlns:a16="http://schemas.microsoft.com/office/drawing/2014/main" id="{8B8158B1-103E-4E3D-BECC-F84E522C306B}"/>
                </a:ext>
              </a:extLst>
            </p:cNvPr>
            <p:cNvSpPr/>
            <p:nvPr/>
          </p:nvSpPr>
          <p:spPr>
            <a:xfrm>
              <a:off x="5533145" y="3257238"/>
              <a:ext cx="143532" cy="91163"/>
            </a:xfrm>
            <a:custGeom>
              <a:avLst/>
              <a:gdLst/>
              <a:ahLst/>
              <a:cxnLst/>
              <a:rect l="l" t="t" r="r" b="b"/>
              <a:pathLst>
                <a:path w="199038" h="137160" extrusionOk="0">
                  <a:moveTo>
                    <a:pt x="112133" y="4114"/>
                  </a:moveTo>
                  <a:lnTo>
                    <a:pt x="172837" y="30448"/>
                  </a:lnTo>
                  <a:lnTo>
                    <a:pt x="198130" y="50198"/>
                  </a:lnTo>
                  <a:lnTo>
                    <a:pt x="198130" y="58427"/>
                  </a:lnTo>
                  <a:lnTo>
                    <a:pt x="191385" y="55136"/>
                  </a:lnTo>
                  <a:lnTo>
                    <a:pt x="184640" y="66657"/>
                  </a:lnTo>
                  <a:lnTo>
                    <a:pt x="177895" y="66657"/>
                  </a:lnTo>
                  <a:lnTo>
                    <a:pt x="166092" y="76532"/>
                  </a:lnTo>
                  <a:lnTo>
                    <a:pt x="140798" y="84761"/>
                  </a:lnTo>
                  <a:lnTo>
                    <a:pt x="132367" y="86407"/>
                  </a:lnTo>
                  <a:lnTo>
                    <a:pt x="127309" y="83115"/>
                  </a:lnTo>
                  <a:lnTo>
                    <a:pt x="112133" y="86407"/>
                  </a:lnTo>
                  <a:lnTo>
                    <a:pt x="90212" y="81470"/>
                  </a:lnTo>
                  <a:lnTo>
                    <a:pt x="83467" y="84761"/>
                  </a:lnTo>
                  <a:lnTo>
                    <a:pt x="80094" y="91345"/>
                  </a:lnTo>
                  <a:lnTo>
                    <a:pt x="61546" y="106157"/>
                  </a:lnTo>
                  <a:lnTo>
                    <a:pt x="48056" y="107803"/>
                  </a:lnTo>
                  <a:lnTo>
                    <a:pt x="39625" y="114387"/>
                  </a:lnTo>
                  <a:lnTo>
                    <a:pt x="32880" y="114387"/>
                  </a:lnTo>
                  <a:lnTo>
                    <a:pt x="21076" y="134137"/>
                  </a:lnTo>
                  <a:lnTo>
                    <a:pt x="17704" y="132491"/>
                  </a:lnTo>
                  <a:lnTo>
                    <a:pt x="10959" y="125908"/>
                  </a:lnTo>
                  <a:lnTo>
                    <a:pt x="12645" y="125908"/>
                  </a:lnTo>
                  <a:lnTo>
                    <a:pt x="4214" y="119324"/>
                  </a:lnTo>
                  <a:lnTo>
                    <a:pt x="4214" y="109449"/>
                  </a:lnTo>
                  <a:lnTo>
                    <a:pt x="78408" y="51844"/>
                  </a:lnTo>
                  <a:lnTo>
                    <a:pt x="71663" y="41969"/>
                  </a:lnTo>
                  <a:lnTo>
                    <a:pt x="73349" y="33739"/>
                  </a:lnTo>
                  <a:lnTo>
                    <a:pt x="112133"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3" name="Schouwen-Duiveland">
              <a:extLst>
                <a:ext uri="{FF2B5EF4-FFF2-40B4-BE49-F238E27FC236}">
                  <a16:creationId xmlns:a16="http://schemas.microsoft.com/office/drawing/2014/main" id="{2F80DBE6-6692-4021-9E9E-5D04995C325C}"/>
                </a:ext>
              </a:extLst>
            </p:cNvPr>
            <p:cNvSpPr/>
            <p:nvPr/>
          </p:nvSpPr>
          <p:spPr>
            <a:xfrm>
              <a:off x="4427321" y="4053623"/>
              <a:ext cx="554730" cy="272622"/>
            </a:xfrm>
            <a:custGeom>
              <a:avLst/>
              <a:gdLst/>
              <a:ahLst/>
              <a:cxnLst/>
              <a:rect l="l" t="t" r="r" b="b"/>
              <a:pathLst>
                <a:path w="796155" h="411480" extrusionOk="0">
                  <a:moveTo>
                    <a:pt x="800112" y="310245"/>
                  </a:moveTo>
                  <a:lnTo>
                    <a:pt x="798426" y="311890"/>
                  </a:lnTo>
                  <a:lnTo>
                    <a:pt x="798426" y="310245"/>
                  </a:lnTo>
                  <a:lnTo>
                    <a:pt x="800112" y="310245"/>
                  </a:lnTo>
                  <a:close/>
                  <a:moveTo>
                    <a:pt x="801799" y="300370"/>
                  </a:moveTo>
                  <a:lnTo>
                    <a:pt x="801799" y="305307"/>
                  </a:lnTo>
                  <a:lnTo>
                    <a:pt x="800112" y="302015"/>
                  </a:lnTo>
                  <a:lnTo>
                    <a:pt x="800112" y="303661"/>
                  </a:lnTo>
                  <a:lnTo>
                    <a:pt x="800112" y="300370"/>
                  </a:lnTo>
                  <a:lnTo>
                    <a:pt x="801799" y="300370"/>
                  </a:lnTo>
                  <a:close/>
                  <a:moveTo>
                    <a:pt x="795054" y="297078"/>
                  </a:moveTo>
                  <a:lnTo>
                    <a:pt x="795054" y="300370"/>
                  </a:lnTo>
                  <a:lnTo>
                    <a:pt x="793367" y="297078"/>
                  </a:lnTo>
                  <a:lnTo>
                    <a:pt x="791681" y="297078"/>
                  </a:lnTo>
                  <a:lnTo>
                    <a:pt x="793367" y="295432"/>
                  </a:lnTo>
                  <a:lnTo>
                    <a:pt x="795054" y="297078"/>
                  </a:lnTo>
                  <a:close/>
                  <a:moveTo>
                    <a:pt x="789995" y="288848"/>
                  </a:moveTo>
                  <a:lnTo>
                    <a:pt x="793367" y="292140"/>
                  </a:lnTo>
                  <a:lnTo>
                    <a:pt x="788309" y="290494"/>
                  </a:lnTo>
                  <a:lnTo>
                    <a:pt x="786623" y="293786"/>
                  </a:lnTo>
                  <a:lnTo>
                    <a:pt x="788309" y="297078"/>
                  </a:lnTo>
                  <a:lnTo>
                    <a:pt x="784936" y="297078"/>
                  </a:lnTo>
                  <a:lnTo>
                    <a:pt x="786623" y="290494"/>
                  </a:lnTo>
                  <a:lnTo>
                    <a:pt x="784936" y="297078"/>
                  </a:lnTo>
                  <a:lnTo>
                    <a:pt x="786623" y="290494"/>
                  </a:lnTo>
                  <a:lnTo>
                    <a:pt x="791681" y="288848"/>
                  </a:lnTo>
                  <a:lnTo>
                    <a:pt x="786623" y="288848"/>
                  </a:lnTo>
                  <a:lnTo>
                    <a:pt x="789995" y="288848"/>
                  </a:lnTo>
                  <a:close/>
                  <a:moveTo>
                    <a:pt x="779878" y="278973"/>
                  </a:moveTo>
                  <a:lnTo>
                    <a:pt x="774819" y="278973"/>
                  </a:lnTo>
                  <a:lnTo>
                    <a:pt x="779878" y="275682"/>
                  </a:lnTo>
                  <a:lnTo>
                    <a:pt x="779878" y="278973"/>
                  </a:lnTo>
                  <a:close/>
                  <a:moveTo>
                    <a:pt x="764702" y="274036"/>
                  </a:moveTo>
                  <a:lnTo>
                    <a:pt x="774819" y="274036"/>
                  </a:lnTo>
                  <a:lnTo>
                    <a:pt x="771446" y="277328"/>
                  </a:lnTo>
                  <a:lnTo>
                    <a:pt x="764702" y="274036"/>
                  </a:lnTo>
                  <a:close/>
                  <a:moveTo>
                    <a:pt x="744467" y="269098"/>
                  </a:moveTo>
                  <a:lnTo>
                    <a:pt x="779878" y="269098"/>
                  </a:lnTo>
                  <a:lnTo>
                    <a:pt x="779878" y="275682"/>
                  </a:lnTo>
                  <a:lnTo>
                    <a:pt x="778191" y="270744"/>
                  </a:lnTo>
                  <a:lnTo>
                    <a:pt x="769760" y="270744"/>
                  </a:lnTo>
                  <a:lnTo>
                    <a:pt x="773133" y="272390"/>
                  </a:lnTo>
                  <a:lnTo>
                    <a:pt x="771446" y="272390"/>
                  </a:lnTo>
                  <a:lnTo>
                    <a:pt x="759643" y="270744"/>
                  </a:lnTo>
                  <a:lnTo>
                    <a:pt x="754584" y="274036"/>
                  </a:lnTo>
                  <a:lnTo>
                    <a:pt x="752898" y="278973"/>
                  </a:lnTo>
                  <a:lnTo>
                    <a:pt x="757957" y="283911"/>
                  </a:lnTo>
                  <a:lnTo>
                    <a:pt x="778191" y="287203"/>
                  </a:lnTo>
                  <a:lnTo>
                    <a:pt x="776505" y="293786"/>
                  </a:lnTo>
                  <a:lnTo>
                    <a:pt x="774819" y="295432"/>
                  </a:lnTo>
                  <a:lnTo>
                    <a:pt x="789995" y="306953"/>
                  </a:lnTo>
                  <a:lnTo>
                    <a:pt x="795054" y="321766"/>
                  </a:lnTo>
                  <a:lnTo>
                    <a:pt x="789995" y="310245"/>
                  </a:lnTo>
                  <a:lnTo>
                    <a:pt x="781564" y="302015"/>
                  </a:lnTo>
                  <a:lnTo>
                    <a:pt x="769760" y="295432"/>
                  </a:lnTo>
                  <a:lnTo>
                    <a:pt x="766388" y="302015"/>
                  </a:lnTo>
                  <a:lnTo>
                    <a:pt x="763015" y="302015"/>
                  </a:lnTo>
                  <a:lnTo>
                    <a:pt x="737722" y="285557"/>
                  </a:lnTo>
                  <a:lnTo>
                    <a:pt x="742781" y="275682"/>
                  </a:lnTo>
                  <a:lnTo>
                    <a:pt x="742781" y="272390"/>
                  </a:lnTo>
                  <a:lnTo>
                    <a:pt x="739408" y="272390"/>
                  </a:lnTo>
                  <a:lnTo>
                    <a:pt x="730977" y="282265"/>
                  </a:lnTo>
                  <a:lnTo>
                    <a:pt x="710742" y="277328"/>
                  </a:lnTo>
                  <a:lnTo>
                    <a:pt x="710742" y="270744"/>
                  </a:lnTo>
                  <a:lnTo>
                    <a:pt x="722546" y="272390"/>
                  </a:lnTo>
                  <a:lnTo>
                    <a:pt x="744467" y="269098"/>
                  </a:lnTo>
                  <a:close/>
                  <a:moveTo>
                    <a:pt x="736036" y="259223"/>
                  </a:moveTo>
                  <a:lnTo>
                    <a:pt x="766388" y="257577"/>
                  </a:lnTo>
                  <a:lnTo>
                    <a:pt x="779878" y="264160"/>
                  </a:lnTo>
                  <a:lnTo>
                    <a:pt x="768074" y="260869"/>
                  </a:lnTo>
                  <a:lnTo>
                    <a:pt x="751212" y="260869"/>
                  </a:lnTo>
                  <a:lnTo>
                    <a:pt x="751212" y="264160"/>
                  </a:lnTo>
                  <a:lnTo>
                    <a:pt x="741094" y="265806"/>
                  </a:lnTo>
                  <a:lnTo>
                    <a:pt x="746153" y="265806"/>
                  </a:lnTo>
                  <a:lnTo>
                    <a:pt x="739408" y="265806"/>
                  </a:lnTo>
                  <a:lnTo>
                    <a:pt x="736036" y="260869"/>
                  </a:lnTo>
                  <a:lnTo>
                    <a:pt x="732663" y="260869"/>
                  </a:lnTo>
                  <a:lnTo>
                    <a:pt x="717487" y="260869"/>
                  </a:lnTo>
                  <a:lnTo>
                    <a:pt x="710742" y="265806"/>
                  </a:lnTo>
                  <a:lnTo>
                    <a:pt x="717487" y="260869"/>
                  </a:lnTo>
                  <a:lnTo>
                    <a:pt x="734350" y="260869"/>
                  </a:lnTo>
                  <a:lnTo>
                    <a:pt x="734350" y="255931"/>
                  </a:lnTo>
                  <a:lnTo>
                    <a:pt x="736036" y="259223"/>
                  </a:lnTo>
                  <a:close/>
                  <a:moveTo>
                    <a:pt x="628117" y="239473"/>
                  </a:moveTo>
                  <a:lnTo>
                    <a:pt x="631490" y="241118"/>
                  </a:lnTo>
                  <a:lnTo>
                    <a:pt x="629804" y="241118"/>
                  </a:lnTo>
                  <a:lnTo>
                    <a:pt x="628117" y="239473"/>
                  </a:lnTo>
                  <a:close/>
                  <a:moveTo>
                    <a:pt x="688821" y="221368"/>
                  </a:moveTo>
                  <a:lnTo>
                    <a:pt x="693880" y="223014"/>
                  </a:lnTo>
                  <a:lnTo>
                    <a:pt x="682077" y="221368"/>
                  </a:lnTo>
                  <a:lnTo>
                    <a:pt x="688821" y="221368"/>
                  </a:lnTo>
                  <a:close/>
                  <a:moveTo>
                    <a:pt x="631490" y="203264"/>
                  </a:moveTo>
                  <a:lnTo>
                    <a:pt x="629804" y="203264"/>
                  </a:lnTo>
                  <a:lnTo>
                    <a:pt x="631490" y="206555"/>
                  </a:lnTo>
                  <a:lnTo>
                    <a:pt x="624745" y="203264"/>
                  </a:lnTo>
                  <a:lnTo>
                    <a:pt x="631490" y="203264"/>
                  </a:lnTo>
                  <a:close/>
                  <a:moveTo>
                    <a:pt x="641607" y="203264"/>
                  </a:moveTo>
                  <a:lnTo>
                    <a:pt x="639921" y="209847"/>
                  </a:lnTo>
                  <a:lnTo>
                    <a:pt x="633176" y="204910"/>
                  </a:lnTo>
                  <a:lnTo>
                    <a:pt x="636548" y="206555"/>
                  </a:lnTo>
                  <a:lnTo>
                    <a:pt x="638235" y="203264"/>
                  </a:lnTo>
                  <a:lnTo>
                    <a:pt x="633176" y="203264"/>
                  </a:lnTo>
                  <a:lnTo>
                    <a:pt x="641607" y="203264"/>
                  </a:lnTo>
                  <a:close/>
                  <a:moveTo>
                    <a:pt x="177895" y="188451"/>
                  </a:moveTo>
                  <a:lnTo>
                    <a:pt x="176209" y="186805"/>
                  </a:lnTo>
                  <a:lnTo>
                    <a:pt x="177895" y="185159"/>
                  </a:lnTo>
                  <a:lnTo>
                    <a:pt x="177895" y="188451"/>
                  </a:lnTo>
                  <a:close/>
                  <a:moveTo>
                    <a:pt x="208247" y="180221"/>
                  </a:moveTo>
                  <a:lnTo>
                    <a:pt x="204875" y="171992"/>
                  </a:lnTo>
                  <a:lnTo>
                    <a:pt x="206561" y="171992"/>
                  </a:lnTo>
                  <a:lnTo>
                    <a:pt x="208247" y="180221"/>
                  </a:lnTo>
                  <a:close/>
                  <a:moveTo>
                    <a:pt x="469612" y="106158"/>
                  </a:moveTo>
                  <a:lnTo>
                    <a:pt x="466240" y="102866"/>
                  </a:lnTo>
                  <a:lnTo>
                    <a:pt x="467926" y="101220"/>
                  </a:lnTo>
                  <a:lnTo>
                    <a:pt x="469612" y="106158"/>
                  </a:lnTo>
                  <a:close/>
                  <a:moveTo>
                    <a:pt x="373497" y="71595"/>
                  </a:moveTo>
                  <a:lnTo>
                    <a:pt x="381928" y="71595"/>
                  </a:lnTo>
                  <a:lnTo>
                    <a:pt x="400477" y="81470"/>
                  </a:lnTo>
                  <a:lnTo>
                    <a:pt x="395418" y="83116"/>
                  </a:lnTo>
                  <a:lnTo>
                    <a:pt x="375184" y="83116"/>
                  </a:lnTo>
                  <a:lnTo>
                    <a:pt x="366752" y="84761"/>
                  </a:lnTo>
                  <a:lnTo>
                    <a:pt x="365066" y="78178"/>
                  </a:lnTo>
                  <a:lnTo>
                    <a:pt x="373497" y="71595"/>
                  </a:lnTo>
                  <a:close/>
                  <a:moveTo>
                    <a:pt x="440946" y="71595"/>
                  </a:moveTo>
                  <a:lnTo>
                    <a:pt x="434201" y="73241"/>
                  </a:lnTo>
                  <a:lnTo>
                    <a:pt x="432515" y="69949"/>
                  </a:lnTo>
                  <a:lnTo>
                    <a:pt x="449377" y="66657"/>
                  </a:lnTo>
                  <a:lnTo>
                    <a:pt x="440946" y="71595"/>
                  </a:lnTo>
                  <a:close/>
                  <a:moveTo>
                    <a:pt x="412281" y="73241"/>
                  </a:moveTo>
                  <a:lnTo>
                    <a:pt x="403849" y="71595"/>
                  </a:lnTo>
                  <a:lnTo>
                    <a:pt x="400477" y="65011"/>
                  </a:lnTo>
                  <a:lnTo>
                    <a:pt x="403849" y="71595"/>
                  </a:lnTo>
                  <a:lnTo>
                    <a:pt x="412281" y="73241"/>
                  </a:lnTo>
                  <a:close/>
                  <a:moveTo>
                    <a:pt x="417339" y="55136"/>
                  </a:moveTo>
                  <a:lnTo>
                    <a:pt x="444319" y="58428"/>
                  </a:lnTo>
                  <a:lnTo>
                    <a:pt x="425770" y="71595"/>
                  </a:lnTo>
                  <a:lnTo>
                    <a:pt x="424084" y="68303"/>
                  </a:lnTo>
                  <a:lnTo>
                    <a:pt x="424084" y="71595"/>
                  </a:lnTo>
                  <a:lnTo>
                    <a:pt x="412281" y="73241"/>
                  </a:lnTo>
                  <a:lnTo>
                    <a:pt x="405536" y="69949"/>
                  </a:lnTo>
                  <a:lnTo>
                    <a:pt x="405536" y="56782"/>
                  </a:lnTo>
                  <a:lnTo>
                    <a:pt x="417339" y="55136"/>
                  </a:lnTo>
                  <a:close/>
                  <a:moveTo>
                    <a:pt x="402163" y="65011"/>
                  </a:moveTo>
                  <a:lnTo>
                    <a:pt x="402163" y="58428"/>
                  </a:lnTo>
                  <a:lnTo>
                    <a:pt x="405536" y="51844"/>
                  </a:lnTo>
                  <a:lnTo>
                    <a:pt x="402163" y="65011"/>
                  </a:lnTo>
                  <a:close/>
                  <a:moveTo>
                    <a:pt x="508395" y="37031"/>
                  </a:moveTo>
                  <a:lnTo>
                    <a:pt x="503337" y="35386"/>
                  </a:lnTo>
                  <a:lnTo>
                    <a:pt x="503337" y="30448"/>
                  </a:lnTo>
                  <a:lnTo>
                    <a:pt x="513454" y="30448"/>
                  </a:lnTo>
                  <a:lnTo>
                    <a:pt x="508395" y="37031"/>
                  </a:lnTo>
                  <a:close/>
                  <a:moveTo>
                    <a:pt x="494906" y="28802"/>
                  </a:moveTo>
                  <a:lnTo>
                    <a:pt x="498278" y="30448"/>
                  </a:lnTo>
                  <a:lnTo>
                    <a:pt x="496592" y="46906"/>
                  </a:lnTo>
                  <a:lnTo>
                    <a:pt x="506709" y="76532"/>
                  </a:lnTo>
                  <a:lnTo>
                    <a:pt x="513454" y="88053"/>
                  </a:lnTo>
                  <a:lnTo>
                    <a:pt x="526944" y="99574"/>
                  </a:lnTo>
                  <a:lnTo>
                    <a:pt x="523571" y="97928"/>
                  </a:lnTo>
                  <a:lnTo>
                    <a:pt x="525258" y="106158"/>
                  </a:lnTo>
                  <a:lnTo>
                    <a:pt x="521885" y="109449"/>
                  </a:lnTo>
                  <a:lnTo>
                    <a:pt x="511768" y="109449"/>
                  </a:lnTo>
                  <a:lnTo>
                    <a:pt x="505023" y="106158"/>
                  </a:lnTo>
                  <a:lnTo>
                    <a:pt x="496592" y="91345"/>
                  </a:lnTo>
                  <a:lnTo>
                    <a:pt x="488161" y="61719"/>
                  </a:lnTo>
                  <a:lnTo>
                    <a:pt x="474671" y="45261"/>
                  </a:lnTo>
                  <a:lnTo>
                    <a:pt x="467926" y="41969"/>
                  </a:lnTo>
                  <a:lnTo>
                    <a:pt x="474671" y="32094"/>
                  </a:lnTo>
                  <a:lnTo>
                    <a:pt x="479729" y="30448"/>
                  </a:lnTo>
                  <a:lnTo>
                    <a:pt x="472985" y="35386"/>
                  </a:lnTo>
                  <a:lnTo>
                    <a:pt x="481416" y="30448"/>
                  </a:lnTo>
                  <a:lnTo>
                    <a:pt x="494906" y="28802"/>
                  </a:lnTo>
                  <a:close/>
                  <a:moveTo>
                    <a:pt x="257148" y="32094"/>
                  </a:moveTo>
                  <a:lnTo>
                    <a:pt x="260520" y="37031"/>
                  </a:lnTo>
                  <a:lnTo>
                    <a:pt x="258834" y="41969"/>
                  </a:lnTo>
                  <a:lnTo>
                    <a:pt x="253775" y="43615"/>
                  </a:lnTo>
                  <a:lnTo>
                    <a:pt x="253775" y="45261"/>
                  </a:lnTo>
                  <a:lnTo>
                    <a:pt x="257148" y="41969"/>
                  </a:lnTo>
                  <a:lnTo>
                    <a:pt x="253775" y="45261"/>
                  </a:lnTo>
                  <a:lnTo>
                    <a:pt x="247031" y="43615"/>
                  </a:lnTo>
                  <a:lnTo>
                    <a:pt x="252089" y="43615"/>
                  </a:lnTo>
                  <a:lnTo>
                    <a:pt x="257148" y="38677"/>
                  </a:lnTo>
                  <a:lnTo>
                    <a:pt x="253775" y="32094"/>
                  </a:lnTo>
                  <a:lnTo>
                    <a:pt x="241972" y="38677"/>
                  </a:lnTo>
                  <a:lnTo>
                    <a:pt x="241972" y="45261"/>
                  </a:lnTo>
                  <a:lnTo>
                    <a:pt x="236913" y="46906"/>
                  </a:lnTo>
                  <a:lnTo>
                    <a:pt x="233541" y="71595"/>
                  </a:lnTo>
                  <a:lnTo>
                    <a:pt x="241972" y="68303"/>
                  </a:lnTo>
                  <a:lnTo>
                    <a:pt x="258834" y="71595"/>
                  </a:lnTo>
                  <a:lnTo>
                    <a:pt x="263893" y="66657"/>
                  </a:lnTo>
                  <a:lnTo>
                    <a:pt x="267265" y="68303"/>
                  </a:lnTo>
                  <a:lnTo>
                    <a:pt x="263893" y="69949"/>
                  </a:lnTo>
                  <a:lnTo>
                    <a:pt x="267265" y="71595"/>
                  </a:lnTo>
                  <a:lnTo>
                    <a:pt x="270638" y="74886"/>
                  </a:lnTo>
                  <a:lnTo>
                    <a:pt x="274010" y="71595"/>
                  </a:lnTo>
                  <a:lnTo>
                    <a:pt x="267265" y="68303"/>
                  </a:lnTo>
                  <a:lnTo>
                    <a:pt x="280755" y="73241"/>
                  </a:lnTo>
                  <a:lnTo>
                    <a:pt x="329656" y="60074"/>
                  </a:lnTo>
                  <a:lnTo>
                    <a:pt x="329656" y="56782"/>
                  </a:lnTo>
                  <a:lnTo>
                    <a:pt x="331342" y="61719"/>
                  </a:lnTo>
                  <a:lnTo>
                    <a:pt x="336400" y="60074"/>
                  </a:lnTo>
                  <a:lnTo>
                    <a:pt x="343145" y="65011"/>
                  </a:lnTo>
                  <a:lnTo>
                    <a:pt x="336400" y="61719"/>
                  </a:lnTo>
                  <a:lnTo>
                    <a:pt x="333028" y="63365"/>
                  </a:lnTo>
                  <a:lnTo>
                    <a:pt x="334714" y="69949"/>
                  </a:lnTo>
                  <a:lnTo>
                    <a:pt x="338087" y="69949"/>
                  </a:lnTo>
                  <a:lnTo>
                    <a:pt x="341459" y="65011"/>
                  </a:lnTo>
                  <a:lnTo>
                    <a:pt x="341459" y="68303"/>
                  </a:lnTo>
                  <a:lnTo>
                    <a:pt x="346518" y="69949"/>
                  </a:lnTo>
                  <a:lnTo>
                    <a:pt x="353263" y="76532"/>
                  </a:lnTo>
                  <a:lnTo>
                    <a:pt x="358321" y="86407"/>
                  </a:lnTo>
                  <a:lnTo>
                    <a:pt x="366752" y="91345"/>
                  </a:lnTo>
                  <a:lnTo>
                    <a:pt x="368439" y="99574"/>
                  </a:lnTo>
                  <a:lnTo>
                    <a:pt x="371811" y="101220"/>
                  </a:lnTo>
                  <a:lnTo>
                    <a:pt x="368439" y="104512"/>
                  </a:lnTo>
                  <a:lnTo>
                    <a:pt x="373497" y="101220"/>
                  </a:lnTo>
                  <a:lnTo>
                    <a:pt x="368439" y="96283"/>
                  </a:lnTo>
                  <a:lnTo>
                    <a:pt x="370125" y="91345"/>
                  </a:lnTo>
                  <a:lnTo>
                    <a:pt x="373497" y="89699"/>
                  </a:lnTo>
                  <a:lnTo>
                    <a:pt x="388673" y="91345"/>
                  </a:lnTo>
                  <a:lnTo>
                    <a:pt x="413967" y="84761"/>
                  </a:lnTo>
                  <a:lnTo>
                    <a:pt x="415653" y="88053"/>
                  </a:lnTo>
                  <a:lnTo>
                    <a:pt x="420712" y="84761"/>
                  </a:lnTo>
                  <a:lnTo>
                    <a:pt x="422398" y="88053"/>
                  </a:lnTo>
                  <a:lnTo>
                    <a:pt x="424084" y="86407"/>
                  </a:lnTo>
                  <a:lnTo>
                    <a:pt x="424084" y="88053"/>
                  </a:lnTo>
                  <a:lnTo>
                    <a:pt x="457809" y="88053"/>
                  </a:lnTo>
                  <a:lnTo>
                    <a:pt x="461181" y="89699"/>
                  </a:lnTo>
                  <a:lnTo>
                    <a:pt x="454436" y="102866"/>
                  </a:lnTo>
                  <a:lnTo>
                    <a:pt x="457809" y="106158"/>
                  </a:lnTo>
                  <a:lnTo>
                    <a:pt x="462867" y="91345"/>
                  </a:lnTo>
                  <a:lnTo>
                    <a:pt x="464553" y="92991"/>
                  </a:lnTo>
                  <a:lnTo>
                    <a:pt x="469612" y="96283"/>
                  </a:lnTo>
                  <a:lnTo>
                    <a:pt x="466240" y="94637"/>
                  </a:lnTo>
                  <a:lnTo>
                    <a:pt x="469612" y="97928"/>
                  </a:lnTo>
                  <a:lnTo>
                    <a:pt x="462867" y="96283"/>
                  </a:lnTo>
                  <a:lnTo>
                    <a:pt x="464553" y="114387"/>
                  </a:lnTo>
                  <a:lnTo>
                    <a:pt x="464553" y="109449"/>
                  </a:lnTo>
                  <a:lnTo>
                    <a:pt x="466240" y="112741"/>
                  </a:lnTo>
                  <a:lnTo>
                    <a:pt x="466240" y="109449"/>
                  </a:lnTo>
                  <a:lnTo>
                    <a:pt x="471298" y="104512"/>
                  </a:lnTo>
                  <a:lnTo>
                    <a:pt x="474671" y="106158"/>
                  </a:lnTo>
                  <a:lnTo>
                    <a:pt x="474671" y="111095"/>
                  </a:lnTo>
                  <a:lnTo>
                    <a:pt x="469612" y="114387"/>
                  </a:lnTo>
                  <a:lnTo>
                    <a:pt x="472985" y="112741"/>
                  </a:lnTo>
                  <a:lnTo>
                    <a:pt x="474671" y="116033"/>
                  </a:lnTo>
                  <a:lnTo>
                    <a:pt x="472985" y="117679"/>
                  </a:lnTo>
                  <a:lnTo>
                    <a:pt x="474671" y="117679"/>
                  </a:lnTo>
                  <a:lnTo>
                    <a:pt x="471298" y="119325"/>
                  </a:lnTo>
                  <a:lnTo>
                    <a:pt x="476357" y="117679"/>
                  </a:lnTo>
                  <a:lnTo>
                    <a:pt x="472985" y="125908"/>
                  </a:lnTo>
                  <a:lnTo>
                    <a:pt x="478043" y="125908"/>
                  </a:lnTo>
                  <a:lnTo>
                    <a:pt x="476357" y="129200"/>
                  </a:lnTo>
                  <a:lnTo>
                    <a:pt x="479729" y="130845"/>
                  </a:lnTo>
                  <a:lnTo>
                    <a:pt x="479729" y="127554"/>
                  </a:lnTo>
                  <a:lnTo>
                    <a:pt x="510082" y="162117"/>
                  </a:lnTo>
                  <a:lnTo>
                    <a:pt x="516826" y="176930"/>
                  </a:lnTo>
                  <a:lnTo>
                    <a:pt x="521885" y="203264"/>
                  </a:lnTo>
                  <a:lnTo>
                    <a:pt x="532002" y="206555"/>
                  </a:lnTo>
                  <a:lnTo>
                    <a:pt x="540434" y="208201"/>
                  </a:lnTo>
                  <a:lnTo>
                    <a:pt x="543806" y="213139"/>
                  </a:lnTo>
                  <a:lnTo>
                    <a:pt x="552237" y="208201"/>
                  </a:lnTo>
                  <a:lnTo>
                    <a:pt x="532002" y="204910"/>
                  </a:lnTo>
                  <a:lnTo>
                    <a:pt x="553923" y="208201"/>
                  </a:lnTo>
                  <a:lnTo>
                    <a:pt x="567413" y="208201"/>
                  </a:lnTo>
                  <a:lnTo>
                    <a:pt x="584275" y="221368"/>
                  </a:lnTo>
                  <a:lnTo>
                    <a:pt x="597765" y="226306"/>
                  </a:lnTo>
                  <a:lnTo>
                    <a:pt x="604510" y="231243"/>
                  </a:lnTo>
                  <a:lnTo>
                    <a:pt x="616314" y="231243"/>
                  </a:lnTo>
                  <a:lnTo>
                    <a:pt x="618000" y="232889"/>
                  </a:lnTo>
                  <a:lnTo>
                    <a:pt x="612941" y="236181"/>
                  </a:lnTo>
                  <a:lnTo>
                    <a:pt x="623059" y="242764"/>
                  </a:lnTo>
                  <a:lnTo>
                    <a:pt x="628117" y="241118"/>
                  </a:lnTo>
                  <a:lnTo>
                    <a:pt x="626431" y="242764"/>
                  </a:lnTo>
                  <a:lnTo>
                    <a:pt x="631490" y="246056"/>
                  </a:lnTo>
                  <a:lnTo>
                    <a:pt x="633176" y="242764"/>
                  </a:lnTo>
                  <a:lnTo>
                    <a:pt x="631490" y="241118"/>
                  </a:lnTo>
                  <a:lnTo>
                    <a:pt x="634862" y="242764"/>
                  </a:lnTo>
                  <a:lnTo>
                    <a:pt x="633176" y="247702"/>
                  </a:lnTo>
                  <a:lnTo>
                    <a:pt x="644980" y="254286"/>
                  </a:lnTo>
                  <a:lnTo>
                    <a:pt x="636548" y="246056"/>
                  </a:lnTo>
                  <a:lnTo>
                    <a:pt x="643293" y="249348"/>
                  </a:lnTo>
                  <a:lnTo>
                    <a:pt x="663528" y="227952"/>
                  </a:lnTo>
                  <a:lnTo>
                    <a:pt x="670273" y="226306"/>
                  </a:lnTo>
                  <a:lnTo>
                    <a:pt x="670273" y="224660"/>
                  </a:lnTo>
                  <a:lnTo>
                    <a:pt x="673645" y="223014"/>
                  </a:lnTo>
                  <a:lnTo>
                    <a:pt x="685449" y="223014"/>
                  </a:lnTo>
                  <a:lnTo>
                    <a:pt x="687135" y="227952"/>
                  </a:lnTo>
                  <a:lnTo>
                    <a:pt x="697253" y="223014"/>
                  </a:lnTo>
                  <a:lnTo>
                    <a:pt x="695566" y="226306"/>
                  </a:lnTo>
                  <a:lnTo>
                    <a:pt x="698939" y="226306"/>
                  </a:lnTo>
                  <a:lnTo>
                    <a:pt x="702311" y="224660"/>
                  </a:lnTo>
                  <a:lnTo>
                    <a:pt x="709056" y="224660"/>
                  </a:lnTo>
                  <a:lnTo>
                    <a:pt x="707370" y="223014"/>
                  </a:lnTo>
                  <a:lnTo>
                    <a:pt x="724232" y="223014"/>
                  </a:lnTo>
                  <a:lnTo>
                    <a:pt x="725918" y="224660"/>
                  </a:lnTo>
                  <a:lnTo>
                    <a:pt x="737722" y="214785"/>
                  </a:lnTo>
                  <a:lnTo>
                    <a:pt x="741094" y="216431"/>
                  </a:lnTo>
                  <a:lnTo>
                    <a:pt x="737722" y="232889"/>
                  </a:lnTo>
                  <a:lnTo>
                    <a:pt x="747839" y="250994"/>
                  </a:lnTo>
                  <a:lnTo>
                    <a:pt x="763015" y="250994"/>
                  </a:lnTo>
                  <a:lnTo>
                    <a:pt x="768074" y="254286"/>
                  </a:lnTo>
                  <a:lnTo>
                    <a:pt x="754584" y="252639"/>
                  </a:lnTo>
                  <a:lnTo>
                    <a:pt x="752898" y="257577"/>
                  </a:lnTo>
                  <a:lnTo>
                    <a:pt x="737722" y="257577"/>
                  </a:lnTo>
                  <a:lnTo>
                    <a:pt x="744467" y="254286"/>
                  </a:lnTo>
                  <a:lnTo>
                    <a:pt x="744467" y="249348"/>
                  </a:lnTo>
                  <a:lnTo>
                    <a:pt x="729291" y="226306"/>
                  </a:lnTo>
                  <a:lnTo>
                    <a:pt x="727605" y="226306"/>
                  </a:lnTo>
                  <a:lnTo>
                    <a:pt x="729291" y="231243"/>
                  </a:lnTo>
                  <a:lnTo>
                    <a:pt x="725918" y="232889"/>
                  </a:lnTo>
                  <a:lnTo>
                    <a:pt x="725918" y="227952"/>
                  </a:lnTo>
                  <a:lnTo>
                    <a:pt x="719173" y="232889"/>
                  </a:lnTo>
                  <a:lnTo>
                    <a:pt x="720860" y="236181"/>
                  </a:lnTo>
                  <a:lnTo>
                    <a:pt x="724232" y="234535"/>
                  </a:lnTo>
                  <a:lnTo>
                    <a:pt x="722546" y="236181"/>
                  </a:lnTo>
                  <a:lnTo>
                    <a:pt x="712429" y="229597"/>
                  </a:lnTo>
                  <a:lnTo>
                    <a:pt x="707370" y="231243"/>
                  </a:lnTo>
                  <a:lnTo>
                    <a:pt x="709056" y="237827"/>
                  </a:lnTo>
                  <a:lnTo>
                    <a:pt x="705684" y="231243"/>
                  </a:lnTo>
                  <a:lnTo>
                    <a:pt x="678704" y="234535"/>
                  </a:lnTo>
                  <a:lnTo>
                    <a:pt x="680390" y="250994"/>
                  </a:lnTo>
                  <a:lnTo>
                    <a:pt x="678704" y="234535"/>
                  </a:lnTo>
                  <a:lnTo>
                    <a:pt x="660156" y="237827"/>
                  </a:lnTo>
                  <a:lnTo>
                    <a:pt x="644980" y="250994"/>
                  </a:lnTo>
                  <a:lnTo>
                    <a:pt x="651724" y="257577"/>
                  </a:lnTo>
                  <a:lnTo>
                    <a:pt x="646666" y="254286"/>
                  </a:lnTo>
                  <a:lnTo>
                    <a:pt x="643293" y="254286"/>
                  </a:lnTo>
                  <a:lnTo>
                    <a:pt x="653411" y="260869"/>
                  </a:lnTo>
                  <a:lnTo>
                    <a:pt x="648352" y="260869"/>
                  </a:lnTo>
                  <a:lnTo>
                    <a:pt x="653411" y="265806"/>
                  </a:lnTo>
                  <a:lnTo>
                    <a:pt x="655097" y="264160"/>
                  </a:lnTo>
                  <a:lnTo>
                    <a:pt x="655097" y="267452"/>
                  </a:lnTo>
                  <a:lnTo>
                    <a:pt x="660156" y="274036"/>
                  </a:lnTo>
                  <a:lnTo>
                    <a:pt x="655097" y="283911"/>
                  </a:lnTo>
                  <a:lnTo>
                    <a:pt x="655097" y="280619"/>
                  </a:lnTo>
                  <a:lnTo>
                    <a:pt x="653411" y="278973"/>
                  </a:lnTo>
                  <a:lnTo>
                    <a:pt x="650038" y="282265"/>
                  </a:lnTo>
                  <a:lnTo>
                    <a:pt x="646666" y="288848"/>
                  </a:lnTo>
                  <a:lnTo>
                    <a:pt x="650038" y="290494"/>
                  </a:lnTo>
                  <a:lnTo>
                    <a:pt x="653411" y="285557"/>
                  </a:lnTo>
                  <a:lnTo>
                    <a:pt x="648352" y="295432"/>
                  </a:lnTo>
                  <a:lnTo>
                    <a:pt x="646666" y="292140"/>
                  </a:lnTo>
                  <a:lnTo>
                    <a:pt x="644980" y="300370"/>
                  </a:lnTo>
                  <a:lnTo>
                    <a:pt x="636548" y="306953"/>
                  </a:lnTo>
                  <a:lnTo>
                    <a:pt x="628117" y="310245"/>
                  </a:lnTo>
                  <a:lnTo>
                    <a:pt x="628117" y="311890"/>
                  </a:lnTo>
                  <a:lnTo>
                    <a:pt x="626431" y="310245"/>
                  </a:lnTo>
                  <a:lnTo>
                    <a:pt x="628117" y="311890"/>
                  </a:lnTo>
                  <a:lnTo>
                    <a:pt x="626431" y="310245"/>
                  </a:lnTo>
                  <a:lnTo>
                    <a:pt x="609569" y="331641"/>
                  </a:lnTo>
                  <a:lnTo>
                    <a:pt x="611255" y="333287"/>
                  </a:lnTo>
                  <a:lnTo>
                    <a:pt x="607883" y="331641"/>
                  </a:lnTo>
                  <a:lnTo>
                    <a:pt x="599451" y="339870"/>
                  </a:lnTo>
                  <a:lnTo>
                    <a:pt x="584275" y="344808"/>
                  </a:lnTo>
                  <a:lnTo>
                    <a:pt x="572472" y="336579"/>
                  </a:lnTo>
                  <a:lnTo>
                    <a:pt x="548865" y="353037"/>
                  </a:lnTo>
                  <a:lnTo>
                    <a:pt x="540434" y="353037"/>
                  </a:lnTo>
                  <a:lnTo>
                    <a:pt x="511768" y="367850"/>
                  </a:lnTo>
                  <a:lnTo>
                    <a:pt x="515140" y="374433"/>
                  </a:lnTo>
                  <a:lnTo>
                    <a:pt x="525258" y="377725"/>
                  </a:lnTo>
                  <a:lnTo>
                    <a:pt x="515140" y="374433"/>
                  </a:lnTo>
                  <a:lnTo>
                    <a:pt x="508395" y="367850"/>
                  </a:lnTo>
                  <a:lnTo>
                    <a:pt x="483102" y="366204"/>
                  </a:lnTo>
                  <a:lnTo>
                    <a:pt x="474671" y="374433"/>
                  </a:lnTo>
                  <a:lnTo>
                    <a:pt x="446005" y="376079"/>
                  </a:lnTo>
                  <a:lnTo>
                    <a:pt x="440946" y="371142"/>
                  </a:lnTo>
                  <a:lnTo>
                    <a:pt x="432515" y="376079"/>
                  </a:lnTo>
                  <a:lnTo>
                    <a:pt x="437574" y="372787"/>
                  </a:lnTo>
                  <a:lnTo>
                    <a:pt x="437574" y="367850"/>
                  </a:lnTo>
                  <a:lnTo>
                    <a:pt x="417339" y="348100"/>
                  </a:lnTo>
                  <a:lnTo>
                    <a:pt x="413967" y="349745"/>
                  </a:lnTo>
                  <a:lnTo>
                    <a:pt x="415653" y="359621"/>
                  </a:lnTo>
                  <a:lnTo>
                    <a:pt x="413967" y="348100"/>
                  </a:lnTo>
                  <a:lnTo>
                    <a:pt x="403849" y="326703"/>
                  </a:lnTo>
                  <a:lnTo>
                    <a:pt x="397104" y="321766"/>
                  </a:lnTo>
                  <a:lnTo>
                    <a:pt x="386987" y="339870"/>
                  </a:lnTo>
                  <a:lnTo>
                    <a:pt x="371811" y="341516"/>
                  </a:lnTo>
                  <a:lnTo>
                    <a:pt x="381928" y="341516"/>
                  </a:lnTo>
                  <a:lnTo>
                    <a:pt x="383615" y="334933"/>
                  </a:lnTo>
                  <a:lnTo>
                    <a:pt x="371811" y="334933"/>
                  </a:lnTo>
                  <a:lnTo>
                    <a:pt x="370125" y="339870"/>
                  </a:lnTo>
                  <a:lnTo>
                    <a:pt x="365066" y="338225"/>
                  </a:lnTo>
                  <a:lnTo>
                    <a:pt x="295931" y="413934"/>
                  </a:lnTo>
                  <a:lnTo>
                    <a:pt x="365066" y="338225"/>
                  </a:lnTo>
                  <a:lnTo>
                    <a:pt x="339773" y="331641"/>
                  </a:lnTo>
                  <a:lnTo>
                    <a:pt x="338087" y="338225"/>
                  </a:lnTo>
                  <a:lnTo>
                    <a:pt x="336400" y="336579"/>
                  </a:lnTo>
                  <a:lnTo>
                    <a:pt x="338087" y="328349"/>
                  </a:lnTo>
                  <a:lnTo>
                    <a:pt x="331342" y="331641"/>
                  </a:lnTo>
                  <a:lnTo>
                    <a:pt x="360008" y="306953"/>
                  </a:lnTo>
                  <a:lnTo>
                    <a:pt x="336400" y="321766"/>
                  </a:lnTo>
                  <a:lnTo>
                    <a:pt x="326283" y="331641"/>
                  </a:lnTo>
                  <a:lnTo>
                    <a:pt x="329656" y="303661"/>
                  </a:lnTo>
                  <a:lnTo>
                    <a:pt x="321224" y="288848"/>
                  </a:lnTo>
                  <a:lnTo>
                    <a:pt x="322911" y="290494"/>
                  </a:lnTo>
                  <a:lnTo>
                    <a:pt x="324597" y="288848"/>
                  </a:lnTo>
                  <a:lnTo>
                    <a:pt x="321224" y="274036"/>
                  </a:lnTo>
                  <a:lnTo>
                    <a:pt x="314480" y="270744"/>
                  </a:lnTo>
                  <a:lnTo>
                    <a:pt x="307735" y="254286"/>
                  </a:lnTo>
                  <a:lnTo>
                    <a:pt x="309421" y="244410"/>
                  </a:lnTo>
                  <a:lnTo>
                    <a:pt x="294245" y="231243"/>
                  </a:lnTo>
                  <a:lnTo>
                    <a:pt x="279069" y="218076"/>
                  </a:lnTo>
                  <a:lnTo>
                    <a:pt x="279069" y="219722"/>
                  </a:lnTo>
                  <a:lnTo>
                    <a:pt x="277383" y="219722"/>
                  </a:lnTo>
                  <a:lnTo>
                    <a:pt x="265579" y="223014"/>
                  </a:lnTo>
                  <a:lnTo>
                    <a:pt x="268951" y="221368"/>
                  </a:lnTo>
                  <a:lnTo>
                    <a:pt x="263893" y="218076"/>
                  </a:lnTo>
                  <a:lnTo>
                    <a:pt x="260520" y="218076"/>
                  </a:lnTo>
                  <a:lnTo>
                    <a:pt x="263893" y="221368"/>
                  </a:lnTo>
                  <a:lnTo>
                    <a:pt x="238599" y="208201"/>
                  </a:lnTo>
                  <a:lnTo>
                    <a:pt x="214992" y="198326"/>
                  </a:lnTo>
                  <a:lnTo>
                    <a:pt x="209934" y="195034"/>
                  </a:lnTo>
                  <a:lnTo>
                    <a:pt x="220051" y="201618"/>
                  </a:lnTo>
                  <a:lnTo>
                    <a:pt x="228482" y="203264"/>
                  </a:lnTo>
                  <a:lnTo>
                    <a:pt x="230168" y="196680"/>
                  </a:lnTo>
                  <a:lnTo>
                    <a:pt x="226796" y="195034"/>
                  </a:lnTo>
                  <a:lnTo>
                    <a:pt x="231855" y="195034"/>
                  </a:lnTo>
                  <a:lnTo>
                    <a:pt x="230168" y="186805"/>
                  </a:lnTo>
                  <a:lnTo>
                    <a:pt x="218365" y="171992"/>
                  </a:lnTo>
                  <a:lnTo>
                    <a:pt x="213306" y="170346"/>
                  </a:lnTo>
                  <a:lnTo>
                    <a:pt x="193071" y="173638"/>
                  </a:lnTo>
                  <a:lnTo>
                    <a:pt x="189699" y="171992"/>
                  </a:lnTo>
                  <a:lnTo>
                    <a:pt x="184640" y="171992"/>
                  </a:lnTo>
                  <a:lnTo>
                    <a:pt x="176209" y="178576"/>
                  </a:lnTo>
                  <a:lnTo>
                    <a:pt x="171150" y="190097"/>
                  </a:lnTo>
                  <a:lnTo>
                    <a:pt x="172837" y="191742"/>
                  </a:lnTo>
                  <a:lnTo>
                    <a:pt x="198130" y="185159"/>
                  </a:lnTo>
                  <a:lnTo>
                    <a:pt x="201502" y="188451"/>
                  </a:lnTo>
                  <a:lnTo>
                    <a:pt x="198130" y="186805"/>
                  </a:lnTo>
                  <a:lnTo>
                    <a:pt x="181268" y="188451"/>
                  </a:lnTo>
                  <a:lnTo>
                    <a:pt x="164406" y="196680"/>
                  </a:lnTo>
                  <a:lnTo>
                    <a:pt x="127309" y="219722"/>
                  </a:lnTo>
                  <a:lnTo>
                    <a:pt x="127309" y="218076"/>
                  </a:lnTo>
                  <a:lnTo>
                    <a:pt x="120564" y="221368"/>
                  </a:lnTo>
                  <a:lnTo>
                    <a:pt x="122250" y="224660"/>
                  </a:lnTo>
                  <a:lnTo>
                    <a:pt x="127309" y="221368"/>
                  </a:lnTo>
                  <a:lnTo>
                    <a:pt x="125622" y="226306"/>
                  </a:lnTo>
                  <a:lnTo>
                    <a:pt x="125622" y="223014"/>
                  </a:lnTo>
                  <a:lnTo>
                    <a:pt x="122250" y="224660"/>
                  </a:lnTo>
                  <a:lnTo>
                    <a:pt x="122250" y="226306"/>
                  </a:lnTo>
                  <a:lnTo>
                    <a:pt x="113819" y="227952"/>
                  </a:lnTo>
                  <a:lnTo>
                    <a:pt x="108760" y="226306"/>
                  </a:lnTo>
                  <a:lnTo>
                    <a:pt x="91898" y="231243"/>
                  </a:lnTo>
                  <a:lnTo>
                    <a:pt x="96957" y="232889"/>
                  </a:lnTo>
                  <a:lnTo>
                    <a:pt x="90212" y="231243"/>
                  </a:lnTo>
                  <a:lnTo>
                    <a:pt x="75036" y="237827"/>
                  </a:lnTo>
                  <a:lnTo>
                    <a:pt x="75036" y="242764"/>
                  </a:lnTo>
                  <a:lnTo>
                    <a:pt x="73349" y="244410"/>
                  </a:lnTo>
                  <a:lnTo>
                    <a:pt x="71663" y="249348"/>
                  </a:lnTo>
                  <a:lnTo>
                    <a:pt x="71663" y="267452"/>
                  </a:lnTo>
                  <a:lnTo>
                    <a:pt x="81781" y="270744"/>
                  </a:lnTo>
                  <a:lnTo>
                    <a:pt x="76722" y="280619"/>
                  </a:lnTo>
                  <a:lnTo>
                    <a:pt x="85153" y="278973"/>
                  </a:lnTo>
                  <a:lnTo>
                    <a:pt x="85153" y="270744"/>
                  </a:lnTo>
                  <a:lnTo>
                    <a:pt x="86839" y="277328"/>
                  </a:lnTo>
                  <a:lnTo>
                    <a:pt x="81781" y="280619"/>
                  </a:lnTo>
                  <a:lnTo>
                    <a:pt x="64918" y="280619"/>
                  </a:lnTo>
                  <a:lnTo>
                    <a:pt x="59860" y="272390"/>
                  </a:lnTo>
                  <a:lnTo>
                    <a:pt x="61546" y="269098"/>
                  </a:lnTo>
                  <a:lnTo>
                    <a:pt x="71663" y="267452"/>
                  </a:lnTo>
                  <a:lnTo>
                    <a:pt x="69977" y="246056"/>
                  </a:lnTo>
                  <a:lnTo>
                    <a:pt x="58173" y="241118"/>
                  </a:lnTo>
                  <a:lnTo>
                    <a:pt x="49742" y="241118"/>
                  </a:lnTo>
                  <a:lnTo>
                    <a:pt x="46370" y="236181"/>
                  </a:lnTo>
                  <a:lnTo>
                    <a:pt x="44684" y="239473"/>
                  </a:lnTo>
                  <a:lnTo>
                    <a:pt x="46370" y="236181"/>
                  </a:lnTo>
                  <a:lnTo>
                    <a:pt x="42997" y="234535"/>
                  </a:lnTo>
                  <a:lnTo>
                    <a:pt x="41311" y="236181"/>
                  </a:lnTo>
                  <a:lnTo>
                    <a:pt x="42997" y="234535"/>
                  </a:lnTo>
                  <a:lnTo>
                    <a:pt x="39625" y="231243"/>
                  </a:lnTo>
                  <a:lnTo>
                    <a:pt x="37939" y="232889"/>
                  </a:lnTo>
                  <a:lnTo>
                    <a:pt x="39625" y="231243"/>
                  </a:lnTo>
                  <a:lnTo>
                    <a:pt x="32880" y="227952"/>
                  </a:lnTo>
                  <a:lnTo>
                    <a:pt x="21076" y="213139"/>
                  </a:lnTo>
                  <a:lnTo>
                    <a:pt x="19390" y="214785"/>
                  </a:lnTo>
                  <a:lnTo>
                    <a:pt x="21076" y="213139"/>
                  </a:lnTo>
                  <a:lnTo>
                    <a:pt x="16018" y="206555"/>
                  </a:lnTo>
                  <a:lnTo>
                    <a:pt x="12645" y="198326"/>
                  </a:lnTo>
                  <a:lnTo>
                    <a:pt x="10959" y="198326"/>
                  </a:lnTo>
                  <a:lnTo>
                    <a:pt x="12645" y="196680"/>
                  </a:lnTo>
                  <a:lnTo>
                    <a:pt x="10959" y="190097"/>
                  </a:lnTo>
                  <a:lnTo>
                    <a:pt x="7587" y="190097"/>
                  </a:lnTo>
                  <a:lnTo>
                    <a:pt x="10959" y="190097"/>
                  </a:lnTo>
                  <a:lnTo>
                    <a:pt x="9273" y="185159"/>
                  </a:lnTo>
                  <a:lnTo>
                    <a:pt x="9273" y="180221"/>
                  </a:lnTo>
                  <a:lnTo>
                    <a:pt x="5900" y="181867"/>
                  </a:lnTo>
                  <a:lnTo>
                    <a:pt x="9273" y="180221"/>
                  </a:lnTo>
                  <a:lnTo>
                    <a:pt x="5900" y="171992"/>
                  </a:lnTo>
                  <a:lnTo>
                    <a:pt x="4214" y="171992"/>
                  </a:lnTo>
                  <a:lnTo>
                    <a:pt x="5900" y="171992"/>
                  </a:lnTo>
                  <a:lnTo>
                    <a:pt x="4214" y="163763"/>
                  </a:lnTo>
                  <a:lnTo>
                    <a:pt x="5900" y="155534"/>
                  </a:lnTo>
                  <a:lnTo>
                    <a:pt x="4214" y="155534"/>
                  </a:lnTo>
                  <a:lnTo>
                    <a:pt x="5900" y="155534"/>
                  </a:lnTo>
                  <a:lnTo>
                    <a:pt x="5900" y="150596"/>
                  </a:lnTo>
                  <a:lnTo>
                    <a:pt x="4214" y="150596"/>
                  </a:lnTo>
                  <a:lnTo>
                    <a:pt x="5900" y="150596"/>
                  </a:lnTo>
                  <a:lnTo>
                    <a:pt x="5900" y="145658"/>
                  </a:lnTo>
                  <a:lnTo>
                    <a:pt x="4214" y="145658"/>
                  </a:lnTo>
                  <a:lnTo>
                    <a:pt x="5900" y="145658"/>
                  </a:lnTo>
                  <a:lnTo>
                    <a:pt x="9273" y="139075"/>
                  </a:lnTo>
                  <a:lnTo>
                    <a:pt x="5900" y="137429"/>
                  </a:lnTo>
                  <a:lnTo>
                    <a:pt x="9273" y="137429"/>
                  </a:lnTo>
                  <a:lnTo>
                    <a:pt x="12645" y="130845"/>
                  </a:lnTo>
                  <a:lnTo>
                    <a:pt x="9273" y="129200"/>
                  </a:lnTo>
                  <a:lnTo>
                    <a:pt x="12645" y="130845"/>
                  </a:lnTo>
                  <a:lnTo>
                    <a:pt x="16018" y="122616"/>
                  </a:lnTo>
                  <a:lnTo>
                    <a:pt x="14332" y="122616"/>
                  </a:lnTo>
                  <a:lnTo>
                    <a:pt x="16018" y="122616"/>
                  </a:lnTo>
                  <a:lnTo>
                    <a:pt x="21076" y="116033"/>
                  </a:lnTo>
                  <a:lnTo>
                    <a:pt x="19390" y="114387"/>
                  </a:lnTo>
                  <a:lnTo>
                    <a:pt x="21076" y="116033"/>
                  </a:lnTo>
                  <a:lnTo>
                    <a:pt x="27821" y="104512"/>
                  </a:lnTo>
                  <a:lnTo>
                    <a:pt x="66605" y="73241"/>
                  </a:lnTo>
                  <a:lnTo>
                    <a:pt x="96957" y="73241"/>
                  </a:lnTo>
                  <a:lnTo>
                    <a:pt x="142485" y="58428"/>
                  </a:lnTo>
                  <a:lnTo>
                    <a:pt x="152602" y="58428"/>
                  </a:lnTo>
                  <a:lnTo>
                    <a:pt x="152602" y="55136"/>
                  </a:lnTo>
                  <a:lnTo>
                    <a:pt x="152602" y="58428"/>
                  </a:lnTo>
                  <a:lnTo>
                    <a:pt x="177895" y="56782"/>
                  </a:lnTo>
                  <a:lnTo>
                    <a:pt x="221737" y="66657"/>
                  </a:lnTo>
                  <a:lnTo>
                    <a:pt x="225110" y="65011"/>
                  </a:lnTo>
                  <a:lnTo>
                    <a:pt x="231855" y="55136"/>
                  </a:lnTo>
                  <a:lnTo>
                    <a:pt x="228482" y="50198"/>
                  </a:lnTo>
                  <a:lnTo>
                    <a:pt x="233541" y="46906"/>
                  </a:lnTo>
                  <a:lnTo>
                    <a:pt x="230168" y="41969"/>
                  </a:lnTo>
                  <a:lnTo>
                    <a:pt x="248717" y="25510"/>
                  </a:lnTo>
                  <a:lnTo>
                    <a:pt x="255462" y="23864"/>
                  </a:lnTo>
                  <a:lnTo>
                    <a:pt x="260520" y="28802"/>
                  </a:lnTo>
                  <a:lnTo>
                    <a:pt x="257148" y="32094"/>
                  </a:lnTo>
                  <a:close/>
                  <a:moveTo>
                    <a:pt x="420712" y="5760"/>
                  </a:moveTo>
                  <a:lnTo>
                    <a:pt x="419025" y="9052"/>
                  </a:lnTo>
                  <a:lnTo>
                    <a:pt x="417339" y="9052"/>
                  </a:lnTo>
                  <a:lnTo>
                    <a:pt x="417339" y="5760"/>
                  </a:lnTo>
                  <a:lnTo>
                    <a:pt x="420712" y="4114"/>
                  </a:lnTo>
                  <a:lnTo>
                    <a:pt x="420712"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4" name="Zandvoort">
              <a:extLst>
                <a:ext uri="{FF2B5EF4-FFF2-40B4-BE49-F238E27FC236}">
                  <a16:creationId xmlns:a16="http://schemas.microsoft.com/office/drawing/2014/main" id="{BD221742-1AD1-471D-A4B0-09ED132C71DE}"/>
                </a:ext>
              </a:extLst>
            </p:cNvPr>
            <p:cNvSpPr/>
            <p:nvPr/>
          </p:nvSpPr>
          <p:spPr>
            <a:xfrm>
              <a:off x="5302015" y="3022731"/>
              <a:ext cx="103585" cy="159329"/>
            </a:xfrm>
            <a:custGeom>
              <a:avLst/>
              <a:gdLst/>
              <a:ahLst/>
              <a:cxnLst/>
              <a:rect l="l" t="t" r="r" b="b"/>
              <a:pathLst>
                <a:path w="152206" h="217170" extrusionOk="0">
                  <a:moveTo>
                    <a:pt x="154288" y="27156"/>
                  </a:moveTo>
                  <a:lnTo>
                    <a:pt x="85153" y="214785"/>
                  </a:lnTo>
                  <a:lnTo>
                    <a:pt x="4214" y="178576"/>
                  </a:lnTo>
                  <a:lnTo>
                    <a:pt x="80094" y="4114"/>
                  </a:lnTo>
                  <a:lnTo>
                    <a:pt x="154288" y="2715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5" name="Koggenland">
              <a:extLst>
                <a:ext uri="{FF2B5EF4-FFF2-40B4-BE49-F238E27FC236}">
                  <a16:creationId xmlns:a16="http://schemas.microsoft.com/office/drawing/2014/main" id="{51536E1A-DD6E-431F-81E2-EB3D3C9E74D9}"/>
                </a:ext>
              </a:extLst>
            </p:cNvPr>
            <p:cNvSpPr/>
            <p:nvPr/>
          </p:nvSpPr>
          <p:spPr>
            <a:xfrm>
              <a:off x="5692354" y="2539129"/>
              <a:ext cx="176260" cy="180107"/>
            </a:xfrm>
            <a:custGeom>
              <a:avLst/>
              <a:gdLst/>
              <a:ahLst/>
              <a:cxnLst/>
              <a:rect l="l" t="t" r="r" b="b"/>
              <a:pathLst>
                <a:path w="269287" h="251460" extrusionOk="0">
                  <a:moveTo>
                    <a:pt x="85153" y="22218"/>
                  </a:moveTo>
                  <a:lnTo>
                    <a:pt x="66605" y="35385"/>
                  </a:lnTo>
                  <a:lnTo>
                    <a:pt x="68291" y="37031"/>
                  </a:lnTo>
                  <a:lnTo>
                    <a:pt x="132367" y="66657"/>
                  </a:lnTo>
                  <a:lnTo>
                    <a:pt x="139112" y="73240"/>
                  </a:lnTo>
                  <a:lnTo>
                    <a:pt x="152602" y="68303"/>
                  </a:lnTo>
                  <a:lnTo>
                    <a:pt x="152602" y="63365"/>
                  </a:lnTo>
                  <a:lnTo>
                    <a:pt x="155974" y="63365"/>
                  </a:lnTo>
                  <a:lnTo>
                    <a:pt x="159347" y="60073"/>
                  </a:lnTo>
                  <a:lnTo>
                    <a:pt x="159347" y="56782"/>
                  </a:lnTo>
                  <a:lnTo>
                    <a:pt x="166092" y="55136"/>
                  </a:lnTo>
                  <a:lnTo>
                    <a:pt x="174523" y="60073"/>
                  </a:lnTo>
                  <a:lnTo>
                    <a:pt x="179582" y="55136"/>
                  </a:lnTo>
                  <a:lnTo>
                    <a:pt x="184640" y="65011"/>
                  </a:lnTo>
                  <a:lnTo>
                    <a:pt x="213306" y="66657"/>
                  </a:lnTo>
                  <a:lnTo>
                    <a:pt x="211620" y="68303"/>
                  </a:lnTo>
                  <a:lnTo>
                    <a:pt x="214992" y="71594"/>
                  </a:lnTo>
                  <a:lnTo>
                    <a:pt x="214992" y="76532"/>
                  </a:lnTo>
                  <a:lnTo>
                    <a:pt x="228482" y="81470"/>
                  </a:lnTo>
                  <a:lnTo>
                    <a:pt x="241972" y="91345"/>
                  </a:lnTo>
                  <a:lnTo>
                    <a:pt x="262207" y="86407"/>
                  </a:lnTo>
                  <a:lnTo>
                    <a:pt x="268951" y="112741"/>
                  </a:lnTo>
                  <a:lnTo>
                    <a:pt x="267265" y="129200"/>
                  </a:lnTo>
                  <a:lnTo>
                    <a:pt x="258834" y="140721"/>
                  </a:lnTo>
                  <a:lnTo>
                    <a:pt x="236913" y="153888"/>
                  </a:lnTo>
                  <a:lnTo>
                    <a:pt x="231855" y="162117"/>
                  </a:lnTo>
                  <a:lnTo>
                    <a:pt x="230168" y="173638"/>
                  </a:lnTo>
                  <a:lnTo>
                    <a:pt x="238599" y="175284"/>
                  </a:lnTo>
                  <a:lnTo>
                    <a:pt x="235227" y="186805"/>
                  </a:lnTo>
                  <a:lnTo>
                    <a:pt x="233541" y="186805"/>
                  </a:lnTo>
                  <a:lnTo>
                    <a:pt x="235227" y="186805"/>
                  </a:lnTo>
                  <a:lnTo>
                    <a:pt x="235227" y="201617"/>
                  </a:lnTo>
                  <a:lnTo>
                    <a:pt x="238599" y="216430"/>
                  </a:lnTo>
                  <a:lnTo>
                    <a:pt x="218365" y="221368"/>
                  </a:lnTo>
                  <a:lnTo>
                    <a:pt x="221737" y="227951"/>
                  </a:lnTo>
                  <a:lnTo>
                    <a:pt x="216678" y="252639"/>
                  </a:lnTo>
                  <a:lnTo>
                    <a:pt x="134053" y="257577"/>
                  </a:lnTo>
                  <a:lnTo>
                    <a:pt x="132367" y="247702"/>
                  </a:lnTo>
                  <a:lnTo>
                    <a:pt x="144171" y="241118"/>
                  </a:lnTo>
                  <a:lnTo>
                    <a:pt x="147543" y="234535"/>
                  </a:lnTo>
                  <a:lnTo>
                    <a:pt x="142484" y="218076"/>
                  </a:lnTo>
                  <a:lnTo>
                    <a:pt x="135740" y="213139"/>
                  </a:lnTo>
                  <a:lnTo>
                    <a:pt x="130681" y="214784"/>
                  </a:lnTo>
                  <a:lnTo>
                    <a:pt x="115505" y="229597"/>
                  </a:lnTo>
                  <a:lnTo>
                    <a:pt x="102015" y="234535"/>
                  </a:lnTo>
                  <a:lnTo>
                    <a:pt x="91898" y="218076"/>
                  </a:lnTo>
                  <a:lnTo>
                    <a:pt x="54801" y="213139"/>
                  </a:lnTo>
                  <a:lnTo>
                    <a:pt x="34566" y="214784"/>
                  </a:lnTo>
                  <a:lnTo>
                    <a:pt x="42997" y="183513"/>
                  </a:lnTo>
                  <a:lnTo>
                    <a:pt x="32880" y="165409"/>
                  </a:lnTo>
                  <a:lnTo>
                    <a:pt x="19390" y="163763"/>
                  </a:lnTo>
                  <a:lnTo>
                    <a:pt x="22763" y="160471"/>
                  </a:lnTo>
                  <a:lnTo>
                    <a:pt x="24449" y="150596"/>
                  </a:lnTo>
                  <a:lnTo>
                    <a:pt x="22763" y="144012"/>
                  </a:lnTo>
                  <a:lnTo>
                    <a:pt x="5900" y="124262"/>
                  </a:lnTo>
                  <a:lnTo>
                    <a:pt x="4214" y="109449"/>
                  </a:lnTo>
                  <a:lnTo>
                    <a:pt x="9273" y="99574"/>
                  </a:lnTo>
                  <a:lnTo>
                    <a:pt x="21076" y="61719"/>
                  </a:lnTo>
                  <a:lnTo>
                    <a:pt x="29507" y="51844"/>
                  </a:lnTo>
                  <a:lnTo>
                    <a:pt x="24449" y="37031"/>
                  </a:lnTo>
                  <a:lnTo>
                    <a:pt x="42997" y="27156"/>
                  </a:lnTo>
                  <a:lnTo>
                    <a:pt x="46370" y="15635"/>
                  </a:lnTo>
                  <a:lnTo>
                    <a:pt x="76722" y="4114"/>
                  </a:lnTo>
                  <a:lnTo>
                    <a:pt x="83467" y="5760"/>
                  </a:lnTo>
                  <a:lnTo>
                    <a:pt x="86839" y="12343"/>
                  </a:lnTo>
                  <a:lnTo>
                    <a:pt x="85153" y="2221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6" name="Rheden">
              <a:extLst>
                <a:ext uri="{FF2B5EF4-FFF2-40B4-BE49-F238E27FC236}">
                  <a16:creationId xmlns:a16="http://schemas.microsoft.com/office/drawing/2014/main" id="{034D1FCB-CDFA-429B-80EA-71C39C8FB9F5}"/>
                </a:ext>
              </a:extLst>
            </p:cNvPr>
            <p:cNvSpPr/>
            <p:nvPr/>
          </p:nvSpPr>
          <p:spPr>
            <a:xfrm>
              <a:off x="6817751" y="3546887"/>
              <a:ext cx="191876" cy="179987"/>
            </a:xfrm>
            <a:custGeom>
              <a:avLst/>
              <a:gdLst/>
              <a:ahLst/>
              <a:cxnLst/>
              <a:rect l="l" t="t" r="r" b="b"/>
              <a:pathLst>
                <a:path w="280996" h="274320" extrusionOk="0">
                  <a:moveTo>
                    <a:pt x="194758" y="13989"/>
                  </a:moveTo>
                  <a:lnTo>
                    <a:pt x="199816" y="13989"/>
                  </a:lnTo>
                  <a:lnTo>
                    <a:pt x="201503" y="17281"/>
                  </a:lnTo>
                  <a:lnTo>
                    <a:pt x="235227" y="27156"/>
                  </a:lnTo>
                  <a:lnTo>
                    <a:pt x="250403" y="41969"/>
                  </a:lnTo>
                  <a:lnTo>
                    <a:pt x="253776" y="50198"/>
                  </a:lnTo>
                  <a:lnTo>
                    <a:pt x="262207" y="50198"/>
                  </a:lnTo>
                  <a:lnTo>
                    <a:pt x="260520" y="53490"/>
                  </a:lnTo>
                  <a:lnTo>
                    <a:pt x="263893" y="63365"/>
                  </a:lnTo>
                  <a:lnTo>
                    <a:pt x="274010" y="60074"/>
                  </a:lnTo>
                  <a:lnTo>
                    <a:pt x="274010" y="63365"/>
                  </a:lnTo>
                  <a:lnTo>
                    <a:pt x="284128" y="65011"/>
                  </a:lnTo>
                  <a:lnTo>
                    <a:pt x="284128" y="71595"/>
                  </a:lnTo>
                  <a:lnTo>
                    <a:pt x="287500" y="71595"/>
                  </a:lnTo>
                  <a:lnTo>
                    <a:pt x="284128" y="76532"/>
                  </a:lnTo>
                  <a:lnTo>
                    <a:pt x="257148" y="94637"/>
                  </a:lnTo>
                  <a:lnTo>
                    <a:pt x="250403" y="102866"/>
                  </a:lnTo>
                  <a:lnTo>
                    <a:pt x="247030" y="111095"/>
                  </a:lnTo>
                  <a:lnTo>
                    <a:pt x="250403" y="122616"/>
                  </a:lnTo>
                  <a:lnTo>
                    <a:pt x="270638" y="135783"/>
                  </a:lnTo>
                  <a:lnTo>
                    <a:pt x="279069" y="147304"/>
                  </a:lnTo>
                  <a:lnTo>
                    <a:pt x="279069" y="158825"/>
                  </a:lnTo>
                  <a:lnTo>
                    <a:pt x="274010" y="175284"/>
                  </a:lnTo>
                  <a:lnTo>
                    <a:pt x="270638" y="190097"/>
                  </a:lnTo>
                  <a:lnTo>
                    <a:pt x="265579" y="198326"/>
                  </a:lnTo>
                  <a:lnTo>
                    <a:pt x="253776" y="204910"/>
                  </a:lnTo>
                  <a:lnTo>
                    <a:pt x="245344" y="224660"/>
                  </a:lnTo>
                  <a:lnTo>
                    <a:pt x="220051" y="232889"/>
                  </a:lnTo>
                  <a:lnTo>
                    <a:pt x="209934" y="229597"/>
                  </a:lnTo>
                  <a:lnTo>
                    <a:pt x="199816" y="214785"/>
                  </a:lnTo>
                  <a:lnTo>
                    <a:pt x="196444" y="209847"/>
                  </a:lnTo>
                  <a:lnTo>
                    <a:pt x="198130" y="196680"/>
                  </a:lnTo>
                  <a:lnTo>
                    <a:pt x="194758" y="190097"/>
                  </a:lnTo>
                  <a:lnTo>
                    <a:pt x="177895" y="180221"/>
                  </a:lnTo>
                  <a:lnTo>
                    <a:pt x="167778" y="181867"/>
                  </a:lnTo>
                  <a:lnTo>
                    <a:pt x="152602" y="193389"/>
                  </a:lnTo>
                  <a:lnTo>
                    <a:pt x="144171" y="211493"/>
                  </a:lnTo>
                  <a:lnTo>
                    <a:pt x="128995" y="224660"/>
                  </a:lnTo>
                  <a:lnTo>
                    <a:pt x="118877" y="226306"/>
                  </a:lnTo>
                  <a:lnTo>
                    <a:pt x="105388" y="223014"/>
                  </a:lnTo>
                  <a:lnTo>
                    <a:pt x="96957" y="227952"/>
                  </a:lnTo>
                  <a:lnTo>
                    <a:pt x="88525" y="237827"/>
                  </a:lnTo>
                  <a:lnTo>
                    <a:pt x="80094" y="269098"/>
                  </a:lnTo>
                  <a:lnTo>
                    <a:pt x="64918" y="278973"/>
                  </a:lnTo>
                  <a:lnTo>
                    <a:pt x="49742" y="262515"/>
                  </a:lnTo>
                  <a:lnTo>
                    <a:pt x="17704" y="242764"/>
                  </a:lnTo>
                  <a:lnTo>
                    <a:pt x="7587" y="229597"/>
                  </a:lnTo>
                  <a:lnTo>
                    <a:pt x="4214" y="218076"/>
                  </a:lnTo>
                  <a:lnTo>
                    <a:pt x="14331" y="214785"/>
                  </a:lnTo>
                  <a:lnTo>
                    <a:pt x="22763" y="216431"/>
                  </a:lnTo>
                  <a:lnTo>
                    <a:pt x="39625" y="209847"/>
                  </a:lnTo>
                  <a:lnTo>
                    <a:pt x="46370" y="195034"/>
                  </a:lnTo>
                  <a:lnTo>
                    <a:pt x="48056" y="173638"/>
                  </a:lnTo>
                  <a:lnTo>
                    <a:pt x="71663" y="153888"/>
                  </a:lnTo>
                  <a:lnTo>
                    <a:pt x="44684" y="86407"/>
                  </a:lnTo>
                  <a:lnTo>
                    <a:pt x="78408" y="86407"/>
                  </a:lnTo>
                  <a:lnTo>
                    <a:pt x="85153" y="74886"/>
                  </a:lnTo>
                  <a:lnTo>
                    <a:pt x="86839" y="56782"/>
                  </a:lnTo>
                  <a:lnTo>
                    <a:pt x="113819" y="53490"/>
                  </a:lnTo>
                  <a:lnTo>
                    <a:pt x="145857" y="23864"/>
                  </a:lnTo>
                  <a:lnTo>
                    <a:pt x="177895" y="4114"/>
                  </a:lnTo>
                  <a:lnTo>
                    <a:pt x="193071" y="4114"/>
                  </a:lnTo>
                  <a:lnTo>
                    <a:pt x="194758" y="1398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7" name="Drechterland">
              <a:extLst>
                <a:ext uri="{FF2B5EF4-FFF2-40B4-BE49-F238E27FC236}">
                  <a16:creationId xmlns:a16="http://schemas.microsoft.com/office/drawing/2014/main" id="{0F47E025-5FC5-421F-BF60-00F8B26AEEFE}"/>
                </a:ext>
              </a:extLst>
            </p:cNvPr>
            <p:cNvSpPr/>
            <p:nvPr/>
          </p:nvSpPr>
          <p:spPr>
            <a:xfrm>
              <a:off x="5931054" y="2533140"/>
              <a:ext cx="144310" cy="144089"/>
            </a:xfrm>
            <a:custGeom>
              <a:avLst/>
              <a:gdLst/>
              <a:ahLst/>
              <a:cxnLst/>
              <a:rect l="l" t="t" r="r" b="b"/>
              <a:pathLst>
                <a:path w="234163" h="217170" extrusionOk="0">
                  <a:moveTo>
                    <a:pt x="161033" y="41969"/>
                  </a:moveTo>
                  <a:lnTo>
                    <a:pt x="174523" y="74886"/>
                  </a:lnTo>
                  <a:lnTo>
                    <a:pt x="176209" y="65011"/>
                  </a:lnTo>
                  <a:lnTo>
                    <a:pt x="179582" y="60073"/>
                  </a:lnTo>
                  <a:lnTo>
                    <a:pt x="235227" y="53490"/>
                  </a:lnTo>
                  <a:lnTo>
                    <a:pt x="236913" y="61719"/>
                  </a:lnTo>
                  <a:lnTo>
                    <a:pt x="231855" y="66657"/>
                  </a:lnTo>
                  <a:lnTo>
                    <a:pt x="230168" y="88053"/>
                  </a:lnTo>
                  <a:lnTo>
                    <a:pt x="223424" y="104512"/>
                  </a:lnTo>
                  <a:lnTo>
                    <a:pt x="220051" y="124262"/>
                  </a:lnTo>
                  <a:lnTo>
                    <a:pt x="213306" y="135783"/>
                  </a:lnTo>
                  <a:lnTo>
                    <a:pt x="176209" y="155533"/>
                  </a:lnTo>
                  <a:lnTo>
                    <a:pt x="167778" y="163763"/>
                  </a:lnTo>
                  <a:lnTo>
                    <a:pt x="164406" y="175284"/>
                  </a:lnTo>
                  <a:lnTo>
                    <a:pt x="150916" y="173638"/>
                  </a:lnTo>
                  <a:lnTo>
                    <a:pt x="132367" y="180221"/>
                  </a:lnTo>
                  <a:lnTo>
                    <a:pt x="123936" y="188451"/>
                  </a:lnTo>
                  <a:lnTo>
                    <a:pt x="122250" y="188451"/>
                  </a:lnTo>
                  <a:lnTo>
                    <a:pt x="125622" y="188451"/>
                  </a:lnTo>
                  <a:lnTo>
                    <a:pt x="113819" y="196680"/>
                  </a:lnTo>
                  <a:lnTo>
                    <a:pt x="105388" y="206555"/>
                  </a:lnTo>
                  <a:lnTo>
                    <a:pt x="90212" y="204909"/>
                  </a:lnTo>
                  <a:lnTo>
                    <a:pt x="58174" y="214785"/>
                  </a:lnTo>
                  <a:lnTo>
                    <a:pt x="54801" y="209847"/>
                  </a:lnTo>
                  <a:lnTo>
                    <a:pt x="59860" y="199972"/>
                  </a:lnTo>
                  <a:lnTo>
                    <a:pt x="48056" y="183513"/>
                  </a:lnTo>
                  <a:lnTo>
                    <a:pt x="29508" y="186805"/>
                  </a:lnTo>
                  <a:lnTo>
                    <a:pt x="26135" y="178576"/>
                  </a:lnTo>
                  <a:lnTo>
                    <a:pt x="31194" y="176930"/>
                  </a:lnTo>
                  <a:lnTo>
                    <a:pt x="26135" y="178576"/>
                  </a:lnTo>
                  <a:lnTo>
                    <a:pt x="26135" y="186805"/>
                  </a:lnTo>
                  <a:lnTo>
                    <a:pt x="17704" y="180221"/>
                  </a:lnTo>
                  <a:lnTo>
                    <a:pt x="17704" y="176930"/>
                  </a:lnTo>
                  <a:lnTo>
                    <a:pt x="26135" y="175284"/>
                  </a:lnTo>
                  <a:lnTo>
                    <a:pt x="19390" y="148950"/>
                  </a:lnTo>
                  <a:lnTo>
                    <a:pt x="44684" y="139075"/>
                  </a:lnTo>
                  <a:lnTo>
                    <a:pt x="39625" y="130845"/>
                  </a:lnTo>
                  <a:lnTo>
                    <a:pt x="37939" y="132491"/>
                  </a:lnTo>
                  <a:lnTo>
                    <a:pt x="32880" y="125908"/>
                  </a:lnTo>
                  <a:lnTo>
                    <a:pt x="26135" y="109449"/>
                  </a:lnTo>
                  <a:lnTo>
                    <a:pt x="10959" y="94636"/>
                  </a:lnTo>
                  <a:lnTo>
                    <a:pt x="14332" y="89699"/>
                  </a:lnTo>
                  <a:lnTo>
                    <a:pt x="4214" y="71594"/>
                  </a:lnTo>
                  <a:lnTo>
                    <a:pt x="54801" y="41969"/>
                  </a:lnTo>
                  <a:lnTo>
                    <a:pt x="147543" y="4114"/>
                  </a:lnTo>
                  <a:lnTo>
                    <a:pt x="161033" y="41969"/>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8" name="Delfzijl">
              <a:extLst>
                <a:ext uri="{FF2B5EF4-FFF2-40B4-BE49-F238E27FC236}">
                  <a16:creationId xmlns:a16="http://schemas.microsoft.com/office/drawing/2014/main" id="{7A2CFEFF-BE90-4658-862F-F320E23F8C0C}"/>
                </a:ext>
              </a:extLst>
            </p:cNvPr>
            <p:cNvSpPr/>
            <p:nvPr/>
          </p:nvSpPr>
          <p:spPr>
            <a:xfrm>
              <a:off x="7649757" y="1340030"/>
              <a:ext cx="347212" cy="295306"/>
            </a:xfrm>
            <a:custGeom>
              <a:avLst/>
              <a:gdLst/>
              <a:ahLst/>
              <a:cxnLst/>
              <a:rect l="l" t="t" r="r" b="b"/>
              <a:pathLst>
                <a:path w="491743" h="445770" extrusionOk="0">
                  <a:moveTo>
                    <a:pt x="228482" y="204909"/>
                  </a:moveTo>
                  <a:lnTo>
                    <a:pt x="228482" y="204909"/>
                  </a:lnTo>
                  <a:close/>
                  <a:moveTo>
                    <a:pt x="488160" y="237827"/>
                  </a:moveTo>
                  <a:lnTo>
                    <a:pt x="483102" y="236181"/>
                  </a:lnTo>
                  <a:lnTo>
                    <a:pt x="488160" y="237827"/>
                  </a:lnTo>
                  <a:close/>
                  <a:moveTo>
                    <a:pt x="444319" y="239472"/>
                  </a:moveTo>
                  <a:lnTo>
                    <a:pt x="444319" y="237827"/>
                  </a:lnTo>
                  <a:lnTo>
                    <a:pt x="444319" y="239472"/>
                  </a:lnTo>
                  <a:lnTo>
                    <a:pt x="457809" y="237827"/>
                  </a:lnTo>
                  <a:lnTo>
                    <a:pt x="457809" y="234535"/>
                  </a:lnTo>
                  <a:lnTo>
                    <a:pt x="457809" y="237827"/>
                  </a:lnTo>
                  <a:lnTo>
                    <a:pt x="469612" y="232889"/>
                  </a:lnTo>
                  <a:lnTo>
                    <a:pt x="469612" y="231243"/>
                  </a:lnTo>
                  <a:lnTo>
                    <a:pt x="471299" y="232889"/>
                  </a:lnTo>
                  <a:lnTo>
                    <a:pt x="483102" y="229597"/>
                  </a:lnTo>
                  <a:lnTo>
                    <a:pt x="481416" y="226306"/>
                  </a:lnTo>
                  <a:lnTo>
                    <a:pt x="483102" y="229597"/>
                  </a:lnTo>
                  <a:lnTo>
                    <a:pt x="488160" y="227951"/>
                  </a:lnTo>
                  <a:lnTo>
                    <a:pt x="483102" y="231243"/>
                  </a:lnTo>
                  <a:lnTo>
                    <a:pt x="457809" y="237827"/>
                  </a:lnTo>
                  <a:lnTo>
                    <a:pt x="488160" y="232889"/>
                  </a:lnTo>
                  <a:lnTo>
                    <a:pt x="479730" y="236181"/>
                  </a:lnTo>
                  <a:lnTo>
                    <a:pt x="444319" y="239472"/>
                  </a:lnTo>
                  <a:close/>
                  <a:moveTo>
                    <a:pt x="236914" y="448497"/>
                  </a:moveTo>
                  <a:lnTo>
                    <a:pt x="230168" y="443559"/>
                  </a:lnTo>
                  <a:lnTo>
                    <a:pt x="226796" y="443559"/>
                  </a:lnTo>
                  <a:lnTo>
                    <a:pt x="218365" y="433684"/>
                  </a:lnTo>
                  <a:lnTo>
                    <a:pt x="214992" y="435330"/>
                  </a:lnTo>
                  <a:lnTo>
                    <a:pt x="208248" y="433684"/>
                  </a:lnTo>
                  <a:lnTo>
                    <a:pt x="211620" y="385954"/>
                  </a:lnTo>
                  <a:lnTo>
                    <a:pt x="206561" y="385954"/>
                  </a:lnTo>
                  <a:lnTo>
                    <a:pt x="208248" y="374433"/>
                  </a:lnTo>
                  <a:lnTo>
                    <a:pt x="204875" y="372787"/>
                  </a:lnTo>
                  <a:lnTo>
                    <a:pt x="206561" y="348099"/>
                  </a:lnTo>
                  <a:lnTo>
                    <a:pt x="174523" y="348099"/>
                  </a:lnTo>
                  <a:lnTo>
                    <a:pt x="172837" y="346454"/>
                  </a:lnTo>
                  <a:lnTo>
                    <a:pt x="174523" y="341516"/>
                  </a:lnTo>
                  <a:lnTo>
                    <a:pt x="186326" y="331641"/>
                  </a:lnTo>
                  <a:lnTo>
                    <a:pt x="181268" y="326703"/>
                  </a:lnTo>
                  <a:lnTo>
                    <a:pt x="179582" y="329995"/>
                  </a:lnTo>
                  <a:lnTo>
                    <a:pt x="176209" y="323411"/>
                  </a:lnTo>
                  <a:lnTo>
                    <a:pt x="177895" y="320120"/>
                  </a:lnTo>
                  <a:lnTo>
                    <a:pt x="172837" y="303661"/>
                  </a:lnTo>
                  <a:lnTo>
                    <a:pt x="172837" y="274036"/>
                  </a:lnTo>
                  <a:lnTo>
                    <a:pt x="169464" y="275681"/>
                  </a:lnTo>
                  <a:lnTo>
                    <a:pt x="166092" y="259223"/>
                  </a:lnTo>
                  <a:lnTo>
                    <a:pt x="166092" y="241118"/>
                  </a:lnTo>
                  <a:lnTo>
                    <a:pt x="162719" y="229597"/>
                  </a:lnTo>
                  <a:lnTo>
                    <a:pt x="164406" y="206555"/>
                  </a:lnTo>
                  <a:lnTo>
                    <a:pt x="167778" y="198326"/>
                  </a:lnTo>
                  <a:lnTo>
                    <a:pt x="167778" y="188451"/>
                  </a:lnTo>
                  <a:lnTo>
                    <a:pt x="152602" y="183513"/>
                  </a:lnTo>
                  <a:lnTo>
                    <a:pt x="150916" y="195034"/>
                  </a:lnTo>
                  <a:lnTo>
                    <a:pt x="140799" y="193388"/>
                  </a:lnTo>
                  <a:lnTo>
                    <a:pt x="140799" y="198326"/>
                  </a:lnTo>
                  <a:lnTo>
                    <a:pt x="134053" y="196680"/>
                  </a:lnTo>
                  <a:lnTo>
                    <a:pt x="135740" y="193388"/>
                  </a:lnTo>
                  <a:lnTo>
                    <a:pt x="132368" y="191742"/>
                  </a:lnTo>
                  <a:lnTo>
                    <a:pt x="130681" y="195034"/>
                  </a:lnTo>
                  <a:lnTo>
                    <a:pt x="113819" y="191742"/>
                  </a:lnTo>
                  <a:lnTo>
                    <a:pt x="107074" y="195034"/>
                  </a:lnTo>
                  <a:lnTo>
                    <a:pt x="103701" y="190097"/>
                  </a:lnTo>
                  <a:lnTo>
                    <a:pt x="95270" y="190097"/>
                  </a:lnTo>
                  <a:lnTo>
                    <a:pt x="91898" y="195034"/>
                  </a:lnTo>
                  <a:lnTo>
                    <a:pt x="91898" y="190097"/>
                  </a:lnTo>
                  <a:lnTo>
                    <a:pt x="88526" y="191742"/>
                  </a:lnTo>
                  <a:lnTo>
                    <a:pt x="86839" y="185159"/>
                  </a:lnTo>
                  <a:lnTo>
                    <a:pt x="78408" y="186805"/>
                  </a:lnTo>
                  <a:lnTo>
                    <a:pt x="76722" y="180221"/>
                  </a:lnTo>
                  <a:lnTo>
                    <a:pt x="80094" y="165409"/>
                  </a:lnTo>
                  <a:lnTo>
                    <a:pt x="78408" y="158825"/>
                  </a:lnTo>
                  <a:lnTo>
                    <a:pt x="73349" y="153888"/>
                  </a:lnTo>
                  <a:lnTo>
                    <a:pt x="68291" y="155533"/>
                  </a:lnTo>
                  <a:lnTo>
                    <a:pt x="64918" y="150596"/>
                  </a:lnTo>
                  <a:lnTo>
                    <a:pt x="58174" y="155533"/>
                  </a:lnTo>
                  <a:lnTo>
                    <a:pt x="41311" y="140721"/>
                  </a:lnTo>
                  <a:lnTo>
                    <a:pt x="44684" y="135783"/>
                  </a:lnTo>
                  <a:lnTo>
                    <a:pt x="36253" y="127554"/>
                  </a:lnTo>
                  <a:lnTo>
                    <a:pt x="37939" y="125908"/>
                  </a:lnTo>
                  <a:lnTo>
                    <a:pt x="32880" y="119324"/>
                  </a:lnTo>
                  <a:lnTo>
                    <a:pt x="36253" y="117679"/>
                  </a:lnTo>
                  <a:lnTo>
                    <a:pt x="10959" y="78178"/>
                  </a:lnTo>
                  <a:lnTo>
                    <a:pt x="4214" y="65011"/>
                  </a:lnTo>
                  <a:lnTo>
                    <a:pt x="102015" y="4114"/>
                  </a:lnTo>
                  <a:lnTo>
                    <a:pt x="130681" y="28802"/>
                  </a:lnTo>
                  <a:lnTo>
                    <a:pt x="154288" y="41969"/>
                  </a:lnTo>
                  <a:lnTo>
                    <a:pt x="159347" y="50198"/>
                  </a:lnTo>
                  <a:lnTo>
                    <a:pt x="164406" y="48552"/>
                  </a:lnTo>
                  <a:lnTo>
                    <a:pt x="159347" y="50198"/>
                  </a:lnTo>
                  <a:lnTo>
                    <a:pt x="169464" y="66657"/>
                  </a:lnTo>
                  <a:lnTo>
                    <a:pt x="164406" y="74886"/>
                  </a:lnTo>
                  <a:lnTo>
                    <a:pt x="169464" y="76532"/>
                  </a:lnTo>
                  <a:lnTo>
                    <a:pt x="174523" y="83115"/>
                  </a:lnTo>
                  <a:lnTo>
                    <a:pt x="172837" y="83115"/>
                  </a:lnTo>
                  <a:lnTo>
                    <a:pt x="171150" y="94637"/>
                  </a:lnTo>
                  <a:lnTo>
                    <a:pt x="171150" y="104512"/>
                  </a:lnTo>
                  <a:lnTo>
                    <a:pt x="174523" y="114387"/>
                  </a:lnTo>
                  <a:lnTo>
                    <a:pt x="179582" y="116033"/>
                  </a:lnTo>
                  <a:lnTo>
                    <a:pt x="176209" y="116033"/>
                  </a:lnTo>
                  <a:lnTo>
                    <a:pt x="177895" y="125908"/>
                  </a:lnTo>
                  <a:lnTo>
                    <a:pt x="184641" y="130846"/>
                  </a:lnTo>
                  <a:lnTo>
                    <a:pt x="181268" y="129200"/>
                  </a:lnTo>
                  <a:lnTo>
                    <a:pt x="179582" y="140721"/>
                  </a:lnTo>
                  <a:lnTo>
                    <a:pt x="184641" y="148950"/>
                  </a:lnTo>
                  <a:lnTo>
                    <a:pt x="184641" y="163763"/>
                  </a:lnTo>
                  <a:lnTo>
                    <a:pt x="193072" y="183513"/>
                  </a:lnTo>
                  <a:lnTo>
                    <a:pt x="201503" y="181867"/>
                  </a:lnTo>
                  <a:lnTo>
                    <a:pt x="233541" y="208201"/>
                  </a:lnTo>
                  <a:lnTo>
                    <a:pt x="235227" y="213139"/>
                  </a:lnTo>
                  <a:lnTo>
                    <a:pt x="240286" y="213139"/>
                  </a:lnTo>
                  <a:lnTo>
                    <a:pt x="241972" y="211493"/>
                  </a:lnTo>
                  <a:lnTo>
                    <a:pt x="241972" y="213139"/>
                  </a:lnTo>
                  <a:lnTo>
                    <a:pt x="243658" y="214785"/>
                  </a:lnTo>
                  <a:lnTo>
                    <a:pt x="245345" y="213139"/>
                  </a:lnTo>
                  <a:lnTo>
                    <a:pt x="245345" y="218076"/>
                  </a:lnTo>
                  <a:lnTo>
                    <a:pt x="255462" y="224660"/>
                  </a:lnTo>
                  <a:lnTo>
                    <a:pt x="255462" y="231243"/>
                  </a:lnTo>
                  <a:lnTo>
                    <a:pt x="260521" y="232889"/>
                  </a:lnTo>
                  <a:lnTo>
                    <a:pt x="294245" y="242764"/>
                  </a:lnTo>
                  <a:lnTo>
                    <a:pt x="319538" y="252639"/>
                  </a:lnTo>
                  <a:lnTo>
                    <a:pt x="346518" y="252639"/>
                  </a:lnTo>
                  <a:lnTo>
                    <a:pt x="338087" y="257577"/>
                  </a:lnTo>
                  <a:lnTo>
                    <a:pt x="324597" y="255931"/>
                  </a:lnTo>
                  <a:lnTo>
                    <a:pt x="294245" y="246056"/>
                  </a:lnTo>
                  <a:lnTo>
                    <a:pt x="267265" y="239472"/>
                  </a:lnTo>
                  <a:lnTo>
                    <a:pt x="248717" y="227951"/>
                  </a:lnTo>
                  <a:lnTo>
                    <a:pt x="240286" y="216430"/>
                  </a:lnTo>
                  <a:lnTo>
                    <a:pt x="236914" y="219722"/>
                  </a:lnTo>
                  <a:lnTo>
                    <a:pt x="238599" y="221368"/>
                  </a:lnTo>
                  <a:lnTo>
                    <a:pt x="236914" y="227951"/>
                  </a:lnTo>
                  <a:lnTo>
                    <a:pt x="238599" y="221368"/>
                  </a:lnTo>
                  <a:lnTo>
                    <a:pt x="236914" y="219722"/>
                  </a:lnTo>
                  <a:lnTo>
                    <a:pt x="231855" y="226306"/>
                  </a:lnTo>
                  <a:lnTo>
                    <a:pt x="231855" y="229597"/>
                  </a:lnTo>
                  <a:lnTo>
                    <a:pt x="235227" y="231243"/>
                  </a:lnTo>
                  <a:lnTo>
                    <a:pt x="233541" y="234535"/>
                  </a:lnTo>
                  <a:lnTo>
                    <a:pt x="235227" y="231243"/>
                  </a:lnTo>
                  <a:lnTo>
                    <a:pt x="252089" y="236181"/>
                  </a:lnTo>
                  <a:lnTo>
                    <a:pt x="253776" y="239472"/>
                  </a:lnTo>
                  <a:lnTo>
                    <a:pt x="250403" y="246056"/>
                  </a:lnTo>
                  <a:lnTo>
                    <a:pt x="258834" y="239472"/>
                  </a:lnTo>
                  <a:lnTo>
                    <a:pt x="284127" y="250993"/>
                  </a:lnTo>
                  <a:lnTo>
                    <a:pt x="292559" y="249348"/>
                  </a:lnTo>
                  <a:lnTo>
                    <a:pt x="331342" y="265806"/>
                  </a:lnTo>
                  <a:lnTo>
                    <a:pt x="292559" y="249348"/>
                  </a:lnTo>
                  <a:lnTo>
                    <a:pt x="285814" y="249348"/>
                  </a:lnTo>
                  <a:lnTo>
                    <a:pt x="285814" y="247702"/>
                  </a:lnTo>
                  <a:lnTo>
                    <a:pt x="268952" y="242764"/>
                  </a:lnTo>
                  <a:lnTo>
                    <a:pt x="285814" y="247702"/>
                  </a:lnTo>
                  <a:lnTo>
                    <a:pt x="285814" y="249348"/>
                  </a:lnTo>
                  <a:lnTo>
                    <a:pt x="290872" y="247702"/>
                  </a:lnTo>
                  <a:lnTo>
                    <a:pt x="289187" y="249348"/>
                  </a:lnTo>
                  <a:lnTo>
                    <a:pt x="292559" y="249348"/>
                  </a:lnTo>
                  <a:lnTo>
                    <a:pt x="339773" y="267452"/>
                  </a:lnTo>
                  <a:lnTo>
                    <a:pt x="331342" y="265806"/>
                  </a:lnTo>
                  <a:lnTo>
                    <a:pt x="338087" y="269098"/>
                  </a:lnTo>
                  <a:lnTo>
                    <a:pt x="339773" y="272390"/>
                  </a:lnTo>
                  <a:lnTo>
                    <a:pt x="354949" y="260869"/>
                  </a:lnTo>
                  <a:lnTo>
                    <a:pt x="353263" y="255931"/>
                  </a:lnTo>
                  <a:lnTo>
                    <a:pt x="358322" y="267452"/>
                  </a:lnTo>
                  <a:lnTo>
                    <a:pt x="354949" y="278973"/>
                  </a:lnTo>
                  <a:lnTo>
                    <a:pt x="378556" y="287202"/>
                  </a:lnTo>
                  <a:lnTo>
                    <a:pt x="385301" y="287202"/>
                  </a:lnTo>
                  <a:lnTo>
                    <a:pt x="395418" y="282265"/>
                  </a:lnTo>
                  <a:lnTo>
                    <a:pt x="397105" y="272390"/>
                  </a:lnTo>
                  <a:lnTo>
                    <a:pt x="397105" y="278973"/>
                  </a:lnTo>
                  <a:lnTo>
                    <a:pt x="393732" y="283911"/>
                  </a:lnTo>
                  <a:lnTo>
                    <a:pt x="397105" y="287202"/>
                  </a:lnTo>
                  <a:lnTo>
                    <a:pt x="398791" y="272390"/>
                  </a:lnTo>
                  <a:lnTo>
                    <a:pt x="397105" y="287202"/>
                  </a:lnTo>
                  <a:lnTo>
                    <a:pt x="405536" y="290494"/>
                  </a:lnTo>
                  <a:lnTo>
                    <a:pt x="410595" y="293786"/>
                  </a:lnTo>
                  <a:lnTo>
                    <a:pt x="452750" y="292140"/>
                  </a:lnTo>
                  <a:lnTo>
                    <a:pt x="459495" y="282265"/>
                  </a:lnTo>
                  <a:lnTo>
                    <a:pt x="451064" y="288848"/>
                  </a:lnTo>
                  <a:lnTo>
                    <a:pt x="456122" y="282265"/>
                  </a:lnTo>
                  <a:lnTo>
                    <a:pt x="459495" y="282265"/>
                  </a:lnTo>
                  <a:lnTo>
                    <a:pt x="461181" y="278973"/>
                  </a:lnTo>
                  <a:lnTo>
                    <a:pt x="459495" y="287202"/>
                  </a:lnTo>
                  <a:lnTo>
                    <a:pt x="462868" y="287202"/>
                  </a:lnTo>
                  <a:lnTo>
                    <a:pt x="461181" y="282265"/>
                  </a:lnTo>
                  <a:lnTo>
                    <a:pt x="464553" y="282265"/>
                  </a:lnTo>
                  <a:lnTo>
                    <a:pt x="467926" y="275681"/>
                  </a:lnTo>
                  <a:lnTo>
                    <a:pt x="464553" y="282265"/>
                  </a:lnTo>
                  <a:lnTo>
                    <a:pt x="474671" y="277327"/>
                  </a:lnTo>
                  <a:lnTo>
                    <a:pt x="478044" y="269098"/>
                  </a:lnTo>
                  <a:lnTo>
                    <a:pt x="476357" y="275681"/>
                  </a:lnTo>
                  <a:lnTo>
                    <a:pt x="484788" y="272390"/>
                  </a:lnTo>
                  <a:lnTo>
                    <a:pt x="479730" y="272390"/>
                  </a:lnTo>
                  <a:lnTo>
                    <a:pt x="484788" y="269098"/>
                  </a:lnTo>
                  <a:lnTo>
                    <a:pt x="488160" y="274036"/>
                  </a:lnTo>
                  <a:lnTo>
                    <a:pt x="486475" y="272390"/>
                  </a:lnTo>
                  <a:lnTo>
                    <a:pt x="486475" y="274036"/>
                  </a:lnTo>
                  <a:lnTo>
                    <a:pt x="486475" y="282265"/>
                  </a:lnTo>
                  <a:lnTo>
                    <a:pt x="484788" y="278973"/>
                  </a:lnTo>
                  <a:lnTo>
                    <a:pt x="481416" y="280619"/>
                  </a:lnTo>
                  <a:lnTo>
                    <a:pt x="474671" y="290494"/>
                  </a:lnTo>
                  <a:lnTo>
                    <a:pt x="464553" y="297078"/>
                  </a:lnTo>
                  <a:lnTo>
                    <a:pt x="462868" y="313536"/>
                  </a:lnTo>
                  <a:lnTo>
                    <a:pt x="467926" y="333287"/>
                  </a:lnTo>
                  <a:lnTo>
                    <a:pt x="462868" y="341516"/>
                  </a:lnTo>
                  <a:lnTo>
                    <a:pt x="457809" y="362912"/>
                  </a:lnTo>
                  <a:lnTo>
                    <a:pt x="459495" y="376079"/>
                  </a:lnTo>
                  <a:lnTo>
                    <a:pt x="467926" y="384308"/>
                  </a:lnTo>
                  <a:lnTo>
                    <a:pt x="462868" y="392538"/>
                  </a:lnTo>
                  <a:lnTo>
                    <a:pt x="467926" y="384308"/>
                  </a:lnTo>
                  <a:lnTo>
                    <a:pt x="478044" y="395829"/>
                  </a:lnTo>
                  <a:lnTo>
                    <a:pt x="467926" y="400767"/>
                  </a:lnTo>
                  <a:lnTo>
                    <a:pt x="456122" y="413934"/>
                  </a:lnTo>
                  <a:lnTo>
                    <a:pt x="461181" y="417226"/>
                  </a:lnTo>
                  <a:lnTo>
                    <a:pt x="442633" y="432038"/>
                  </a:lnTo>
                  <a:lnTo>
                    <a:pt x="430829" y="417226"/>
                  </a:lnTo>
                  <a:lnTo>
                    <a:pt x="427457" y="420517"/>
                  </a:lnTo>
                  <a:lnTo>
                    <a:pt x="402164" y="390892"/>
                  </a:lnTo>
                  <a:lnTo>
                    <a:pt x="398791" y="392538"/>
                  </a:lnTo>
                  <a:lnTo>
                    <a:pt x="397105" y="390892"/>
                  </a:lnTo>
                  <a:lnTo>
                    <a:pt x="393732" y="392538"/>
                  </a:lnTo>
                  <a:lnTo>
                    <a:pt x="388673" y="399121"/>
                  </a:lnTo>
                  <a:lnTo>
                    <a:pt x="375184" y="407351"/>
                  </a:lnTo>
                  <a:lnTo>
                    <a:pt x="360008" y="389246"/>
                  </a:lnTo>
                  <a:lnTo>
                    <a:pt x="361694" y="374433"/>
                  </a:lnTo>
                  <a:lnTo>
                    <a:pt x="338087" y="374433"/>
                  </a:lnTo>
                  <a:lnTo>
                    <a:pt x="270638" y="400767"/>
                  </a:lnTo>
                  <a:lnTo>
                    <a:pt x="262207" y="420517"/>
                  </a:lnTo>
                  <a:lnTo>
                    <a:pt x="260521" y="432038"/>
                  </a:lnTo>
                  <a:lnTo>
                    <a:pt x="257148" y="436976"/>
                  </a:lnTo>
                  <a:lnTo>
                    <a:pt x="250403" y="432038"/>
                  </a:lnTo>
                  <a:lnTo>
                    <a:pt x="236914" y="448497"/>
                  </a:lnTo>
                  <a:close/>
                  <a:moveTo>
                    <a:pt x="228482" y="231243"/>
                  </a:moveTo>
                  <a:lnTo>
                    <a:pt x="231855" y="226306"/>
                  </a:lnTo>
                  <a:lnTo>
                    <a:pt x="228482" y="226306"/>
                  </a:lnTo>
                  <a:lnTo>
                    <a:pt x="230168" y="227951"/>
                  </a:lnTo>
                  <a:lnTo>
                    <a:pt x="228482" y="231243"/>
                  </a:lnTo>
                  <a:close/>
                  <a:moveTo>
                    <a:pt x="334714" y="257577"/>
                  </a:moveTo>
                  <a:lnTo>
                    <a:pt x="346518" y="254285"/>
                  </a:lnTo>
                  <a:lnTo>
                    <a:pt x="329656" y="255931"/>
                  </a:lnTo>
                  <a:lnTo>
                    <a:pt x="311107" y="250993"/>
                  </a:lnTo>
                  <a:lnTo>
                    <a:pt x="334714" y="257577"/>
                  </a:lnTo>
                  <a:close/>
                  <a:moveTo>
                    <a:pt x="311107" y="250993"/>
                  </a:moveTo>
                  <a:lnTo>
                    <a:pt x="294245" y="244410"/>
                  </a:lnTo>
                  <a:lnTo>
                    <a:pt x="255462" y="234535"/>
                  </a:lnTo>
                  <a:lnTo>
                    <a:pt x="267265" y="239472"/>
                  </a:lnTo>
                  <a:lnTo>
                    <a:pt x="294245" y="244410"/>
                  </a:lnTo>
                  <a:lnTo>
                    <a:pt x="311107" y="250993"/>
                  </a:lnTo>
                  <a:close/>
                  <a:moveTo>
                    <a:pt x="356635" y="265806"/>
                  </a:moveTo>
                  <a:lnTo>
                    <a:pt x="354949" y="260869"/>
                  </a:lnTo>
                  <a:lnTo>
                    <a:pt x="351576" y="264160"/>
                  </a:lnTo>
                  <a:lnTo>
                    <a:pt x="356635" y="265806"/>
                  </a:lnTo>
                  <a:close/>
                  <a:moveTo>
                    <a:pt x="471299" y="278973"/>
                  </a:moveTo>
                  <a:lnTo>
                    <a:pt x="478044" y="275681"/>
                  </a:lnTo>
                  <a:lnTo>
                    <a:pt x="476357" y="275681"/>
                  </a:lnTo>
                  <a:lnTo>
                    <a:pt x="471299" y="27897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69" name="Veere">
              <a:extLst>
                <a:ext uri="{FF2B5EF4-FFF2-40B4-BE49-F238E27FC236}">
                  <a16:creationId xmlns:a16="http://schemas.microsoft.com/office/drawing/2014/main" id="{C48A40B3-B51F-4292-99E2-541D2A9E2C71}"/>
                </a:ext>
              </a:extLst>
            </p:cNvPr>
            <p:cNvSpPr/>
            <p:nvPr/>
          </p:nvSpPr>
          <p:spPr>
            <a:xfrm>
              <a:off x="4168209" y="4233151"/>
              <a:ext cx="308363" cy="293401"/>
            </a:xfrm>
            <a:custGeom>
              <a:avLst/>
              <a:gdLst/>
              <a:ahLst/>
              <a:cxnLst/>
              <a:rect l="l" t="t" r="r" b="b"/>
              <a:pathLst>
                <a:path w="468326" h="445770" extrusionOk="0">
                  <a:moveTo>
                    <a:pt x="403849" y="278973"/>
                  </a:moveTo>
                  <a:lnTo>
                    <a:pt x="400477" y="278973"/>
                  </a:lnTo>
                  <a:lnTo>
                    <a:pt x="407222" y="274036"/>
                  </a:lnTo>
                  <a:lnTo>
                    <a:pt x="410594" y="267452"/>
                  </a:lnTo>
                  <a:lnTo>
                    <a:pt x="410594" y="274036"/>
                  </a:lnTo>
                  <a:lnTo>
                    <a:pt x="403849" y="278973"/>
                  </a:lnTo>
                  <a:close/>
                  <a:moveTo>
                    <a:pt x="405536" y="247702"/>
                  </a:moveTo>
                  <a:lnTo>
                    <a:pt x="408908" y="252639"/>
                  </a:lnTo>
                  <a:lnTo>
                    <a:pt x="410594" y="264160"/>
                  </a:lnTo>
                  <a:lnTo>
                    <a:pt x="405536" y="264160"/>
                  </a:lnTo>
                  <a:lnTo>
                    <a:pt x="403849" y="274036"/>
                  </a:lnTo>
                  <a:lnTo>
                    <a:pt x="398791" y="277328"/>
                  </a:lnTo>
                  <a:lnTo>
                    <a:pt x="397104" y="262515"/>
                  </a:lnTo>
                  <a:lnTo>
                    <a:pt x="390360" y="241118"/>
                  </a:lnTo>
                  <a:lnTo>
                    <a:pt x="393732" y="237827"/>
                  </a:lnTo>
                  <a:lnTo>
                    <a:pt x="400477" y="241118"/>
                  </a:lnTo>
                  <a:lnTo>
                    <a:pt x="405536" y="247702"/>
                  </a:lnTo>
                  <a:close/>
                  <a:moveTo>
                    <a:pt x="376870" y="224660"/>
                  </a:moveTo>
                  <a:lnTo>
                    <a:pt x="380242" y="234535"/>
                  </a:lnTo>
                  <a:lnTo>
                    <a:pt x="376870" y="227952"/>
                  </a:lnTo>
                  <a:lnTo>
                    <a:pt x="373497" y="224660"/>
                  </a:lnTo>
                  <a:lnTo>
                    <a:pt x="376870" y="224660"/>
                  </a:lnTo>
                  <a:close/>
                  <a:moveTo>
                    <a:pt x="366752" y="214785"/>
                  </a:moveTo>
                  <a:lnTo>
                    <a:pt x="375184" y="216431"/>
                  </a:lnTo>
                  <a:lnTo>
                    <a:pt x="376870" y="219722"/>
                  </a:lnTo>
                  <a:lnTo>
                    <a:pt x="370125" y="218076"/>
                  </a:lnTo>
                  <a:lnTo>
                    <a:pt x="365066" y="221368"/>
                  </a:lnTo>
                  <a:lnTo>
                    <a:pt x="366752" y="214785"/>
                  </a:lnTo>
                  <a:close/>
                  <a:moveTo>
                    <a:pt x="279069" y="139075"/>
                  </a:moveTo>
                  <a:lnTo>
                    <a:pt x="289186" y="140721"/>
                  </a:lnTo>
                  <a:lnTo>
                    <a:pt x="302676" y="147304"/>
                  </a:lnTo>
                  <a:lnTo>
                    <a:pt x="290872" y="144013"/>
                  </a:lnTo>
                  <a:lnTo>
                    <a:pt x="292559" y="145658"/>
                  </a:lnTo>
                  <a:lnTo>
                    <a:pt x="302676" y="150596"/>
                  </a:lnTo>
                  <a:lnTo>
                    <a:pt x="326283" y="147304"/>
                  </a:lnTo>
                  <a:lnTo>
                    <a:pt x="326283" y="152242"/>
                  </a:lnTo>
                  <a:lnTo>
                    <a:pt x="309421" y="160471"/>
                  </a:lnTo>
                  <a:lnTo>
                    <a:pt x="309421" y="186805"/>
                  </a:lnTo>
                  <a:lnTo>
                    <a:pt x="326283" y="206555"/>
                  </a:lnTo>
                  <a:lnTo>
                    <a:pt x="324597" y="208201"/>
                  </a:lnTo>
                  <a:lnTo>
                    <a:pt x="327969" y="213139"/>
                  </a:lnTo>
                  <a:lnTo>
                    <a:pt x="324597" y="213139"/>
                  </a:lnTo>
                  <a:lnTo>
                    <a:pt x="329656" y="213139"/>
                  </a:lnTo>
                  <a:lnTo>
                    <a:pt x="341459" y="223014"/>
                  </a:lnTo>
                  <a:lnTo>
                    <a:pt x="348204" y="223014"/>
                  </a:lnTo>
                  <a:lnTo>
                    <a:pt x="341459" y="223014"/>
                  </a:lnTo>
                  <a:lnTo>
                    <a:pt x="333028" y="219722"/>
                  </a:lnTo>
                  <a:lnTo>
                    <a:pt x="333028" y="221368"/>
                  </a:lnTo>
                  <a:lnTo>
                    <a:pt x="339773" y="224660"/>
                  </a:lnTo>
                  <a:lnTo>
                    <a:pt x="346518" y="226306"/>
                  </a:lnTo>
                  <a:lnTo>
                    <a:pt x="361694" y="241118"/>
                  </a:lnTo>
                  <a:lnTo>
                    <a:pt x="370125" y="244410"/>
                  </a:lnTo>
                  <a:lnTo>
                    <a:pt x="361694" y="249348"/>
                  </a:lnTo>
                  <a:lnTo>
                    <a:pt x="371811" y="244410"/>
                  </a:lnTo>
                  <a:lnTo>
                    <a:pt x="373497" y="249348"/>
                  </a:lnTo>
                  <a:lnTo>
                    <a:pt x="368439" y="257577"/>
                  </a:lnTo>
                  <a:lnTo>
                    <a:pt x="366752" y="264160"/>
                  </a:lnTo>
                  <a:lnTo>
                    <a:pt x="368439" y="264160"/>
                  </a:lnTo>
                  <a:lnTo>
                    <a:pt x="375184" y="252639"/>
                  </a:lnTo>
                  <a:lnTo>
                    <a:pt x="376870" y="252639"/>
                  </a:lnTo>
                  <a:lnTo>
                    <a:pt x="386987" y="280619"/>
                  </a:lnTo>
                  <a:lnTo>
                    <a:pt x="353263" y="318474"/>
                  </a:lnTo>
                  <a:lnTo>
                    <a:pt x="349890" y="311891"/>
                  </a:lnTo>
                  <a:lnTo>
                    <a:pt x="326283" y="316828"/>
                  </a:lnTo>
                  <a:lnTo>
                    <a:pt x="316166" y="315182"/>
                  </a:lnTo>
                  <a:lnTo>
                    <a:pt x="314479" y="302015"/>
                  </a:lnTo>
                  <a:lnTo>
                    <a:pt x="289186" y="302015"/>
                  </a:lnTo>
                  <a:lnTo>
                    <a:pt x="284127" y="278973"/>
                  </a:lnTo>
                  <a:lnTo>
                    <a:pt x="268951" y="280619"/>
                  </a:lnTo>
                  <a:lnTo>
                    <a:pt x="267265" y="278973"/>
                  </a:lnTo>
                  <a:lnTo>
                    <a:pt x="247031" y="285557"/>
                  </a:lnTo>
                  <a:lnTo>
                    <a:pt x="248717" y="290494"/>
                  </a:lnTo>
                  <a:lnTo>
                    <a:pt x="253775" y="293786"/>
                  </a:lnTo>
                  <a:lnTo>
                    <a:pt x="257148" y="308599"/>
                  </a:lnTo>
                  <a:lnTo>
                    <a:pt x="236913" y="315182"/>
                  </a:lnTo>
                  <a:lnTo>
                    <a:pt x="235227" y="329995"/>
                  </a:lnTo>
                  <a:lnTo>
                    <a:pt x="228482" y="331641"/>
                  </a:lnTo>
                  <a:lnTo>
                    <a:pt x="235227" y="341516"/>
                  </a:lnTo>
                  <a:lnTo>
                    <a:pt x="223423" y="346454"/>
                  </a:lnTo>
                  <a:lnTo>
                    <a:pt x="226796" y="351391"/>
                  </a:lnTo>
                  <a:lnTo>
                    <a:pt x="226796" y="356329"/>
                  </a:lnTo>
                  <a:lnTo>
                    <a:pt x="231854" y="361267"/>
                  </a:lnTo>
                  <a:lnTo>
                    <a:pt x="236913" y="376079"/>
                  </a:lnTo>
                  <a:lnTo>
                    <a:pt x="236913" y="384309"/>
                  </a:lnTo>
                  <a:lnTo>
                    <a:pt x="228482" y="387600"/>
                  </a:lnTo>
                  <a:lnTo>
                    <a:pt x="233541" y="404059"/>
                  </a:lnTo>
                  <a:lnTo>
                    <a:pt x="236913" y="404059"/>
                  </a:lnTo>
                  <a:lnTo>
                    <a:pt x="240286" y="412288"/>
                  </a:lnTo>
                  <a:lnTo>
                    <a:pt x="235227" y="413934"/>
                  </a:lnTo>
                  <a:lnTo>
                    <a:pt x="231854" y="420518"/>
                  </a:lnTo>
                  <a:lnTo>
                    <a:pt x="221737" y="423809"/>
                  </a:lnTo>
                  <a:lnTo>
                    <a:pt x="220051" y="417226"/>
                  </a:lnTo>
                  <a:lnTo>
                    <a:pt x="214992" y="417226"/>
                  </a:lnTo>
                  <a:lnTo>
                    <a:pt x="206561" y="413934"/>
                  </a:lnTo>
                  <a:lnTo>
                    <a:pt x="206561" y="427101"/>
                  </a:lnTo>
                  <a:lnTo>
                    <a:pt x="204875" y="433684"/>
                  </a:lnTo>
                  <a:lnTo>
                    <a:pt x="198130" y="430393"/>
                  </a:lnTo>
                  <a:lnTo>
                    <a:pt x="193071" y="438622"/>
                  </a:lnTo>
                  <a:lnTo>
                    <a:pt x="189699" y="438622"/>
                  </a:lnTo>
                  <a:lnTo>
                    <a:pt x="186326" y="432039"/>
                  </a:lnTo>
                  <a:lnTo>
                    <a:pt x="172837" y="441914"/>
                  </a:lnTo>
                  <a:lnTo>
                    <a:pt x="142485" y="450143"/>
                  </a:lnTo>
                  <a:lnTo>
                    <a:pt x="144171" y="448497"/>
                  </a:lnTo>
                  <a:lnTo>
                    <a:pt x="142485" y="445206"/>
                  </a:lnTo>
                  <a:lnTo>
                    <a:pt x="139112" y="446851"/>
                  </a:lnTo>
                  <a:lnTo>
                    <a:pt x="142485" y="445206"/>
                  </a:lnTo>
                  <a:lnTo>
                    <a:pt x="139112" y="440268"/>
                  </a:lnTo>
                  <a:lnTo>
                    <a:pt x="135740" y="441914"/>
                  </a:lnTo>
                  <a:lnTo>
                    <a:pt x="139112" y="440268"/>
                  </a:lnTo>
                  <a:lnTo>
                    <a:pt x="137426" y="435330"/>
                  </a:lnTo>
                  <a:lnTo>
                    <a:pt x="134053" y="436976"/>
                  </a:lnTo>
                  <a:lnTo>
                    <a:pt x="135740" y="433684"/>
                  </a:lnTo>
                  <a:lnTo>
                    <a:pt x="132367" y="430393"/>
                  </a:lnTo>
                  <a:lnTo>
                    <a:pt x="130681" y="432039"/>
                  </a:lnTo>
                  <a:lnTo>
                    <a:pt x="132367" y="430393"/>
                  </a:lnTo>
                  <a:lnTo>
                    <a:pt x="130681" y="427101"/>
                  </a:lnTo>
                  <a:lnTo>
                    <a:pt x="127309" y="427101"/>
                  </a:lnTo>
                  <a:lnTo>
                    <a:pt x="128995" y="425455"/>
                  </a:lnTo>
                  <a:lnTo>
                    <a:pt x="128995" y="422164"/>
                  </a:lnTo>
                  <a:lnTo>
                    <a:pt x="125622" y="423809"/>
                  </a:lnTo>
                  <a:lnTo>
                    <a:pt x="127309" y="422164"/>
                  </a:lnTo>
                  <a:lnTo>
                    <a:pt x="127309" y="417226"/>
                  </a:lnTo>
                  <a:lnTo>
                    <a:pt x="123936" y="418872"/>
                  </a:lnTo>
                  <a:lnTo>
                    <a:pt x="127309" y="417226"/>
                  </a:lnTo>
                  <a:lnTo>
                    <a:pt x="125622" y="413934"/>
                  </a:lnTo>
                  <a:lnTo>
                    <a:pt x="120564" y="415580"/>
                  </a:lnTo>
                  <a:lnTo>
                    <a:pt x="125622" y="413934"/>
                  </a:lnTo>
                  <a:lnTo>
                    <a:pt x="123936" y="410642"/>
                  </a:lnTo>
                  <a:lnTo>
                    <a:pt x="118877" y="412288"/>
                  </a:lnTo>
                  <a:lnTo>
                    <a:pt x="122250" y="407351"/>
                  </a:lnTo>
                  <a:lnTo>
                    <a:pt x="120564" y="405705"/>
                  </a:lnTo>
                  <a:lnTo>
                    <a:pt x="117191" y="407351"/>
                  </a:lnTo>
                  <a:lnTo>
                    <a:pt x="120564" y="405705"/>
                  </a:lnTo>
                  <a:lnTo>
                    <a:pt x="118877" y="402413"/>
                  </a:lnTo>
                  <a:lnTo>
                    <a:pt x="115505" y="404059"/>
                  </a:lnTo>
                  <a:lnTo>
                    <a:pt x="118877" y="402413"/>
                  </a:lnTo>
                  <a:lnTo>
                    <a:pt x="117191" y="397475"/>
                  </a:lnTo>
                  <a:lnTo>
                    <a:pt x="113819" y="399122"/>
                  </a:lnTo>
                  <a:lnTo>
                    <a:pt x="117191" y="397475"/>
                  </a:lnTo>
                  <a:lnTo>
                    <a:pt x="113819" y="394184"/>
                  </a:lnTo>
                  <a:lnTo>
                    <a:pt x="112133" y="395830"/>
                  </a:lnTo>
                  <a:lnTo>
                    <a:pt x="113819" y="394184"/>
                  </a:lnTo>
                  <a:lnTo>
                    <a:pt x="112133" y="390892"/>
                  </a:lnTo>
                  <a:lnTo>
                    <a:pt x="108760" y="392538"/>
                  </a:lnTo>
                  <a:lnTo>
                    <a:pt x="112133" y="390892"/>
                  </a:lnTo>
                  <a:lnTo>
                    <a:pt x="110446" y="385954"/>
                  </a:lnTo>
                  <a:lnTo>
                    <a:pt x="105388" y="389246"/>
                  </a:lnTo>
                  <a:lnTo>
                    <a:pt x="110446" y="385954"/>
                  </a:lnTo>
                  <a:lnTo>
                    <a:pt x="107074" y="382663"/>
                  </a:lnTo>
                  <a:lnTo>
                    <a:pt x="103701" y="384309"/>
                  </a:lnTo>
                  <a:lnTo>
                    <a:pt x="107074" y="382663"/>
                  </a:lnTo>
                  <a:lnTo>
                    <a:pt x="105388" y="379371"/>
                  </a:lnTo>
                  <a:lnTo>
                    <a:pt x="100329" y="381017"/>
                  </a:lnTo>
                  <a:lnTo>
                    <a:pt x="105388" y="379371"/>
                  </a:lnTo>
                  <a:lnTo>
                    <a:pt x="102015" y="376079"/>
                  </a:lnTo>
                  <a:lnTo>
                    <a:pt x="100329" y="377725"/>
                  </a:lnTo>
                  <a:lnTo>
                    <a:pt x="102015" y="376079"/>
                  </a:lnTo>
                  <a:lnTo>
                    <a:pt x="100329" y="372788"/>
                  </a:lnTo>
                  <a:lnTo>
                    <a:pt x="95270" y="376079"/>
                  </a:lnTo>
                  <a:lnTo>
                    <a:pt x="98643" y="371142"/>
                  </a:lnTo>
                  <a:lnTo>
                    <a:pt x="93584" y="372788"/>
                  </a:lnTo>
                  <a:lnTo>
                    <a:pt x="96957" y="369496"/>
                  </a:lnTo>
                  <a:lnTo>
                    <a:pt x="93584" y="367850"/>
                  </a:lnTo>
                  <a:lnTo>
                    <a:pt x="90212" y="369496"/>
                  </a:lnTo>
                  <a:lnTo>
                    <a:pt x="93584" y="367850"/>
                  </a:lnTo>
                  <a:lnTo>
                    <a:pt x="90212" y="364558"/>
                  </a:lnTo>
                  <a:lnTo>
                    <a:pt x="86839" y="367850"/>
                  </a:lnTo>
                  <a:lnTo>
                    <a:pt x="90212" y="364558"/>
                  </a:lnTo>
                  <a:lnTo>
                    <a:pt x="86839" y="362912"/>
                  </a:lnTo>
                  <a:lnTo>
                    <a:pt x="85153" y="364558"/>
                  </a:lnTo>
                  <a:lnTo>
                    <a:pt x="86839" y="362912"/>
                  </a:lnTo>
                  <a:lnTo>
                    <a:pt x="81780" y="364558"/>
                  </a:lnTo>
                  <a:lnTo>
                    <a:pt x="83467" y="361267"/>
                  </a:lnTo>
                  <a:lnTo>
                    <a:pt x="80094" y="362912"/>
                  </a:lnTo>
                  <a:lnTo>
                    <a:pt x="80094" y="361267"/>
                  </a:lnTo>
                  <a:lnTo>
                    <a:pt x="76722" y="361267"/>
                  </a:lnTo>
                  <a:lnTo>
                    <a:pt x="76722" y="357975"/>
                  </a:lnTo>
                  <a:lnTo>
                    <a:pt x="75036" y="359621"/>
                  </a:lnTo>
                  <a:lnTo>
                    <a:pt x="76722" y="357975"/>
                  </a:lnTo>
                  <a:lnTo>
                    <a:pt x="73349" y="357975"/>
                  </a:lnTo>
                  <a:lnTo>
                    <a:pt x="71663" y="353037"/>
                  </a:lnTo>
                  <a:lnTo>
                    <a:pt x="69977" y="356329"/>
                  </a:lnTo>
                  <a:lnTo>
                    <a:pt x="71663" y="354683"/>
                  </a:lnTo>
                  <a:lnTo>
                    <a:pt x="68291" y="354683"/>
                  </a:lnTo>
                  <a:lnTo>
                    <a:pt x="69977" y="353037"/>
                  </a:lnTo>
                  <a:lnTo>
                    <a:pt x="66604" y="349746"/>
                  </a:lnTo>
                  <a:lnTo>
                    <a:pt x="64918" y="353037"/>
                  </a:lnTo>
                  <a:lnTo>
                    <a:pt x="66604" y="349746"/>
                  </a:lnTo>
                  <a:lnTo>
                    <a:pt x="64918" y="348100"/>
                  </a:lnTo>
                  <a:lnTo>
                    <a:pt x="61546" y="351391"/>
                  </a:lnTo>
                  <a:lnTo>
                    <a:pt x="64918" y="348100"/>
                  </a:lnTo>
                  <a:lnTo>
                    <a:pt x="61546" y="346454"/>
                  </a:lnTo>
                  <a:lnTo>
                    <a:pt x="59860" y="348100"/>
                  </a:lnTo>
                  <a:lnTo>
                    <a:pt x="61546" y="346454"/>
                  </a:lnTo>
                  <a:lnTo>
                    <a:pt x="59860" y="344808"/>
                  </a:lnTo>
                  <a:lnTo>
                    <a:pt x="58173" y="348100"/>
                  </a:lnTo>
                  <a:lnTo>
                    <a:pt x="58173" y="343162"/>
                  </a:lnTo>
                  <a:lnTo>
                    <a:pt x="54801" y="344808"/>
                  </a:lnTo>
                  <a:lnTo>
                    <a:pt x="56487" y="343162"/>
                  </a:lnTo>
                  <a:lnTo>
                    <a:pt x="53115" y="343162"/>
                  </a:lnTo>
                  <a:lnTo>
                    <a:pt x="51428" y="339870"/>
                  </a:lnTo>
                  <a:lnTo>
                    <a:pt x="49742" y="341516"/>
                  </a:lnTo>
                  <a:lnTo>
                    <a:pt x="51428" y="338225"/>
                  </a:lnTo>
                  <a:lnTo>
                    <a:pt x="48056" y="339870"/>
                  </a:lnTo>
                  <a:lnTo>
                    <a:pt x="46370" y="334933"/>
                  </a:lnTo>
                  <a:lnTo>
                    <a:pt x="44684" y="338225"/>
                  </a:lnTo>
                  <a:lnTo>
                    <a:pt x="44684" y="333287"/>
                  </a:lnTo>
                  <a:lnTo>
                    <a:pt x="42997" y="336579"/>
                  </a:lnTo>
                  <a:lnTo>
                    <a:pt x="42997" y="331641"/>
                  </a:lnTo>
                  <a:lnTo>
                    <a:pt x="41311" y="334933"/>
                  </a:lnTo>
                  <a:lnTo>
                    <a:pt x="42997" y="331641"/>
                  </a:lnTo>
                  <a:lnTo>
                    <a:pt x="39625" y="333287"/>
                  </a:lnTo>
                  <a:lnTo>
                    <a:pt x="39625" y="328349"/>
                  </a:lnTo>
                  <a:lnTo>
                    <a:pt x="36252" y="331641"/>
                  </a:lnTo>
                  <a:lnTo>
                    <a:pt x="39625" y="328349"/>
                  </a:lnTo>
                  <a:lnTo>
                    <a:pt x="37939" y="326704"/>
                  </a:lnTo>
                  <a:lnTo>
                    <a:pt x="34566" y="329995"/>
                  </a:lnTo>
                  <a:lnTo>
                    <a:pt x="37939" y="326704"/>
                  </a:lnTo>
                  <a:lnTo>
                    <a:pt x="36252" y="325057"/>
                  </a:lnTo>
                  <a:lnTo>
                    <a:pt x="32880" y="328349"/>
                  </a:lnTo>
                  <a:lnTo>
                    <a:pt x="34566" y="323412"/>
                  </a:lnTo>
                  <a:lnTo>
                    <a:pt x="31194" y="325057"/>
                  </a:lnTo>
                  <a:lnTo>
                    <a:pt x="32880" y="321766"/>
                  </a:lnTo>
                  <a:lnTo>
                    <a:pt x="29507" y="323412"/>
                  </a:lnTo>
                  <a:lnTo>
                    <a:pt x="31194" y="321766"/>
                  </a:lnTo>
                  <a:lnTo>
                    <a:pt x="31194" y="320120"/>
                  </a:lnTo>
                  <a:lnTo>
                    <a:pt x="27821" y="321766"/>
                  </a:lnTo>
                  <a:lnTo>
                    <a:pt x="31194" y="320120"/>
                  </a:lnTo>
                  <a:lnTo>
                    <a:pt x="29507" y="316828"/>
                  </a:lnTo>
                  <a:lnTo>
                    <a:pt x="26135" y="320120"/>
                  </a:lnTo>
                  <a:lnTo>
                    <a:pt x="27821" y="316828"/>
                  </a:lnTo>
                  <a:lnTo>
                    <a:pt x="27821" y="315182"/>
                  </a:lnTo>
                  <a:lnTo>
                    <a:pt x="24449" y="316828"/>
                  </a:lnTo>
                  <a:lnTo>
                    <a:pt x="27821" y="315182"/>
                  </a:lnTo>
                  <a:lnTo>
                    <a:pt x="26135" y="313536"/>
                  </a:lnTo>
                  <a:lnTo>
                    <a:pt x="22763" y="315182"/>
                  </a:lnTo>
                  <a:lnTo>
                    <a:pt x="26135" y="313536"/>
                  </a:lnTo>
                  <a:lnTo>
                    <a:pt x="24449" y="310245"/>
                  </a:lnTo>
                  <a:lnTo>
                    <a:pt x="21076" y="313536"/>
                  </a:lnTo>
                  <a:lnTo>
                    <a:pt x="24449" y="310245"/>
                  </a:lnTo>
                  <a:lnTo>
                    <a:pt x="22763" y="308599"/>
                  </a:lnTo>
                  <a:lnTo>
                    <a:pt x="21076" y="310245"/>
                  </a:lnTo>
                  <a:lnTo>
                    <a:pt x="22763" y="308599"/>
                  </a:lnTo>
                  <a:lnTo>
                    <a:pt x="21076" y="306953"/>
                  </a:lnTo>
                  <a:lnTo>
                    <a:pt x="17704" y="308599"/>
                  </a:lnTo>
                  <a:lnTo>
                    <a:pt x="21076" y="305307"/>
                  </a:lnTo>
                  <a:lnTo>
                    <a:pt x="17704" y="305307"/>
                  </a:lnTo>
                  <a:lnTo>
                    <a:pt x="17704" y="303661"/>
                  </a:lnTo>
                  <a:lnTo>
                    <a:pt x="14332" y="305307"/>
                  </a:lnTo>
                  <a:lnTo>
                    <a:pt x="14332" y="298724"/>
                  </a:lnTo>
                  <a:lnTo>
                    <a:pt x="10959" y="302015"/>
                  </a:lnTo>
                  <a:lnTo>
                    <a:pt x="14332" y="298724"/>
                  </a:lnTo>
                  <a:lnTo>
                    <a:pt x="12645" y="297078"/>
                  </a:lnTo>
                  <a:lnTo>
                    <a:pt x="7587" y="300370"/>
                  </a:lnTo>
                  <a:lnTo>
                    <a:pt x="12645" y="295432"/>
                  </a:lnTo>
                  <a:lnTo>
                    <a:pt x="7587" y="293786"/>
                  </a:lnTo>
                  <a:lnTo>
                    <a:pt x="4214" y="287203"/>
                  </a:lnTo>
                  <a:lnTo>
                    <a:pt x="5900" y="288849"/>
                  </a:lnTo>
                  <a:lnTo>
                    <a:pt x="4214" y="285557"/>
                  </a:lnTo>
                  <a:lnTo>
                    <a:pt x="5900" y="283911"/>
                  </a:lnTo>
                  <a:lnTo>
                    <a:pt x="4214" y="282265"/>
                  </a:lnTo>
                  <a:lnTo>
                    <a:pt x="5900" y="280619"/>
                  </a:lnTo>
                  <a:lnTo>
                    <a:pt x="4214" y="280619"/>
                  </a:lnTo>
                  <a:lnTo>
                    <a:pt x="5900" y="280619"/>
                  </a:lnTo>
                  <a:lnTo>
                    <a:pt x="10959" y="259223"/>
                  </a:lnTo>
                  <a:lnTo>
                    <a:pt x="21076" y="249348"/>
                  </a:lnTo>
                  <a:lnTo>
                    <a:pt x="21076" y="247702"/>
                  </a:lnTo>
                  <a:lnTo>
                    <a:pt x="21076" y="249348"/>
                  </a:lnTo>
                  <a:lnTo>
                    <a:pt x="22763" y="246056"/>
                  </a:lnTo>
                  <a:lnTo>
                    <a:pt x="26135" y="247702"/>
                  </a:lnTo>
                  <a:lnTo>
                    <a:pt x="24449" y="246056"/>
                  </a:lnTo>
                  <a:lnTo>
                    <a:pt x="26135" y="247702"/>
                  </a:lnTo>
                  <a:lnTo>
                    <a:pt x="26135" y="244410"/>
                  </a:lnTo>
                  <a:lnTo>
                    <a:pt x="27821" y="246056"/>
                  </a:lnTo>
                  <a:lnTo>
                    <a:pt x="37939" y="237827"/>
                  </a:lnTo>
                  <a:lnTo>
                    <a:pt x="51428" y="234535"/>
                  </a:lnTo>
                  <a:lnTo>
                    <a:pt x="51428" y="231243"/>
                  </a:lnTo>
                  <a:lnTo>
                    <a:pt x="53115" y="232889"/>
                  </a:lnTo>
                  <a:lnTo>
                    <a:pt x="56487" y="231243"/>
                  </a:lnTo>
                  <a:lnTo>
                    <a:pt x="54801" y="227952"/>
                  </a:lnTo>
                  <a:lnTo>
                    <a:pt x="56487" y="231243"/>
                  </a:lnTo>
                  <a:lnTo>
                    <a:pt x="59860" y="227952"/>
                  </a:lnTo>
                  <a:lnTo>
                    <a:pt x="58173" y="224660"/>
                  </a:lnTo>
                  <a:lnTo>
                    <a:pt x="59860" y="227952"/>
                  </a:lnTo>
                  <a:lnTo>
                    <a:pt x="63232" y="226306"/>
                  </a:lnTo>
                  <a:lnTo>
                    <a:pt x="61546" y="223014"/>
                  </a:lnTo>
                  <a:lnTo>
                    <a:pt x="63232" y="226306"/>
                  </a:lnTo>
                  <a:lnTo>
                    <a:pt x="66604" y="223014"/>
                  </a:lnTo>
                  <a:lnTo>
                    <a:pt x="64918" y="219722"/>
                  </a:lnTo>
                  <a:lnTo>
                    <a:pt x="66604" y="223014"/>
                  </a:lnTo>
                  <a:lnTo>
                    <a:pt x="68291" y="219722"/>
                  </a:lnTo>
                  <a:lnTo>
                    <a:pt x="69977" y="221368"/>
                  </a:lnTo>
                  <a:lnTo>
                    <a:pt x="71663" y="219722"/>
                  </a:lnTo>
                  <a:lnTo>
                    <a:pt x="69977" y="218076"/>
                  </a:lnTo>
                  <a:lnTo>
                    <a:pt x="71663" y="219722"/>
                  </a:lnTo>
                  <a:lnTo>
                    <a:pt x="73349" y="219722"/>
                  </a:lnTo>
                  <a:lnTo>
                    <a:pt x="71663" y="216431"/>
                  </a:lnTo>
                  <a:lnTo>
                    <a:pt x="75036" y="218076"/>
                  </a:lnTo>
                  <a:lnTo>
                    <a:pt x="71663" y="213139"/>
                  </a:lnTo>
                  <a:lnTo>
                    <a:pt x="75036" y="218076"/>
                  </a:lnTo>
                  <a:lnTo>
                    <a:pt x="78408" y="214785"/>
                  </a:lnTo>
                  <a:lnTo>
                    <a:pt x="76722" y="213139"/>
                  </a:lnTo>
                  <a:lnTo>
                    <a:pt x="78408" y="214785"/>
                  </a:lnTo>
                  <a:lnTo>
                    <a:pt x="81780" y="213139"/>
                  </a:lnTo>
                  <a:lnTo>
                    <a:pt x="78408" y="208201"/>
                  </a:lnTo>
                  <a:lnTo>
                    <a:pt x="81780" y="213139"/>
                  </a:lnTo>
                  <a:lnTo>
                    <a:pt x="85153" y="209847"/>
                  </a:lnTo>
                  <a:lnTo>
                    <a:pt x="83467" y="208201"/>
                  </a:lnTo>
                  <a:lnTo>
                    <a:pt x="86839" y="209847"/>
                  </a:lnTo>
                  <a:lnTo>
                    <a:pt x="90212" y="208201"/>
                  </a:lnTo>
                  <a:lnTo>
                    <a:pt x="86839" y="203264"/>
                  </a:lnTo>
                  <a:lnTo>
                    <a:pt x="90212" y="208201"/>
                  </a:lnTo>
                  <a:lnTo>
                    <a:pt x="93584" y="204910"/>
                  </a:lnTo>
                  <a:lnTo>
                    <a:pt x="91898" y="201618"/>
                  </a:lnTo>
                  <a:lnTo>
                    <a:pt x="93584" y="204910"/>
                  </a:lnTo>
                  <a:lnTo>
                    <a:pt x="96957" y="203264"/>
                  </a:lnTo>
                  <a:lnTo>
                    <a:pt x="93584" y="198326"/>
                  </a:lnTo>
                  <a:lnTo>
                    <a:pt x="96957" y="203264"/>
                  </a:lnTo>
                  <a:lnTo>
                    <a:pt x="100329" y="199972"/>
                  </a:lnTo>
                  <a:lnTo>
                    <a:pt x="98643" y="198326"/>
                  </a:lnTo>
                  <a:lnTo>
                    <a:pt x="100329" y="199972"/>
                  </a:lnTo>
                  <a:lnTo>
                    <a:pt x="103701" y="196680"/>
                  </a:lnTo>
                  <a:lnTo>
                    <a:pt x="102015" y="195034"/>
                  </a:lnTo>
                  <a:lnTo>
                    <a:pt x="103701" y="196680"/>
                  </a:lnTo>
                  <a:lnTo>
                    <a:pt x="108760" y="195034"/>
                  </a:lnTo>
                  <a:lnTo>
                    <a:pt x="107074" y="193389"/>
                  </a:lnTo>
                  <a:lnTo>
                    <a:pt x="108760" y="195034"/>
                  </a:lnTo>
                  <a:lnTo>
                    <a:pt x="112133" y="193389"/>
                  </a:lnTo>
                  <a:lnTo>
                    <a:pt x="110446" y="190097"/>
                  </a:lnTo>
                  <a:lnTo>
                    <a:pt x="113819" y="193389"/>
                  </a:lnTo>
                  <a:lnTo>
                    <a:pt x="117191" y="191742"/>
                  </a:lnTo>
                  <a:lnTo>
                    <a:pt x="115505" y="188451"/>
                  </a:lnTo>
                  <a:lnTo>
                    <a:pt x="117191" y="191742"/>
                  </a:lnTo>
                  <a:lnTo>
                    <a:pt x="120564" y="190097"/>
                  </a:lnTo>
                  <a:lnTo>
                    <a:pt x="120564" y="188451"/>
                  </a:lnTo>
                  <a:lnTo>
                    <a:pt x="120564" y="190097"/>
                  </a:lnTo>
                  <a:lnTo>
                    <a:pt x="125622" y="186805"/>
                  </a:lnTo>
                  <a:lnTo>
                    <a:pt x="123936" y="185159"/>
                  </a:lnTo>
                  <a:lnTo>
                    <a:pt x="125622" y="186805"/>
                  </a:lnTo>
                  <a:lnTo>
                    <a:pt x="128995" y="185159"/>
                  </a:lnTo>
                  <a:lnTo>
                    <a:pt x="127309" y="183513"/>
                  </a:lnTo>
                  <a:lnTo>
                    <a:pt x="128995" y="185159"/>
                  </a:lnTo>
                  <a:lnTo>
                    <a:pt x="132367" y="183513"/>
                  </a:lnTo>
                  <a:lnTo>
                    <a:pt x="132367" y="180221"/>
                  </a:lnTo>
                  <a:lnTo>
                    <a:pt x="132367" y="183513"/>
                  </a:lnTo>
                  <a:lnTo>
                    <a:pt x="137426" y="181867"/>
                  </a:lnTo>
                  <a:lnTo>
                    <a:pt x="135740" y="178576"/>
                  </a:lnTo>
                  <a:lnTo>
                    <a:pt x="137426" y="180221"/>
                  </a:lnTo>
                  <a:lnTo>
                    <a:pt x="140798" y="178576"/>
                  </a:lnTo>
                  <a:lnTo>
                    <a:pt x="139112" y="176930"/>
                  </a:lnTo>
                  <a:lnTo>
                    <a:pt x="142485" y="178576"/>
                  </a:lnTo>
                  <a:lnTo>
                    <a:pt x="142485" y="173638"/>
                  </a:lnTo>
                  <a:lnTo>
                    <a:pt x="144171" y="176930"/>
                  </a:lnTo>
                  <a:lnTo>
                    <a:pt x="147543" y="176930"/>
                  </a:lnTo>
                  <a:lnTo>
                    <a:pt x="145857" y="171992"/>
                  </a:lnTo>
                  <a:lnTo>
                    <a:pt x="149229" y="173638"/>
                  </a:lnTo>
                  <a:lnTo>
                    <a:pt x="152602" y="171992"/>
                  </a:lnTo>
                  <a:lnTo>
                    <a:pt x="149229" y="168700"/>
                  </a:lnTo>
                  <a:lnTo>
                    <a:pt x="152602" y="171992"/>
                  </a:lnTo>
                  <a:lnTo>
                    <a:pt x="159347" y="170346"/>
                  </a:lnTo>
                  <a:lnTo>
                    <a:pt x="159347" y="165409"/>
                  </a:lnTo>
                  <a:lnTo>
                    <a:pt x="161033" y="168700"/>
                  </a:lnTo>
                  <a:lnTo>
                    <a:pt x="167778" y="165409"/>
                  </a:lnTo>
                  <a:lnTo>
                    <a:pt x="166092" y="160471"/>
                  </a:lnTo>
                  <a:lnTo>
                    <a:pt x="167778" y="163763"/>
                  </a:lnTo>
                  <a:lnTo>
                    <a:pt x="171150" y="162117"/>
                  </a:lnTo>
                  <a:lnTo>
                    <a:pt x="169464" y="158825"/>
                  </a:lnTo>
                  <a:lnTo>
                    <a:pt x="172837" y="162117"/>
                  </a:lnTo>
                  <a:lnTo>
                    <a:pt x="174523" y="158825"/>
                  </a:lnTo>
                  <a:lnTo>
                    <a:pt x="172837" y="155534"/>
                  </a:lnTo>
                  <a:lnTo>
                    <a:pt x="174523" y="158825"/>
                  </a:lnTo>
                  <a:lnTo>
                    <a:pt x="179582" y="157179"/>
                  </a:lnTo>
                  <a:lnTo>
                    <a:pt x="177895" y="153888"/>
                  </a:lnTo>
                  <a:lnTo>
                    <a:pt x="179582" y="155534"/>
                  </a:lnTo>
                  <a:lnTo>
                    <a:pt x="182954" y="153888"/>
                  </a:lnTo>
                  <a:lnTo>
                    <a:pt x="181268" y="150596"/>
                  </a:lnTo>
                  <a:lnTo>
                    <a:pt x="182954" y="153888"/>
                  </a:lnTo>
                  <a:lnTo>
                    <a:pt x="186326" y="150596"/>
                  </a:lnTo>
                  <a:lnTo>
                    <a:pt x="184640" y="148950"/>
                  </a:lnTo>
                  <a:lnTo>
                    <a:pt x="186326" y="150596"/>
                  </a:lnTo>
                  <a:lnTo>
                    <a:pt x="194758" y="147304"/>
                  </a:lnTo>
                  <a:lnTo>
                    <a:pt x="193071" y="144013"/>
                  </a:lnTo>
                  <a:lnTo>
                    <a:pt x="194758" y="147304"/>
                  </a:lnTo>
                  <a:lnTo>
                    <a:pt x="198130" y="145658"/>
                  </a:lnTo>
                  <a:lnTo>
                    <a:pt x="196444" y="142367"/>
                  </a:lnTo>
                  <a:lnTo>
                    <a:pt x="198130" y="145658"/>
                  </a:lnTo>
                  <a:lnTo>
                    <a:pt x="203189" y="144013"/>
                  </a:lnTo>
                  <a:lnTo>
                    <a:pt x="199816" y="139075"/>
                  </a:lnTo>
                  <a:lnTo>
                    <a:pt x="203189" y="144013"/>
                  </a:lnTo>
                  <a:lnTo>
                    <a:pt x="206561" y="142367"/>
                  </a:lnTo>
                  <a:lnTo>
                    <a:pt x="204875" y="139075"/>
                  </a:lnTo>
                  <a:lnTo>
                    <a:pt x="206561" y="142367"/>
                  </a:lnTo>
                  <a:lnTo>
                    <a:pt x="211620" y="142367"/>
                  </a:lnTo>
                  <a:lnTo>
                    <a:pt x="208247" y="135783"/>
                  </a:lnTo>
                  <a:lnTo>
                    <a:pt x="211620" y="140721"/>
                  </a:lnTo>
                  <a:lnTo>
                    <a:pt x="214992" y="140721"/>
                  </a:lnTo>
                  <a:lnTo>
                    <a:pt x="213306" y="137429"/>
                  </a:lnTo>
                  <a:lnTo>
                    <a:pt x="216678" y="140721"/>
                  </a:lnTo>
                  <a:lnTo>
                    <a:pt x="247031" y="132492"/>
                  </a:lnTo>
                  <a:lnTo>
                    <a:pt x="279069" y="139075"/>
                  </a:lnTo>
                  <a:close/>
                  <a:moveTo>
                    <a:pt x="452750" y="45261"/>
                  </a:moveTo>
                  <a:lnTo>
                    <a:pt x="451064" y="48552"/>
                  </a:lnTo>
                  <a:lnTo>
                    <a:pt x="446005" y="45261"/>
                  </a:lnTo>
                  <a:lnTo>
                    <a:pt x="451064" y="46907"/>
                  </a:lnTo>
                  <a:lnTo>
                    <a:pt x="454436" y="43615"/>
                  </a:lnTo>
                  <a:lnTo>
                    <a:pt x="452750" y="45261"/>
                  </a:lnTo>
                  <a:close/>
                  <a:moveTo>
                    <a:pt x="462867" y="4114"/>
                  </a:moveTo>
                  <a:lnTo>
                    <a:pt x="466240" y="4114"/>
                  </a:lnTo>
                  <a:lnTo>
                    <a:pt x="461181" y="4114"/>
                  </a:lnTo>
                  <a:lnTo>
                    <a:pt x="462867" y="4114"/>
                  </a:lnTo>
                  <a:close/>
                  <a:moveTo>
                    <a:pt x="454436" y="7406"/>
                  </a:moveTo>
                  <a:lnTo>
                    <a:pt x="446005" y="23865"/>
                  </a:lnTo>
                  <a:lnTo>
                    <a:pt x="449377" y="27156"/>
                  </a:lnTo>
                  <a:lnTo>
                    <a:pt x="446005" y="25510"/>
                  </a:lnTo>
                  <a:lnTo>
                    <a:pt x="442633" y="32094"/>
                  </a:lnTo>
                  <a:lnTo>
                    <a:pt x="449377" y="33740"/>
                  </a:lnTo>
                  <a:lnTo>
                    <a:pt x="451064" y="28802"/>
                  </a:lnTo>
                  <a:lnTo>
                    <a:pt x="452750" y="32094"/>
                  </a:lnTo>
                  <a:lnTo>
                    <a:pt x="449377" y="37031"/>
                  </a:lnTo>
                  <a:lnTo>
                    <a:pt x="444319" y="37031"/>
                  </a:lnTo>
                  <a:lnTo>
                    <a:pt x="444319" y="41969"/>
                  </a:lnTo>
                  <a:lnTo>
                    <a:pt x="440946" y="43615"/>
                  </a:lnTo>
                  <a:lnTo>
                    <a:pt x="437574" y="46907"/>
                  </a:lnTo>
                  <a:lnTo>
                    <a:pt x="446005" y="53490"/>
                  </a:lnTo>
                  <a:lnTo>
                    <a:pt x="449377" y="50198"/>
                  </a:lnTo>
                  <a:lnTo>
                    <a:pt x="459495" y="60074"/>
                  </a:lnTo>
                  <a:lnTo>
                    <a:pt x="464553" y="53490"/>
                  </a:lnTo>
                  <a:lnTo>
                    <a:pt x="457809" y="48552"/>
                  </a:lnTo>
                  <a:lnTo>
                    <a:pt x="466240" y="53490"/>
                  </a:lnTo>
                  <a:lnTo>
                    <a:pt x="469612" y="46907"/>
                  </a:lnTo>
                  <a:lnTo>
                    <a:pt x="457809" y="37031"/>
                  </a:lnTo>
                  <a:lnTo>
                    <a:pt x="457809" y="35385"/>
                  </a:lnTo>
                  <a:lnTo>
                    <a:pt x="471298" y="45261"/>
                  </a:lnTo>
                  <a:lnTo>
                    <a:pt x="471298" y="48552"/>
                  </a:lnTo>
                  <a:lnTo>
                    <a:pt x="456122" y="66657"/>
                  </a:lnTo>
                  <a:lnTo>
                    <a:pt x="449377" y="61720"/>
                  </a:lnTo>
                  <a:lnTo>
                    <a:pt x="449377" y="56782"/>
                  </a:lnTo>
                  <a:lnTo>
                    <a:pt x="447691" y="58428"/>
                  </a:lnTo>
                  <a:lnTo>
                    <a:pt x="435888" y="50198"/>
                  </a:lnTo>
                  <a:lnTo>
                    <a:pt x="429143" y="56782"/>
                  </a:lnTo>
                  <a:lnTo>
                    <a:pt x="432515" y="66657"/>
                  </a:lnTo>
                  <a:lnTo>
                    <a:pt x="427457" y="73240"/>
                  </a:lnTo>
                  <a:lnTo>
                    <a:pt x="429143" y="65011"/>
                  </a:lnTo>
                  <a:lnTo>
                    <a:pt x="419025" y="55136"/>
                  </a:lnTo>
                  <a:lnTo>
                    <a:pt x="407222" y="69949"/>
                  </a:lnTo>
                  <a:lnTo>
                    <a:pt x="417339" y="78178"/>
                  </a:lnTo>
                  <a:lnTo>
                    <a:pt x="424084" y="76532"/>
                  </a:lnTo>
                  <a:lnTo>
                    <a:pt x="417339" y="79824"/>
                  </a:lnTo>
                  <a:lnTo>
                    <a:pt x="410594" y="76532"/>
                  </a:lnTo>
                  <a:lnTo>
                    <a:pt x="407222" y="79824"/>
                  </a:lnTo>
                  <a:lnTo>
                    <a:pt x="408908" y="74886"/>
                  </a:lnTo>
                  <a:lnTo>
                    <a:pt x="402163" y="71595"/>
                  </a:lnTo>
                  <a:lnTo>
                    <a:pt x="398791" y="79824"/>
                  </a:lnTo>
                  <a:lnTo>
                    <a:pt x="400477" y="84762"/>
                  </a:lnTo>
                  <a:lnTo>
                    <a:pt x="412280" y="84762"/>
                  </a:lnTo>
                  <a:lnTo>
                    <a:pt x="400477" y="86407"/>
                  </a:lnTo>
                  <a:lnTo>
                    <a:pt x="397104" y="89699"/>
                  </a:lnTo>
                  <a:lnTo>
                    <a:pt x="395418" y="122616"/>
                  </a:lnTo>
                  <a:lnTo>
                    <a:pt x="392046" y="124262"/>
                  </a:lnTo>
                  <a:lnTo>
                    <a:pt x="393732" y="120971"/>
                  </a:lnTo>
                  <a:lnTo>
                    <a:pt x="397104" y="88053"/>
                  </a:lnTo>
                  <a:lnTo>
                    <a:pt x="381928" y="74886"/>
                  </a:lnTo>
                  <a:lnTo>
                    <a:pt x="393732" y="83116"/>
                  </a:lnTo>
                  <a:lnTo>
                    <a:pt x="397104" y="79824"/>
                  </a:lnTo>
                  <a:lnTo>
                    <a:pt x="395418" y="74886"/>
                  </a:lnTo>
                  <a:lnTo>
                    <a:pt x="392046" y="73240"/>
                  </a:lnTo>
                  <a:lnTo>
                    <a:pt x="390360" y="76532"/>
                  </a:lnTo>
                  <a:lnTo>
                    <a:pt x="386987" y="69949"/>
                  </a:lnTo>
                  <a:lnTo>
                    <a:pt x="371811" y="71595"/>
                  </a:lnTo>
                  <a:lnTo>
                    <a:pt x="381928" y="68303"/>
                  </a:lnTo>
                  <a:lnTo>
                    <a:pt x="395418" y="68303"/>
                  </a:lnTo>
                  <a:lnTo>
                    <a:pt x="402163" y="56782"/>
                  </a:lnTo>
                  <a:lnTo>
                    <a:pt x="420712" y="33740"/>
                  </a:lnTo>
                  <a:lnTo>
                    <a:pt x="419025" y="27156"/>
                  </a:lnTo>
                  <a:lnTo>
                    <a:pt x="422398" y="22219"/>
                  </a:lnTo>
                  <a:lnTo>
                    <a:pt x="430829" y="20573"/>
                  </a:lnTo>
                  <a:lnTo>
                    <a:pt x="420712" y="27156"/>
                  </a:lnTo>
                  <a:lnTo>
                    <a:pt x="425770" y="33740"/>
                  </a:lnTo>
                  <a:lnTo>
                    <a:pt x="427457" y="33740"/>
                  </a:lnTo>
                  <a:lnTo>
                    <a:pt x="434201" y="28802"/>
                  </a:lnTo>
                  <a:lnTo>
                    <a:pt x="432515" y="23865"/>
                  </a:lnTo>
                  <a:lnTo>
                    <a:pt x="430829" y="25510"/>
                  </a:lnTo>
                  <a:lnTo>
                    <a:pt x="432515" y="22219"/>
                  </a:lnTo>
                  <a:lnTo>
                    <a:pt x="435888" y="20573"/>
                  </a:lnTo>
                  <a:lnTo>
                    <a:pt x="444319" y="23865"/>
                  </a:lnTo>
                  <a:lnTo>
                    <a:pt x="452750" y="4114"/>
                  </a:lnTo>
                  <a:lnTo>
                    <a:pt x="457809" y="4114"/>
                  </a:lnTo>
                  <a:lnTo>
                    <a:pt x="454436"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0" name="Medemblik">
              <a:extLst>
                <a:ext uri="{FF2B5EF4-FFF2-40B4-BE49-F238E27FC236}">
                  <a16:creationId xmlns:a16="http://schemas.microsoft.com/office/drawing/2014/main" id="{2D8966FF-AC44-4AD4-A5F0-B25EB22BB554}"/>
                </a:ext>
              </a:extLst>
            </p:cNvPr>
            <p:cNvSpPr/>
            <p:nvPr/>
          </p:nvSpPr>
          <p:spPr>
            <a:xfrm>
              <a:off x="5809757" y="2421546"/>
              <a:ext cx="303832" cy="178143"/>
            </a:xfrm>
            <a:custGeom>
              <a:avLst/>
              <a:gdLst/>
              <a:ahLst/>
              <a:cxnLst/>
              <a:rect l="l" t="t" r="r" b="b"/>
              <a:pathLst>
                <a:path w="456618" h="262890" extrusionOk="0">
                  <a:moveTo>
                    <a:pt x="290872" y="88053"/>
                  </a:moveTo>
                  <a:lnTo>
                    <a:pt x="294245" y="94636"/>
                  </a:lnTo>
                  <a:lnTo>
                    <a:pt x="279069" y="92991"/>
                  </a:lnTo>
                  <a:lnTo>
                    <a:pt x="280755" y="89699"/>
                  </a:lnTo>
                  <a:lnTo>
                    <a:pt x="287500" y="88053"/>
                  </a:lnTo>
                  <a:lnTo>
                    <a:pt x="279069" y="89699"/>
                  </a:lnTo>
                  <a:lnTo>
                    <a:pt x="290872" y="88053"/>
                  </a:lnTo>
                  <a:close/>
                  <a:moveTo>
                    <a:pt x="255461" y="65011"/>
                  </a:moveTo>
                  <a:lnTo>
                    <a:pt x="270638" y="78178"/>
                  </a:lnTo>
                  <a:lnTo>
                    <a:pt x="262207" y="73240"/>
                  </a:lnTo>
                  <a:lnTo>
                    <a:pt x="262207" y="69949"/>
                  </a:lnTo>
                  <a:lnTo>
                    <a:pt x="255461" y="65011"/>
                  </a:lnTo>
                  <a:close/>
                  <a:moveTo>
                    <a:pt x="216678" y="4114"/>
                  </a:moveTo>
                  <a:lnTo>
                    <a:pt x="209934" y="13989"/>
                  </a:lnTo>
                  <a:lnTo>
                    <a:pt x="203189" y="12343"/>
                  </a:lnTo>
                  <a:lnTo>
                    <a:pt x="201502" y="17281"/>
                  </a:lnTo>
                  <a:lnTo>
                    <a:pt x="211620" y="15635"/>
                  </a:lnTo>
                  <a:lnTo>
                    <a:pt x="214992" y="9052"/>
                  </a:lnTo>
                  <a:lnTo>
                    <a:pt x="211620" y="15635"/>
                  </a:lnTo>
                  <a:lnTo>
                    <a:pt x="216678" y="12343"/>
                  </a:lnTo>
                  <a:lnTo>
                    <a:pt x="218365" y="4114"/>
                  </a:lnTo>
                  <a:lnTo>
                    <a:pt x="221737" y="12343"/>
                  </a:lnTo>
                  <a:lnTo>
                    <a:pt x="223423" y="10698"/>
                  </a:lnTo>
                  <a:lnTo>
                    <a:pt x="220051" y="13989"/>
                  </a:lnTo>
                  <a:lnTo>
                    <a:pt x="225109" y="20573"/>
                  </a:lnTo>
                  <a:lnTo>
                    <a:pt x="230168" y="20573"/>
                  </a:lnTo>
                  <a:lnTo>
                    <a:pt x="230168" y="15635"/>
                  </a:lnTo>
                  <a:lnTo>
                    <a:pt x="225109" y="10698"/>
                  </a:lnTo>
                  <a:lnTo>
                    <a:pt x="228482" y="12343"/>
                  </a:lnTo>
                  <a:lnTo>
                    <a:pt x="230168" y="18927"/>
                  </a:lnTo>
                  <a:lnTo>
                    <a:pt x="225109" y="22218"/>
                  </a:lnTo>
                  <a:lnTo>
                    <a:pt x="226796" y="25510"/>
                  </a:lnTo>
                  <a:lnTo>
                    <a:pt x="225109" y="25510"/>
                  </a:lnTo>
                  <a:lnTo>
                    <a:pt x="225109" y="28802"/>
                  </a:lnTo>
                  <a:lnTo>
                    <a:pt x="228482" y="27156"/>
                  </a:lnTo>
                  <a:lnTo>
                    <a:pt x="228482" y="37031"/>
                  </a:lnTo>
                  <a:lnTo>
                    <a:pt x="225109" y="40323"/>
                  </a:lnTo>
                  <a:lnTo>
                    <a:pt x="228482" y="40323"/>
                  </a:lnTo>
                  <a:lnTo>
                    <a:pt x="233541" y="50198"/>
                  </a:lnTo>
                  <a:lnTo>
                    <a:pt x="241972" y="60073"/>
                  </a:lnTo>
                  <a:lnTo>
                    <a:pt x="252089" y="61719"/>
                  </a:lnTo>
                  <a:lnTo>
                    <a:pt x="247030" y="61719"/>
                  </a:lnTo>
                  <a:lnTo>
                    <a:pt x="267265" y="86407"/>
                  </a:lnTo>
                  <a:lnTo>
                    <a:pt x="260520" y="76532"/>
                  </a:lnTo>
                  <a:lnTo>
                    <a:pt x="267265" y="84761"/>
                  </a:lnTo>
                  <a:lnTo>
                    <a:pt x="268951" y="79824"/>
                  </a:lnTo>
                  <a:lnTo>
                    <a:pt x="270638" y="79824"/>
                  </a:lnTo>
                  <a:lnTo>
                    <a:pt x="268951" y="88053"/>
                  </a:lnTo>
                  <a:lnTo>
                    <a:pt x="277382" y="84761"/>
                  </a:lnTo>
                  <a:lnTo>
                    <a:pt x="274010" y="86407"/>
                  </a:lnTo>
                  <a:lnTo>
                    <a:pt x="279069" y="92991"/>
                  </a:lnTo>
                  <a:lnTo>
                    <a:pt x="270638" y="89699"/>
                  </a:lnTo>
                  <a:lnTo>
                    <a:pt x="279069" y="94636"/>
                  </a:lnTo>
                  <a:lnTo>
                    <a:pt x="294245" y="94636"/>
                  </a:lnTo>
                  <a:lnTo>
                    <a:pt x="294245" y="89699"/>
                  </a:lnTo>
                  <a:lnTo>
                    <a:pt x="297617" y="92991"/>
                  </a:lnTo>
                  <a:lnTo>
                    <a:pt x="300989" y="86407"/>
                  </a:lnTo>
                  <a:lnTo>
                    <a:pt x="295931" y="91345"/>
                  </a:lnTo>
                  <a:lnTo>
                    <a:pt x="295931" y="84761"/>
                  </a:lnTo>
                  <a:lnTo>
                    <a:pt x="302676" y="84761"/>
                  </a:lnTo>
                  <a:lnTo>
                    <a:pt x="300989" y="89699"/>
                  </a:lnTo>
                  <a:lnTo>
                    <a:pt x="302676" y="91345"/>
                  </a:lnTo>
                  <a:lnTo>
                    <a:pt x="307734" y="88053"/>
                  </a:lnTo>
                  <a:lnTo>
                    <a:pt x="304362" y="86407"/>
                  </a:lnTo>
                  <a:lnTo>
                    <a:pt x="304362" y="84761"/>
                  </a:lnTo>
                  <a:lnTo>
                    <a:pt x="309421" y="88053"/>
                  </a:lnTo>
                  <a:lnTo>
                    <a:pt x="316166" y="84761"/>
                  </a:lnTo>
                  <a:lnTo>
                    <a:pt x="321224" y="78178"/>
                  </a:lnTo>
                  <a:lnTo>
                    <a:pt x="317852" y="74886"/>
                  </a:lnTo>
                  <a:lnTo>
                    <a:pt x="321224" y="78178"/>
                  </a:lnTo>
                  <a:lnTo>
                    <a:pt x="319538" y="83115"/>
                  </a:lnTo>
                  <a:lnTo>
                    <a:pt x="324597" y="71594"/>
                  </a:lnTo>
                  <a:lnTo>
                    <a:pt x="317852" y="73240"/>
                  </a:lnTo>
                  <a:lnTo>
                    <a:pt x="322911" y="69949"/>
                  </a:lnTo>
                  <a:lnTo>
                    <a:pt x="326283" y="71594"/>
                  </a:lnTo>
                  <a:lnTo>
                    <a:pt x="338087" y="51844"/>
                  </a:lnTo>
                  <a:lnTo>
                    <a:pt x="365066" y="51844"/>
                  </a:lnTo>
                  <a:lnTo>
                    <a:pt x="386987" y="58427"/>
                  </a:lnTo>
                  <a:lnTo>
                    <a:pt x="432515" y="55136"/>
                  </a:lnTo>
                  <a:lnTo>
                    <a:pt x="439260" y="56782"/>
                  </a:lnTo>
                  <a:lnTo>
                    <a:pt x="456122" y="69949"/>
                  </a:lnTo>
                  <a:lnTo>
                    <a:pt x="439260" y="71594"/>
                  </a:lnTo>
                  <a:lnTo>
                    <a:pt x="435887" y="74886"/>
                  </a:lnTo>
                  <a:lnTo>
                    <a:pt x="456122" y="73240"/>
                  </a:lnTo>
                  <a:lnTo>
                    <a:pt x="437574" y="76532"/>
                  </a:lnTo>
                  <a:lnTo>
                    <a:pt x="429143" y="71594"/>
                  </a:lnTo>
                  <a:lnTo>
                    <a:pt x="434201" y="145658"/>
                  </a:lnTo>
                  <a:lnTo>
                    <a:pt x="380242" y="142367"/>
                  </a:lnTo>
                  <a:lnTo>
                    <a:pt x="363380" y="144012"/>
                  </a:lnTo>
                  <a:lnTo>
                    <a:pt x="326283" y="160471"/>
                  </a:lnTo>
                  <a:lnTo>
                    <a:pt x="327969" y="167054"/>
                  </a:lnTo>
                  <a:lnTo>
                    <a:pt x="235227" y="204909"/>
                  </a:lnTo>
                  <a:lnTo>
                    <a:pt x="184640" y="234535"/>
                  </a:lnTo>
                  <a:lnTo>
                    <a:pt x="176209" y="221368"/>
                  </a:lnTo>
                  <a:lnTo>
                    <a:pt x="171150" y="224660"/>
                  </a:lnTo>
                  <a:lnTo>
                    <a:pt x="171150" y="223014"/>
                  </a:lnTo>
                  <a:lnTo>
                    <a:pt x="140798" y="239473"/>
                  </a:lnTo>
                  <a:lnTo>
                    <a:pt x="142484" y="249348"/>
                  </a:lnTo>
                  <a:lnTo>
                    <a:pt x="100329" y="254285"/>
                  </a:lnTo>
                  <a:lnTo>
                    <a:pt x="98643" y="264160"/>
                  </a:lnTo>
                  <a:lnTo>
                    <a:pt x="81780" y="269098"/>
                  </a:lnTo>
                  <a:lnTo>
                    <a:pt x="76722" y="269098"/>
                  </a:lnTo>
                  <a:lnTo>
                    <a:pt x="64918" y="259223"/>
                  </a:lnTo>
                  <a:lnTo>
                    <a:pt x="51428" y="254285"/>
                  </a:lnTo>
                  <a:lnTo>
                    <a:pt x="51428" y="249348"/>
                  </a:lnTo>
                  <a:lnTo>
                    <a:pt x="48056" y="246056"/>
                  </a:lnTo>
                  <a:lnTo>
                    <a:pt x="49742" y="244410"/>
                  </a:lnTo>
                  <a:lnTo>
                    <a:pt x="21076" y="242764"/>
                  </a:lnTo>
                  <a:lnTo>
                    <a:pt x="16018" y="232889"/>
                  </a:lnTo>
                  <a:lnTo>
                    <a:pt x="16018" y="226305"/>
                  </a:lnTo>
                  <a:lnTo>
                    <a:pt x="17704" y="199972"/>
                  </a:lnTo>
                  <a:lnTo>
                    <a:pt x="26135" y="185159"/>
                  </a:lnTo>
                  <a:lnTo>
                    <a:pt x="14332" y="170346"/>
                  </a:lnTo>
                  <a:lnTo>
                    <a:pt x="12645" y="167054"/>
                  </a:lnTo>
                  <a:lnTo>
                    <a:pt x="4214" y="153888"/>
                  </a:lnTo>
                  <a:lnTo>
                    <a:pt x="24449" y="142367"/>
                  </a:lnTo>
                  <a:lnTo>
                    <a:pt x="29507" y="150596"/>
                  </a:lnTo>
                  <a:lnTo>
                    <a:pt x="63232" y="127554"/>
                  </a:lnTo>
                  <a:lnTo>
                    <a:pt x="63232" y="119324"/>
                  </a:lnTo>
                  <a:lnTo>
                    <a:pt x="58173" y="122616"/>
                  </a:lnTo>
                  <a:lnTo>
                    <a:pt x="41311" y="89699"/>
                  </a:lnTo>
                  <a:lnTo>
                    <a:pt x="44684" y="86407"/>
                  </a:lnTo>
                  <a:lnTo>
                    <a:pt x="39625" y="78178"/>
                  </a:lnTo>
                  <a:lnTo>
                    <a:pt x="44684" y="74886"/>
                  </a:lnTo>
                  <a:lnTo>
                    <a:pt x="41311" y="69949"/>
                  </a:lnTo>
                  <a:lnTo>
                    <a:pt x="42997" y="56782"/>
                  </a:lnTo>
                  <a:lnTo>
                    <a:pt x="86839" y="58427"/>
                  </a:lnTo>
                  <a:lnTo>
                    <a:pt x="115505" y="55136"/>
                  </a:lnTo>
                  <a:lnTo>
                    <a:pt x="135740" y="43615"/>
                  </a:lnTo>
                  <a:lnTo>
                    <a:pt x="152602" y="18927"/>
                  </a:lnTo>
                  <a:lnTo>
                    <a:pt x="167778" y="15635"/>
                  </a:lnTo>
                  <a:lnTo>
                    <a:pt x="186326" y="17281"/>
                  </a:lnTo>
                  <a:lnTo>
                    <a:pt x="203189" y="4114"/>
                  </a:lnTo>
                  <a:lnTo>
                    <a:pt x="216678"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1" name="Vlissingen">
              <a:extLst>
                <a:ext uri="{FF2B5EF4-FFF2-40B4-BE49-F238E27FC236}">
                  <a16:creationId xmlns:a16="http://schemas.microsoft.com/office/drawing/2014/main" id="{4CBA7D4A-5ECA-4BC9-BBC8-8DBC52B63198}"/>
                </a:ext>
              </a:extLst>
            </p:cNvPr>
            <p:cNvSpPr/>
            <p:nvPr/>
          </p:nvSpPr>
          <p:spPr>
            <a:xfrm>
              <a:off x="4150980" y="4428464"/>
              <a:ext cx="333128" cy="223507"/>
            </a:xfrm>
            <a:custGeom>
              <a:avLst/>
              <a:gdLst/>
              <a:ahLst/>
              <a:cxnLst/>
              <a:rect l="l" t="t" r="r" b="b"/>
              <a:pathLst>
                <a:path w="468326" h="331470" extrusionOk="0">
                  <a:moveTo>
                    <a:pt x="5900" y="333287"/>
                  </a:moveTo>
                  <a:lnTo>
                    <a:pt x="4214" y="333287"/>
                  </a:lnTo>
                  <a:lnTo>
                    <a:pt x="5900" y="333287"/>
                  </a:lnTo>
                  <a:close/>
                  <a:moveTo>
                    <a:pt x="48056" y="328349"/>
                  </a:moveTo>
                  <a:lnTo>
                    <a:pt x="46370" y="328349"/>
                  </a:lnTo>
                  <a:lnTo>
                    <a:pt x="48056" y="328349"/>
                  </a:lnTo>
                  <a:close/>
                  <a:moveTo>
                    <a:pt x="90212" y="316828"/>
                  </a:moveTo>
                  <a:lnTo>
                    <a:pt x="90212" y="318474"/>
                  </a:lnTo>
                  <a:lnTo>
                    <a:pt x="90212" y="316828"/>
                  </a:lnTo>
                  <a:close/>
                  <a:moveTo>
                    <a:pt x="196444" y="305307"/>
                  </a:moveTo>
                  <a:lnTo>
                    <a:pt x="194758" y="305307"/>
                  </a:lnTo>
                  <a:lnTo>
                    <a:pt x="196444" y="303661"/>
                  </a:lnTo>
                  <a:lnTo>
                    <a:pt x="196444" y="305307"/>
                  </a:lnTo>
                  <a:close/>
                  <a:moveTo>
                    <a:pt x="472985" y="295432"/>
                  </a:moveTo>
                  <a:lnTo>
                    <a:pt x="471298" y="297078"/>
                  </a:lnTo>
                  <a:lnTo>
                    <a:pt x="472985" y="295432"/>
                  </a:lnTo>
                  <a:close/>
                  <a:moveTo>
                    <a:pt x="447691" y="249348"/>
                  </a:moveTo>
                  <a:lnTo>
                    <a:pt x="456122" y="259223"/>
                  </a:lnTo>
                  <a:lnTo>
                    <a:pt x="446005" y="265807"/>
                  </a:lnTo>
                  <a:lnTo>
                    <a:pt x="452750" y="260869"/>
                  </a:lnTo>
                  <a:lnTo>
                    <a:pt x="447691" y="250994"/>
                  </a:lnTo>
                  <a:lnTo>
                    <a:pt x="442632" y="252639"/>
                  </a:lnTo>
                  <a:lnTo>
                    <a:pt x="447691" y="249348"/>
                  </a:lnTo>
                  <a:close/>
                  <a:moveTo>
                    <a:pt x="444319" y="249348"/>
                  </a:moveTo>
                  <a:lnTo>
                    <a:pt x="440946" y="249348"/>
                  </a:lnTo>
                  <a:lnTo>
                    <a:pt x="446005" y="247702"/>
                  </a:lnTo>
                  <a:lnTo>
                    <a:pt x="444319" y="246056"/>
                  </a:lnTo>
                  <a:lnTo>
                    <a:pt x="447691" y="249348"/>
                  </a:lnTo>
                  <a:lnTo>
                    <a:pt x="444319" y="249348"/>
                  </a:lnTo>
                  <a:close/>
                  <a:moveTo>
                    <a:pt x="417339" y="188451"/>
                  </a:moveTo>
                  <a:lnTo>
                    <a:pt x="435888" y="203264"/>
                  </a:lnTo>
                  <a:lnTo>
                    <a:pt x="424084" y="214785"/>
                  </a:lnTo>
                  <a:lnTo>
                    <a:pt x="432515" y="224660"/>
                  </a:lnTo>
                  <a:lnTo>
                    <a:pt x="440946" y="241118"/>
                  </a:lnTo>
                  <a:lnTo>
                    <a:pt x="417339" y="218076"/>
                  </a:lnTo>
                  <a:lnTo>
                    <a:pt x="405536" y="211493"/>
                  </a:lnTo>
                  <a:lnTo>
                    <a:pt x="403849" y="209847"/>
                  </a:lnTo>
                  <a:lnTo>
                    <a:pt x="402163" y="211493"/>
                  </a:lnTo>
                  <a:lnTo>
                    <a:pt x="402163" y="209847"/>
                  </a:lnTo>
                  <a:lnTo>
                    <a:pt x="400477" y="208201"/>
                  </a:lnTo>
                  <a:lnTo>
                    <a:pt x="398791" y="214785"/>
                  </a:lnTo>
                  <a:lnTo>
                    <a:pt x="400477" y="208201"/>
                  </a:lnTo>
                  <a:lnTo>
                    <a:pt x="397104" y="206555"/>
                  </a:lnTo>
                  <a:lnTo>
                    <a:pt x="390360" y="211493"/>
                  </a:lnTo>
                  <a:lnTo>
                    <a:pt x="407222" y="186805"/>
                  </a:lnTo>
                  <a:lnTo>
                    <a:pt x="405536" y="190097"/>
                  </a:lnTo>
                  <a:lnTo>
                    <a:pt x="408908" y="186805"/>
                  </a:lnTo>
                  <a:lnTo>
                    <a:pt x="417339" y="188451"/>
                  </a:lnTo>
                  <a:close/>
                  <a:moveTo>
                    <a:pt x="390360" y="178576"/>
                  </a:moveTo>
                  <a:lnTo>
                    <a:pt x="388673" y="176930"/>
                  </a:lnTo>
                  <a:lnTo>
                    <a:pt x="390360" y="176930"/>
                  </a:lnTo>
                  <a:lnTo>
                    <a:pt x="390360" y="178576"/>
                  </a:lnTo>
                  <a:close/>
                  <a:moveTo>
                    <a:pt x="447691" y="167055"/>
                  </a:moveTo>
                  <a:lnTo>
                    <a:pt x="451064" y="171992"/>
                  </a:lnTo>
                  <a:lnTo>
                    <a:pt x="452750" y="171992"/>
                  </a:lnTo>
                  <a:lnTo>
                    <a:pt x="446005" y="193389"/>
                  </a:lnTo>
                  <a:lnTo>
                    <a:pt x="437574" y="196680"/>
                  </a:lnTo>
                  <a:lnTo>
                    <a:pt x="419025" y="183513"/>
                  </a:lnTo>
                  <a:lnTo>
                    <a:pt x="419025" y="180221"/>
                  </a:lnTo>
                  <a:lnTo>
                    <a:pt x="447691" y="167055"/>
                  </a:lnTo>
                  <a:close/>
                  <a:moveTo>
                    <a:pt x="150916" y="153888"/>
                  </a:moveTo>
                  <a:lnTo>
                    <a:pt x="149229" y="153888"/>
                  </a:lnTo>
                  <a:lnTo>
                    <a:pt x="150916" y="153888"/>
                  </a:lnTo>
                  <a:close/>
                  <a:moveTo>
                    <a:pt x="440946" y="135783"/>
                  </a:moveTo>
                  <a:lnTo>
                    <a:pt x="439260" y="139075"/>
                  </a:lnTo>
                  <a:lnTo>
                    <a:pt x="437574" y="135783"/>
                  </a:lnTo>
                  <a:lnTo>
                    <a:pt x="432515" y="139075"/>
                  </a:lnTo>
                  <a:lnTo>
                    <a:pt x="434201" y="144013"/>
                  </a:lnTo>
                  <a:lnTo>
                    <a:pt x="424084" y="153888"/>
                  </a:lnTo>
                  <a:lnTo>
                    <a:pt x="427456" y="157179"/>
                  </a:lnTo>
                  <a:lnTo>
                    <a:pt x="440946" y="155534"/>
                  </a:lnTo>
                  <a:lnTo>
                    <a:pt x="429143" y="167055"/>
                  </a:lnTo>
                  <a:lnTo>
                    <a:pt x="425770" y="167055"/>
                  </a:lnTo>
                  <a:lnTo>
                    <a:pt x="408908" y="176930"/>
                  </a:lnTo>
                  <a:lnTo>
                    <a:pt x="405536" y="173638"/>
                  </a:lnTo>
                  <a:lnTo>
                    <a:pt x="402163" y="173638"/>
                  </a:lnTo>
                  <a:lnTo>
                    <a:pt x="397104" y="176930"/>
                  </a:lnTo>
                  <a:lnTo>
                    <a:pt x="397104" y="180221"/>
                  </a:lnTo>
                  <a:lnTo>
                    <a:pt x="393732" y="173638"/>
                  </a:lnTo>
                  <a:lnTo>
                    <a:pt x="390360" y="175284"/>
                  </a:lnTo>
                  <a:lnTo>
                    <a:pt x="393732" y="180221"/>
                  </a:lnTo>
                  <a:lnTo>
                    <a:pt x="390360" y="175284"/>
                  </a:lnTo>
                  <a:lnTo>
                    <a:pt x="386987" y="176930"/>
                  </a:lnTo>
                  <a:lnTo>
                    <a:pt x="392046" y="185159"/>
                  </a:lnTo>
                  <a:lnTo>
                    <a:pt x="390360" y="186805"/>
                  </a:lnTo>
                  <a:lnTo>
                    <a:pt x="381928" y="178576"/>
                  </a:lnTo>
                  <a:lnTo>
                    <a:pt x="368439" y="181867"/>
                  </a:lnTo>
                  <a:lnTo>
                    <a:pt x="363380" y="186805"/>
                  </a:lnTo>
                  <a:lnTo>
                    <a:pt x="360007" y="191742"/>
                  </a:lnTo>
                  <a:lnTo>
                    <a:pt x="361694" y="196680"/>
                  </a:lnTo>
                  <a:lnTo>
                    <a:pt x="378556" y="203264"/>
                  </a:lnTo>
                  <a:lnTo>
                    <a:pt x="380242" y="208201"/>
                  </a:lnTo>
                  <a:lnTo>
                    <a:pt x="376870" y="204910"/>
                  </a:lnTo>
                  <a:lnTo>
                    <a:pt x="368439" y="198326"/>
                  </a:lnTo>
                  <a:lnTo>
                    <a:pt x="361694" y="198326"/>
                  </a:lnTo>
                  <a:lnTo>
                    <a:pt x="353263" y="203264"/>
                  </a:lnTo>
                  <a:lnTo>
                    <a:pt x="344831" y="203264"/>
                  </a:lnTo>
                  <a:lnTo>
                    <a:pt x="338087" y="208201"/>
                  </a:lnTo>
                  <a:lnTo>
                    <a:pt x="336400" y="218076"/>
                  </a:lnTo>
                  <a:lnTo>
                    <a:pt x="324597" y="221368"/>
                  </a:lnTo>
                  <a:lnTo>
                    <a:pt x="314479" y="219722"/>
                  </a:lnTo>
                  <a:lnTo>
                    <a:pt x="309421" y="223014"/>
                  </a:lnTo>
                  <a:lnTo>
                    <a:pt x="302676" y="221368"/>
                  </a:lnTo>
                  <a:lnTo>
                    <a:pt x="287500" y="224660"/>
                  </a:lnTo>
                  <a:lnTo>
                    <a:pt x="277383" y="216431"/>
                  </a:lnTo>
                  <a:lnTo>
                    <a:pt x="275696" y="196680"/>
                  </a:lnTo>
                  <a:lnTo>
                    <a:pt x="270638" y="196680"/>
                  </a:lnTo>
                  <a:lnTo>
                    <a:pt x="270638" y="214785"/>
                  </a:lnTo>
                  <a:lnTo>
                    <a:pt x="272324" y="214785"/>
                  </a:lnTo>
                  <a:lnTo>
                    <a:pt x="270638" y="214785"/>
                  </a:lnTo>
                  <a:lnTo>
                    <a:pt x="272324" y="216431"/>
                  </a:lnTo>
                  <a:lnTo>
                    <a:pt x="267265" y="218076"/>
                  </a:lnTo>
                  <a:lnTo>
                    <a:pt x="268951" y="218076"/>
                  </a:lnTo>
                  <a:lnTo>
                    <a:pt x="268951" y="221368"/>
                  </a:lnTo>
                  <a:lnTo>
                    <a:pt x="275696" y="224660"/>
                  </a:lnTo>
                  <a:lnTo>
                    <a:pt x="258834" y="221368"/>
                  </a:lnTo>
                  <a:lnTo>
                    <a:pt x="248717" y="223014"/>
                  </a:lnTo>
                  <a:lnTo>
                    <a:pt x="248717" y="226306"/>
                  </a:lnTo>
                  <a:lnTo>
                    <a:pt x="247030" y="223014"/>
                  </a:lnTo>
                  <a:lnTo>
                    <a:pt x="247030" y="226306"/>
                  </a:lnTo>
                  <a:lnTo>
                    <a:pt x="243658" y="223014"/>
                  </a:lnTo>
                  <a:lnTo>
                    <a:pt x="236913" y="224660"/>
                  </a:lnTo>
                  <a:lnTo>
                    <a:pt x="240286" y="227952"/>
                  </a:lnTo>
                  <a:lnTo>
                    <a:pt x="236913" y="223014"/>
                  </a:lnTo>
                  <a:lnTo>
                    <a:pt x="240286" y="219722"/>
                  </a:lnTo>
                  <a:lnTo>
                    <a:pt x="236913" y="223014"/>
                  </a:lnTo>
                  <a:lnTo>
                    <a:pt x="235227" y="223014"/>
                  </a:lnTo>
                  <a:lnTo>
                    <a:pt x="236913" y="227952"/>
                  </a:lnTo>
                  <a:lnTo>
                    <a:pt x="226796" y="223014"/>
                  </a:lnTo>
                  <a:lnTo>
                    <a:pt x="225110" y="214785"/>
                  </a:lnTo>
                  <a:lnTo>
                    <a:pt x="216678" y="209847"/>
                  </a:lnTo>
                  <a:lnTo>
                    <a:pt x="214992" y="206555"/>
                  </a:lnTo>
                  <a:lnTo>
                    <a:pt x="213306" y="208201"/>
                  </a:lnTo>
                  <a:lnTo>
                    <a:pt x="214992" y="206555"/>
                  </a:lnTo>
                  <a:lnTo>
                    <a:pt x="213306" y="203264"/>
                  </a:lnTo>
                  <a:lnTo>
                    <a:pt x="211620" y="204910"/>
                  </a:lnTo>
                  <a:lnTo>
                    <a:pt x="213306" y="203264"/>
                  </a:lnTo>
                  <a:lnTo>
                    <a:pt x="206561" y="198326"/>
                  </a:lnTo>
                  <a:lnTo>
                    <a:pt x="201502" y="203264"/>
                  </a:lnTo>
                  <a:lnTo>
                    <a:pt x="199816" y="201618"/>
                  </a:lnTo>
                  <a:lnTo>
                    <a:pt x="196444" y="195034"/>
                  </a:lnTo>
                  <a:lnTo>
                    <a:pt x="194758" y="193389"/>
                  </a:lnTo>
                  <a:lnTo>
                    <a:pt x="194758" y="196680"/>
                  </a:lnTo>
                  <a:lnTo>
                    <a:pt x="188013" y="188451"/>
                  </a:lnTo>
                  <a:lnTo>
                    <a:pt x="186326" y="191742"/>
                  </a:lnTo>
                  <a:lnTo>
                    <a:pt x="188013" y="188451"/>
                  </a:lnTo>
                  <a:lnTo>
                    <a:pt x="184640" y="190097"/>
                  </a:lnTo>
                  <a:lnTo>
                    <a:pt x="186326" y="186805"/>
                  </a:lnTo>
                  <a:lnTo>
                    <a:pt x="184640" y="186805"/>
                  </a:lnTo>
                  <a:lnTo>
                    <a:pt x="181268" y="188451"/>
                  </a:lnTo>
                  <a:lnTo>
                    <a:pt x="182954" y="185159"/>
                  </a:lnTo>
                  <a:lnTo>
                    <a:pt x="181268" y="185159"/>
                  </a:lnTo>
                  <a:lnTo>
                    <a:pt x="179581" y="186805"/>
                  </a:lnTo>
                  <a:lnTo>
                    <a:pt x="181268" y="185159"/>
                  </a:lnTo>
                  <a:lnTo>
                    <a:pt x="179581" y="183513"/>
                  </a:lnTo>
                  <a:lnTo>
                    <a:pt x="177895" y="185159"/>
                  </a:lnTo>
                  <a:lnTo>
                    <a:pt x="179581" y="181867"/>
                  </a:lnTo>
                  <a:lnTo>
                    <a:pt x="177895" y="180221"/>
                  </a:lnTo>
                  <a:lnTo>
                    <a:pt x="174523" y="183513"/>
                  </a:lnTo>
                  <a:lnTo>
                    <a:pt x="177895" y="180221"/>
                  </a:lnTo>
                  <a:lnTo>
                    <a:pt x="176209" y="178576"/>
                  </a:lnTo>
                  <a:lnTo>
                    <a:pt x="172837" y="181867"/>
                  </a:lnTo>
                  <a:lnTo>
                    <a:pt x="174523" y="178576"/>
                  </a:lnTo>
                  <a:lnTo>
                    <a:pt x="171150" y="180221"/>
                  </a:lnTo>
                  <a:lnTo>
                    <a:pt x="172837" y="176930"/>
                  </a:lnTo>
                  <a:lnTo>
                    <a:pt x="171150" y="175284"/>
                  </a:lnTo>
                  <a:lnTo>
                    <a:pt x="169464" y="178576"/>
                  </a:lnTo>
                  <a:lnTo>
                    <a:pt x="171150" y="175284"/>
                  </a:lnTo>
                  <a:lnTo>
                    <a:pt x="169464" y="173638"/>
                  </a:lnTo>
                  <a:lnTo>
                    <a:pt x="167778" y="175284"/>
                  </a:lnTo>
                  <a:lnTo>
                    <a:pt x="169464" y="173638"/>
                  </a:lnTo>
                  <a:lnTo>
                    <a:pt x="167778" y="171992"/>
                  </a:lnTo>
                  <a:lnTo>
                    <a:pt x="164405" y="173638"/>
                  </a:lnTo>
                  <a:lnTo>
                    <a:pt x="166092" y="170346"/>
                  </a:lnTo>
                  <a:lnTo>
                    <a:pt x="162719" y="171992"/>
                  </a:lnTo>
                  <a:lnTo>
                    <a:pt x="166092" y="170346"/>
                  </a:lnTo>
                  <a:lnTo>
                    <a:pt x="164405" y="168700"/>
                  </a:lnTo>
                  <a:lnTo>
                    <a:pt x="161033" y="168700"/>
                  </a:lnTo>
                  <a:lnTo>
                    <a:pt x="164405" y="165409"/>
                  </a:lnTo>
                  <a:lnTo>
                    <a:pt x="189699" y="158825"/>
                  </a:lnTo>
                  <a:lnTo>
                    <a:pt x="203189" y="148950"/>
                  </a:lnTo>
                  <a:lnTo>
                    <a:pt x="206561" y="155534"/>
                  </a:lnTo>
                  <a:lnTo>
                    <a:pt x="209934" y="155534"/>
                  </a:lnTo>
                  <a:lnTo>
                    <a:pt x="214992" y="147304"/>
                  </a:lnTo>
                  <a:lnTo>
                    <a:pt x="221737" y="150596"/>
                  </a:lnTo>
                  <a:lnTo>
                    <a:pt x="223423" y="144013"/>
                  </a:lnTo>
                  <a:lnTo>
                    <a:pt x="223423" y="130845"/>
                  </a:lnTo>
                  <a:lnTo>
                    <a:pt x="231854" y="134137"/>
                  </a:lnTo>
                  <a:lnTo>
                    <a:pt x="236913" y="134137"/>
                  </a:lnTo>
                  <a:lnTo>
                    <a:pt x="238599" y="140721"/>
                  </a:lnTo>
                  <a:lnTo>
                    <a:pt x="248717" y="137429"/>
                  </a:lnTo>
                  <a:lnTo>
                    <a:pt x="252089" y="130845"/>
                  </a:lnTo>
                  <a:lnTo>
                    <a:pt x="260520" y="127554"/>
                  </a:lnTo>
                  <a:lnTo>
                    <a:pt x="262206" y="132492"/>
                  </a:lnTo>
                  <a:lnTo>
                    <a:pt x="272324" y="135783"/>
                  </a:lnTo>
                  <a:lnTo>
                    <a:pt x="275696" y="139075"/>
                  </a:lnTo>
                  <a:lnTo>
                    <a:pt x="279069" y="129200"/>
                  </a:lnTo>
                  <a:lnTo>
                    <a:pt x="289186" y="139075"/>
                  </a:lnTo>
                  <a:lnTo>
                    <a:pt x="304362" y="134137"/>
                  </a:lnTo>
                  <a:lnTo>
                    <a:pt x="309421" y="140721"/>
                  </a:lnTo>
                  <a:lnTo>
                    <a:pt x="321224" y="127554"/>
                  </a:lnTo>
                  <a:lnTo>
                    <a:pt x="349890" y="153888"/>
                  </a:lnTo>
                  <a:lnTo>
                    <a:pt x="366752" y="158825"/>
                  </a:lnTo>
                  <a:lnTo>
                    <a:pt x="378556" y="155534"/>
                  </a:lnTo>
                  <a:lnTo>
                    <a:pt x="427456" y="127554"/>
                  </a:lnTo>
                  <a:lnTo>
                    <a:pt x="435888" y="125908"/>
                  </a:lnTo>
                  <a:lnTo>
                    <a:pt x="440946" y="135783"/>
                  </a:lnTo>
                  <a:close/>
                  <a:moveTo>
                    <a:pt x="118877" y="97928"/>
                  </a:moveTo>
                  <a:lnTo>
                    <a:pt x="117191" y="97928"/>
                  </a:lnTo>
                  <a:lnTo>
                    <a:pt x="118877" y="97928"/>
                  </a:lnTo>
                  <a:close/>
                  <a:moveTo>
                    <a:pt x="105388" y="84761"/>
                  </a:moveTo>
                  <a:lnTo>
                    <a:pt x="103701" y="84761"/>
                  </a:lnTo>
                  <a:lnTo>
                    <a:pt x="105388" y="84761"/>
                  </a:lnTo>
                  <a:close/>
                  <a:moveTo>
                    <a:pt x="90212" y="74886"/>
                  </a:moveTo>
                  <a:lnTo>
                    <a:pt x="88525" y="74886"/>
                  </a:lnTo>
                  <a:lnTo>
                    <a:pt x="90212" y="74886"/>
                  </a:lnTo>
                  <a:close/>
                  <a:moveTo>
                    <a:pt x="76722" y="66657"/>
                  </a:moveTo>
                  <a:lnTo>
                    <a:pt x="76722" y="65011"/>
                  </a:lnTo>
                  <a:lnTo>
                    <a:pt x="76722" y="66657"/>
                  </a:lnTo>
                  <a:close/>
                  <a:moveTo>
                    <a:pt x="59860" y="51844"/>
                  </a:moveTo>
                  <a:lnTo>
                    <a:pt x="59860" y="53490"/>
                  </a:lnTo>
                  <a:lnTo>
                    <a:pt x="59860" y="51844"/>
                  </a:lnTo>
                  <a:close/>
                  <a:moveTo>
                    <a:pt x="42997" y="35385"/>
                  </a:moveTo>
                  <a:lnTo>
                    <a:pt x="42997" y="37031"/>
                  </a:lnTo>
                  <a:lnTo>
                    <a:pt x="42997" y="35385"/>
                  </a:lnTo>
                  <a:close/>
                  <a:moveTo>
                    <a:pt x="21076" y="4114"/>
                  </a:moveTo>
                  <a:lnTo>
                    <a:pt x="21076" y="5760"/>
                  </a:lnTo>
                  <a:lnTo>
                    <a:pt x="2107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2" name="Wijchen">
              <a:extLst>
                <a:ext uri="{FF2B5EF4-FFF2-40B4-BE49-F238E27FC236}">
                  <a16:creationId xmlns:a16="http://schemas.microsoft.com/office/drawing/2014/main" id="{DF0ACB64-281B-4467-892D-20F116B966FE}"/>
                </a:ext>
              </a:extLst>
            </p:cNvPr>
            <p:cNvSpPr/>
            <p:nvPr/>
          </p:nvSpPr>
          <p:spPr>
            <a:xfrm>
              <a:off x="6456510" y="3904580"/>
              <a:ext cx="221575" cy="147839"/>
            </a:xfrm>
            <a:custGeom>
              <a:avLst/>
              <a:gdLst/>
              <a:ahLst/>
              <a:cxnLst/>
              <a:rect l="l" t="t" r="r" b="b"/>
              <a:pathLst>
                <a:path w="316120" h="228600" extrusionOk="0">
                  <a:moveTo>
                    <a:pt x="102015" y="5760"/>
                  </a:moveTo>
                  <a:lnTo>
                    <a:pt x="110446" y="7406"/>
                  </a:lnTo>
                  <a:lnTo>
                    <a:pt x="115505" y="10698"/>
                  </a:lnTo>
                  <a:lnTo>
                    <a:pt x="117191" y="17281"/>
                  </a:lnTo>
                  <a:lnTo>
                    <a:pt x="128995" y="20573"/>
                  </a:lnTo>
                  <a:lnTo>
                    <a:pt x="127309" y="25510"/>
                  </a:lnTo>
                  <a:lnTo>
                    <a:pt x="132367" y="28802"/>
                  </a:lnTo>
                  <a:lnTo>
                    <a:pt x="130681" y="37031"/>
                  </a:lnTo>
                  <a:lnTo>
                    <a:pt x="137426" y="48552"/>
                  </a:lnTo>
                  <a:lnTo>
                    <a:pt x="132367" y="48552"/>
                  </a:lnTo>
                  <a:lnTo>
                    <a:pt x="132367" y="55136"/>
                  </a:lnTo>
                  <a:lnTo>
                    <a:pt x="125622" y="55136"/>
                  </a:lnTo>
                  <a:lnTo>
                    <a:pt x="127309" y="61719"/>
                  </a:lnTo>
                  <a:lnTo>
                    <a:pt x="204875" y="73240"/>
                  </a:lnTo>
                  <a:lnTo>
                    <a:pt x="258834" y="88053"/>
                  </a:lnTo>
                  <a:lnTo>
                    <a:pt x="248717" y="107803"/>
                  </a:lnTo>
                  <a:lnTo>
                    <a:pt x="270638" y="109449"/>
                  </a:lnTo>
                  <a:lnTo>
                    <a:pt x="274010" y="114387"/>
                  </a:lnTo>
                  <a:lnTo>
                    <a:pt x="285814" y="145658"/>
                  </a:lnTo>
                  <a:lnTo>
                    <a:pt x="299303" y="160471"/>
                  </a:lnTo>
                  <a:lnTo>
                    <a:pt x="304362" y="170346"/>
                  </a:lnTo>
                  <a:lnTo>
                    <a:pt x="306049" y="171992"/>
                  </a:lnTo>
                  <a:lnTo>
                    <a:pt x="307735" y="170346"/>
                  </a:lnTo>
                  <a:lnTo>
                    <a:pt x="316166" y="176930"/>
                  </a:lnTo>
                  <a:lnTo>
                    <a:pt x="314480" y="178576"/>
                  </a:lnTo>
                  <a:lnTo>
                    <a:pt x="284128" y="203264"/>
                  </a:lnTo>
                  <a:lnTo>
                    <a:pt x="275696" y="204910"/>
                  </a:lnTo>
                  <a:lnTo>
                    <a:pt x="267265" y="201618"/>
                  </a:lnTo>
                  <a:lnTo>
                    <a:pt x="267265" y="208201"/>
                  </a:lnTo>
                  <a:lnTo>
                    <a:pt x="230168" y="218076"/>
                  </a:lnTo>
                  <a:lnTo>
                    <a:pt x="223424" y="216431"/>
                  </a:lnTo>
                  <a:lnTo>
                    <a:pt x="223424" y="219722"/>
                  </a:lnTo>
                  <a:lnTo>
                    <a:pt x="213306" y="214785"/>
                  </a:lnTo>
                  <a:lnTo>
                    <a:pt x="206561" y="231243"/>
                  </a:lnTo>
                  <a:lnTo>
                    <a:pt x="194758" y="226306"/>
                  </a:lnTo>
                  <a:lnTo>
                    <a:pt x="176209" y="226306"/>
                  </a:lnTo>
                  <a:lnTo>
                    <a:pt x="164405" y="219722"/>
                  </a:lnTo>
                  <a:lnTo>
                    <a:pt x="154288" y="199972"/>
                  </a:lnTo>
                  <a:lnTo>
                    <a:pt x="145857" y="191742"/>
                  </a:lnTo>
                  <a:lnTo>
                    <a:pt x="134053" y="186805"/>
                  </a:lnTo>
                  <a:lnTo>
                    <a:pt x="110446" y="183513"/>
                  </a:lnTo>
                  <a:lnTo>
                    <a:pt x="100329" y="175284"/>
                  </a:lnTo>
                  <a:lnTo>
                    <a:pt x="86839" y="158825"/>
                  </a:lnTo>
                  <a:lnTo>
                    <a:pt x="78408" y="132492"/>
                  </a:lnTo>
                  <a:lnTo>
                    <a:pt x="69977" y="122616"/>
                  </a:lnTo>
                  <a:lnTo>
                    <a:pt x="59860" y="119324"/>
                  </a:lnTo>
                  <a:lnTo>
                    <a:pt x="36253" y="119324"/>
                  </a:lnTo>
                  <a:lnTo>
                    <a:pt x="4214" y="99574"/>
                  </a:lnTo>
                  <a:lnTo>
                    <a:pt x="5901" y="96282"/>
                  </a:lnTo>
                  <a:lnTo>
                    <a:pt x="12645" y="97928"/>
                  </a:lnTo>
                  <a:lnTo>
                    <a:pt x="21076" y="91345"/>
                  </a:lnTo>
                  <a:lnTo>
                    <a:pt x="19390" y="86407"/>
                  </a:lnTo>
                  <a:lnTo>
                    <a:pt x="22763" y="84761"/>
                  </a:lnTo>
                  <a:lnTo>
                    <a:pt x="17704" y="79824"/>
                  </a:lnTo>
                  <a:lnTo>
                    <a:pt x="41311" y="68303"/>
                  </a:lnTo>
                  <a:lnTo>
                    <a:pt x="73349" y="58427"/>
                  </a:lnTo>
                  <a:lnTo>
                    <a:pt x="61546" y="51844"/>
                  </a:lnTo>
                  <a:lnTo>
                    <a:pt x="64918" y="48552"/>
                  </a:lnTo>
                  <a:lnTo>
                    <a:pt x="59860" y="43615"/>
                  </a:lnTo>
                  <a:lnTo>
                    <a:pt x="68291" y="30448"/>
                  </a:lnTo>
                  <a:lnTo>
                    <a:pt x="66605" y="17281"/>
                  </a:lnTo>
                  <a:lnTo>
                    <a:pt x="63232" y="10698"/>
                  </a:lnTo>
                  <a:lnTo>
                    <a:pt x="61546" y="4114"/>
                  </a:lnTo>
                  <a:lnTo>
                    <a:pt x="102015"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3" name="Bodegraven-Reeuwijk">
              <a:extLst>
                <a:ext uri="{FF2B5EF4-FFF2-40B4-BE49-F238E27FC236}">
                  <a16:creationId xmlns:a16="http://schemas.microsoft.com/office/drawing/2014/main" id="{8734BB99-F946-4093-A3C6-5D318E671F60}"/>
                </a:ext>
              </a:extLst>
            </p:cNvPr>
            <p:cNvSpPr/>
            <p:nvPr/>
          </p:nvSpPr>
          <p:spPr>
            <a:xfrm>
              <a:off x="5465964" y="3482491"/>
              <a:ext cx="229570" cy="178143"/>
            </a:xfrm>
            <a:custGeom>
              <a:avLst/>
              <a:gdLst/>
              <a:ahLst/>
              <a:cxnLst/>
              <a:rect l="l" t="t" r="r" b="b"/>
              <a:pathLst>
                <a:path w="327828" h="262890" extrusionOk="0">
                  <a:moveTo>
                    <a:pt x="211620" y="7406"/>
                  </a:moveTo>
                  <a:lnTo>
                    <a:pt x="257148" y="41969"/>
                  </a:lnTo>
                  <a:lnTo>
                    <a:pt x="253775" y="45261"/>
                  </a:lnTo>
                  <a:lnTo>
                    <a:pt x="253775" y="74886"/>
                  </a:lnTo>
                  <a:lnTo>
                    <a:pt x="257148" y="119324"/>
                  </a:lnTo>
                  <a:lnTo>
                    <a:pt x="267265" y="119324"/>
                  </a:lnTo>
                  <a:lnTo>
                    <a:pt x="267265" y="124262"/>
                  </a:lnTo>
                  <a:lnTo>
                    <a:pt x="268952" y="124262"/>
                  </a:lnTo>
                  <a:lnTo>
                    <a:pt x="262207" y="139075"/>
                  </a:lnTo>
                  <a:lnTo>
                    <a:pt x="282441" y="134137"/>
                  </a:lnTo>
                  <a:lnTo>
                    <a:pt x="329656" y="134137"/>
                  </a:lnTo>
                  <a:lnTo>
                    <a:pt x="321224" y="148950"/>
                  </a:lnTo>
                  <a:lnTo>
                    <a:pt x="302676" y="157179"/>
                  </a:lnTo>
                  <a:lnTo>
                    <a:pt x="290872" y="160471"/>
                  </a:lnTo>
                  <a:lnTo>
                    <a:pt x="262207" y="180221"/>
                  </a:lnTo>
                  <a:lnTo>
                    <a:pt x="243658" y="211493"/>
                  </a:lnTo>
                  <a:lnTo>
                    <a:pt x="235227" y="218076"/>
                  </a:lnTo>
                  <a:lnTo>
                    <a:pt x="226796" y="219722"/>
                  </a:lnTo>
                  <a:lnTo>
                    <a:pt x="231855" y="234535"/>
                  </a:lnTo>
                  <a:lnTo>
                    <a:pt x="184640" y="264160"/>
                  </a:lnTo>
                  <a:lnTo>
                    <a:pt x="166092" y="267452"/>
                  </a:lnTo>
                  <a:lnTo>
                    <a:pt x="140798" y="265806"/>
                  </a:lnTo>
                  <a:lnTo>
                    <a:pt x="139112" y="259223"/>
                  </a:lnTo>
                  <a:lnTo>
                    <a:pt x="134053" y="257577"/>
                  </a:lnTo>
                  <a:lnTo>
                    <a:pt x="130681" y="244410"/>
                  </a:lnTo>
                  <a:lnTo>
                    <a:pt x="120564" y="244410"/>
                  </a:lnTo>
                  <a:lnTo>
                    <a:pt x="117191" y="237827"/>
                  </a:lnTo>
                  <a:lnTo>
                    <a:pt x="93584" y="234535"/>
                  </a:lnTo>
                  <a:lnTo>
                    <a:pt x="95270" y="213138"/>
                  </a:lnTo>
                  <a:lnTo>
                    <a:pt x="91898" y="213138"/>
                  </a:lnTo>
                  <a:lnTo>
                    <a:pt x="88525" y="206555"/>
                  </a:lnTo>
                  <a:lnTo>
                    <a:pt x="44684" y="191742"/>
                  </a:lnTo>
                  <a:lnTo>
                    <a:pt x="29508" y="191742"/>
                  </a:lnTo>
                  <a:lnTo>
                    <a:pt x="34566" y="171992"/>
                  </a:lnTo>
                  <a:lnTo>
                    <a:pt x="17704" y="171992"/>
                  </a:lnTo>
                  <a:lnTo>
                    <a:pt x="17704" y="163763"/>
                  </a:lnTo>
                  <a:lnTo>
                    <a:pt x="14332" y="158825"/>
                  </a:lnTo>
                  <a:lnTo>
                    <a:pt x="9273" y="158825"/>
                  </a:lnTo>
                  <a:lnTo>
                    <a:pt x="4214" y="142367"/>
                  </a:lnTo>
                  <a:lnTo>
                    <a:pt x="12645" y="144012"/>
                  </a:lnTo>
                  <a:lnTo>
                    <a:pt x="12645" y="139075"/>
                  </a:lnTo>
                  <a:lnTo>
                    <a:pt x="29508" y="139075"/>
                  </a:lnTo>
                  <a:lnTo>
                    <a:pt x="32880" y="155533"/>
                  </a:lnTo>
                  <a:lnTo>
                    <a:pt x="37939" y="155533"/>
                  </a:lnTo>
                  <a:lnTo>
                    <a:pt x="42997" y="130845"/>
                  </a:lnTo>
                  <a:lnTo>
                    <a:pt x="56487" y="134137"/>
                  </a:lnTo>
                  <a:lnTo>
                    <a:pt x="59860" y="117678"/>
                  </a:lnTo>
                  <a:lnTo>
                    <a:pt x="73349" y="112741"/>
                  </a:lnTo>
                  <a:lnTo>
                    <a:pt x="85153" y="112741"/>
                  </a:lnTo>
                  <a:lnTo>
                    <a:pt x="88525" y="102866"/>
                  </a:lnTo>
                  <a:lnTo>
                    <a:pt x="78408" y="71595"/>
                  </a:lnTo>
                  <a:lnTo>
                    <a:pt x="76722" y="73240"/>
                  </a:lnTo>
                  <a:lnTo>
                    <a:pt x="73349" y="68303"/>
                  </a:lnTo>
                  <a:lnTo>
                    <a:pt x="118877" y="53490"/>
                  </a:lnTo>
                  <a:lnTo>
                    <a:pt x="117191" y="51844"/>
                  </a:lnTo>
                  <a:lnTo>
                    <a:pt x="127309" y="46906"/>
                  </a:lnTo>
                  <a:lnTo>
                    <a:pt x="125622" y="41969"/>
                  </a:lnTo>
                  <a:lnTo>
                    <a:pt x="149230" y="37031"/>
                  </a:lnTo>
                  <a:lnTo>
                    <a:pt x="155974" y="32094"/>
                  </a:lnTo>
                  <a:lnTo>
                    <a:pt x="161033" y="23864"/>
                  </a:lnTo>
                  <a:lnTo>
                    <a:pt x="171150" y="25510"/>
                  </a:lnTo>
                  <a:lnTo>
                    <a:pt x="172837" y="20573"/>
                  </a:lnTo>
                  <a:lnTo>
                    <a:pt x="186326" y="18927"/>
                  </a:lnTo>
                  <a:lnTo>
                    <a:pt x="188013" y="15635"/>
                  </a:lnTo>
                  <a:lnTo>
                    <a:pt x="193071" y="15635"/>
                  </a:lnTo>
                  <a:lnTo>
                    <a:pt x="194758" y="7406"/>
                  </a:lnTo>
                  <a:lnTo>
                    <a:pt x="204875" y="9052"/>
                  </a:lnTo>
                  <a:lnTo>
                    <a:pt x="206561" y="4114"/>
                  </a:lnTo>
                  <a:lnTo>
                    <a:pt x="211620"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4" name="Roosendaal">
              <a:extLst>
                <a:ext uri="{FF2B5EF4-FFF2-40B4-BE49-F238E27FC236}">
                  <a16:creationId xmlns:a16="http://schemas.microsoft.com/office/drawing/2014/main" id="{7DCFA783-DDA9-4256-95E3-4A6186A87A44}"/>
                </a:ext>
              </a:extLst>
            </p:cNvPr>
            <p:cNvSpPr/>
            <p:nvPr/>
          </p:nvSpPr>
          <p:spPr>
            <a:xfrm>
              <a:off x="5092810" y="4383393"/>
              <a:ext cx="239469" cy="193697"/>
            </a:xfrm>
            <a:custGeom>
              <a:avLst/>
              <a:gdLst/>
              <a:ahLst/>
              <a:cxnLst/>
              <a:rect l="l" t="t" r="r" b="b"/>
              <a:pathLst>
                <a:path w="339536" h="285750" extrusionOk="0">
                  <a:moveTo>
                    <a:pt x="223423" y="12343"/>
                  </a:moveTo>
                  <a:lnTo>
                    <a:pt x="231854" y="10697"/>
                  </a:lnTo>
                  <a:lnTo>
                    <a:pt x="230168" y="17281"/>
                  </a:lnTo>
                  <a:lnTo>
                    <a:pt x="235227" y="18926"/>
                  </a:lnTo>
                  <a:lnTo>
                    <a:pt x="236913" y="23864"/>
                  </a:lnTo>
                  <a:lnTo>
                    <a:pt x="250403" y="23864"/>
                  </a:lnTo>
                  <a:lnTo>
                    <a:pt x="257148" y="18926"/>
                  </a:lnTo>
                  <a:lnTo>
                    <a:pt x="262206" y="22218"/>
                  </a:lnTo>
                  <a:lnTo>
                    <a:pt x="262206" y="25510"/>
                  </a:lnTo>
                  <a:lnTo>
                    <a:pt x="282441" y="25510"/>
                  </a:lnTo>
                  <a:lnTo>
                    <a:pt x="302676" y="30448"/>
                  </a:lnTo>
                  <a:lnTo>
                    <a:pt x="299303" y="60073"/>
                  </a:lnTo>
                  <a:lnTo>
                    <a:pt x="300989" y="65011"/>
                  </a:lnTo>
                  <a:lnTo>
                    <a:pt x="314479" y="68302"/>
                  </a:lnTo>
                  <a:lnTo>
                    <a:pt x="319538" y="66657"/>
                  </a:lnTo>
                  <a:lnTo>
                    <a:pt x="324597" y="71594"/>
                  </a:lnTo>
                  <a:lnTo>
                    <a:pt x="326283" y="68302"/>
                  </a:lnTo>
                  <a:lnTo>
                    <a:pt x="338087" y="69949"/>
                  </a:lnTo>
                  <a:lnTo>
                    <a:pt x="334714" y="102866"/>
                  </a:lnTo>
                  <a:lnTo>
                    <a:pt x="326283" y="120970"/>
                  </a:lnTo>
                  <a:lnTo>
                    <a:pt x="322911" y="120970"/>
                  </a:lnTo>
                  <a:lnTo>
                    <a:pt x="324597" y="129199"/>
                  </a:lnTo>
                  <a:lnTo>
                    <a:pt x="304362" y="132491"/>
                  </a:lnTo>
                  <a:lnTo>
                    <a:pt x="295931" y="152242"/>
                  </a:lnTo>
                  <a:lnTo>
                    <a:pt x="299303" y="167054"/>
                  </a:lnTo>
                  <a:lnTo>
                    <a:pt x="285814" y="203264"/>
                  </a:lnTo>
                  <a:lnTo>
                    <a:pt x="289186" y="213138"/>
                  </a:lnTo>
                  <a:lnTo>
                    <a:pt x="277382" y="216430"/>
                  </a:lnTo>
                  <a:lnTo>
                    <a:pt x="280755" y="226306"/>
                  </a:lnTo>
                  <a:lnTo>
                    <a:pt x="263892" y="224660"/>
                  </a:lnTo>
                  <a:lnTo>
                    <a:pt x="245344" y="241118"/>
                  </a:lnTo>
                  <a:lnTo>
                    <a:pt x="211620" y="246056"/>
                  </a:lnTo>
                  <a:lnTo>
                    <a:pt x="132367" y="287202"/>
                  </a:lnTo>
                  <a:lnTo>
                    <a:pt x="118877" y="278973"/>
                  </a:lnTo>
                  <a:lnTo>
                    <a:pt x="93584" y="274035"/>
                  </a:lnTo>
                  <a:lnTo>
                    <a:pt x="86839" y="239472"/>
                  </a:lnTo>
                  <a:lnTo>
                    <a:pt x="88525" y="237827"/>
                  </a:lnTo>
                  <a:lnTo>
                    <a:pt x="86839" y="226306"/>
                  </a:lnTo>
                  <a:lnTo>
                    <a:pt x="102015" y="219722"/>
                  </a:lnTo>
                  <a:lnTo>
                    <a:pt x="103701" y="199972"/>
                  </a:lnTo>
                  <a:lnTo>
                    <a:pt x="81780" y="186805"/>
                  </a:lnTo>
                  <a:lnTo>
                    <a:pt x="71663" y="170346"/>
                  </a:lnTo>
                  <a:lnTo>
                    <a:pt x="68291" y="160471"/>
                  </a:lnTo>
                  <a:lnTo>
                    <a:pt x="76722" y="155533"/>
                  </a:lnTo>
                  <a:lnTo>
                    <a:pt x="76722" y="153888"/>
                  </a:lnTo>
                  <a:lnTo>
                    <a:pt x="69977" y="155533"/>
                  </a:lnTo>
                  <a:lnTo>
                    <a:pt x="73349" y="134137"/>
                  </a:lnTo>
                  <a:lnTo>
                    <a:pt x="73349" y="125908"/>
                  </a:lnTo>
                  <a:lnTo>
                    <a:pt x="58173" y="125908"/>
                  </a:lnTo>
                  <a:lnTo>
                    <a:pt x="56487" y="114387"/>
                  </a:lnTo>
                  <a:lnTo>
                    <a:pt x="59859" y="106157"/>
                  </a:lnTo>
                  <a:lnTo>
                    <a:pt x="32880" y="97928"/>
                  </a:lnTo>
                  <a:lnTo>
                    <a:pt x="37939" y="94636"/>
                  </a:lnTo>
                  <a:lnTo>
                    <a:pt x="36252" y="83115"/>
                  </a:lnTo>
                  <a:lnTo>
                    <a:pt x="4214" y="63365"/>
                  </a:lnTo>
                  <a:lnTo>
                    <a:pt x="7586" y="55136"/>
                  </a:lnTo>
                  <a:lnTo>
                    <a:pt x="19390" y="58427"/>
                  </a:lnTo>
                  <a:lnTo>
                    <a:pt x="22763" y="45260"/>
                  </a:lnTo>
                  <a:lnTo>
                    <a:pt x="110446" y="65011"/>
                  </a:lnTo>
                  <a:lnTo>
                    <a:pt x="166092" y="45260"/>
                  </a:lnTo>
                  <a:lnTo>
                    <a:pt x="189699" y="45260"/>
                  </a:lnTo>
                  <a:lnTo>
                    <a:pt x="193071" y="37031"/>
                  </a:lnTo>
                  <a:lnTo>
                    <a:pt x="208247" y="35385"/>
                  </a:lnTo>
                  <a:lnTo>
                    <a:pt x="211620" y="30448"/>
                  </a:lnTo>
                  <a:lnTo>
                    <a:pt x="214992" y="5760"/>
                  </a:lnTo>
                  <a:lnTo>
                    <a:pt x="218365" y="4114"/>
                  </a:lnTo>
                  <a:lnTo>
                    <a:pt x="223423" y="1234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5" name="Wijdemeren">
              <a:extLst>
                <a:ext uri="{FF2B5EF4-FFF2-40B4-BE49-F238E27FC236}">
                  <a16:creationId xmlns:a16="http://schemas.microsoft.com/office/drawing/2014/main" id="{5E2C1F49-02AE-4507-9364-FF676E35794D}"/>
                </a:ext>
              </a:extLst>
            </p:cNvPr>
            <p:cNvSpPr/>
            <p:nvPr/>
          </p:nvSpPr>
          <p:spPr>
            <a:xfrm>
              <a:off x="5856966" y="3220222"/>
              <a:ext cx="133633" cy="185643"/>
            </a:xfrm>
            <a:custGeom>
              <a:avLst/>
              <a:gdLst/>
              <a:ahLst/>
              <a:cxnLst/>
              <a:rect l="l" t="t" r="r" b="b"/>
              <a:pathLst>
                <a:path w="187330" h="285750" extrusionOk="0">
                  <a:moveTo>
                    <a:pt x="69977" y="20573"/>
                  </a:moveTo>
                  <a:lnTo>
                    <a:pt x="88526" y="20573"/>
                  </a:lnTo>
                  <a:lnTo>
                    <a:pt x="100329" y="17281"/>
                  </a:lnTo>
                  <a:lnTo>
                    <a:pt x="105388" y="12343"/>
                  </a:lnTo>
                  <a:lnTo>
                    <a:pt x="127309" y="17281"/>
                  </a:lnTo>
                  <a:lnTo>
                    <a:pt x="128995" y="22219"/>
                  </a:lnTo>
                  <a:lnTo>
                    <a:pt x="152602" y="32094"/>
                  </a:lnTo>
                  <a:lnTo>
                    <a:pt x="162720" y="65011"/>
                  </a:lnTo>
                  <a:lnTo>
                    <a:pt x="179582" y="65011"/>
                  </a:lnTo>
                  <a:lnTo>
                    <a:pt x="179582" y="79824"/>
                  </a:lnTo>
                  <a:lnTo>
                    <a:pt x="182954" y="79824"/>
                  </a:lnTo>
                  <a:lnTo>
                    <a:pt x="184640" y="99574"/>
                  </a:lnTo>
                  <a:lnTo>
                    <a:pt x="188013" y="104512"/>
                  </a:lnTo>
                  <a:lnTo>
                    <a:pt x="186326" y="148950"/>
                  </a:lnTo>
                  <a:lnTo>
                    <a:pt x="184640" y="150596"/>
                  </a:lnTo>
                  <a:lnTo>
                    <a:pt x="166092" y="150596"/>
                  </a:lnTo>
                  <a:lnTo>
                    <a:pt x="166092" y="155534"/>
                  </a:lnTo>
                  <a:lnTo>
                    <a:pt x="169464" y="155534"/>
                  </a:lnTo>
                  <a:lnTo>
                    <a:pt x="169464" y="157179"/>
                  </a:lnTo>
                  <a:lnTo>
                    <a:pt x="159347" y="157179"/>
                  </a:lnTo>
                  <a:lnTo>
                    <a:pt x="157661" y="163763"/>
                  </a:lnTo>
                  <a:lnTo>
                    <a:pt x="174523" y="175284"/>
                  </a:lnTo>
                  <a:lnTo>
                    <a:pt x="182954" y="190097"/>
                  </a:lnTo>
                  <a:lnTo>
                    <a:pt x="188013" y="188451"/>
                  </a:lnTo>
                  <a:lnTo>
                    <a:pt x="184640" y="191742"/>
                  </a:lnTo>
                  <a:lnTo>
                    <a:pt x="193072" y="208201"/>
                  </a:lnTo>
                  <a:lnTo>
                    <a:pt x="193072" y="214785"/>
                  </a:lnTo>
                  <a:lnTo>
                    <a:pt x="186326" y="226306"/>
                  </a:lnTo>
                  <a:lnTo>
                    <a:pt x="177895" y="232889"/>
                  </a:lnTo>
                  <a:lnTo>
                    <a:pt x="155974" y="244410"/>
                  </a:lnTo>
                  <a:lnTo>
                    <a:pt x="159347" y="255931"/>
                  </a:lnTo>
                  <a:lnTo>
                    <a:pt x="95270" y="272390"/>
                  </a:lnTo>
                  <a:lnTo>
                    <a:pt x="41311" y="292140"/>
                  </a:lnTo>
                  <a:lnTo>
                    <a:pt x="34566" y="249348"/>
                  </a:lnTo>
                  <a:lnTo>
                    <a:pt x="21076" y="247702"/>
                  </a:lnTo>
                  <a:lnTo>
                    <a:pt x="29508" y="221368"/>
                  </a:lnTo>
                  <a:lnTo>
                    <a:pt x="27822" y="214785"/>
                  </a:lnTo>
                  <a:lnTo>
                    <a:pt x="19390" y="213139"/>
                  </a:lnTo>
                  <a:lnTo>
                    <a:pt x="10959" y="204909"/>
                  </a:lnTo>
                  <a:lnTo>
                    <a:pt x="4214" y="204909"/>
                  </a:lnTo>
                  <a:lnTo>
                    <a:pt x="5901" y="204909"/>
                  </a:lnTo>
                  <a:lnTo>
                    <a:pt x="4214" y="203264"/>
                  </a:lnTo>
                  <a:lnTo>
                    <a:pt x="5901" y="203264"/>
                  </a:lnTo>
                  <a:lnTo>
                    <a:pt x="5901" y="199972"/>
                  </a:lnTo>
                  <a:lnTo>
                    <a:pt x="9273" y="201618"/>
                  </a:lnTo>
                  <a:lnTo>
                    <a:pt x="9273" y="199972"/>
                  </a:lnTo>
                  <a:lnTo>
                    <a:pt x="26135" y="203264"/>
                  </a:lnTo>
                  <a:lnTo>
                    <a:pt x="27822" y="196680"/>
                  </a:lnTo>
                  <a:lnTo>
                    <a:pt x="24449" y="196680"/>
                  </a:lnTo>
                  <a:lnTo>
                    <a:pt x="26135" y="186805"/>
                  </a:lnTo>
                  <a:lnTo>
                    <a:pt x="22763" y="185159"/>
                  </a:lnTo>
                  <a:lnTo>
                    <a:pt x="22763" y="175284"/>
                  </a:lnTo>
                  <a:lnTo>
                    <a:pt x="27822" y="175284"/>
                  </a:lnTo>
                  <a:lnTo>
                    <a:pt x="24449" y="173638"/>
                  </a:lnTo>
                  <a:lnTo>
                    <a:pt x="27822" y="170346"/>
                  </a:lnTo>
                  <a:lnTo>
                    <a:pt x="26135" y="167055"/>
                  </a:lnTo>
                  <a:lnTo>
                    <a:pt x="27822" y="150596"/>
                  </a:lnTo>
                  <a:lnTo>
                    <a:pt x="36253" y="150596"/>
                  </a:lnTo>
                  <a:lnTo>
                    <a:pt x="27822" y="147304"/>
                  </a:lnTo>
                  <a:lnTo>
                    <a:pt x="29508" y="148950"/>
                  </a:lnTo>
                  <a:lnTo>
                    <a:pt x="36253" y="139075"/>
                  </a:lnTo>
                  <a:lnTo>
                    <a:pt x="32880" y="137429"/>
                  </a:lnTo>
                  <a:lnTo>
                    <a:pt x="34566" y="134137"/>
                  </a:lnTo>
                  <a:lnTo>
                    <a:pt x="59860" y="124262"/>
                  </a:lnTo>
                  <a:lnTo>
                    <a:pt x="41311" y="104512"/>
                  </a:lnTo>
                  <a:lnTo>
                    <a:pt x="42997" y="91345"/>
                  </a:lnTo>
                  <a:lnTo>
                    <a:pt x="36253" y="73240"/>
                  </a:lnTo>
                  <a:lnTo>
                    <a:pt x="32880" y="73240"/>
                  </a:lnTo>
                  <a:lnTo>
                    <a:pt x="26135" y="81470"/>
                  </a:lnTo>
                  <a:lnTo>
                    <a:pt x="19390" y="76532"/>
                  </a:lnTo>
                  <a:lnTo>
                    <a:pt x="21076" y="63365"/>
                  </a:lnTo>
                  <a:lnTo>
                    <a:pt x="12645" y="53490"/>
                  </a:lnTo>
                  <a:lnTo>
                    <a:pt x="14332" y="45261"/>
                  </a:lnTo>
                  <a:lnTo>
                    <a:pt x="5901" y="33740"/>
                  </a:lnTo>
                  <a:lnTo>
                    <a:pt x="9273" y="32094"/>
                  </a:lnTo>
                  <a:lnTo>
                    <a:pt x="17704" y="35385"/>
                  </a:lnTo>
                  <a:lnTo>
                    <a:pt x="22763" y="27156"/>
                  </a:lnTo>
                  <a:lnTo>
                    <a:pt x="36253" y="20573"/>
                  </a:lnTo>
                  <a:lnTo>
                    <a:pt x="46370" y="23864"/>
                  </a:lnTo>
                  <a:lnTo>
                    <a:pt x="49742" y="12343"/>
                  </a:lnTo>
                  <a:lnTo>
                    <a:pt x="63232" y="4114"/>
                  </a:lnTo>
                  <a:lnTo>
                    <a:pt x="68291" y="4114"/>
                  </a:lnTo>
                  <a:lnTo>
                    <a:pt x="69977" y="2057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6" name="Nuenen, Gerwen en Nederwetten">
              <a:extLst>
                <a:ext uri="{FF2B5EF4-FFF2-40B4-BE49-F238E27FC236}">
                  <a16:creationId xmlns:a16="http://schemas.microsoft.com/office/drawing/2014/main" id="{A9FEA549-91E1-4B67-8B9A-B392EED07A4A}"/>
                </a:ext>
              </a:extLst>
            </p:cNvPr>
            <p:cNvSpPr/>
            <p:nvPr/>
          </p:nvSpPr>
          <p:spPr>
            <a:xfrm>
              <a:off x="6351418" y="4452687"/>
              <a:ext cx="105837" cy="157246"/>
            </a:xfrm>
            <a:custGeom>
              <a:avLst/>
              <a:gdLst/>
              <a:ahLst/>
              <a:cxnLst/>
              <a:rect l="l" t="t" r="r" b="b"/>
              <a:pathLst>
                <a:path w="152206" h="251460" extrusionOk="0">
                  <a:moveTo>
                    <a:pt x="68290" y="4114"/>
                  </a:moveTo>
                  <a:lnTo>
                    <a:pt x="83467" y="73240"/>
                  </a:lnTo>
                  <a:lnTo>
                    <a:pt x="98642" y="92991"/>
                  </a:lnTo>
                  <a:lnTo>
                    <a:pt x="113819" y="97928"/>
                  </a:lnTo>
                  <a:lnTo>
                    <a:pt x="103701" y="102866"/>
                  </a:lnTo>
                  <a:lnTo>
                    <a:pt x="127309" y="145658"/>
                  </a:lnTo>
                  <a:lnTo>
                    <a:pt x="155974" y="162117"/>
                  </a:lnTo>
                  <a:lnTo>
                    <a:pt x="157661" y="165409"/>
                  </a:lnTo>
                  <a:lnTo>
                    <a:pt x="139112" y="175284"/>
                  </a:lnTo>
                  <a:lnTo>
                    <a:pt x="123936" y="178575"/>
                  </a:lnTo>
                  <a:lnTo>
                    <a:pt x="130681" y="183513"/>
                  </a:lnTo>
                  <a:lnTo>
                    <a:pt x="96956" y="237827"/>
                  </a:lnTo>
                  <a:lnTo>
                    <a:pt x="68290" y="255931"/>
                  </a:lnTo>
                  <a:lnTo>
                    <a:pt x="63232" y="242764"/>
                  </a:lnTo>
                  <a:lnTo>
                    <a:pt x="59859" y="242764"/>
                  </a:lnTo>
                  <a:lnTo>
                    <a:pt x="54801" y="232889"/>
                  </a:lnTo>
                  <a:lnTo>
                    <a:pt x="56487" y="221368"/>
                  </a:lnTo>
                  <a:lnTo>
                    <a:pt x="44683" y="204909"/>
                  </a:lnTo>
                  <a:lnTo>
                    <a:pt x="46370" y="199972"/>
                  </a:lnTo>
                  <a:lnTo>
                    <a:pt x="27821" y="190096"/>
                  </a:lnTo>
                  <a:lnTo>
                    <a:pt x="9273" y="170346"/>
                  </a:lnTo>
                  <a:lnTo>
                    <a:pt x="10959" y="168700"/>
                  </a:lnTo>
                  <a:lnTo>
                    <a:pt x="7586" y="165409"/>
                  </a:lnTo>
                  <a:lnTo>
                    <a:pt x="7586" y="148950"/>
                  </a:lnTo>
                  <a:lnTo>
                    <a:pt x="9273" y="147304"/>
                  </a:lnTo>
                  <a:lnTo>
                    <a:pt x="4214" y="135783"/>
                  </a:lnTo>
                  <a:lnTo>
                    <a:pt x="7586" y="132491"/>
                  </a:lnTo>
                  <a:lnTo>
                    <a:pt x="7586" y="125908"/>
                  </a:lnTo>
                  <a:lnTo>
                    <a:pt x="10959" y="125908"/>
                  </a:lnTo>
                  <a:lnTo>
                    <a:pt x="19390" y="112741"/>
                  </a:lnTo>
                  <a:lnTo>
                    <a:pt x="10959" y="99574"/>
                  </a:lnTo>
                  <a:lnTo>
                    <a:pt x="24449" y="91345"/>
                  </a:lnTo>
                  <a:lnTo>
                    <a:pt x="36252" y="92991"/>
                  </a:lnTo>
                  <a:lnTo>
                    <a:pt x="42997" y="83115"/>
                  </a:lnTo>
                  <a:lnTo>
                    <a:pt x="54801" y="78178"/>
                  </a:lnTo>
                  <a:lnTo>
                    <a:pt x="66604" y="65011"/>
                  </a:lnTo>
                  <a:lnTo>
                    <a:pt x="58173" y="46906"/>
                  </a:lnTo>
                  <a:lnTo>
                    <a:pt x="64918" y="48552"/>
                  </a:lnTo>
                  <a:lnTo>
                    <a:pt x="63232" y="43615"/>
                  </a:lnTo>
                  <a:lnTo>
                    <a:pt x="64918" y="38677"/>
                  </a:lnTo>
                  <a:lnTo>
                    <a:pt x="56487" y="33739"/>
                  </a:lnTo>
                  <a:lnTo>
                    <a:pt x="42997" y="35385"/>
                  </a:lnTo>
                  <a:lnTo>
                    <a:pt x="6829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7" name="Haaksbergen">
              <a:extLst>
                <a:ext uri="{FF2B5EF4-FFF2-40B4-BE49-F238E27FC236}">
                  <a16:creationId xmlns:a16="http://schemas.microsoft.com/office/drawing/2014/main" id="{0E8229D6-0E7E-4692-806A-823AF9BEC2BD}"/>
                </a:ext>
              </a:extLst>
            </p:cNvPr>
            <p:cNvSpPr/>
            <p:nvPr/>
          </p:nvSpPr>
          <p:spPr>
            <a:xfrm>
              <a:off x="7523540" y="3325446"/>
              <a:ext cx="285533" cy="156990"/>
            </a:xfrm>
            <a:custGeom>
              <a:avLst/>
              <a:gdLst/>
              <a:ahLst/>
              <a:cxnLst/>
              <a:rect l="l" t="t" r="r" b="b"/>
              <a:pathLst>
                <a:path w="409785" h="217170" extrusionOk="0">
                  <a:moveTo>
                    <a:pt x="177895" y="22219"/>
                  </a:moveTo>
                  <a:lnTo>
                    <a:pt x="220051" y="40323"/>
                  </a:lnTo>
                  <a:lnTo>
                    <a:pt x="253775" y="74886"/>
                  </a:lnTo>
                  <a:lnTo>
                    <a:pt x="280755" y="97928"/>
                  </a:lnTo>
                  <a:lnTo>
                    <a:pt x="294245" y="86407"/>
                  </a:lnTo>
                  <a:lnTo>
                    <a:pt x="314480" y="86407"/>
                  </a:lnTo>
                  <a:lnTo>
                    <a:pt x="378556" y="104512"/>
                  </a:lnTo>
                  <a:lnTo>
                    <a:pt x="408908" y="107803"/>
                  </a:lnTo>
                  <a:lnTo>
                    <a:pt x="395418" y="120971"/>
                  </a:lnTo>
                  <a:lnTo>
                    <a:pt x="397104" y="120971"/>
                  </a:lnTo>
                  <a:lnTo>
                    <a:pt x="385301" y="183513"/>
                  </a:lnTo>
                  <a:lnTo>
                    <a:pt x="375184" y="188451"/>
                  </a:lnTo>
                  <a:lnTo>
                    <a:pt x="358322" y="208201"/>
                  </a:lnTo>
                  <a:lnTo>
                    <a:pt x="339773" y="211493"/>
                  </a:lnTo>
                  <a:lnTo>
                    <a:pt x="179582" y="216431"/>
                  </a:lnTo>
                  <a:lnTo>
                    <a:pt x="147543" y="216431"/>
                  </a:lnTo>
                  <a:lnTo>
                    <a:pt x="118877" y="204910"/>
                  </a:lnTo>
                  <a:lnTo>
                    <a:pt x="88525" y="199972"/>
                  </a:lnTo>
                  <a:lnTo>
                    <a:pt x="64918" y="190097"/>
                  </a:lnTo>
                  <a:lnTo>
                    <a:pt x="81780" y="162117"/>
                  </a:lnTo>
                  <a:lnTo>
                    <a:pt x="80094" y="145658"/>
                  </a:lnTo>
                  <a:lnTo>
                    <a:pt x="76722" y="140721"/>
                  </a:lnTo>
                  <a:lnTo>
                    <a:pt x="80094" y="135783"/>
                  </a:lnTo>
                  <a:lnTo>
                    <a:pt x="78408" y="134137"/>
                  </a:lnTo>
                  <a:lnTo>
                    <a:pt x="80094" y="129200"/>
                  </a:lnTo>
                  <a:lnTo>
                    <a:pt x="75036" y="125908"/>
                  </a:lnTo>
                  <a:lnTo>
                    <a:pt x="81780" y="120971"/>
                  </a:lnTo>
                  <a:lnTo>
                    <a:pt x="80094" y="109449"/>
                  </a:lnTo>
                  <a:lnTo>
                    <a:pt x="76722" y="102866"/>
                  </a:lnTo>
                  <a:lnTo>
                    <a:pt x="36252" y="83116"/>
                  </a:lnTo>
                  <a:lnTo>
                    <a:pt x="39625" y="76532"/>
                  </a:lnTo>
                  <a:lnTo>
                    <a:pt x="32880" y="66657"/>
                  </a:lnTo>
                  <a:lnTo>
                    <a:pt x="27821" y="66657"/>
                  </a:lnTo>
                  <a:lnTo>
                    <a:pt x="19390" y="55136"/>
                  </a:lnTo>
                  <a:lnTo>
                    <a:pt x="10959" y="53490"/>
                  </a:lnTo>
                  <a:lnTo>
                    <a:pt x="4214" y="48552"/>
                  </a:lnTo>
                  <a:lnTo>
                    <a:pt x="48056" y="37031"/>
                  </a:lnTo>
                  <a:lnTo>
                    <a:pt x="76722" y="25510"/>
                  </a:lnTo>
                  <a:lnTo>
                    <a:pt x="115505" y="28802"/>
                  </a:lnTo>
                  <a:lnTo>
                    <a:pt x="123936" y="23864"/>
                  </a:lnTo>
                  <a:lnTo>
                    <a:pt x="137426" y="4114"/>
                  </a:lnTo>
                  <a:lnTo>
                    <a:pt x="177895" y="2221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8" name="Amersfoort">
              <a:extLst>
                <a:ext uri="{FF2B5EF4-FFF2-40B4-BE49-F238E27FC236}">
                  <a16:creationId xmlns:a16="http://schemas.microsoft.com/office/drawing/2014/main" id="{6297B2D1-1A77-4AD9-B2CB-A3DE5AD8C2B4}"/>
                </a:ext>
              </a:extLst>
            </p:cNvPr>
            <p:cNvSpPr/>
            <p:nvPr/>
          </p:nvSpPr>
          <p:spPr>
            <a:xfrm>
              <a:off x="6151384" y="3330070"/>
              <a:ext cx="178165" cy="178083"/>
            </a:xfrm>
            <a:custGeom>
              <a:avLst/>
              <a:gdLst/>
              <a:ahLst/>
              <a:cxnLst/>
              <a:rect l="l" t="t" r="r" b="b"/>
              <a:pathLst>
                <a:path w="269287" h="274320" extrusionOk="0">
                  <a:moveTo>
                    <a:pt x="140798" y="4114"/>
                  </a:moveTo>
                  <a:lnTo>
                    <a:pt x="157661" y="18927"/>
                  </a:lnTo>
                  <a:lnTo>
                    <a:pt x="162719" y="5760"/>
                  </a:lnTo>
                  <a:lnTo>
                    <a:pt x="199816" y="37031"/>
                  </a:lnTo>
                  <a:lnTo>
                    <a:pt x="206561" y="40323"/>
                  </a:lnTo>
                  <a:lnTo>
                    <a:pt x="208247" y="37031"/>
                  </a:lnTo>
                  <a:lnTo>
                    <a:pt x="209934" y="37031"/>
                  </a:lnTo>
                  <a:lnTo>
                    <a:pt x="206561" y="46906"/>
                  </a:lnTo>
                  <a:lnTo>
                    <a:pt x="208247" y="74886"/>
                  </a:lnTo>
                  <a:lnTo>
                    <a:pt x="204875" y="88053"/>
                  </a:lnTo>
                  <a:lnTo>
                    <a:pt x="206561" y="88053"/>
                  </a:lnTo>
                  <a:lnTo>
                    <a:pt x="208247" y="120970"/>
                  </a:lnTo>
                  <a:lnTo>
                    <a:pt x="214992" y="125908"/>
                  </a:lnTo>
                  <a:lnTo>
                    <a:pt x="221737" y="129199"/>
                  </a:lnTo>
                  <a:lnTo>
                    <a:pt x="268951" y="132491"/>
                  </a:lnTo>
                  <a:lnTo>
                    <a:pt x="267265" y="135783"/>
                  </a:lnTo>
                  <a:lnTo>
                    <a:pt x="258834" y="137429"/>
                  </a:lnTo>
                  <a:lnTo>
                    <a:pt x="257148" y="140721"/>
                  </a:lnTo>
                  <a:lnTo>
                    <a:pt x="258834" y="142367"/>
                  </a:lnTo>
                  <a:lnTo>
                    <a:pt x="267265" y="144012"/>
                  </a:lnTo>
                  <a:lnTo>
                    <a:pt x="272324" y="147304"/>
                  </a:lnTo>
                  <a:lnTo>
                    <a:pt x="270638" y="150596"/>
                  </a:lnTo>
                  <a:lnTo>
                    <a:pt x="275696" y="152242"/>
                  </a:lnTo>
                  <a:lnTo>
                    <a:pt x="272324" y="167054"/>
                  </a:lnTo>
                  <a:lnTo>
                    <a:pt x="270638" y="170346"/>
                  </a:lnTo>
                  <a:lnTo>
                    <a:pt x="263893" y="165409"/>
                  </a:lnTo>
                  <a:lnTo>
                    <a:pt x="236913" y="163763"/>
                  </a:lnTo>
                  <a:lnTo>
                    <a:pt x="211620" y="144012"/>
                  </a:lnTo>
                  <a:lnTo>
                    <a:pt x="182954" y="152242"/>
                  </a:lnTo>
                  <a:lnTo>
                    <a:pt x="174523" y="160471"/>
                  </a:lnTo>
                  <a:lnTo>
                    <a:pt x="172837" y="170346"/>
                  </a:lnTo>
                  <a:lnTo>
                    <a:pt x="159347" y="190096"/>
                  </a:lnTo>
                  <a:lnTo>
                    <a:pt x="161033" y="195034"/>
                  </a:lnTo>
                  <a:lnTo>
                    <a:pt x="159347" y="190096"/>
                  </a:lnTo>
                  <a:lnTo>
                    <a:pt x="144171" y="211493"/>
                  </a:lnTo>
                  <a:lnTo>
                    <a:pt x="108760" y="218076"/>
                  </a:lnTo>
                  <a:lnTo>
                    <a:pt x="105388" y="214785"/>
                  </a:lnTo>
                  <a:lnTo>
                    <a:pt x="102015" y="216430"/>
                  </a:lnTo>
                  <a:lnTo>
                    <a:pt x="80094" y="203264"/>
                  </a:lnTo>
                  <a:lnTo>
                    <a:pt x="46370" y="242764"/>
                  </a:lnTo>
                  <a:lnTo>
                    <a:pt x="32880" y="250993"/>
                  </a:lnTo>
                  <a:lnTo>
                    <a:pt x="10959" y="272390"/>
                  </a:lnTo>
                  <a:lnTo>
                    <a:pt x="4214" y="267452"/>
                  </a:lnTo>
                  <a:lnTo>
                    <a:pt x="42997" y="227951"/>
                  </a:lnTo>
                  <a:lnTo>
                    <a:pt x="46370" y="216430"/>
                  </a:lnTo>
                  <a:lnTo>
                    <a:pt x="42997" y="201617"/>
                  </a:lnTo>
                  <a:lnTo>
                    <a:pt x="49742" y="181867"/>
                  </a:lnTo>
                  <a:lnTo>
                    <a:pt x="54801" y="147304"/>
                  </a:lnTo>
                  <a:lnTo>
                    <a:pt x="61546" y="147304"/>
                  </a:lnTo>
                  <a:lnTo>
                    <a:pt x="68291" y="120970"/>
                  </a:lnTo>
                  <a:lnTo>
                    <a:pt x="66605" y="116033"/>
                  </a:lnTo>
                  <a:lnTo>
                    <a:pt x="71663" y="114387"/>
                  </a:lnTo>
                  <a:lnTo>
                    <a:pt x="71663" y="109449"/>
                  </a:lnTo>
                  <a:lnTo>
                    <a:pt x="56487" y="102866"/>
                  </a:lnTo>
                  <a:lnTo>
                    <a:pt x="51428" y="92991"/>
                  </a:lnTo>
                  <a:lnTo>
                    <a:pt x="46370" y="91345"/>
                  </a:lnTo>
                  <a:lnTo>
                    <a:pt x="36253" y="94636"/>
                  </a:lnTo>
                  <a:lnTo>
                    <a:pt x="31194" y="92991"/>
                  </a:lnTo>
                  <a:lnTo>
                    <a:pt x="32880" y="86407"/>
                  </a:lnTo>
                  <a:lnTo>
                    <a:pt x="29507" y="76532"/>
                  </a:lnTo>
                  <a:lnTo>
                    <a:pt x="17704" y="71594"/>
                  </a:lnTo>
                  <a:lnTo>
                    <a:pt x="10959" y="71594"/>
                  </a:lnTo>
                  <a:lnTo>
                    <a:pt x="9273" y="63365"/>
                  </a:lnTo>
                  <a:lnTo>
                    <a:pt x="16018" y="46906"/>
                  </a:lnTo>
                  <a:lnTo>
                    <a:pt x="17704" y="43615"/>
                  </a:lnTo>
                  <a:lnTo>
                    <a:pt x="41311" y="41969"/>
                  </a:lnTo>
                  <a:lnTo>
                    <a:pt x="37939" y="28802"/>
                  </a:lnTo>
                  <a:lnTo>
                    <a:pt x="41311" y="15635"/>
                  </a:lnTo>
                  <a:lnTo>
                    <a:pt x="83467" y="27156"/>
                  </a:lnTo>
                  <a:lnTo>
                    <a:pt x="93584" y="27156"/>
                  </a:lnTo>
                  <a:lnTo>
                    <a:pt x="100329" y="30448"/>
                  </a:lnTo>
                  <a:lnTo>
                    <a:pt x="135740" y="37031"/>
                  </a:lnTo>
                  <a:lnTo>
                    <a:pt x="140798"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79" name="Druten">
              <a:extLst>
                <a:ext uri="{FF2B5EF4-FFF2-40B4-BE49-F238E27FC236}">
                  <a16:creationId xmlns:a16="http://schemas.microsoft.com/office/drawing/2014/main" id="{FEE25CA7-7E1E-42F3-BD94-59CAA1AD04A7}"/>
                </a:ext>
              </a:extLst>
            </p:cNvPr>
            <p:cNvSpPr/>
            <p:nvPr/>
          </p:nvSpPr>
          <p:spPr>
            <a:xfrm>
              <a:off x="6390085" y="3838281"/>
              <a:ext cx="152276" cy="110094"/>
            </a:xfrm>
            <a:custGeom>
              <a:avLst/>
              <a:gdLst/>
              <a:ahLst/>
              <a:cxnLst/>
              <a:rect l="l" t="t" r="r" b="b"/>
              <a:pathLst>
                <a:path w="234163" h="160020" extrusionOk="0">
                  <a:moveTo>
                    <a:pt x="108760" y="9052"/>
                  </a:moveTo>
                  <a:lnTo>
                    <a:pt x="152602" y="9052"/>
                  </a:lnTo>
                  <a:lnTo>
                    <a:pt x="204875" y="17281"/>
                  </a:lnTo>
                  <a:lnTo>
                    <a:pt x="240286" y="17281"/>
                  </a:lnTo>
                  <a:lnTo>
                    <a:pt x="228482" y="58427"/>
                  </a:lnTo>
                  <a:lnTo>
                    <a:pt x="213306" y="89699"/>
                  </a:lnTo>
                  <a:lnTo>
                    <a:pt x="164405" y="86407"/>
                  </a:lnTo>
                  <a:lnTo>
                    <a:pt x="166092" y="92991"/>
                  </a:lnTo>
                  <a:lnTo>
                    <a:pt x="169464" y="99574"/>
                  </a:lnTo>
                  <a:lnTo>
                    <a:pt x="171150" y="112741"/>
                  </a:lnTo>
                  <a:lnTo>
                    <a:pt x="162719" y="125908"/>
                  </a:lnTo>
                  <a:lnTo>
                    <a:pt x="167778" y="130845"/>
                  </a:lnTo>
                  <a:lnTo>
                    <a:pt x="164405" y="134137"/>
                  </a:lnTo>
                  <a:lnTo>
                    <a:pt x="176209" y="140720"/>
                  </a:lnTo>
                  <a:lnTo>
                    <a:pt x="144170" y="150596"/>
                  </a:lnTo>
                  <a:lnTo>
                    <a:pt x="125622" y="162117"/>
                  </a:lnTo>
                  <a:lnTo>
                    <a:pt x="107074" y="157179"/>
                  </a:lnTo>
                  <a:lnTo>
                    <a:pt x="107074" y="153888"/>
                  </a:lnTo>
                  <a:lnTo>
                    <a:pt x="86839" y="153888"/>
                  </a:lnTo>
                  <a:lnTo>
                    <a:pt x="80094" y="125908"/>
                  </a:lnTo>
                  <a:lnTo>
                    <a:pt x="86839" y="111095"/>
                  </a:lnTo>
                  <a:lnTo>
                    <a:pt x="76722" y="106157"/>
                  </a:lnTo>
                  <a:lnTo>
                    <a:pt x="75036" y="92991"/>
                  </a:lnTo>
                  <a:lnTo>
                    <a:pt x="37939" y="97928"/>
                  </a:lnTo>
                  <a:lnTo>
                    <a:pt x="39625" y="79823"/>
                  </a:lnTo>
                  <a:lnTo>
                    <a:pt x="48056" y="78178"/>
                  </a:lnTo>
                  <a:lnTo>
                    <a:pt x="48056" y="68303"/>
                  </a:lnTo>
                  <a:lnTo>
                    <a:pt x="61546" y="65011"/>
                  </a:lnTo>
                  <a:lnTo>
                    <a:pt x="63232" y="56781"/>
                  </a:lnTo>
                  <a:lnTo>
                    <a:pt x="59859" y="53490"/>
                  </a:lnTo>
                  <a:lnTo>
                    <a:pt x="58173" y="46906"/>
                  </a:lnTo>
                  <a:lnTo>
                    <a:pt x="63232" y="43615"/>
                  </a:lnTo>
                  <a:lnTo>
                    <a:pt x="66604" y="46906"/>
                  </a:lnTo>
                  <a:lnTo>
                    <a:pt x="75036" y="25510"/>
                  </a:lnTo>
                  <a:lnTo>
                    <a:pt x="34566" y="37031"/>
                  </a:lnTo>
                  <a:lnTo>
                    <a:pt x="22763" y="35385"/>
                  </a:lnTo>
                  <a:lnTo>
                    <a:pt x="16018" y="27156"/>
                  </a:lnTo>
                  <a:lnTo>
                    <a:pt x="4214" y="28802"/>
                  </a:lnTo>
                  <a:lnTo>
                    <a:pt x="4214" y="20573"/>
                  </a:lnTo>
                  <a:lnTo>
                    <a:pt x="24449" y="10697"/>
                  </a:lnTo>
                  <a:lnTo>
                    <a:pt x="44684" y="5760"/>
                  </a:lnTo>
                  <a:lnTo>
                    <a:pt x="69977" y="4114"/>
                  </a:lnTo>
                  <a:lnTo>
                    <a:pt x="108760" y="905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0" name="Midden-Delfland">
              <a:extLst>
                <a:ext uri="{FF2B5EF4-FFF2-40B4-BE49-F238E27FC236}">
                  <a16:creationId xmlns:a16="http://schemas.microsoft.com/office/drawing/2014/main" id="{4B4CA574-E3BA-4244-A579-8C1AB78CE80D}"/>
                </a:ext>
              </a:extLst>
            </p:cNvPr>
            <p:cNvSpPr/>
            <p:nvPr/>
          </p:nvSpPr>
          <p:spPr>
            <a:xfrm>
              <a:off x="5027179" y="3640790"/>
              <a:ext cx="170171" cy="159210"/>
            </a:xfrm>
            <a:custGeom>
              <a:avLst/>
              <a:gdLst/>
              <a:ahLst/>
              <a:cxnLst/>
              <a:rect l="l" t="t" r="r" b="b"/>
              <a:pathLst>
                <a:path w="257579" h="240030" extrusionOk="0">
                  <a:moveTo>
                    <a:pt x="145857" y="27156"/>
                  </a:moveTo>
                  <a:lnTo>
                    <a:pt x="139112" y="30448"/>
                  </a:lnTo>
                  <a:lnTo>
                    <a:pt x="142485" y="41969"/>
                  </a:lnTo>
                  <a:lnTo>
                    <a:pt x="157661" y="33740"/>
                  </a:lnTo>
                  <a:lnTo>
                    <a:pt x="162719" y="41969"/>
                  </a:lnTo>
                  <a:lnTo>
                    <a:pt x="166092" y="38677"/>
                  </a:lnTo>
                  <a:lnTo>
                    <a:pt x="169464" y="46906"/>
                  </a:lnTo>
                  <a:lnTo>
                    <a:pt x="161033" y="50198"/>
                  </a:lnTo>
                  <a:lnTo>
                    <a:pt x="164405" y="56782"/>
                  </a:lnTo>
                  <a:lnTo>
                    <a:pt x="154288" y="58427"/>
                  </a:lnTo>
                  <a:lnTo>
                    <a:pt x="157661" y="69949"/>
                  </a:lnTo>
                  <a:lnTo>
                    <a:pt x="145857" y="71595"/>
                  </a:lnTo>
                  <a:lnTo>
                    <a:pt x="144171" y="78178"/>
                  </a:lnTo>
                  <a:lnTo>
                    <a:pt x="149229" y="88053"/>
                  </a:lnTo>
                  <a:lnTo>
                    <a:pt x="154288" y="91345"/>
                  </a:lnTo>
                  <a:lnTo>
                    <a:pt x="155974" y="99574"/>
                  </a:lnTo>
                  <a:lnTo>
                    <a:pt x="164405" y="116033"/>
                  </a:lnTo>
                  <a:lnTo>
                    <a:pt x="193071" y="107803"/>
                  </a:lnTo>
                  <a:lnTo>
                    <a:pt x="198130" y="120971"/>
                  </a:lnTo>
                  <a:lnTo>
                    <a:pt x="196444" y="120971"/>
                  </a:lnTo>
                  <a:lnTo>
                    <a:pt x="196444" y="125908"/>
                  </a:lnTo>
                  <a:lnTo>
                    <a:pt x="209934" y="122616"/>
                  </a:lnTo>
                  <a:lnTo>
                    <a:pt x="211620" y="129200"/>
                  </a:lnTo>
                  <a:lnTo>
                    <a:pt x="238599" y="120971"/>
                  </a:lnTo>
                  <a:lnTo>
                    <a:pt x="233541" y="112741"/>
                  </a:lnTo>
                  <a:lnTo>
                    <a:pt x="248717" y="109449"/>
                  </a:lnTo>
                  <a:lnTo>
                    <a:pt x="255462" y="116033"/>
                  </a:lnTo>
                  <a:lnTo>
                    <a:pt x="263893" y="135783"/>
                  </a:lnTo>
                  <a:lnTo>
                    <a:pt x="248717" y="145658"/>
                  </a:lnTo>
                  <a:lnTo>
                    <a:pt x="245344" y="139075"/>
                  </a:lnTo>
                  <a:lnTo>
                    <a:pt x="243658" y="139075"/>
                  </a:lnTo>
                  <a:lnTo>
                    <a:pt x="203189" y="148950"/>
                  </a:lnTo>
                  <a:lnTo>
                    <a:pt x="208247" y="162117"/>
                  </a:lnTo>
                  <a:lnTo>
                    <a:pt x="164405" y="178576"/>
                  </a:lnTo>
                  <a:lnTo>
                    <a:pt x="140798" y="193388"/>
                  </a:lnTo>
                  <a:lnTo>
                    <a:pt x="139112" y="191742"/>
                  </a:lnTo>
                  <a:lnTo>
                    <a:pt x="125622" y="209847"/>
                  </a:lnTo>
                  <a:lnTo>
                    <a:pt x="93584" y="242764"/>
                  </a:lnTo>
                  <a:lnTo>
                    <a:pt x="59860" y="236181"/>
                  </a:lnTo>
                  <a:lnTo>
                    <a:pt x="44684" y="227952"/>
                  </a:lnTo>
                  <a:lnTo>
                    <a:pt x="14331" y="188451"/>
                  </a:lnTo>
                  <a:lnTo>
                    <a:pt x="14331" y="186805"/>
                  </a:lnTo>
                  <a:lnTo>
                    <a:pt x="4214" y="171992"/>
                  </a:lnTo>
                  <a:lnTo>
                    <a:pt x="4214" y="163763"/>
                  </a:lnTo>
                  <a:lnTo>
                    <a:pt x="34566" y="150596"/>
                  </a:lnTo>
                  <a:lnTo>
                    <a:pt x="49742" y="147304"/>
                  </a:lnTo>
                  <a:lnTo>
                    <a:pt x="69977" y="135783"/>
                  </a:lnTo>
                  <a:lnTo>
                    <a:pt x="61546" y="124262"/>
                  </a:lnTo>
                  <a:lnTo>
                    <a:pt x="64918" y="116033"/>
                  </a:lnTo>
                  <a:lnTo>
                    <a:pt x="73349" y="122616"/>
                  </a:lnTo>
                  <a:lnTo>
                    <a:pt x="76722" y="120971"/>
                  </a:lnTo>
                  <a:lnTo>
                    <a:pt x="78408" y="124262"/>
                  </a:lnTo>
                  <a:lnTo>
                    <a:pt x="81780" y="122616"/>
                  </a:lnTo>
                  <a:lnTo>
                    <a:pt x="83467" y="124262"/>
                  </a:lnTo>
                  <a:lnTo>
                    <a:pt x="90212" y="119324"/>
                  </a:lnTo>
                  <a:lnTo>
                    <a:pt x="86839" y="116033"/>
                  </a:lnTo>
                  <a:lnTo>
                    <a:pt x="110446" y="101220"/>
                  </a:lnTo>
                  <a:lnTo>
                    <a:pt x="103701" y="96282"/>
                  </a:lnTo>
                  <a:lnTo>
                    <a:pt x="100329" y="96282"/>
                  </a:lnTo>
                  <a:lnTo>
                    <a:pt x="100329" y="91345"/>
                  </a:lnTo>
                  <a:lnTo>
                    <a:pt x="93584" y="92991"/>
                  </a:lnTo>
                  <a:lnTo>
                    <a:pt x="88525" y="79824"/>
                  </a:lnTo>
                  <a:lnTo>
                    <a:pt x="81780" y="86407"/>
                  </a:lnTo>
                  <a:lnTo>
                    <a:pt x="76722" y="79824"/>
                  </a:lnTo>
                  <a:lnTo>
                    <a:pt x="76722" y="74886"/>
                  </a:lnTo>
                  <a:lnTo>
                    <a:pt x="56487" y="68303"/>
                  </a:lnTo>
                  <a:lnTo>
                    <a:pt x="53115" y="61719"/>
                  </a:lnTo>
                  <a:lnTo>
                    <a:pt x="137426" y="4114"/>
                  </a:lnTo>
                  <a:lnTo>
                    <a:pt x="147543" y="22219"/>
                  </a:lnTo>
                  <a:lnTo>
                    <a:pt x="145857" y="2715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1" name="Doetinchem">
              <a:extLst>
                <a:ext uri="{FF2B5EF4-FFF2-40B4-BE49-F238E27FC236}">
                  <a16:creationId xmlns:a16="http://schemas.microsoft.com/office/drawing/2014/main" id="{D4454341-1DD1-4C86-91FE-21805AF22C99}"/>
                </a:ext>
              </a:extLst>
            </p:cNvPr>
            <p:cNvSpPr/>
            <p:nvPr/>
          </p:nvSpPr>
          <p:spPr>
            <a:xfrm>
              <a:off x="7037546" y="3692391"/>
              <a:ext cx="276383" cy="113412"/>
            </a:xfrm>
            <a:custGeom>
              <a:avLst/>
              <a:gdLst/>
              <a:ahLst/>
              <a:cxnLst/>
              <a:rect l="l" t="t" r="r" b="b"/>
              <a:pathLst>
                <a:path w="421494" h="171450" extrusionOk="0">
                  <a:moveTo>
                    <a:pt x="274010" y="5760"/>
                  </a:moveTo>
                  <a:lnTo>
                    <a:pt x="294245" y="23864"/>
                  </a:lnTo>
                  <a:lnTo>
                    <a:pt x="282441" y="48552"/>
                  </a:lnTo>
                  <a:lnTo>
                    <a:pt x="322911" y="50198"/>
                  </a:lnTo>
                  <a:lnTo>
                    <a:pt x="348204" y="46906"/>
                  </a:lnTo>
                  <a:lnTo>
                    <a:pt x="348204" y="51844"/>
                  </a:lnTo>
                  <a:lnTo>
                    <a:pt x="341459" y="56782"/>
                  </a:lnTo>
                  <a:lnTo>
                    <a:pt x="341459" y="63365"/>
                  </a:lnTo>
                  <a:lnTo>
                    <a:pt x="344832" y="65011"/>
                  </a:lnTo>
                  <a:lnTo>
                    <a:pt x="353263" y="61719"/>
                  </a:lnTo>
                  <a:lnTo>
                    <a:pt x="365066" y="66657"/>
                  </a:lnTo>
                  <a:lnTo>
                    <a:pt x="378556" y="65011"/>
                  </a:lnTo>
                  <a:lnTo>
                    <a:pt x="375184" y="45261"/>
                  </a:lnTo>
                  <a:lnTo>
                    <a:pt x="365066" y="41969"/>
                  </a:lnTo>
                  <a:lnTo>
                    <a:pt x="378556" y="35385"/>
                  </a:lnTo>
                  <a:lnTo>
                    <a:pt x="381929" y="38677"/>
                  </a:lnTo>
                  <a:lnTo>
                    <a:pt x="383615" y="35385"/>
                  </a:lnTo>
                  <a:lnTo>
                    <a:pt x="390360" y="37031"/>
                  </a:lnTo>
                  <a:lnTo>
                    <a:pt x="397105" y="30448"/>
                  </a:lnTo>
                  <a:lnTo>
                    <a:pt x="419026" y="53490"/>
                  </a:lnTo>
                  <a:lnTo>
                    <a:pt x="398791" y="91345"/>
                  </a:lnTo>
                  <a:lnTo>
                    <a:pt x="390360" y="99574"/>
                  </a:lnTo>
                  <a:lnTo>
                    <a:pt x="365066" y="142367"/>
                  </a:lnTo>
                  <a:lnTo>
                    <a:pt x="366753" y="148950"/>
                  </a:lnTo>
                  <a:lnTo>
                    <a:pt x="354949" y="162117"/>
                  </a:lnTo>
                  <a:lnTo>
                    <a:pt x="333028" y="175284"/>
                  </a:lnTo>
                  <a:lnTo>
                    <a:pt x="304362" y="168700"/>
                  </a:lnTo>
                  <a:lnTo>
                    <a:pt x="300990" y="171992"/>
                  </a:lnTo>
                  <a:lnTo>
                    <a:pt x="299304" y="167055"/>
                  </a:lnTo>
                  <a:lnTo>
                    <a:pt x="292559" y="168700"/>
                  </a:lnTo>
                  <a:lnTo>
                    <a:pt x="284128" y="160471"/>
                  </a:lnTo>
                  <a:lnTo>
                    <a:pt x="274010" y="144013"/>
                  </a:lnTo>
                  <a:lnTo>
                    <a:pt x="263893" y="142367"/>
                  </a:lnTo>
                  <a:lnTo>
                    <a:pt x="255462" y="135783"/>
                  </a:lnTo>
                  <a:lnTo>
                    <a:pt x="250403" y="137429"/>
                  </a:lnTo>
                  <a:lnTo>
                    <a:pt x="243658" y="130845"/>
                  </a:lnTo>
                  <a:lnTo>
                    <a:pt x="245345" y="124262"/>
                  </a:lnTo>
                  <a:lnTo>
                    <a:pt x="209934" y="127554"/>
                  </a:lnTo>
                  <a:lnTo>
                    <a:pt x="203189" y="130845"/>
                  </a:lnTo>
                  <a:lnTo>
                    <a:pt x="199816" y="130845"/>
                  </a:lnTo>
                  <a:lnTo>
                    <a:pt x="199816" y="127554"/>
                  </a:lnTo>
                  <a:lnTo>
                    <a:pt x="120564" y="125908"/>
                  </a:lnTo>
                  <a:lnTo>
                    <a:pt x="122250" y="127554"/>
                  </a:lnTo>
                  <a:lnTo>
                    <a:pt x="118878" y="129200"/>
                  </a:lnTo>
                  <a:lnTo>
                    <a:pt x="113819" y="125908"/>
                  </a:lnTo>
                  <a:lnTo>
                    <a:pt x="110447" y="129200"/>
                  </a:lnTo>
                  <a:lnTo>
                    <a:pt x="93584" y="130845"/>
                  </a:lnTo>
                  <a:lnTo>
                    <a:pt x="93584" y="139075"/>
                  </a:lnTo>
                  <a:lnTo>
                    <a:pt x="96957" y="142367"/>
                  </a:lnTo>
                  <a:lnTo>
                    <a:pt x="96957" y="144013"/>
                  </a:lnTo>
                  <a:lnTo>
                    <a:pt x="71663" y="129200"/>
                  </a:lnTo>
                  <a:lnTo>
                    <a:pt x="71663" y="124262"/>
                  </a:lnTo>
                  <a:lnTo>
                    <a:pt x="64918" y="117679"/>
                  </a:lnTo>
                  <a:lnTo>
                    <a:pt x="56487" y="116033"/>
                  </a:lnTo>
                  <a:lnTo>
                    <a:pt x="46370" y="104512"/>
                  </a:lnTo>
                  <a:lnTo>
                    <a:pt x="32880" y="99574"/>
                  </a:lnTo>
                  <a:lnTo>
                    <a:pt x="24449" y="92991"/>
                  </a:lnTo>
                  <a:lnTo>
                    <a:pt x="12645" y="73240"/>
                  </a:lnTo>
                  <a:lnTo>
                    <a:pt x="4214" y="40323"/>
                  </a:lnTo>
                  <a:lnTo>
                    <a:pt x="27822" y="38677"/>
                  </a:lnTo>
                  <a:lnTo>
                    <a:pt x="27822" y="41969"/>
                  </a:lnTo>
                  <a:lnTo>
                    <a:pt x="44684" y="38677"/>
                  </a:lnTo>
                  <a:lnTo>
                    <a:pt x="56487" y="41969"/>
                  </a:lnTo>
                  <a:lnTo>
                    <a:pt x="73349" y="41969"/>
                  </a:lnTo>
                  <a:lnTo>
                    <a:pt x="95270" y="38677"/>
                  </a:lnTo>
                  <a:lnTo>
                    <a:pt x="105388" y="43615"/>
                  </a:lnTo>
                  <a:lnTo>
                    <a:pt x="110447" y="41969"/>
                  </a:lnTo>
                  <a:lnTo>
                    <a:pt x="125622" y="43615"/>
                  </a:lnTo>
                  <a:lnTo>
                    <a:pt x="134054" y="48552"/>
                  </a:lnTo>
                  <a:lnTo>
                    <a:pt x="135740" y="37031"/>
                  </a:lnTo>
                  <a:lnTo>
                    <a:pt x="122250" y="30448"/>
                  </a:lnTo>
                  <a:lnTo>
                    <a:pt x="130681" y="20573"/>
                  </a:lnTo>
                  <a:lnTo>
                    <a:pt x="137426" y="23864"/>
                  </a:lnTo>
                  <a:lnTo>
                    <a:pt x="137426" y="18927"/>
                  </a:lnTo>
                  <a:lnTo>
                    <a:pt x="142485" y="27156"/>
                  </a:lnTo>
                  <a:lnTo>
                    <a:pt x="140799" y="32094"/>
                  </a:lnTo>
                  <a:lnTo>
                    <a:pt x="140799" y="33740"/>
                  </a:lnTo>
                  <a:lnTo>
                    <a:pt x="144171" y="37031"/>
                  </a:lnTo>
                  <a:lnTo>
                    <a:pt x="154288" y="37031"/>
                  </a:lnTo>
                  <a:lnTo>
                    <a:pt x="155974" y="40323"/>
                  </a:lnTo>
                  <a:lnTo>
                    <a:pt x="154288" y="45261"/>
                  </a:lnTo>
                  <a:lnTo>
                    <a:pt x="159347" y="45261"/>
                  </a:lnTo>
                  <a:lnTo>
                    <a:pt x="164406" y="48552"/>
                  </a:lnTo>
                  <a:lnTo>
                    <a:pt x="169464" y="38677"/>
                  </a:lnTo>
                  <a:lnTo>
                    <a:pt x="174523" y="37031"/>
                  </a:lnTo>
                  <a:lnTo>
                    <a:pt x="174523" y="33740"/>
                  </a:lnTo>
                  <a:lnTo>
                    <a:pt x="161033" y="28802"/>
                  </a:lnTo>
                  <a:lnTo>
                    <a:pt x="164406" y="22219"/>
                  </a:lnTo>
                  <a:lnTo>
                    <a:pt x="167778" y="22219"/>
                  </a:lnTo>
                  <a:lnTo>
                    <a:pt x="171151" y="20573"/>
                  </a:lnTo>
                  <a:lnTo>
                    <a:pt x="177895" y="20573"/>
                  </a:lnTo>
                  <a:lnTo>
                    <a:pt x="184640" y="27156"/>
                  </a:lnTo>
                  <a:lnTo>
                    <a:pt x="194758" y="30448"/>
                  </a:lnTo>
                  <a:lnTo>
                    <a:pt x="201503" y="25510"/>
                  </a:lnTo>
                  <a:lnTo>
                    <a:pt x="208247" y="27156"/>
                  </a:lnTo>
                  <a:lnTo>
                    <a:pt x="228482" y="5760"/>
                  </a:lnTo>
                  <a:lnTo>
                    <a:pt x="233541" y="17281"/>
                  </a:lnTo>
                  <a:lnTo>
                    <a:pt x="250403" y="7406"/>
                  </a:lnTo>
                  <a:lnTo>
                    <a:pt x="268951" y="4114"/>
                  </a:lnTo>
                  <a:lnTo>
                    <a:pt x="274010" y="576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2" name="Rotterdam">
              <a:extLst>
                <a:ext uri="{FF2B5EF4-FFF2-40B4-BE49-F238E27FC236}">
                  <a16:creationId xmlns:a16="http://schemas.microsoft.com/office/drawing/2014/main" id="{79B2A6F5-9FB5-42A0-9B8C-0A60E6DDB014}"/>
                </a:ext>
              </a:extLst>
            </p:cNvPr>
            <p:cNvSpPr/>
            <p:nvPr/>
          </p:nvSpPr>
          <p:spPr>
            <a:xfrm>
              <a:off x="4722577" y="3663108"/>
              <a:ext cx="688362" cy="280793"/>
            </a:xfrm>
            <a:custGeom>
              <a:avLst/>
              <a:gdLst/>
              <a:ahLst/>
              <a:cxnLst/>
              <a:rect l="l" t="t" r="r" b="b"/>
              <a:pathLst>
                <a:path w="983486" h="388620" extrusionOk="0">
                  <a:moveTo>
                    <a:pt x="297617" y="38677"/>
                  </a:moveTo>
                  <a:lnTo>
                    <a:pt x="290872" y="53490"/>
                  </a:lnTo>
                  <a:lnTo>
                    <a:pt x="304362" y="58428"/>
                  </a:lnTo>
                  <a:lnTo>
                    <a:pt x="302676" y="63365"/>
                  </a:lnTo>
                  <a:lnTo>
                    <a:pt x="334714" y="78178"/>
                  </a:lnTo>
                  <a:lnTo>
                    <a:pt x="351577" y="89699"/>
                  </a:lnTo>
                  <a:lnTo>
                    <a:pt x="351577" y="92991"/>
                  </a:lnTo>
                  <a:lnTo>
                    <a:pt x="356635" y="92991"/>
                  </a:lnTo>
                  <a:lnTo>
                    <a:pt x="351577" y="99574"/>
                  </a:lnTo>
                  <a:lnTo>
                    <a:pt x="358321" y="119324"/>
                  </a:lnTo>
                  <a:lnTo>
                    <a:pt x="400477" y="152242"/>
                  </a:lnTo>
                  <a:lnTo>
                    <a:pt x="388673" y="170346"/>
                  </a:lnTo>
                  <a:lnTo>
                    <a:pt x="407222" y="185159"/>
                  </a:lnTo>
                  <a:lnTo>
                    <a:pt x="429143" y="214785"/>
                  </a:lnTo>
                  <a:lnTo>
                    <a:pt x="501650" y="255931"/>
                  </a:lnTo>
                  <a:lnTo>
                    <a:pt x="523571" y="262515"/>
                  </a:lnTo>
                  <a:lnTo>
                    <a:pt x="564041" y="269098"/>
                  </a:lnTo>
                  <a:lnTo>
                    <a:pt x="580903" y="267452"/>
                  </a:lnTo>
                  <a:lnTo>
                    <a:pt x="612941" y="257577"/>
                  </a:lnTo>
                  <a:lnTo>
                    <a:pt x="629803" y="257577"/>
                  </a:lnTo>
                  <a:lnTo>
                    <a:pt x="661842" y="264160"/>
                  </a:lnTo>
                  <a:lnTo>
                    <a:pt x="695566" y="254286"/>
                  </a:lnTo>
                  <a:lnTo>
                    <a:pt x="693880" y="250994"/>
                  </a:lnTo>
                  <a:lnTo>
                    <a:pt x="698939" y="244410"/>
                  </a:lnTo>
                  <a:lnTo>
                    <a:pt x="688821" y="227952"/>
                  </a:lnTo>
                  <a:lnTo>
                    <a:pt x="698939" y="221368"/>
                  </a:lnTo>
                  <a:lnTo>
                    <a:pt x="700625" y="201618"/>
                  </a:lnTo>
                  <a:lnTo>
                    <a:pt x="698939" y="201618"/>
                  </a:lnTo>
                  <a:lnTo>
                    <a:pt x="688821" y="178576"/>
                  </a:lnTo>
                  <a:lnTo>
                    <a:pt x="690508" y="168700"/>
                  </a:lnTo>
                  <a:lnTo>
                    <a:pt x="702311" y="163763"/>
                  </a:lnTo>
                  <a:lnTo>
                    <a:pt x="698939" y="158825"/>
                  </a:lnTo>
                  <a:lnTo>
                    <a:pt x="692194" y="163763"/>
                  </a:lnTo>
                  <a:lnTo>
                    <a:pt x="688821" y="163763"/>
                  </a:lnTo>
                  <a:lnTo>
                    <a:pt x="682076" y="167055"/>
                  </a:lnTo>
                  <a:lnTo>
                    <a:pt x="665214" y="148950"/>
                  </a:lnTo>
                  <a:lnTo>
                    <a:pt x="668587" y="142367"/>
                  </a:lnTo>
                  <a:lnTo>
                    <a:pt x="658469" y="145658"/>
                  </a:lnTo>
                  <a:lnTo>
                    <a:pt x="644980" y="102866"/>
                  </a:lnTo>
                  <a:lnTo>
                    <a:pt x="661842" y="99574"/>
                  </a:lnTo>
                  <a:lnTo>
                    <a:pt x="663528" y="99574"/>
                  </a:lnTo>
                  <a:lnTo>
                    <a:pt x="666900" y="106158"/>
                  </a:lnTo>
                  <a:lnTo>
                    <a:pt x="720860" y="71595"/>
                  </a:lnTo>
                  <a:lnTo>
                    <a:pt x="747839" y="106158"/>
                  </a:lnTo>
                  <a:lnTo>
                    <a:pt x="754584" y="97928"/>
                  </a:lnTo>
                  <a:lnTo>
                    <a:pt x="768074" y="91345"/>
                  </a:lnTo>
                  <a:lnTo>
                    <a:pt x="773133" y="69949"/>
                  </a:lnTo>
                  <a:lnTo>
                    <a:pt x="783250" y="63365"/>
                  </a:lnTo>
                  <a:lnTo>
                    <a:pt x="822033" y="96282"/>
                  </a:lnTo>
                  <a:lnTo>
                    <a:pt x="823719" y="84761"/>
                  </a:lnTo>
                  <a:lnTo>
                    <a:pt x="843954" y="104512"/>
                  </a:lnTo>
                  <a:lnTo>
                    <a:pt x="857444" y="112741"/>
                  </a:lnTo>
                  <a:lnTo>
                    <a:pt x="860816" y="106158"/>
                  </a:lnTo>
                  <a:lnTo>
                    <a:pt x="870934" y="101220"/>
                  </a:lnTo>
                  <a:lnTo>
                    <a:pt x="874306" y="96282"/>
                  </a:lnTo>
                  <a:lnTo>
                    <a:pt x="882737" y="94637"/>
                  </a:lnTo>
                  <a:lnTo>
                    <a:pt x="884423" y="88053"/>
                  </a:lnTo>
                  <a:lnTo>
                    <a:pt x="891168" y="89699"/>
                  </a:lnTo>
                  <a:lnTo>
                    <a:pt x="902972" y="83116"/>
                  </a:lnTo>
                  <a:lnTo>
                    <a:pt x="916462" y="94637"/>
                  </a:lnTo>
                  <a:lnTo>
                    <a:pt x="921520" y="91345"/>
                  </a:lnTo>
                  <a:lnTo>
                    <a:pt x="924893" y="86407"/>
                  </a:lnTo>
                  <a:lnTo>
                    <a:pt x="931638" y="88053"/>
                  </a:lnTo>
                  <a:lnTo>
                    <a:pt x="941755" y="84761"/>
                  </a:lnTo>
                  <a:lnTo>
                    <a:pt x="950186" y="76532"/>
                  </a:lnTo>
                  <a:lnTo>
                    <a:pt x="948500" y="74886"/>
                  </a:lnTo>
                  <a:lnTo>
                    <a:pt x="941755" y="79824"/>
                  </a:lnTo>
                  <a:lnTo>
                    <a:pt x="936696" y="68303"/>
                  </a:lnTo>
                  <a:lnTo>
                    <a:pt x="950186" y="63365"/>
                  </a:lnTo>
                  <a:lnTo>
                    <a:pt x="948500" y="51844"/>
                  </a:lnTo>
                  <a:lnTo>
                    <a:pt x="951872" y="48552"/>
                  </a:lnTo>
                  <a:lnTo>
                    <a:pt x="950186" y="41969"/>
                  </a:lnTo>
                  <a:lnTo>
                    <a:pt x="973793" y="32094"/>
                  </a:lnTo>
                  <a:lnTo>
                    <a:pt x="980538" y="46906"/>
                  </a:lnTo>
                  <a:lnTo>
                    <a:pt x="973793" y="76532"/>
                  </a:lnTo>
                  <a:lnTo>
                    <a:pt x="985597" y="86407"/>
                  </a:lnTo>
                  <a:lnTo>
                    <a:pt x="967048" y="94637"/>
                  </a:lnTo>
                  <a:lnTo>
                    <a:pt x="933324" y="119324"/>
                  </a:lnTo>
                  <a:lnTo>
                    <a:pt x="928265" y="114387"/>
                  </a:lnTo>
                  <a:lnTo>
                    <a:pt x="924893" y="117679"/>
                  </a:lnTo>
                  <a:lnTo>
                    <a:pt x="926579" y="137429"/>
                  </a:lnTo>
                  <a:lnTo>
                    <a:pt x="940069" y="155534"/>
                  </a:lnTo>
                  <a:lnTo>
                    <a:pt x="921520" y="160471"/>
                  </a:lnTo>
                  <a:lnTo>
                    <a:pt x="928265" y="186805"/>
                  </a:lnTo>
                  <a:lnTo>
                    <a:pt x="928265" y="199972"/>
                  </a:lnTo>
                  <a:lnTo>
                    <a:pt x="914775" y="211493"/>
                  </a:lnTo>
                  <a:lnTo>
                    <a:pt x="886110" y="211493"/>
                  </a:lnTo>
                  <a:lnTo>
                    <a:pt x="889482" y="223014"/>
                  </a:lnTo>
                  <a:lnTo>
                    <a:pt x="886110" y="221368"/>
                  </a:lnTo>
                  <a:lnTo>
                    <a:pt x="884423" y="226306"/>
                  </a:lnTo>
                  <a:lnTo>
                    <a:pt x="892855" y="244410"/>
                  </a:lnTo>
                  <a:lnTo>
                    <a:pt x="901286" y="241118"/>
                  </a:lnTo>
                  <a:lnTo>
                    <a:pt x="904658" y="223014"/>
                  </a:lnTo>
                  <a:lnTo>
                    <a:pt x="911403" y="219722"/>
                  </a:lnTo>
                  <a:lnTo>
                    <a:pt x="911403" y="223014"/>
                  </a:lnTo>
                  <a:lnTo>
                    <a:pt x="914775" y="223014"/>
                  </a:lnTo>
                  <a:lnTo>
                    <a:pt x="914775" y="234535"/>
                  </a:lnTo>
                  <a:lnTo>
                    <a:pt x="906344" y="236181"/>
                  </a:lnTo>
                  <a:lnTo>
                    <a:pt x="902972" y="247702"/>
                  </a:lnTo>
                  <a:lnTo>
                    <a:pt x="911403" y="246056"/>
                  </a:lnTo>
                  <a:lnTo>
                    <a:pt x="945128" y="252639"/>
                  </a:lnTo>
                  <a:lnTo>
                    <a:pt x="933324" y="311891"/>
                  </a:lnTo>
                  <a:lnTo>
                    <a:pt x="921520" y="311891"/>
                  </a:lnTo>
                  <a:lnTo>
                    <a:pt x="894541" y="326704"/>
                  </a:lnTo>
                  <a:lnTo>
                    <a:pt x="891168" y="329995"/>
                  </a:lnTo>
                  <a:lnTo>
                    <a:pt x="875992" y="334933"/>
                  </a:lnTo>
                  <a:lnTo>
                    <a:pt x="865875" y="331641"/>
                  </a:lnTo>
                  <a:lnTo>
                    <a:pt x="816974" y="333287"/>
                  </a:lnTo>
                  <a:lnTo>
                    <a:pt x="795054" y="341516"/>
                  </a:lnTo>
                  <a:lnTo>
                    <a:pt x="796740" y="349746"/>
                  </a:lnTo>
                  <a:lnTo>
                    <a:pt x="783250" y="349746"/>
                  </a:lnTo>
                  <a:lnTo>
                    <a:pt x="768074" y="348100"/>
                  </a:lnTo>
                  <a:lnTo>
                    <a:pt x="742781" y="338224"/>
                  </a:lnTo>
                  <a:lnTo>
                    <a:pt x="736036" y="339870"/>
                  </a:lnTo>
                  <a:lnTo>
                    <a:pt x="725918" y="331641"/>
                  </a:lnTo>
                  <a:lnTo>
                    <a:pt x="700625" y="323412"/>
                  </a:lnTo>
                  <a:lnTo>
                    <a:pt x="692194" y="325057"/>
                  </a:lnTo>
                  <a:lnTo>
                    <a:pt x="682076" y="321766"/>
                  </a:lnTo>
                  <a:lnTo>
                    <a:pt x="665214" y="323412"/>
                  </a:lnTo>
                  <a:lnTo>
                    <a:pt x="658469" y="326704"/>
                  </a:lnTo>
                  <a:lnTo>
                    <a:pt x="651724" y="338224"/>
                  </a:lnTo>
                  <a:lnTo>
                    <a:pt x="648352" y="357975"/>
                  </a:lnTo>
                  <a:lnTo>
                    <a:pt x="650038" y="367850"/>
                  </a:lnTo>
                  <a:lnTo>
                    <a:pt x="646666" y="371142"/>
                  </a:lnTo>
                  <a:lnTo>
                    <a:pt x="648352" y="395830"/>
                  </a:lnTo>
                  <a:lnTo>
                    <a:pt x="643293" y="395830"/>
                  </a:lnTo>
                  <a:lnTo>
                    <a:pt x="623059" y="389246"/>
                  </a:lnTo>
                  <a:lnTo>
                    <a:pt x="599452" y="377725"/>
                  </a:lnTo>
                  <a:lnTo>
                    <a:pt x="585962" y="361266"/>
                  </a:lnTo>
                  <a:lnTo>
                    <a:pt x="574158" y="341516"/>
                  </a:lnTo>
                  <a:lnTo>
                    <a:pt x="467926" y="338224"/>
                  </a:lnTo>
                  <a:lnTo>
                    <a:pt x="457808" y="334933"/>
                  </a:lnTo>
                  <a:lnTo>
                    <a:pt x="430829" y="320120"/>
                  </a:lnTo>
                  <a:lnTo>
                    <a:pt x="417339" y="306953"/>
                  </a:lnTo>
                  <a:lnTo>
                    <a:pt x="410594" y="282265"/>
                  </a:lnTo>
                  <a:lnTo>
                    <a:pt x="393732" y="255931"/>
                  </a:lnTo>
                  <a:lnTo>
                    <a:pt x="333028" y="208201"/>
                  </a:lnTo>
                  <a:lnTo>
                    <a:pt x="321224" y="204910"/>
                  </a:lnTo>
                  <a:lnTo>
                    <a:pt x="319538" y="195034"/>
                  </a:lnTo>
                  <a:lnTo>
                    <a:pt x="312793" y="186805"/>
                  </a:lnTo>
                  <a:lnTo>
                    <a:pt x="284128" y="173638"/>
                  </a:lnTo>
                  <a:lnTo>
                    <a:pt x="236913" y="163763"/>
                  </a:lnTo>
                  <a:lnTo>
                    <a:pt x="236913" y="165409"/>
                  </a:lnTo>
                  <a:lnTo>
                    <a:pt x="228482" y="162117"/>
                  </a:lnTo>
                  <a:lnTo>
                    <a:pt x="220051" y="183513"/>
                  </a:lnTo>
                  <a:lnTo>
                    <a:pt x="220051" y="193389"/>
                  </a:lnTo>
                  <a:lnTo>
                    <a:pt x="206561" y="170346"/>
                  </a:lnTo>
                  <a:lnTo>
                    <a:pt x="188013" y="167055"/>
                  </a:lnTo>
                  <a:lnTo>
                    <a:pt x="172837" y="168700"/>
                  </a:lnTo>
                  <a:lnTo>
                    <a:pt x="56487" y="206555"/>
                  </a:lnTo>
                  <a:lnTo>
                    <a:pt x="58173" y="206555"/>
                  </a:lnTo>
                  <a:lnTo>
                    <a:pt x="53115" y="203264"/>
                  </a:lnTo>
                  <a:lnTo>
                    <a:pt x="56487" y="206555"/>
                  </a:lnTo>
                  <a:lnTo>
                    <a:pt x="53115" y="206555"/>
                  </a:lnTo>
                  <a:lnTo>
                    <a:pt x="53115" y="208201"/>
                  </a:lnTo>
                  <a:lnTo>
                    <a:pt x="44684" y="195034"/>
                  </a:lnTo>
                  <a:lnTo>
                    <a:pt x="53115" y="176930"/>
                  </a:lnTo>
                  <a:lnTo>
                    <a:pt x="48056" y="168700"/>
                  </a:lnTo>
                  <a:lnTo>
                    <a:pt x="49742" y="165409"/>
                  </a:lnTo>
                  <a:lnTo>
                    <a:pt x="34566" y="167055"/>
                  </a:lnTo>
                  <a:lnTo>
                    <a:pt x="37939" y="181867"/>
                  </a:lnTo>
                  <a:lnTo>
                    <a:pt x="34566" y="185159"/>
                  </a:lnTo>
                  <a:lnTo>
                    <a:pt x="32880" y="183513"/>
                  </a:lnTo>
                  <a:lnTo>
                    <a:pt x="14331" y="127554"/>
                  </a:lnTo>
                  <a:lnTo>
                    <a:pt x="5900" y="114387"/>
                  </a:lnTo>
                  <a:lnTo>
                    <a:pt x="4214" y="104512"/>
                  </a:lnTo>
                  <a:lnTo>
                    <a:pt x="5900" y="96282"/>
                  </a:lnTo>
                  <a:lnTo>
                    <a:pt x="14331" y="76532"/>
                  </a:lnTo>
                  <a:lnTo>
                    <a:pt x="19390" y="71595"/>
                  </a:lnTo>
                  <a:lnTo>
                    <a:pt x="32880" y="71595"/>
                  </a:lnTo>
                  <a:lnTo>
                    <a:pt x="19390" y="83116"/>
                  </a:lnTo>
                  <a:lnTo>
                    <a:pt x="14331" y="102866"/>
                  </a:lnTo>
                  <a:lnTo>
                    <a:pt x="16018" y="114387"/>
                  </a:lnTo>
                  <a:lnTo>
                    <a:pt x="21076" y="125908"/>
                  </a:lnTo>
                  <a:lnTo>
                    <a:pt x="22763" y="137429"/>
                  </a:lnTo>
                  <a:lnTo>
                    <a:pt x="29507" y="145658"/>
                  </a:lnTo>
                  <a:lnTo>
                    <a:pt x="36252" y="140721"/>
                  </a:lnTo>
                  <a:lnTo>
                    <a:pt x="32880" y="125908"/>
                  </a:lnTo>
                  <a:lnTo>
                    <a:pt x="36252" y="117679"/>
                  </a:lnTo>
                  <a:lnTo>
                    <a:pt x="51428" y="94637"/>
                  </a:lnTo>
                  <a:lnTo>
                    <a:pt x="56487" y="91345"/>
                  </a:lnTo>
                  <a:lnTo>
                    <a:pt x="59860" y="92991"/>
                  </a:lnTo>
                  <a:lnTo>
                    <a:pt x="61546" y="107803"/>
                  </a:lnTo>
                  <a:lnTo>
                    <a:pt x="48056" y="132492"/>
                  </a:lnTo>
                  <a:lnTo>
                    <a:pt x="34566" y="145658"/>
                  </a:lnTo>
                  <a:lnTo>
                    <a:pt x="32880" y="155534"/>
                  </a:lnTo>
                  <a:lnTo>
                    <a:pt x="53115" y="155534"/>
                  </a:lnTo>
                  <a:lnTo>
                    <a:pt x="68291" y="134137"/>
                  </a:lnTo>
                  <a:lnTo>
                    <a:pt x="64918" y="130845"/>
                  </a:lnTo>
                  <a:lnTo>
                    <a:pt x="58173" y="132492"/>
                  </a:lnTo>
                  <a:lnTo>
                    <a:pt x="56487" y="127554"/>
                  </a:lnTo>
                  <a:lnTo>
                    <a:pt x="75036" y="104512"/>
                  </a:lnTo>
                  <a:lnTo>
                    <a:pt x="80094" y="104512"/>
                  </a:lnTo>
                  <a:lnTo>
                    <a:pt x="83467" y="109449"/>
                  </a:lnTo>
                  <a:lnTo>
                    <a:pt x="88525" y="107803"/>
                  </a:lnTo>
                  <a:lnTo>
                    <a:pt x="86839" y="101220"/>
                  </a:lnTo>
                  <a:lnTo>
                    <a:pt x="76722" y="97928"/>
                  </a:lnTo>
                  <a:lnTo>
                    <a:pt x="75036" y="86407"/>
                  </a:lnTo>
                  <a:lnTo>
                    <a:pt x="80094" y="66657"/>
                  </a:lnTo>
                  <a:lnTo>
                    <a:pt x="90212" y="50198"/>
                  </a:lnTo>
                  <a:lnTo>
                    <a:pt x="85153" y="46906"/>
                  </a:lnTo>
                  <a:lnTo>
                    <a:pt x="81780" y="50198"/>
                  </a:lnTo>
                  <a:lnTo>
                    <a:pt x="75036" y="51844"/>
                  </a:lnTo>
                  <a:lnTo>
                    <a:pt x="64918" y="46906"/>
                  </a:lnTo>
                  <a:lnTo>
                    <a:pt x="49742" y="46906"/>
                  </a:lnTo>
                  <a:lnTo>
                    <a:pt x="36252" y="60074"/>
                  </a:lnTo>
                  <a:lnTo>
                    <a:pt x="31194" y="58428"/>
                  </a:lnTo>
                  <a:lnTo>
                    <a:pt x="34566" y="58428"/>
                  </a:lnTo>
                  <a:lnTo>
                    <a:pt x="36252" y="55136"/>
                  </a:lnTo>
                  <a:lnTo>
                    <a:pt x="32880" y="53490"/>
                  </a:lnTo>
                  <a:lnTo>
                    <a:pt x="32880" y="56782"/>
                  </a:lnTo>
                  <a:lnTo>
                    <a:pt x="31194" y="53490"/>
                  </a:lnTo>
                  <a:lnTo>
                    <a:pt x="34566" y="50198"/>
                  </a:lnTo>
                  <a:lnTo>
                    <a:pt x="32880" y="53490"/>
                  </a:lnTo>
                  <a:lnTo>
                    <a:pt x="36252" y="53490"/>
                  </a:lnTo>
                  <a:lnTo>
                    <a:pt x="41311" y="46906"/>
                  </a:lnTo>
                  <a:lnTo>
                    <a:pt x="39625" y="41969"/>
                  </a:lnTo>
                  <a:lnTo>
                    <a:pt x="51428" y="37031"/>
                  </a:lnTo>
                  <a:lnTo>
                    <a:pt x="53115" y="41969"/>
                  </a:lnTo>
                  <a:lnTo>
                    <a:pt x="73349" y="38677"/>
                  </a:lnTo>
                  <a:lnTo>
                    <a:pt x="96957" y="41969"/>
                  </a:lnTo>
                  <a:lnTo>
                    <a:pt x="117191" y="37031"/>
                  </a:lnTo>
                  <a:lnTo>
                    <a:pt x="130681" y="40323"/>
                  </a:lnTo>
                  <a:lnTo>
                    <a:pt x="139112" y="18927"/>
                  </a:lnTo>
                  <a:lnTo>
                    <a:pt x="211620" y="45261"/>
                  </a:lnTo>
                  <a:lnTo>
                    <a:pt x="231855" y="28802"/>
                  </a:lnTo>
                  <a:lnTo>
                    <a:pt x="257148" y="4114"/>
                  </a:lnTo>
                  <a:lnTo>
                    <a:pt x="268951" y="12344"/>
                  </a:lnTo>
                  <a:lnTo>
                    <a:pt x="267265" y="15635"/>
                  </a:lnTo>
                  <a:lnTo>
                    <a:pt x="274010" y="27156"/>
                  </a:lnTo>
                  <a:lnTo>
                    <a:pt x="297617" y="38677"/>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3" name="Rucphen">
              <a:extLst>
                <a:ext uri="{FF2B5EF4-FFF2-40B4-BE49-F238E27FC236}">
                  <a16:creationId xmlns:a16="http://schemas.microsoft.com/office/drawing/2014/main" id="{A8B8047F-62BD-4726-9629-9739063E15E5}"/>
                </a:ext>
              </a:extLst>
            </p:cNvPr>
            <p:cNvSpPr/>
            <p:nvPr/>
          </p:nvSpPr>
          <p:spPr>
            <a:xfrm>
              <a:off x="5273626" y="4385571"/>
              <a:ext cx="182784" cy="144030"/>
            </a:xfrm>
            <a:custGeom>
              <a:avLst/>
              <a:gdLst/>
              <a:ahLst/>
              <a:cxnLst/>
              <a:rect l="l" t="t" r="r" b="b"/>
              <a:pathLst>
                <a:path w="245871" h="228600" extrusionOk="0">
                  <a:moveTo>
                    <a:pt x="76722" y="9052"/>
                  </a:moveTo>
                  <a:lnTo>
                    <a:pt x="86839" y="10697"/>
                  </a:lnTo>
                  <a:lnTo>
                    <a:pt x="73349" y="35385"/>
                  </a:lnTo>
                  <a:lnTo>
                    <a:pt x="73349" y="43615"/>
                  </a:lnTo>
                  <a:lnTo>
                    <a:pt x="76722" y="50198"/>
                  </a:lnTo>
                  <a:lnTo>
                    <a:pt x="98643" y="45260"/>
                  </a:lnTo>
                  <a:lnTo>
                    <a:pt x="100329" y="40323"/>
                  </a:lnTo>
                  <a:lnTo>
                    <a:pt x="103702" y="43615"/>
                  </a:lnTo>
                  <a:lnTo>
                    <a:pt x="155974" y="27156"/>
                  </a:lnTo>
                  <a:lnTo>
                    <a:pt x="155974" y="25510"/>
                  </a:lnTo>
                  <a:lnTo>
                    <a:pt x="161033" y="27156"/>
                  </a:lnTo>
                  <a:lnTo>
                    <a:pt x="171151" y="23864"/>
                  </a:lnTo>
                  <a:lnTo>
                    <a:pt x="171151" y="25510"/>
                  </a:lnTo>
                  <a:lnTo>
                    <a:pt x="186327" y="28802"/>
                  </a:lnTo>
                  <a:lnTo>
                    <a:pt x="198130" y="40323"/>
                  </a:lnTo>
                  <a:lnTo>
                    <a:pt x="221737" y="45260"/>
                  </a:lnTo>
                  <a:lnTo>
                    <a:pt x="223423" y="56781"/>
                  </a:lnTo>
                  <a:lnTo>
                    <a:pt x="225110" y="55136"/>
                  </a:lnTo>
                  <a:lnTo>
                    <a:pt x="228482" y="58427"/>
                  </a:lnTo>
                  <a:lnTo>
                    <a:pt x="230168" y="56781"/>
                  </a:lnTo>
                  <a:lnTo>
                    <a:pt x="231855" y="65011"/>
                  </a:lnTo>
                  <a:lnTo>
                    <a:pt x="238599" y="68302"/>
                  </a:lnTo>
                  <a:lnTo>
                    <a:pt x="245344" y="66657"/>
                  </a:lnTo>
                  <a:lnTo>
                    <a:pt x="241972" y="112741"/>
                  </a:lnTo>
                  <a:lnTo>
                    <a:pt x="230168" y="114387"/>
                  </a:lnTo>
                  <a:lnTo>
                    <a:pt x="221737" y="120970"/>
                  </a:lnTo>
                  <a:lnTo>
                    <a:pt x="223423" y="125908"/>
                  </a:lnTo>
                  <a:lnTo>
                    <a:pt x="213306" y="132491"/>
                  </a:lnTo>
                  <a:lnTo>
                    <a:pt x="214992" y="145658"/>
                  </a:lnTo>
                  <a:lnTo>
                    <a:pt x="209934" y="145658"/>
                  </a:lnTo>
                  <a:lnTo>
                    <a:pt x="208247" y="152242"/>
                  </a:lnTo>
                  <a:lnTo>
                    <a:pt x="206561" y="148950"/>
                  </a:lnTo>
                  <a:lnTo>
                    <a:pt x="199816" y="150596"/>
                  </a:lnTo>
                  <a:lnTo>
                    <a:pt x="150916" y="144012"/>
                  </a:lnTo>
                  <a:lnTo>
                    <a:pt x="166092" y="178575"/>
                  </a:lnTo>
                  <a:lnTo>
                    <a:pt x="157661" y="180221"/>
                  </a:lnTo>
                  <a:lnTo>
                    <a:pt x="145857" y="188451"/>
                  </a:lnTo>
                  <a:lnTo>
                    <a:pt x="142485" y="198326"/>
                  </a:lnTo>
                  <a:lnTo>
                    <a:pt x="144171" y="198326"/>
                  </a:lnTo>
                  <a:lnTo>
                    <a:pt x="139112" y="211493"/>
                  </a:lnTo>
                  <a:lnTo>
                    <a:pt x="113819" y="204909"/>
                  </a:lnTo>
                  <a:lnTo>
                    <a:pt x="102015" y="234535"/>
                  </a:lnTo>
                  <a:lnTo>
                    <a:pt x="86839" y="211493"/>
                  </a:lnTo>
                  <a:lnTo>
                    <a:pt x="7587" y="223014"/>
                  </a:lnTo>
                  <a:lnTo>
                    <a:pt x="4214" y="214784"/>
                  </a:lnTo>
                  <a:lnTo>
                    <a:pt x="4214" y="213138"/>
                  </a:lnTo>
                  <a:lnTo>
                    <a:pt x="16018" y="209847"/>
                  </a:lnTo>
                  <a:lnTo>
                    <a:pt x="12645" y="199972"/>
                  </a:lnTo>
                  <a:lnTo>
                    <a:pt x="26135" y="163763"/>
                  </a:lnTo>
                  <a:lnTo>
                    <a:pt x="22763" y="148950"/>
                  </a:lnTo>
                  <a:lnTo>
                    <a:pt x="31194" y="129199"/>
                  </a:lnTo>
                  <a:lnTo>
                    <a:pt x="51429" y="125908"/>
                  </a:lnTo>
                  <a:lnTo>
                    <a:pt x="49742" y="117678"/>
                  </a:lnTo>
                  <a:lnTo>
                    <a:pt x="53115" y="117678"/>
                  </a:lnTo>
                  <a:lnTo>
                    <a:pt x="56487" y="107803"/>
                  </a:lnTo>
                  <a:lnTo>
                    <a:pt x="59860" y="107803"/>
                  </a:lnTo>
                  <a:lnTo>
                    <a:pt x="63232" y="92991"/>
                  </a:lnTo>
                  <a:lnTo>
                    <a:pt x="64918" y="66657"/>
                  </a:lnTo>
                  <a:lnTo>
                    <a:pt x="53115" y="65011"/>
                  </a:lnTo>
                  <a:lnTo>
                    <a:pt x="51429" y="68302"/>
                  </a:lnTo>
                  <a:lnTo>
                    <a:pt x="46370" y="63365"/>
                  </a:lnTo>
                  <a:lnTo>
                    <a:pt x="41311" y="65011"/>
                  </a:lnTo>
                  <a:lnTo>
                    <a:pt x="27821" y="61719"/>
                  </a:lnTo>
                  <a:lnTo>
                    <a:pt x="26135" y="56781"/>
                  </a:lnTo>
                  <a:lnTo>
                    <a:pt x="32880" y="15635"/>
                  </a:lnTo>
                  <a:lnTo>
                    <a:pt x="36252" y="17281"/>
                  </a:lnTo>
                  <a:lnTo>
                    <a:pt x="37939" y="9052"/>
                  </a:lnTo>
                  <a:lnTo>
                    <a:pt x="42997" y="10697"/>
                  </a:lnTo>
                  <a:lnTo>
                    <a:pt x="44684" y="4114"/>
                  </a:lnTo>
                  <a:lnTo>
                    <a:pt x="76722" y="905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4" name="Boxmeer">
              <a:extLst>
                <a:ext uri="{FF2B5EF4-FFF2-40B4-BE49-F238E27FC236}">
                  <a16:creationId xmlns:a16="http://schemas.microsoft.com/office/drawing/2014/main" id="{EE0019E2-659A-4F6E-9FB7-EA7F974588C8}"/>
                </a:ext>
              </a:extLst>
            </p:cNvPr>
            <p:cNvSpPr/>
            <p:nvPr/>
          </p:nvSpPr>
          <p:spPr>
            <a:xfrm>
              <a:off x="6733613" y="4144532"/>
              <a:ext cx="209771" cy="269305"/>
            </a:xfrm>
            <a:custGeom>
              <a:avLst/>
              <a:gdLst/>
              <a:ahLst/>
              <a:cxnLst/>
              <a:rect l="l" t="t" r="r" b="b"/>
              <a:pathLst>
                <a:path w="304412" h="400050" extrusionOk="0">
                  <a:moveTo>
                    <a:pt x="132367" y="7405"/>
                  </a:moveTo>
                  <a:lnTo>
                    <a:pt x="149230" y="13989"/>
                  </a:lnTo>
                  <a:lnTo>
                    <a:pt x="157661" y="23864"/>
                  </a:lnTo>
                  <a:lnTo>
                    <a:pt x="157661" y="45260"/>
                  </a:lnTo>
                  <a:lnTo>
                    <a:pt x="171151" y="97928"/>
                  </a:lnTo>
                  <a:lnTo>
                    <a:pt x="169464" y="139075"/>
                  </a:lnTo>
                  <a:lnTo>
                    <a:pt x="174523" y="163763"/>
                  </a:lnTo>
                  <a:lnTo>
                    <a:pt x="186326" y="176930"/>
                  </a:lnTo>
                  <a:lnTo>
                    <a:pt x="198130" y="181867"/>
                  </a:lnTo>
                  <a:lnTo>
                    <a:pt x="220051" y="195034"/>
                  </a:lnTo>
                  <a:lnTo>
                    <a:pt x="255462" y="229597"/>
                  </a:lnTo>
                  <a:lnTo>
                    <a:pt x="262207" y="237827"/>
                  </a:lnTo>
                  <a:lnTo>
                    <a:pt x="265579" y="288848"/>
                  </a:lnTo>
                  <a:lnTo>
                    <a:pt x="268951" y="297078"/>
                  </a:lnTo>
                  <a:lnTo>
                    <a:pt x="287500" y="321765"/>
                  </a:lnTo>
                  <a:lnTo>
                    <a:pt x="289186" y="329995"/>
                  </a:lnTo>
                  <a:lnTo>
                    <a:pt x="285814" y="356329"/>
                  </a:lnTo>
                  <a:lnTo>
                    <a:pt x="290872" y="369496"/>
                  </a:lnTo>
                  <a:lnTo>
                    <a:pt x="302676" y="384308"/>
                  </a:lnTo>
                  <a:lnTo>
                    <a:pt x="299303" y="385954"/>
                  </a:lnTo>
                  <a:lnTo>
                    <a:pt x="297617" y="382662"/>
                  </a:lnTo>
                  <a:lnTo>
                    <a:pt x="294245" y="382662"/>
                  </a:lnTo>
                  <a:lnTo>
                    <a:pt x="295931" y="385954"/>
                  </a:lnTo>
                  <a:lnTo>
                    <a:pt x="290872" y="387600"/>
                  </a:lnTo>
                  <a:lnTo>
                    <a:pt x="285814" y="384308"/>
                  </a:lnTo>
                  <a:lnTo>
                    <a:pt x="280755" y="385954"/>
                  </a:lnTo>
                  <a:lnTo>
                    <a:pt x="279069" y="387600"/>
                  </a:lnTo>
                  <a:lnTo>
                    <a:pt x="280755" y="390892"/>
                  </a:lnTo>
                  <a:lnTo>
                    <a:pt x="277383" y="399121"/>
                  </a:lnTo>
                  <a:lnTo>
                    <a:pt x="255462" y="372787"/>
                  </a:lnTo>
                  <a:lnTo>
                    <a:pt x="233541" y="356329"/>
                  </a:lnTo>
                  <a:lnTo>
                    <a:pt x="191385" y="377725"/>
                  </a:lnTo>
                  <a:lnTo>
                    <a:pt x="128995" y="397475"/>
                  </a:lnTo>
                  <a:lnTo>
                    <a:pt x="83467" y="400767"/>
                  </a:lnTo>
                  <a:lnTo>
                    <a:pt x="59860" y="381017"/>
                  </a:lnTo>
                  <a:lnTo>
                    <a:pt x="29507" y="376079"/>
                  </a:lnTo>
                  <a:lnTo>
                    <a:pt x="29507" y="349745"/>
                  </a:lnTo>
                  <a:lnTo>
                    <a:pt x="41311" y="343162"/>
                  </a:lnTo>
                  <a:lnTo>
                    <a:pt x="37939" y="338224"/>
                  </a:lnTo>
                  <a:lnTo>
                    <a:pt x="63232" y="325057"/>
                  </a:lnTo>
                  <a:lnTo>
                    <a:pt x="59860" y="321765"/>
                  </a:lnTo>
                  <a:lnTo>
                    <a:pt x="64918" y="318474"/>
                  </a:lnTo>
                  <a:lnTo>
                    <a:pt x="64918" y="316828"/>
                  </a:lnTo>
                  <a:lnTo>
                    <a:pt x="73349" y="311890"/>
                  </a:lnTo>
                  <a:lnTo>
                    <a:pt x="78408" y="316828"/>
                  </a:lnTo>
                  <a:lnTo>
                    <a:pt x="122250" y="292140"/>
                  </a:lnTo>
                  <a:lnTo>
                    <a:pt x="120564" y="285557"/>
                  </a:lnTo>
                  <a:lnTo>
                    <a:pt x="127309" y="282265"/>
                  </a:lnTo>
                  <a:lnTo>
                    <a:pt x="125622" y="278973"/>
                  </a:lnTo>
                  <a:lnTo>
                    <a:pt x="149230" y="265806"/>
                  </a:lnTo>
                  <a:lnTo>
                    <a:pt x="135740" y="257577"/>
                  </a:lnTo>
                  <a:lnTo>
                    <a:pt x="127309" y="246056"/>
                  </a:lnTo>
                  <a:lnTo>
                    <a:pt x="112132" y="206555"/>
                  </a:lnTo>
                  <a:lnTo>
                    <a:pt x="66605" y="178575"/>
                  </a:lnTo>
                  <a:lnTo>
                    <a:pt x="61546" y="181867"/>
                  </a:lnTo>
                  <a:lnTo>
                    <a:pt x="56487" y="175284"/>
                  </a:lnTo>
                  <a:lnTo>
                    <a:pt x="46370" y="171992"/>
                  </a:lnTo>
                  <a:lnTo>
                    <a:pt x="46370" y="175284"/>
                  </a:lnTo>
                  <a:lnTo>
                    <a:pt x="39625" y="176930"/>
                  </a:lnTo>
                  <a:lnTo>
                    <a:pt x="37939" y="180221"/>
                  </a:lnTo>
                  <a:lnTo>
                    <a:pt x="29507" y="178575"/>
                  </a:lnTo>
                  <a:lnTo>
                    <a:pt x="29507" y="160471"/>
                  </a:lnTo>
                  <a:lnTo>
                    <a:pt x="34566" y="157179"/>
                  </a:lnTo>
                  <a:lnTo>
                    <a:pt x="4214" y="135783"/>
                  </a:lnTo>
                  <a:lnTo>
                    <a:pt x="10959" y="125908"/>
                  </a:lnTo>
                  <a:lnTo>
                    <a:pt x="7587" y="120970"/>
                  </a:lnTo>
                  <a:lnTo>
                    <a:pt x="12645" y="114387"/>
                  </a:lnTo>
                  <a:lnTo>
                    <a:pt x="32880" y="99574"/>
                  </a:lnTo>
                  <a:lnTo>
                    <a:pt x="39625" y="97928"/>
                  </a:lnTo>
                  <a:lnTo>
                    <a:pt x="44684" y="101220"/>
                  </a:lnTo>
                  <a:lnTo>
                    <a:pt x="64918" y="88053"/>
                  </a:lnTo>
                  <a:lnTo>
                    <a:pt x="71663" y="79823"/>
                  </a:lnTo>
                  <a:lnTo>
                    <a:pt x="63232" y="71594"/>
                  </a:lnTo>
                  <a:lnTo>
                    <a:pt x="85153" y="43615"/>
                  </a:lnTo>
                  <a:lnTo>
                    <a:pt x="95270" y="37031"/>
                  </a:lnTo>
                  <a:lnTo>
                    <a:pt x="102015" y="25510"/>
                  </a:lnTo>
                  <a:lnTo>
                    <a:pt x="113819" y="20573"/>
                  </a:lnTo>
                  <a:lnTo>
                    <a:pt x="118878" y="10697"/>
                  </a:lnTo>
                  <a:lnTo>
                    <a:pt x="123936" y="7405"/>
                  </a:lnTo>
                  <a:lnTo>
                    <a:pt x="122250" y="4114"/>
                  </a:lnTo>
                  <a:lnTo>
                    <a:pt x="132367" y="740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5" name="Rijssen-Holten">
              <a:extLst>
                <a:ext uri="{FF2B5EF4-FFF2-40B4-BE49-F238E27FC236}">
                  <a16:creationId xmlns:a16="http://schemas.microsoft.com/office/drawing/2014/main" id="{7123BC8C-690F-4CC6-A810-06B9E09D421A}"/>
                </a:ext>
              </a:extLst>
            </p:cNvPr>
            <p:cNvSpPr/>
            <p:nvPr/>
          </p:nvSpPr>
          <p:spPr>
            <a:xfrm>
              <a:off x="7208041" y="3147277"/>
              <a:ext cx="250927" cy="132285"/>
            </a:xfrm>
            <a:custGeom>
              <a:avLst/>
              <a:gdLst/>
              <a:ahLst/>
              <a:cxnLst/>
              <a:rect l="l" t="t" r="r" b="b"/>
              <a:pathLst>
                <a:path w="351245" h="205740" extrusionOk="0">
                  <a:moveTo>
                    <a:pt x="218365" y="4114"/>
                  </a:moveTo>
                  <a:lnTo>
                    <a:pt x="265579" y="9052"/>
                  </a:lnTo>
                  <a:lnTo>
                    <a:pt x="294245" y="5760"/>
                  </a:lnTo>
                  <a:lnTo>
                    <a:pt x="300989" y="9052"/>
                  </a:lnTo>
                  <a:lnTo>
                    <a:pt x="304362" y="4114"/>
                  </a:lnTo>
                  <a:lnTo>
                    <a:pt x="316166" y="25510"/>
                  </a:lnTo>
                  <a:lnTo>
                    <a:pt x="321224" y="27156"/>
                  </a:lnTo>
                  <a:lnTo>
                    <a:pt x="326283" y="27156"/>
                  </a:lnTo>
                  <a:lnTo>
                    <a:pt x="334714" y="20573"/>
                  </a:lnTo>
                  <a:lnTo>
                    <a:pt x="344832" y="45261"/>
                  </a:lnTo>
                  <a:lnTo>
                    <a:pt x="348204" y="71595"/>
                  </a:lnTo>
                  <a:lnTo>
                    <a:pt x="343145" y="94637"/>
                  </a:lnTo>
                  <a:lnTo>
                    <a:pt x="349890" y="106158"/>
                  </a:lnTo>
                  <a:lnTo>
                    <a:pt x="331342" y="107803"/>
                  </a:lnTo>
                  <a:lnTo>
                    <a:pt x="307734" y="106158"/>
                  </a:lnTo>
                  <a:lnTo>
                    <a:pt x="294245" y="107803"/>
                  </a:lnTo>
                  <a:lnTo>
                    <a:pt x="245344" y="127554"/>
                  </a:lnTo>
                  <a:lnTo>
                    <a:pt x="225110" y="140721"/>
                  </a:lnTo>
                  <a:lnTo>
                    <a:pt x="225110" y="145658"/>
                  </a:lnTo>
                  <a:lnTo>
                    <a:pt x="211620" y="155534"/>
                  </a:lnTo>
                  <a:lnTo>
                    <a:pt x="162719" y="185159"/>
                  </a:lnTo>
                  <a:lnTo>
                    <a:pt x="166092" y="186805"/>
                  </a:lnTo>
                  <a:lnTo>
                    <a:pt x="161033" y="193389"/>
                  </a:lnTo>
                  <a:lnTo>
                    <a:pt x="157661" y="191742"/>
                  </a:lnTo>
                  <a:lnTo>
                    <a:pt x="142485" y="208201"/>
                  </a:lnTo>
                  <a:lnTo>
                    <a:pt x="122250" y="204910"/>
                  </a:lnTo>
                  <a:lnTo>
                    <a:pt x="102015" y="208201"/>
                  </a:lnTo>
                  <a:lnTo>
                    <a:pt x="91898" y="204910"/>
                  </a:lnTo>
                  <a:lnTo>
                    <a:pt x="88525" y="196680"/>
                  </a:lnTo>
                  <a:lnTo>
                    <a:pt x="81780" y="190097"/>
                  </a:lnTo>
                  <a:lnTo>
                    <a:pt x="83467" y="180221"/>
                  </a:lnTo>
                  <a:lnTo>
                    <a:pt x="78408" y="175284"/>
                  </a:lnTo>
                  <a:lnTo>
                    <a:pt x="83467" y="173638"/>
                  </a:lnTo>
                  <a:lnTo>
                    <a:pt x="83467" y="168700"/>
                  </a:lnTo>
                  <a:lnTo>
                    <a:pt x="76722" y="163763"/>
                  </a:lnTo>
                  <a:lnTo>
                    <a:pt x="73349" y="165409"/>
                  </a:lnTo>
                  <a:lnTo>
                    <a:pt x="51428" y="147304"/>
                  </a:lnTo>
                  <a:lnTo>
                    <a:pt x="49742" y="148950"/>
                  </a:lnTo>
                  <a:lnTo>
                    <a:pt x="44684" y="145658"/>
                  </a:lnTo>
                  <a:lnTo>
                    <a:pt x="48056" y="144013"/>
                  </a:lnTo>
                  <a:lnTo>
                    <a:pt x="44684" y="140721"/>
                  </a:lnTo>
                  <a:lnTo>
                    <a:pt x="42997" y="144013"/>
                  </a:lnTo>
                  <a:lnTo>
                    <a:pt x="39625" y="142367"/>
                  </a:lnTo>
                  <a:lnTo>
                    <a:pt x="41311" y="137429"/>
                  </a:lnTo>
                  <a:lnTo>
                    <a:pt x="9273" y="116033"/>
                  </a:lnTo>
                  <a:lnTo>
                    <a:pt x="4214" y="66657"/>
                  </a:lnTo>
                  <a:lnTo>
                    <a:pt x="48056" y="25510"/>
                  </a:lnTo>
                  <a:lnTo>
                    <a:pt x="147543" y="5760"/>
                  </a:lnTo>
                  <a:lnTo>
                    <a:pt x="208247" y="18927"/>
                  </a:lnTo>
                  <a:lnTo>
                    <a:pt x="218365"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6" name="Amstelveen">
              <a:extLst>
                <a:ext uri="{FF2B5EF4-FFF2-40B4-BE49-F238E27FC236}">
                  <a16:creationId xmlns:a16="http://schemas.microsoft.com/office/drawing/2014/main" id="{792B1C28-988A-49C8-94AA-C3F0BC15A9C1}"/>
                </a:ext>
              </a:extLst>
            </p:cNvPr>
            <p:cNvSpPr/>
            <p:nvPr/>
          </p:nvSpPr>
          <p:spPr>
            <a:xfrm>
              <a:off x="5616360" y="3146189"/>
              <a:ext cx="123733" cy="153180"/>
            </a:xfrm>
            <a:custGeom>
              <a:avLst/>
              <a:gdLst/>
              <a:ahLst/>
              <a:cxnLst/>
              <a:rect l="l" t="t" r="r" b="b"/>
              <a:pathLst>
                <a:path w="175622" h="217170" extrusionOk="0">
                  <a:moveTo>
                    <a:pt x="98643" y="4114"/>
                  </a:moveTo>
                  <a:lnTo>
                    <a:pt x="100329" y="25510"/>
                  </a:lnTo>
                  <a:lnTo>
                    <a:pt x="159347" y="23864"/>
                  </a:lnTo>
                  <a:lnTo>
                    <a:pt x="169464" y="27156"/>
                  </a:lnTo>
                  <a:lnTo>
                    <a:pt x="179582" y="35385"/>
                  </a:lnTo>
                  <a:lnTo>
                    <a:pt x="172836" y="40323"/>
                  </a:lnTo>
                  <a:lnTo>
                    <a:pt x="172836" y="51844"/>
                  </a:lnTo>
                  <a:lnTo>
                    <a:pt x="176209" y="63365"/>
                  </a:lnTo>
                  <a:lnTo>
                    <a:pt x="162719" y="78178"/>
                  </a:lnTo>
                  <a:lnTo>
                    <a:pt x="166092" y="88053"/>
                  </a:lnTo>
                  <a:lnTo>
                    <a:pt x="152602" y="91345"/>
                  </a:lnTo>
                  <a:lnTo>
                    <a:pt x="150916" y="99574"/>
                  </a:lnTo>
                  <a:lnTo>
                    <a:pt x="144171" y="102866"/>
                  </a:lnTo>
                  <a:lnTo>
                    <a:pt x="149230" y="107803"/>
                  </a:lnTo>
                  <a:lnTo>
                    <a:pt x="142484" y="111095"/>
                  </a:lnTo>
                  <a:lnTo>
                    <a:pt x="132367" y="127554"/>
                  </a:lnTo>
                  <a:lnTo>
                    <a:pt x="135740" y="139075"/>
                  </a:lnTo>
                  <a:lnTo>
                    <a:pt x="132367" y="157179"/>
                  </a:lnTo>
                  <a:lnTo>
                    <a:pt x="137426" y="165409"/>
                  </a:lnTo>
                  <a:lnTo>
                    <a:pt x="130681" y="171992"/>
                  </a:lnTo>
                  <a:lnTo>
                    <a:pt x="123936" y="171992"/>
                  </a:lnTo>
                  <a:lnTo>
                    <a:pt x="123936" y="180221"/>
                  </a:lnTo>
                  <a:lnTo>
                    <a:pt x="117191" y="195034"/>
                  </a:lnTo>
                  <a:lnTo>
                    <a:pt x="98643" y="204909"/>
                  </a:lnTo>
                  <a:lnTo>
                    <a:pt x="93584" y="218076"/>
                  </a:lnTo>
                  <a:lnTo>
                    <a:pt x="64918" y="198326"/>
                  </a:lnTo>
                  <a:lnTo>
                    <a:pt x="4214" y="171992"/>
                  </a:lnTo>
                  <a:lnTo>
                    <a:pt x="49742" y="101220"/>
                  </a:lnTo>
                  <a:lnTo>
                    <a:pt x="27821" y="63365"/>
                  </a:lnTo>
                  <a:lnTo>
                    <a:pt x="37939" y="50198"/>
                  </a:lnTo>
                  <a:lnTo>
                    <a:pt x="41311" y="15635"/>
                  </a:lnTo>
                  <a:lnTo>
                    <a:pt x="73349" y="12343"/>
                  </a:lnTo>
                  <a:lnTo>
                    <a:pt x="73349" y="7406"/>
                  </a:lnTo>
                  <a:lnTo>
                    <a:pt x="80094" y="4114"/>
                  </a:lnTo>
                  <a:lnTo>
                    <a:pt x="98643"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7" name="Oisterwijk">
              <a:extLst>
                <a:ext uri="{FF2B5EF4-FFF2-40B4-BE49-F238E27FC236}">
                  <a16:creationId xmlns:a16="http://schemas.microsoft.com/office/drawing/2014/main" id="{C149F329-E215-4589-8803-0E5FBCE38BC3}"/>
                </a:ext>
              </a:extLst>
            </p:cNvPr>
            <p:cNvSpPr/>
            <p:nvPr/>
          </p:nvSpPr>
          <p:spPr>
            <a:xfrm>
              <a:off x="5959485" y="4347192"/>
              <a:ext cx="153835" cy="145935"/>
            </a:xfrm>
            <a:custGeom>
              <a:avLst/>
              <a:gdLst/>
              <a:ahLst/>
              <a:cxnLst/>
              <a:rect l="l" t="t" r="r" b="b"/>
              <a:pathLst>
                <a:path w="234163" h="228600" extrusionOk="0">
                  <a:moveTo>
                    <a:pt x="100329" y="20573"/>
                  </a:moveTo>
                  <a:lnTo>
                    <a:pt x="102015" y="23864"/>
                  </a:lnTo>
                  <a:lnTo>
                    <a:pt x="105388" y="18926"/>
                  </a:lnTo>
                  <a:lnTo>
                    <a:pt x="118877" y="33739"/>
                  </a:lnTo>
                  <a:lnTo>
                    <a:pt x="127309" y="28802"/>
                  </a:lnTo>
                  <a:lnTo>
                    <a:pt x="134053" y="41969"/>
                  </a:lnTo>
                  <a:lnTo>
                    <a:pt x="184640" y="38677"/>
                  </a:lnTo>
                  <a:lnTo>
                    <a:pt x="182954" y="56781"/>
                  </a:lnTo>
                  <a:lnTo>
                    <a:pt x="213306" y="112741"/>
                  </a:lnTo>
                  <a:lnTo>
                    <a:pt x="218365" y="119324"/>
                  </a:lnTo>
                  <a:lnTo>
                    <a:pt x="225109" y="122616"/>
                  </a:lnTo>
                  <a:lnTo>
                    <a:pt x="223423" y="129199"/>
                  </a:lnTo>
                  <a:lnTo>
                    <a:pt x="231854" y="132491"/>
                  </a:lnTo>
                  <a:lnTo>
                    <a:pt x="231854" y="135783"/>
                  </a:lnTo>
                  <a:lnTo>
                    <a:pt x="230168" y="140720"/>
                  </a:lnTo>
                  <a:lnTo>
                    <a:pt x="220051" y="137429"/>
                  </a:lnTo>
                  <a:lnTo>
                    <a:pt x="216678" y="145658"/>
                  </a:lnTo>
                  <a:lnTo>
                    <a:pt x="209934" y="142367"/>
                  </a:lnTo>
                  <a:lnTo>
                    <a:pt x="206561" y="150596"/>
                  </a:lnTo>
                  <a:lnTo>
                    <a:pt x="194757" y="152242"/>
                  </a:lnTo>
                  <a:lnTo>
                    <a:pt x="188013" y="173638"/>
                  </a:lnTo>
                  <a:lnTo>
                    <a:pt x="179581" y="186805"/>
                  </a:lnTo>
                  <a:lnTo>
                    <a:pt x="166092" y="175284"/>
                  </a:lnTo>
                  <a:lnTo>
                    <a:pt x="159347" y="198326"/>
                  </a:lnTo>
                  <a:lnTo>
                    <a:pt x="134053" y="221368"/>
                  </a:lnTo>
                  <a:lnTo>
                    <a:pt x="105388" y="226306"/>
                  </a:lnTo>
                  <a:lnTo>
                    <a:pt x="96956" y="231243"/>
                  </a:lnTo>
                  <a:lnTo>
                    <a:pt x="80094" y="227951"/>
                  </a:lnTo>
                  <a:lnTo>
                    <a:pt x="75036" y="221368"/>
                  </a:lnTo>
                  <a:lnTo>
                    <a:pt x="66604" y="223014"/>
                  </a:lnTo>
                  <a:lnTo>
                    <a:pt x="59859" y="213138"/>
                  </a:lnTo>
                  <a:lnTo>
                    <a:pt x="56487" y="213138"/>
                  </a:lnTo>
                  <a:lnTo>
                    <a:pt x="51428" y="206555"/>
                  </a:lnTo>
                  <a:lnTo>
                    <a:pt x="49742" y="208201"/>
                  </a:lnTo>
                  <a:lnTo>
                    <a:pt x="32880" y="191742"/>
                  </a:lnTo>
                  <a:lnTo>
                    <a:pt x="27821" y="196680"/>
                  </a:lnTo>
                  <a:lnTo>
                    <a:pt x="4214" y="175284"/>
                  </a:lnTo>
                  <a:lnTo>
                    <a:pt x="12645" y="168700"/>
                  </a:lnTo>
                  <a:lnTo>
                    <a:pt x="9273" y="163763"/>
                  </a:lnTo>
                  <a:lnTo>
                    <a:pt x="22763" y="147304"/>
                  </a:lnTo>
                  <a:lnTo>
                    <a:pt x="17704" y="137429"/>
                  </a:lnTo>
                  <a:lnTo>
                    <a:pt x="31194" y="135783"/>
                  </a:lnTo>
                  <a:lnTo>
                    <a:pt x="19390" y="127554"/>
                  </a:lnTo>
                  <a:lnTo>
                    <a:pt x="16017" y="120970"/>
                  </a:lnTo>
                  <a:lnTo>
                    <a:pt x="19390" y="101220"/>
                  </a:lnTo>
                  <a:lnTo>
                    <a:pt x="16017" y="97928"/>
                  </a:lnTo>
                  <a:lnTo>
                    <a:pt x="21076" y="86407"/>
                  </a:lnTo>
                  <a:lnTo>
                    <a:pt x="24449" y="84761"/>
                  </a:lnTo>
                  <a:lnTo>
                    <a:pt x="22763" y="84761"/>
                  </a:lnTo>
                  <a:lnTo>
                    <a:pt x="27821" y="68302"/>
                  </a:lnTo>
                  <a:lnTo>
                    <a:pt x="32880" y="66657"/>
                  </a:lnTo>
                  <a:lnTo>
                    <a:pt x="31194" y="66657"/>
                  </a:lnTo>
                  <a:lnTo>
                    <a:pt x="32880" y="61719"/>
                  </a:lnTo>
                  <a:lnTo>
                    <a:pt x="90211" y="4114"/>
                  </a:lnTo>
                  <a:lnTo>
                    <a:pt x="91897" y="4114"/>
                  </a:lnTo>
                  <a:lnTo>
                    <a:pt x="98642" y="12343"/>
                  </a:lnTo>
                  <a:lnTo>
                    <a:pt x="100329" y="20573"/>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8" name="Delft">
              <a:extLst>
                <a:ext uri="{FF2B5EF4-FFF2-40B4-BE49-F238E27FC236}">
                  <a16:creationId xmlns:a16="http://schemas.microsoft.com/office/drawing/2014/main" id="{17C8C1AB-8A35-409E-BABE-6EC283893CFA}"/>
                </a:ext>
              </a:extLst>
            </p:cNvPr>
            <p:cNvSpPr/>
            <p:nvPr/>
          </p:nvSpPr>
          <p:spPr>
            <a:xfrm>
              <a:off x="5113578" y="3625002"/>
              <a:ext cx="93658" cy="102474"/>
            </a:xfrm>
            <a:custGeom>
              <a:avLst/>
              <a:gdLst/>
              <a:ahLst/>
              <a:cxnLst/>
              <a:rect l="l" t="t" r="r" b="b"/>
              <a:pathLst>
                <a:path w="128789" h="160020" extrusionOk="0">
                  <a:moveTo>
                    <a:pt x="95270" y="18927"/>
                  </a:moveTo>
                  <a:lnTo>
                    <a:pt x="105388" y="27156"/>
                  </a:lnTo>
                  <a:lnTo>
                    <a:pt x="117191" y="56782"/>
                  </a:lnTo>
                  <a:lnTo>
                    <a:pt x="107074" y="61719"/>
                  </a:lnTo>
                  <a:lnTo>
                    <a:pt x="107074" y="69949"/>
                  </a:lnTo>
                  <a:lnTo>
                    <a:pt x="103702" y="71595"/>
                  </a:lnTo>
                  <a:lnTo>
                    <a:pt x="118878" y="134137"/>
                  </a:lnTo>
                  <a:lnTo>
                    <a:pt x="125622" y="135783"/>
                  </a:lnTo>
                  <a:lnTo>
                    <a:pt x="128995" y="148950"/>
                  </a:lnTo>
                  <a:lnTo>
                    <a:pt x="135740" y="160471"/>
                  </a:lnTo>
                  <a:lnTo>
                    <a:pt x="127309" y="165409"/>
                  </a:lnTo>
                  <a:lnTo>
                    <a:pt x="120564" y="145658"/>
                  </a:lnTo>
                  <a:lnTo>
                    <a:pt x="113819" y="139075"/>
                  </a:lnTo>
                  <a:lnTo>
                    <a:pt x="98643" y="142367"/>
                  </a:lnTo>
                  <a:lnTo>
                    <a:pt x="103702" y="150596"/>
                  </a:lnTo>
                  <a:lnTo>
                    <a:pt x="76722" y="158825"/>
                  </a:lnTo>
                  <a:lnTo>
                    <a:pt x="75036" y="152242"/>
                  </a:lnTo>
                  <a:lnTo>
                    <a:pt x="61546" y="155534"/>
                  </a:lnTo>
                  <a:lnTo>
                    <a:pt x="61546" y="150596"/>
                  </a:lnTo>
                  <a:lnTo>
                    <a:pt x="63232" y="150596"/>
                  </a:lnTo>
                  <a:lnTo>
                    <a:pt x="58173" y="137429"/>
                  </a:lnTo>
                  <a:lnTo>
                    <a:pt x="29508" y="145658"/>
                  </a:lnTo>
                  <a:lnTo>
                    <a:pt x="21076" y="129200"/>
                  </a:lnTo>
                  <a:lnTo>
                    <a:pt x="19390" y="120971"/>
                  </a:lnTo>
                  <a:lnTo>
                    <a:pt x="14332" y="117679"/>
                  </a:lnTo>
                  <a:lnTo>
                    <a:pt x="9273" y="107803"/>
                  </a:lnTo>
                  <a:lnTo>
                    <a:pt x="10959" y="101220"/>
                  </a:lnTo>
                  <a:lnTo>
                    <a:pt x="22763" y="99574"/>
                  </a:lnTo>
                  <a:lnTo>
                    <a:pt x="19390" y="88053"/>
                  </a:lnTo>
                  <a:lnTo>
                    <a:pt x="29508" y="86407"/>
                  </a:lnTo>
                  <a:lnTo>
                    <a:pt x="26135" y="79824"/>
                  </a:lnTo>
                  <a:lnTo>
                    <a:pt x="34566" y="76532"/>
                  </a:lnTo>
                  <a:lnTo>
                    <a:pt x="31194" y="68303"/>
                  </a:lnTo>
                  <a:lnTo>
                    <a:pt x="27821" y="71595"/>
                  </a:lnTo>
                  <a:lnTo>
                    <a:pt x="22763" y="63365"/>
                  </a:lnTo>
                  <a:lnTo>
                    <a:pt x="7587" y="71595"/>
                  </a:lnTo>
                  <a:lnTo>
                    <a:pt x="4214" y="60074"/>
                  </a:lnTo>
                  <a:lnTo>
                    <a:pt x="10959" y="56782"/>
                  </a:lnTo>
                  <a:lnTo>
                    <a:pt x="12645" y="51844"/>
                  </a:lnTo>
                  <a:lnTo>
                    <a:pt x="58173" y="20573"/>
                  </a:lnTo>
                  <a:lnTo>
                    <a:pt x="63232" y="17281"/>
                  </a:lnTo>
                  <a:lnTo>
                    <a:pt x="64918" y="18927"/>
                  </a:lnTo>
                  <a:lnTo>
                    <a:pt x="85153" y="4114"/>
                  </a:lnTo>
                  <a:lnTo>
                    <a:pt x="95270" y="1892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89" name="Goes">
              <a:extLst>
                <a:ext uri="{FF2B5EF4-FFF2-40B4-BE49-F238E27FC236}">
                  <a16:creationId xmlns:a16="http://schemas.microsoft.com/office/drawing/2014/main" id="{C2BD4330-8A9F-40C3-93B6-9099B563333C}"/>
                </a:ext>
              </a:extLst>
            </p:cNvPr>
            <p:cNvSpPr/>
            <p:nvPr/>
          </p:nvSpPr>
          <p:spPr>
            <a:xfrm>
              <a:off x="4456819" y="4410499"/>
              <a:ext cx="275661" cy="113353"/>
            </a:xfrm>
            <a:custGeom>
              <a:avLst/>
              <a:gdLst/>
              <a:ahLst/>
              <a:cxnLst/>
              <a:rect l="l" t="t" r="r" b="b"/>
              <a:pathLst>
                <a:path w="409785" h="182880" extrusionOk="0">
                  <a:moveTo>
                    <a:pt x="27821" y="61719"/>
                  </a:moveTo>
                  <a:lnTo>
                    <a:pt x="27821" y="60073"/>
                  </a:lnTo>
                  <a:lnTo>
                    <a:pt x="27821" y="61719"/>
                  </a:lnTo>
                  <a:close/>
                  <a:moveTo>
                    <a:pt x="29507" y="58427"/>
                  </a:moveTo>
                  <a:lnTo>
                    <a:pt x="24449" y="60073"/>
                  </a:lnTo>
                  <a:lnTo>
                    <a:pt x="27821" y="51844"/>
                  </a:lnTo>
                  <a:lnTo>
                    <a:pt x="29507" y="58427"/>
                  </a:lnTo>
                  <a:close/>
                  <a:moveTo>
                    <a:pt x="34566" y="48552"/>
                  </a:moveTo>
                  <a:lnTo>
                    <a:pt x="31194" y="48552"/>
                  </a:lnTo>
                  <a:lnTo>
                    <a:pt x="29507" y="55136"/>
                  </a:lnTo>
                  <a:lnTo>
                    <a:pt x="31194" y="46906"/>
                  </a:lnTo>
                  <a:lnTo>
                    <a:pt x="34566" y="45260"/>
                  </a:lnTo>
                  <a:lnTo>
                    <a:pt x="34566" y="48552"/>
                  </a:lnTo>
                  <a:close/>
                  <a:moveTo>
                    <a:pt x="130681" y="20573"/>
                  </a:moveTo>
                  <a:lnTo>
                    <a:pt x="134054" y="23864"/>
                  </a:lnTo>
                  <a:lnTo>
                    <a:pt x="130681" y="23864"/>
                  </a:lnTo>
                  <a:lnTo>
                    <a:pt x="130681" y="20573"/>
                  </a:lnTo>
                  <a:close/>
                  <a:moveTo>
                    <a:pt x="184640" y="13989"/>
                  </a:moveTo>
                  <a:lnTo>
                    <a:pt x="206561" y="18926"/>
                  </a:lnTo>
                  <a:lnTo>
                    <a:pt x="221737" y="27156"/>
                  </a:lnTo>
                  <a:lnTo>
                    <a:pt x="221737" y="32094"/>
                  </a:lnTo>
                  <a:lnTo>
                    <a:pt x="226796" y="37031"/>
                  </a:lnTo>
                  <a:lnTo>
                    <a:pt x="243658" y="40323"/>
                  </a:lnTo>
                  <a:lnTo>
                    <a:pt x="253775" y="38677"/>
                  </a:lnTo>
                  <a:lnTo>
                    <a:pt x="252089" y="33739"/>
                  </a:lnTo>
                  <a:lnTo>
                    <a:pt x="255462" y="32094"/>
                  </a:lnTo>
                  <a:lnTo>
                    <a:pt x="257148" y="37031"/>
                  </a:lnTo>
                  <a:lnTo>
                    <a:pt x="260520" y="35385"/>
                  </a:lnTo>
                  <a:lnTo>
                    <a:pt x="260520" y="33739"/>
                  </a:lnTo>
                  <a:lnTo>
                    <a:pt x="262207" y="35385"/>
                  </a:lnTo>
                  <a:lnTo>
                    <a:pt x="272324" y="33739"/>
                  </a:lnTo>
                  <a:lnTo>
                    <a:pt x="272324" y="28802"/>
                  </a:lnTo>
                  <a:lnTo>
                    <a:pt x="274010" y="32094"/>
                  </a:lnTo>
                  <a:lnTo>
                    <a:pt x="277383" y="30448"/>
                  </a:lnTo>
                  <a:lnTo>
                    <a:pt x="285814" y="30448"/>
                  </a:lnTo>
                  <a:lnTo>
                    <a:pt x="292559" y="35385"/>
                  </a:lnTo>
                  <a:lnTo>
                    <a:pt x="302676" y="35385"/>
                  </a:lnTo>
                  <a:lnTo>
                    <a:pt x="307735" y="28802"/>
                  </a:lnTo>
                  <a:lnTo>
                    <a:pt x="317852" y="28802"/>
                  </a:lnTo>
                  <a:lnTo>
                    <a:pt x="326283" y="23864"/>
                  </a:lnTo>
                  <a:lnTo>
                    <a:pt x="336400" y="28802"/>
                  </a:lnTo>
                  <a:lnTo>
                    <a:pt x="339773" y="25510"/>
                  </a:lnTo>
                  <a:lnTo>
                    <a:pt x="339773" y="28802"/>
                  </a:lnTo>
                  <a:lnTo>
                    <a:pt x="343145" y="30448"/>
                  </a:lnTo>
                  <a:lnTo>
                    <a:pt x="341459" y="27156"/>
                  </a:lnTo>
                  <a:lnTo>
                    <a:pt x="344832" y="28802"/>
                  </a:lnTo>
                  <a:lnTo>
                    <a:pt x="344832" y="25510"/>
                  </a:lnTo>
                  <a:lnTo>
                    <a:pt x="349890" y="28802"/>
                  </a:lnTo>
                  <a:lnTo>
                    <a:pt x="349890" y="33739"/>
                  </a:lnTo>
                  <a:lnTo>
                    <a:pt x="351576" y="32094"/>
                  </a:lnTo>
                  <a:lnTo>
                    <a:pt x="353263" y="40323"/>
                  </a:lnTo>
                  <a:lnTo>
                    <a:pt x="354949" y="40323"/>
                  </a:lnTo>
                  <a:lnTo>
                    <a:pt x="354949" y="43615"/>
                  </a:lnTo>
                  <a:lnTo>
                    <a:pt x="346518" y="45260"/>
                  </a:lnTo>
                  <a:lnTo>
                    <a:pt x="349890" y="46906"/>
                  </a:lnTo>
                  <a:lnTo>
                    <a:pt x="354949" y="45260"/>
                  </a:lnTo>
                  <a:lnTo>
                    <a:pt x="351576" y="48552"/>
                  </a:lnTo>
                  <a:lnTo>
                    <a:pt x="356635" y="58427"/>
                  </a:lnTo>
                  <a:lnTo>
                    <a:pt x="358321" y="51844"/>
                  </a:lnTo>
                  <a:lnTo>
                    <a:pt x="356635" y="60073"/>
                  </a:lnTo>
                  <a:lnTo>
                    <a:pt x="368439" y="74886"/>
                  </a:lnTo>
                  <a:lnTo>
                    <a:pt x="381929" y="66657"/>
                  </a:lnTo>
                  <a:lnTo>
                    <a:pt x="386987" y="66657"/>
                  </a:lnTo>
                  <a:lnTo>
                    <a:pt x="386987" y="61719"/>
                  </a:lnTo>
                  <a:lnTo>
                    <a:pt x="386987" y="66657"/>
                  </a:lnTo>
                  <a:lnTo>
                    <a:pt x="390360" y="65011"/>
                  </a:lnTo>
                  <a:lnTo>
                    <a:pt x="390360" y="61719"/>
                  </a:lnTo>
                  <a:lnTo>
                    <a:pt x="390360" y="63365"/>
                  </a:lnTo>
                  <a:lnTo>
                    <a:pt x="393732" y="61719"/>
                  </a:lnTo>
                  <a:lnTo>
                    <a:pt x="405536" y="65011"/>
                  </a:lnTo>
                  <a:lnTo>
                    <a:pt x="398791" y="65011"/>
                  </a:lnTo>
                  <a:lnTo>
                    <a:pt x="405536" y="65011"/>
                  </a:lnTo>
                  <a:lnTo>
                    <a:pt x="412281" y="68303"/>
                  </a:lnTo>
                  <a:lnTo>
                    <a:pt x="415653" y="68303"/>
                  </a:lnTo>
                  <a:lnTo>
                    <a:pt x="413967" y="74886"/>
                  </a:lnTo>
                  <a:lnTo>
                    <a:pt x="410594" y="73240"/>
                  </a:lnTo>
                  <a:lnTo>
                    <a:pt x="403849" y="86407"/>
                  </a:lnTo>
                  <a:lnTo>
                    <a:pt x="405536" y="120970"/>
                  </a:lnTo>
                  <a:lnTo>
                    <a:pt x="390360" y="127554"/>
                  </a:lnTo>
                  <a:lnTo>
                    <a:pt x="371811" y="142367"/>
                  </a:lnTo>
                  <a:lnTo>
                    <a:pt x="365066" y="152242"/>
                  </a:lnTo>
                  <a:lnTo>
                    <a:pt x="343145" y="155533"/>
                  </a:lnTo>
                  <a:lnTo>
                    <a:pt x="341459" y="170346"/>
                  </a:lnTo>
                  <a:lnTo>
                    <a:pt x="336400" y="171992"/>
                  </a:lnTo>
                  <a:lnTo>
                    <a:pt x="336400" y="168700"/>
                  </a:lnTo>
                  <a:lnTo>
                    <a:pt x="326283" y="171992"/>
                  </a:lnTo>
                  <a:lnTo>
                    <a:pt x="329656" y="180221"/>
                  </a:lnTo>
                  <a:lnTo>
                    <a:pt x="322911" y="185159"/>
                  </a:lnTo>
                  <a:lnTo>
                    <a:pt x="274010" y="180221"/>
                  </a:lnTo>
                  <a:lnTo>
                    <a:pt x="263893" y="181867"/>
                  </a:lnTo>
                  <a:lnTo>
                    <a:pt x="257148" y="175284"/>
                  </a:lnTo>
                  <a:lnTo>
                    <a:pt x="213306" y="168700"/>
                  </a:lnTo>
                  <a:lnTo>
                    <a:pt x="176209" y="173638"/>
                  </a:lnTo>
                  <a:lnTo>
                    <a:pt x="164405" y="171992"/>
                  </a:lnTo>
                  <a:lnTo>
                    <a:pt x="149229" y="165409"/>
                  </a:lnTo>
                  <a:lnTo>
                    <a:pt x="123936" y="144012"/>
                  </a:lnTo>
                  <a:lnTo>
                    <a:pt x="108760" y="137429"/>
                  </a:lnTo>
                  <a:lnTo>
                    <a:pt x="31194" y="124262"/>
                  </a:lnTo>
                  <a:lnTo>
                    <a:pt x="24449" y="125908"/>
                  </a:lnTo>
                  <a:lnTo>
                    <a:pt x="4214" y="122616"/>
                  </a:lnTo>
                  <a:lnTo>
                    <a:pt x="4214" y="119324"/>
                  </a:lnTo>
                  <a:lnTo>
                    <a:pt x="12645" y="119324"/>
                  </a:lnTo>
                  <a:lnTo>
                    <a:pt x="12645" y="112741"/>
                  </a:lnTo>
                  <a:lnTo>
                    <a:pt x="66605" y="99574"/>
                  </a:lnTo>
                  <a:lnTo>
                    <a:pt x="68291" y="89699"/>
                  </a:lnTo>
                  <a:lnTo>
                    <a:pt x="59860" y="84761"/>
                  </a:lnTo>
                  <a:lnTo>
                    <a:pt x="39625" y="69949"/>
                  </a:lnTo>
                  <a:lnTo>
                    <a:pt x="41311" y="68303"/>
                  </a:lnTo>
                  <a:lnTo>
                    <a:pt x="37939" y="69949"/>
                  </a:lnTo>
                  <a:lnTo>
                    <a:pt x="36252" y="66657"/>
                  </a:lnTo>
                  <a:lnTo>
                    <a:pt x="37939" y="56781"/>
                  </a:lnTo>
                  <a:lnTo>
                    <a:pt x="46370" y="43615"/>
                  </a:lnTo>
                  <a:lnTo>
                    <a:pt x="54801" y="46906"/>
                  </a:lnTo>
                  <a:lnTo>
                    <a:pt x="49742" y="43615"/>
                  </a:lnTo>
                  <a:lnTo>
                    <a:pt x="46370" y="43615"/>
                  </a:lnTo>
                  <a:lnTo>
                    <a:pt x="48056" y="35385"/>
                  </a:lnTo>
                  <a:lnTo>
                    <a:pt x="51429" y="32094"/>
                  </a:lnTo>
                  <a:lnTo>
                    <a:pt x="54801" y="33739"/>
                  </a:lnTo>
                  <a:lnTo>
                    <a:pt x="53115" y="30448"/>
                  </a:lnTo>
                  <a:lnTo>
                    <a:pt x="64918" y="22218"/>
                  </a:lnTo>
                  <a:lnTo>
                    <a:pt x="73349" y="22218"/>
                  </a:lnTo>
                  <a:lnTo>
                    <a:pt x="68291" y="32094"/>
                  </a:lnTo>
                  <a:lnTo>
                    <a:pt x="71663" y="32094"/>
                  </a:lnTo>
                  <a:lnTo>
                    <a:pt x="71663" y="33739"/>
                  </a:lnTo>
                  <a:lnTo>
                    <a:pt x="75036" y="25510"/>
                  </a:lnTo>
                  <a:lnTo>
                    <a:pt x="83467" y="27156"/>
                  </a:lnTo>
                  <a:lnTo>
                    <a:pt x="90212" y="27156"/>
                  </a:lnTo>
                  <a:lnTo>
                    <a:pt x="75036" y="25510"/>
                  </a:lnTo>
                  <a:lnTo>
                    <a:pt x="75036" y="18926"/>
                  </a:lnTo>
                  <a:lnTo>
                    <a:pt x="80094" y="15635"/>
                  </a:lnTo>
                  <a:lnTo>
                    <a:pt x="78408" y="17281"/>
                  </a:lnTo>
                  <a:lnTo>
                    <a:pt x="81780" y="15635"/>
                  </a:lnTo>
                  <a:lnTo>
                    <a:pt x="95270" y="20573"/>
                  </a:lnTo>
                  <a:lnTo>
                    <a:pt x="95270" y="25510"/>
                  </a:lnTo>
                  <a:lnTo>
                    <a:pt x="96956" y="20573"/>
                  </a:lnTo>
                  <a:lnTo>
                    <a:pt x="105388" y="20573"/>
                  </a:lnTo>
                  <a:lnTo>
                    <a:pt x="103702" y="25510"/>
                  </a:lnTo>
                  <a:lnTo>
                    <a:pt x="90212" y="27156"/>
                  </a:lnTo>
                  <a:lnTo>
                    <a:pt x="122250" y="27156"/>
                  </a:lnTo>
                  <a:lnTo>
                    <a:pt x="134054" y="30448"/>
                  </a:lnTo>
                  <a:lnTo>
                    <a:pt x="135740" y="28802"/>
                  </a:lnTo>
                  <a:lnTo>
                    <a:pt x="140798" y="32094"/>
                  </a:lnTo>
                  <a:lnTo>
                    <a:pt x="154288" y="28802"/>
                  </a:lnTo>
                  <a:lnTo>
                    <a:pt x="161033" y="22218"/>
                  </a:lnTo>
                  <a:lnTo>
                    <a:pt x="171150" y="17281"/>
                  </a:lnTo>
                  <a:lnTo>
                    <a:pt x="174523" y="18926"/>
                  </a:lnTo>
                  <a:lnTo>
                    <a:pt x="174523" y="15635"/>
                  </a:lnTo>
                  <a:lnTo>
                    <a:pt x="177895" y="20573"/>
                  </a:lnTo>
                  <a:lnTo>
                    <a:pt x="177895" y="13989"/>
                  </a:lnTo>
                  <a:lnTo>
                    <a:pt x="179582" y="17281"/>
                  </a:lnTo>
                  <a:lnTo>
                    <a:pt x="182954" y="17281"/>
                  </a:lnTo>
                  <a:lnTo>
                    <a:pt x="184640" y="20573"/>
                  </a:lnTo>
                  <a:lnTo>
                    <a:pt x="184640" y="13989"/>
                  </a:lnTo>
                  <a:close/>
                  <a:moveTo>
                    <a:pt x="118878" y="13989"/>
                  </a:moveTo>
                  <a:lnTo>
                    <a:pt x="115505" y="13989"/>
                  </a:lnTo>
                  <a:lnTo>
                    <a:pt x="107074" y="7406"/>
                  </a:lnTo>
                  <a:lnTo>
                    <a:pt x="108760" y="5760"/>
                  </a:lnTo>
                  <a:lnTo>
                    <a:pt x="118878" y="13989"/>
                  </a:lnTo>
                  <a:close/>
                  <a:moveTo>
                    <a:pt x="105388" y="4114"/>
                  </a:moveTo>
                  <a:lnTo>
                    <a:pt x="108760" y="17281"/>
                  </a:lnTo>
                  <a:lnTo>
                    <a:pt x="86839" y="13989"/>
                  </a:lnTo>
                  <a:lnTo>
                    <a:pt x="86839" y="9052"/>
                  </a:lnTo>
                  <a:lnTo>
                    <a:pt x="105388"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0" name="Hoogeveen">
              <a:extLst>
                <a:ext uri="{FF2B5EF4-FFF2-40B4-BE49-F238E27FC236}">
                  <a16:creationId xmlns:a16="http://schemas.microsoft.com/office/drawing/2014/main" id="{9CD1CB03-2C18-4489-A965-2C4F41C54929}"/>
                </a:ext>
              </a:extLst>
            </p:cNvPr>
            <p:cNvSpPr/>
            <p:nvPr/>
          </p:nvSpPr>
          <p:spPr>
            <a:xfrm>
              <a:off x="7266094" y="2354976"/>
              <a:ext cx="248648" cy="248587"/>
            </a:xfrm>
            <a:custGeom>
              <a:avLst/>
              <a:gdLst/>
              <a:ahLst/>
              <a:cxnLst/>
              <a:rect l="l" t="t" r="r" b="b"/>
              <a:pathLst>
                <a:path w="339536" h="354330" extrusionOk="0">
                  <a:moveTo>
                    <a:pt x="139112" y="38677"/>
                  </a:moveTo>
                  <a:lnTo>
                    <a:pt x="130681" y="74886"/>
                  </a:lnTo>
                  <a:lnTo>
                    <a:pt x="149230" y="78178"/>
                  </a:lnTo>
                  <a:lnTo>
                    <a:pt x="152602" y="81470"/>
                  </a:lnTo>
                  <a:lnTo>
                    <a:pt x="155974" y="79824"/>
                  </a:lnTo>
                  <a:lnTo>
                    <a:pt x="164405" y="96282"/>
                  </a:lnTo>
                  <a:lnTo>
                    <a:pt x="198130" y="81470"/>
                  </a:lnTo>
                  <a:lnTo>
                    <a:pt x="201502" y="88053"/>
                  </a:lnTo>
                  <a:lnTo>
                    <a:pt x="245344" y="86407"/>
                  </a:lnTo>
                  <a:lnTo>
                    <a:pt x="231855" y="135783"/>
                  </a:lnTo>
                  <a:lnTo>
                    <a:pt x="277382" y="158825"/>
                  </a:lnTo>
                  <a:lnTo>
                    <a:pt x="262207" y="185159"/>
                  </a:lnTo>
                  <a:lnTo>
                    <a:pt x="292559" y="186805"/>
                  </a:lnTo>
                  <a:lnTo>
                    <a:pt x="290872" y="211493"/>
                  </a:lnTo>
                  <a:lnTo>
                    <a:pt x="343145" y="213139"/>
                  </a:lnTo>
                  <a:lnTo>
                    <a:pt x="341459" y="252639"/>
                  </a:lnTo>
                  <a:lnTo>
                    <a:pt x="346518" y="275682"/>
                  </a:lnTo>
                  <a:lnTo>
                    <a:pt x="346518" y="305307"/>
                  </a:lnTo>
                  <a:lnTo>
                    <a:pt x="343145" y="316828"/>
                  </a:lnTo>
                  <a:lnTo>
                    <a:pt x="321224" y="306953"/>
                  </a:lnTo>
                  <a:lnTo>
                    <a:pt x="228482" y="328349"/>
                  </a:lnTo>
                  <a:lnTo>
                    <a:pt x="218365" y="333287"/>
                  </a:lnTo>
                  <a:lnTo>
                    <a:pt x="193071" y="354683"/>
                  </a:lnTo>
                  <a:lnTo>
                    <a:pt x="194757" y="311891"/>
                  </a:lnTo>
                  <a:lnTo>
                    <a:pt x="147543" y="310245"/>
                  </a:lnTo>
                  <a:lnTo>
                    <a:pt x="149230" y="305307"/>
                  </a:lnTo>
                  <a:lnTo>
                    <a:pt x="137426" y="303661"/>
                  </a:lnTo>
                  <a:lnTo>
                    <a:pt x="139112" y="285557"/>
                  </a:lnTo>
                  <a:lnTo>
                    <a:pt x="125622" y="283911"/>
                  </a:lnTo>
                  <a:lnTo>
                    <a:pt x="127309" y="262515"/>
                  </a:lnTo>
                  <a:lnTo>
                    <a:pt x="108760" y="260869"/>
                  </a:lnTo>
                  <a:lnTo>
                    <a:pt x="93584" y="262515"/>
                  </a:lnTo>
                  <a:lnTo>
                    <a:pt x="91898" y="259223"/>
                  </a:lnTo>
                  <a:lnTo>
                    <a:pt x="71663" y="262515"/>
                  </a:lnTo>
                  <a:lnTo>
                    <a:pt x="75036" y="249348"/>
                  </a:lnTo>
                  <a:lnTo>
                    <a:pt x="71663" y="234535"/>
                  </a:lnTo>
                  <a:lnTo>
                    <a:pt x="73349" y="231243"/>
                  </a:lnTo>
                  <a:lnTo>
                    <a:pt x="41311" y="234535"/>
                  </a:lnTo>
                  <a:lnTo>
                    <a:pt x="32880" y="237827"/>
                  </a:lnTo>
                  <a:lnTo>
                    <a:pt x="27821" y="244410"/>
                  </a:lnTo>
                  <a:lnTo>
                    <a:pt x="7586" y="231243"/>
                  </a:lnTo>
                  <a:lnTo>
                    <a:pt x="4214" y="236181"/>
                  </a:lnTo>
                  <a:lnTo>
                    <a:pt x="5900" y="216430"/>
                  </a:lnTo>
                  <a:lnTo>
                    <a:pt x="17704" y="206555"/>
                  </a:lnTo>
                  <a:lnTo>
                    <a:pt x="19390" y="199972"/>
                  </a:lnTo>
                  <a:lnTo>
                    <a:pt x="7586" y="180221"/>
                  </a:lnTo>
                  <a:lnTo>
                    <a:pt x="27821" y="171992"/>
                  </a:lnTo>
                  <a:lnTo>
                    <a:pt x="19390" y="148950"/>
                  </a:lnTo>
                  <a:lnTo>
                    <a:pt x="31194" y="144012"/>
                  </a:lnTo>
                  <a:lnTo>
                    <a:pt x="26135" y="130846"/>
                  </a:lnTo>
                  <a:lnTo>
                    <a:pt x="34566" y="124262"/>
                  </a:lnTo>
                  <a:lnTo>
                    <a:pt x="24449" y="112741"/>
                  </a:lnTo>
                  <a:lnTo>
                    <a:pt x="19390" y="114387"/>
                  </a:lnTo>
                  <a:lnTo>
                    <a:pt x="10959" y="91345"/>
                  </a:lnTo>
                  <a:lnTo>
                    <a:pt x="44684" y="81470"/>
                  </a:lnTo>
                  <a:lnTo>
                    <a:pt x="64918" y="63365"/>
                  </a:lnTo>
                  <a:lnTo>
                    <a:pt x="66604" y="32094"/>
                  </a:lnTo>
                  <a:lnTo>
                    <a:pt x="76722" y="4114"/>
                  </a:lnTo>
                  <a:lnTo>
                    <a:pt x="132367" y="22218"/>
                  </a:lnTo>
                  <a:lnTo>
                    <a:pt x="139112" y="3867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1" name="Berkelland">
              <a:extLst>
                <a:ext uri="{FF2B5EF4-FFF2-40B4-BE49-F238E27FC236}">
                  <a16:creationId xmlns:a16="http://schemas.microsoft.com/office/drawing/2014/main" id="{29D21758-44B4-4347-9580-67631A3ACE21}"/>
                </a:ext>
              </a:extLst>
            </p:cNvPr>
            <p:cNvSpPr/>
            <p:nvPr/>
          </p:nvSpPr>
          <p:spPr>
            <a:xfrm>
              <a:off x="7297412" y="3367634"/>
              <a:ext cx="379220" cy="276492"/>
            </a:xfrm>
            <a:custGeom>
              <a:avLst/>
              <a:gdLst/>
              <a:ahLst/>
              <a:cxnLst/>
              <a:rect l="l" t="t" r="r" b="b"/>
              <a:pathLst>
                <a:path w="550283" h="400050" extrusionOk="0">
                  <a:moveTo>
                    <a:pt x="290872" y="5760"/>
                  </a:moveTo>
                  <a:lnTo>
                    <a:pt x="314480" y="27156"/>
                  </a:lnTo>
                  <a:lnTo>
                    <a:pt x="309421" y="35385"/>
                  </a:lnTo>
                  <a:lnTo>
                    <a:pt x="316166" y="45261"/>
                  </a:lnTo>
                  <a:lnTo>
                    <a:pt x="319538" y="45261"/>
                  </a:lnTo>
                  <a:lnTo>
                    <a:pt x="322911" y="50198"/>
                  </a:lnTo>
                  <a:lnTo>
                    <a:pt x="338087" y="37031"/>
                  </a:lnTo>
                  <a:lnTo>
                    <a:pt x="343145" y="37031"/>
                  </a:lnTo>
                  <a:lnTo>
                    <a:pt x="344832" y="30448"/>
                  </a:lnTo>
                  <a:lnTo>
                    <a:pt x="343145" y="28802"/>
                  </a:lnTo>
                  <a:lnTo>
                    <a:pt x="348204" y="28802"/>
                  </a:lnTo>
                  <a:lnTo>
                    <a:pt x="351576" y="23864"/>
                  </a:lnTo>
                  <a:lnTo>
                    <a:pt x="358322" y="27156"/>
                  </a:lnTo>
                  <a:lnTo>
                    <a:pt x="366753" y="38677"/>
                  </a:lnTo>
                  <a:lnTo>
                    <a:pt x="373497" y="22219"/>
                  </a:lnTo>
                  <a:lnTo>
                    <a:pt x="413967" y="41969"/>
                  </a:lnTo>
                  <a:lnTo>
                    <a:pt x="419026" y="60074"/>
                  </a:lnTo>
                  <a:lnTo>
                    <a:pt x="412281" y="65011"/>
                  </a:lnTo>
                  <a:lnTo>
                    <a:pt x="417339" y="68303"/>
                  </a:lnTo>
                  <a:lnTo>
                    <a:pt x="415653" y="73240"/>
                  </a:lnTo>
                  <a:lnTo>
                    <a:pt x="417339" y="74886"/>
                  </a:lnTo>
                  <a:lnTo>
                    <a:pt x="413967" y="79824"/>
                  </a:lnTo>
                  <a:lnTo>
                    <a:pt x="417339" y="84761"/>
                  </a:lnTo>
                  <a:lnTo>
                    <a:pt x="419026" y="97928"/>
                  </a:lnTo>
                  <a:lnTo>
                    <a:pt x="417339" y="106158"/>
                  </a:lnTo>
                  <a:lnTo>
                    <a:pt x="410595" y="111095"/>
                  </a:lnTo>
                  <a:lnTo>
                    <a:pt x="402163" y="129200"/>
                  </a:lnTo>
                  <a:lnTo>
                    <a:pt x="425770" y="139075"/>
                  </a:lnTo>
                  <a:lnTo>
                    <a:pt x="456122" y="144013"/>
                  </a:lnTo>
                  <a:lnTo>
                    <a:pt x="484788" y="155534"/>
                  </a:lnTo>
                  <a:lnTo>
                    <a:pt x="552237" y="153888"/>
                  </a:lnTo>
                  <a:lnTo>
                    <a:pt x="547179" y="199972"/>
                  </a:lnTo>
                  <a:lnTo>
                    <a:pt x="543806" y="209847"/>
                  </a:lnTo>
                  <a:lnTo>
                    <a:pt x="537061" y="209847"/>
                  </a:lnTo>
                  <a:lnTo>
                    <a:pt x="528630" y="216430"/>
                  </a:lnTo>
                  <a:lnTo>
                    <a:pt x="530316" y="223014"/>
                  </a:lnTo>
                  <a:lnTo>
                    <a:pt x="537061" y="229597"/>
                  </a:lnTo>
                  <a:lnTo>
                    <a:pt x="538747" y="234535"/>
                  </a:lnTo>
                  <a:lnTo>
                    <a:pt x="515140" y="260869"/>
                  </a:lnTo>
                  <a:lnTo>
                    <a:pt x="483102" y="265806"/>
                  </a:lnTo>
                  <a:lnTo>
                    <a:pt x="452750" y="274035"/>
                  </a:lnTo>
                  <a:lnTo>
                    <a:pt x="456122" y="278973"/>
                  </a:lnTo>
                  <a:lnTo>
                    <a:pt x="456122" y="287203"/>
                  </a:lnTo>
                  <a:lnTo>
                    <a:pt x="446005" y="305307"/>
                  </a:lnTo>
                  <a:lnTo>
                    <a:pt x="442633" y="308599"/>
                  </a:lnTo>
                  <a:lnTo>
                    <a:pt x="444319" y="334933"/>
                  </a:lnTo>
                  <a:lnTo>
                    <a:pt x="403849" y="318474"/>
                  </a:lnTo>
                  <a:lnTo>
                    <a:pt x="407222" y="311890"/>
                  </a:lnTo>
                  <a:lnTo>
                    <a:pt x="407222" y="303661"/>
                  </a:lnTo>
                  <a:lnTo>
                    <a:pt x="398791" y="290494"/>
                  </a:lnTo>
                  <a:lnTo>
                    <a:pt x="386987" y="288848"/>
                  </a:lnTo>
                  <a:lnTo>
                    <a:pt x="380242" y="285557"/>
                  </a:lnTo>
                  <a:lnTo>
                    <a:pt x="375184" y="298724"/>
                  </a:lnTo>
                  <a:lnTo>
                    <a:pt x="368439" y="297078"/>
                  </a:lnTo>
                  <a:lnTo>
                    <a:pt x="363380" y="310245"/>
                  </a:lnTo>
                  <a:lnTo>
                    <a:pt x="351576" y="303661"/>
                  </a:lnTo>
                  <a:lnTo>
                    <a:pt x="356635" y="288848"/>
                  </a:lnTo>
                  <a:lnTo>
                    <a:pt x="344832" y="290494"/>
                  </a:lnTo>
                  <a:lnTo>
                    <a:pt x="341459" y="285557"/>
                  </a:lnTo>
                  <a:lnTo>
                    <a:pt x="329656" y="280619"/>
                  </a:lnTo>
                  <a:lnTo>
                    <a:pt x="317852" y="287203"/>
                  </a:lnTo>
                  <a:lnTo>
                    <a:pt x="319538" y="298724"/>
                  </a:lnTo>
                  <a:lnTo>
                    <a:pt x="316166" y="310245"/>
                  </a:lnTo>
                  <a:lnTo>
                    <a:pt x="317852" y="318474"/>
                  </a:lnTo>
                  <a:lnTo>
                    <a:pt x="304362" y="329995"/>
                  </a:lnTo>
                  <a:lnTo>
                    <a:pt x="304362" y="341516"/>
                  </a:lnTo>
                  <a:lnTo>
                    <a:pt x="295931" y="344808"/>
                  </a:lnTo>
                  <a:lnTo>
                    <a:pt x="294245" y="349745"/>
                  </a:lnTo>
                  <a:lnTo>
                    <a:pt x="267265" y="369496"/>
                  </a:lnTo>
                  <a:lnTo>
                    <a:pt x="267265" y="371142"/>
                  </a:lnTo>
                  <a:lnTo>
                    <a:pt x="263893" y="371142"/>
                  </a:lnTo>
                  <a:lnTo>
                    <a:pt x="218365" y="384308"/>
                  </a:lnTo>
                  <a:lnTo>
                    <a:pt x="184640" y="344808"/>
                  </a:lnTo>
                  <a:lnTo>
                    <a:pt x="179582" y="348100"/>
                  </a:lnTo>
                  <a:lnTo>
                    <a:pt x="171151" y="339870"/>
                  </a:lnTo>
                  <a:lnTo>
                    <a:pt x="157661" y="359621"/>
                  </a:lnTo>
                  <a:lnTo>
                    <a:pt x="149230" y="356329"/>
                  </a:lnTo>
                  <a:lnTo>
                    <a:pt x="139112" y="369496"/>
                  </a:lnTo>
                  <a:lnTo>
                    <a:pt x="137426" y="364558"/>
                  </a:lnTo>
                  <a:lnTo>
                    <a:pt x="132367" y="371142"/>
                  </a:lnTo>
                  <a:lnTo>
                    <a:pt x="127309" y="367850"/>
                  </a:lnTo>
                  <a:lnTo>
                    <a:pt x="105388" y="397475"/>
                  </a:lnTo>
                  <a:lnTo>
                    <a:pt x="63232" y="387600"/>
                  </a:lnTo>
                  <a:lnTo>
                    <a:pt x="63232" y="384308"/>
                  </a:lnTo>
                  <a:lnTo>
                    <a:pt x="66605" y="382663"/>
                  </a:lnTo>
                  <a:lnTo>
                    <a:pt x="59860" y="374433"/>
                  </a:lnTo>
                  <a:lnTo>
                    <a:pt x="54801" y="362912"/>
                  </a:lnTo>
                  <a:lnTo>
                    <a:pt x="58173" y="364558"/>
                  </a:lnTo>
                  <a:lnTo>
                    <a:pt x="56487" y="356329"/>
                  </a:lnTo>
                  <a:lnTo>
                    <a:pt x="51428" y="354683"/>
                  </a:lnTo>
                  <a:lnTo>
                    <a:pt x="54801" y="349745"/>
                  </a:lnTo>
                  <a:lnTo>
                    <a:pt x="48056" y="349745"/>
                  </a:lnTo>
                  <a:lnTo>
                    <a:pt x="46370" y="344808"/>
                  </a:lnTo>
                  <a:lnTo>
                    <a:pt x="42997" y="346453"/>
                  </a:lnTo>
                  <a:lnTo>
                    <a:pt x="41311" y="341516"/>
                  </a:lnTo>
                  <a:lnTo>
                    <a:pt x="44684" y="339870"/>
                  </a:lnTo>
                  <a:lnTo>
                    <a:pt x="39625" y="333287"/>
                  </a:lnTo>
                  <a:lnTo>
                    <a:pt x="36253" y="336579"/>
                  </a:lnTo>
                  <a:lnTo>
                    <a:pt x="27821" y="326703"/>
                  </a:lnTo>
                  <a:lnTo>
                    <a:pt x="24449" y="315182"/>
                  </a:lnTo>
                  <a:lnTo>
                    <a:pt x="24449" y="297078"/>
                  </a:lnTo>
                  <a:lnTo>
                    <a:pt x="14332" y="262514"/>
                  </a:lnTo>
                  <a:lnTo>
                    <a:pt x="7587" y="257577"/>
                  </a:lnTo>
                  <a:lnTo>
                    <a:pt x="4214" y="246056"/>
                  </a:lnTo>
                  <a:lnTo>
                    <a:pt x="7587" y="236181"/>
                  </a:lnTo>
                  <a:lnTo>
                    <a:pt x="21076" y="232889"/>
                  </a:lnTo>
                  <a:lnTo>
                    <a:pt x="24449" y="236181"/>
                  </a:lnTo>
                  <a:lnTo>
                    <a:pt x="39625" y="214785"/>
                  </a:lnTo>
                  <a:lnTo>
                    <a:pt x="71663" y="191742"/>
                  </a:lnTo>
                  <a:lnTo>
                    <a:pt x="86839" y="186805"/>
                  </a:lnTo>
                  <a:lnTo>
                    <a:pt x="95270" y="190096"/>
                  </a:lnTo>
                  <a:lnTo>
                    <a:pt x="96957" y="196680"/>
                  </a:lnTo>
                  <a:lnTo>
                    <a:pt x="98643" y="193388"/>
                  </a:lnTo>
                  <a:lnTo>
                    <a:pt x="105388" y="190096"/>
                  </a:lnTo>
                  <a:lnTo>
                    <a:pt x="110446" y="191742"/>
                  </a:lnTo>
                  <a:lnTo>
                    <a:pt x="110446" y="195034"/>
                  </a:lnTo>
                  <a:lnTo>
                    <a:pt x="113819" y="196680"/>
                  </a:lnTo>
                  <a:lnTo>
                    <a:pt x="113819" y="201618"/>
                  </a:lnTo>
                  <a:lnTo>
                    <a:pt x="120564" y="204910"/>
                  </a:lnTo>
                  <a:lnTo>
                    <a:pt x="123936" y="203264"/>
                  </a:lnTo>
                  <a:lnTo>
                    <a:pt x="123936" y="195034"/>
                  </a:lnTo>
                  <a:lnTo>
                    <a:pt x="127309" y="191742"/>
                  </a:lnTo>
                  <a:lnTo>
                    <a:pt x="127309" y="178576"/>
                  </a:lnTo>
                  <a:lnTo>
                    <a:pt x="135740" y="167055"/>
                  </a:lnTo>
                  <a:lnTo>
                    <a:pt x="137426" y="158825"/>
                  </a:lnTo>
                  <a:lnTo>
                    <a:pt x="140799" y="157179"/>
                  </a:lnTo>
                  <a:lnTo>
                    <a:pt x="139112" y="155534"/>
                  </a:lnTo>
                  <a:lnTo>
                    <a:pt x="142485" y="144013"/>
                  </a:lnTo>
                  <a:lnTo>
                    <a:pt x="137426" y="140721"/>
                  </a:lnTo>
                  <a:lnTo>
                    <a:pt x="135740" y="132492"/>
                  </a:lnTo>
                  <a:lnTo>
                    <a:pt x="134054" y="129200"/>
                  </a:lnTo>
                  <a:lnTo>
                    <a:pt x="137426" y="122616"/>
                  </a:lnTo>
                  <a:lnTo>
                    <a:pt x="130681" y="116033"/>
                  </a:lnTo>
                  <a:lnTo>
                    <a:pt x="128995" y="116033"/>
                  </a:lnTo>
                  <a:lnTo>
                    <a:pt x="125622" y="102866"/>
                  </a:lnTo>
                  <a:lnTo>
                    <a:pt x="118878" y="102866"/>
                  </a:lnTo>
                  <a:lnTo>
                    <a:pt x="113819" y="97928"/>
                  </a:lnTo>
                  <a:lnTo>
                    <a:pt x="115505" y="101220"/>
                  </a:lnTo>
                  <a:lnTo>
                    <a:pt x="112133" y="99574"/>
                  </a:lnTo>
                  <a:lnTo>
                    <a:pt x="110446" y="102866"/>
                  </a:lnTo>
                  <a:lnTo>
                    <a:pt x="108760" y="94637"/>
                  </a:lnTo>
                  <a:lnTo>
                    <a:pt x="107074" y="91345"/>
                  </a:lnTo>
                  <a:lnTo>
                    <a:pt x="105388" y="92991"/>
                  </a:lnTo>
                  <a:lnTo>
                    <a:pt x="102015" y="91345"/>
                  </a:lnTo>
                  <a:lnTo>
                    <a:pt x="102015" y="86407"/>
                  </a:lnTo>
                  <a:lnTo>
                    <a:pt x="96957" y="84761"/>
                  </a:lnTo>
                  <a:lnTo>
                    <a:pt x="96957" y="81470"/>
                  </a:lnTo>
                  <a:lnTo>
                    <a:pt x="95270" y="79824"/>
                  </a:lnTo>
                  <a:lnTo>
                    <a:pt x="128995" y="68303"/>
                  </a:lnTo>
                  <a:lnTo>
                    <a:pt x="142485" y="37031"/>
                  </a:lnTo>
                  <a:lnTo>
                    <a:pt x="144171" y="28802"/>
                  </a:lnTo>
                  <a:lnTo>
                    <a:pt x="140799" y="18927"/>
                  </a:lnTo>
                  <a:lnTo>
                    <a:pt x="145857" y="18927"/>
                  </a:lnTo>
                  <a:lnTo>
                    <a:pt x="174523" y="9052"/>
                  </a:lnTo>
                  <a:lnTo>
                    <a:pt x="236913" y="17281"/>
                  </a:lnTo>
                  <a:lnTo>
                    <a:pt x="289186" y="4114"/>
                  </a:lnTo>
                  <a:lnTo>
                    <a:pt x="290872"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2" name="Sint Anthonis">
              <a:extLst>
                <a:ext uri="{FF2B5EF4-FFF2-40B4-BE49-F238E27FC236}">
                  <a16:creationId xmlns:a16="http://schemas.microsoft.com/office/drawing/2014/main" id="{4148648F-C5A6-4777-9F6F-1A5738CCD321}"/>
                </a:ext>
              </a:extLst>
            </p:cNvPr>
            <p:cNvSpPr/>
            <p:nvPr/>
          </p:nvSpPr>
          <p:spPr>
            <a:xfrm>
              <a:off x="6618066" y="4207132"/>
              <a:ext cx="217417" cy="207032"/>
            </a:xfrm>
            <a:custGeom>
              <a:avLst/>
              <a:gdLst/>
              <a:ahLst/>
              <a:cxnLst/>
              <a:rect l="l" t="t" r="r" b="b"/>
              <a:pathLst>
                <a:path w="316120" h="285750" extrusionOk="0">
                  <a:moveTo>
                    <a:pt x="155974" y="12343"/>
                  </a:moveTo>
                  <a:lnTo>
                    <a:pt x="177895" y="28802"/>
                  </a:lnTo>
                  <a:lnTo>
                    <a:pt x="174523" y="32094"/>
                  </a:lnTo>
                  <a:lnTo>
                    <a:pt x="177895" y="37031"/>
                  </a:lnTo>
                  <a:lnTo>
                    <a:pt x="171151" y="46906"/>
                  </a:lnTo>
                  <a:lnTo>
                    <a:pt x="201503" y="68303"/>
                  </a:lnTo>
                  <a:lnTo>
                    <a:pt x="196444" y="71594"/>
                  </a:lnTo>
                  <a:lnTo>
                    <a:pt x="196444" y="89699"/>
                  </a:lnTo>
                  <a:lnTo>
                    <a:pt x="204875" y="91345"/>
                  </a:lnTo>
                  <a:lnTo>
                    <a:pt x="206561" y="88053"/>
                  </a:lnTo>
                  <a:lnTo>
                    <a:pt x="213306" y="86407"/>
                  </a:lnTo>
                  <a:lnTo>
                    <a:pt x="213306" y="83115"/>
                  </a:lnTo>
                  <a:lnTo>
                    <a:pt x="223424" y="86407"/>
                  </a:lnTo>
                  <a:lnTo>
                    <a:pt x="228482" y="92991"/>
                  </a:lnTo>
                  <a:lnTo>
                    <a:pt x="233541" y="89699"/>
                  </a:lnTo>
                  <a:lnTo>
                    <a:pt x="279069" y="117678"/>
                  </a:lnTo>
                  <a:lnTo>
                    <a:pt x="294245" y="157179"/>
                  </a:lnTo>
                  <a:lnTo>
                    <a:pt x="302676" y="168700"/>
                  </a:lnTo>
                  <a:lnTo>
                    <a:pt x="316166" y="176930"/>
                  </a:lnTo>
                  <a:lnTo>
                    <a:pt x="292559" y="190096"/>
                  </a:lnTo>
                  <a:lnTo>
                    <a:pt x="294245" y="193388"/>
                  </a:lnTo>
                  <a:lnTo>
                    <a:pt x="287500" y="196680"/>
                  </a:lnTo>
                  <a:lnTo>
                    <a:pt x="289186" y="203264"/>
                  </a:lnTo>
                  <a:lnTo>
                    <a:pt x="245345" y="227951"/>
                  </a:lnTo>
                  <a:lnTo>
                    <a:pt x="240286" y="223014"/>
                  </a:lnTo>
                  <a:lnTo>
                    <a:pt x="231855" y="227951"/>
                  </a:lnTo>
                  <a:lnTo>
                    <a:pt x="231855" y="229597"/>
                  </a:lnTo>
                  <a:lnTo>
                    <a:pt x="226796" y="232889"/>
                  </a:lnTo>
                  <a:lnTo>
                    <a:pt x="230168" y="236181"/>
                  </a:lnTo>
                  <a:lnTo>
                    <a:pt x="204875" y="249348"/>
                  </a:lnTo>
                  <a:lnTo>
                    <a:pt x="208247" y="254285"/>
                  </a:lnTo>
                  <a:lnTo>
                    <a:pt x="196444" y="260869"/>
                  </a:lnTo>
                  <a:lnTo>
                    <a:pt x="196444" y="287203"/>
                  </a:lnTo>
                  <a:lnTo>
                    <a:pt x="117191" y="272390"/>
                  </a:lnTo>
                  <a:lnTo>
                    <a:pt x="86839" y="249348"/>
                  </a:lnTo>
                  <a:lnTo>
                    <a:pt x="64918" y="201617"/>
                  </a:lnTo>
                  <a:lnTo>
                    <a:pt x="22763" y="211493"/>
                  </a:lnTo>
                  <a:lnTo>
                    <a:pt x="4214" y="119324"/>
                  </a:lnTo>
                  <a:lnTo>
                    <a:pt x="69977" y="76532"/>
                  </a:lnTo>
                  <a:lnTo>
                    <a:pt x="83467" y="50198"/>
                  </a:lnTo>
                  <a:lnTo>
                    <a:pt x="95270" y="50198"/>
                  </a:lnTo>
                  <a:lnTo>
                    <a:pt x="100329" y="38677"/>
                  </a:lnTo>
                  <a:lnTo>
                    <a:pt x="103702" y="37031"/>
                  </a:lnTo>
                  <a:lnTo>
                    <a:pt x="107074" y="40323"/>
                  </a:lnTo>
                  <a:lnTo>
                    <a:pt x="118878" y="33739"/>
                  </a:lnTo>
                  <a:lnTo>
                    <a:pt x="120564" y="35385"/>
                  </a:lnTo>
                  <a:lnTo>
                    <a:pt x="123936" y="32094"/>
                  </a:lnTo>
                  <a:lnTo>
                    <a:pt x="122250" y="30448"/>
                  </a:lnTo>
                  <a:lnTo>
                    <a:pt x="130681" y="18927"/>
                  </a:lnTo>
                  <a:lnTo>
                    <a:pt x="150916" y="4114"/>
                  </a:lnTo>
                  <a:lnTo>
                    <a:pt x="155974" y="12343"/>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3" name="Heemstede">
              <a:extLst>
                <a:ext uri="{FF2B5EF4-FFF2-40B4-BE49-F238E27FC236}">
                  <a16:creationId xmlns:a16="http://schemas.microsoft.com/office/drawing/2014/main" id="{6349AF37-BCF7-4EAD-AE97-28BCD0585D70}"/>
                </a:ext>
              </a:extLst>
            </p:cNvPr>
            <p:cNvSpPr/>
            <p:nvPr/>
          </p:nvSpPr>
          <p:spPr>
            <a:xfrm>
              <a:off x="5411365" y="3079890"/>
              <a:ext cx="44533" cy="68481"/>
            </a:xfrm>
            <a:custGeom>
              <a:avLst/>
              <a:gdLst/>
              <a:ahLst/>
              <a:cxnLst/>
              <a:rect l="l" t="t" r="r" b="b"/>
              <a:pathLst>
                <a:path w="81957" h="102870" extrusionOk="0">
                  <a:moveTo>
                    <a:pt x="29507" y="4114"/>
                  </a:moveTo>
                  <a:lnTo>
                    <a:pt x="46370" y="9052"/>
                  </a:lnTo>
                  <a:lnTo>
                    <a:pt x="58173" y="7405"/>
                  </a:lnTo>
                  <a:lnTo>
                    <a:pt x="66604" y="10697"/>
                  </a:lnTo>
                  <a:lnTo>
                    <a:pt x="75036" y="9052"/>
                  </a:lnTo>
                  <a:lnTo>
                    <a:pt x="76722" y="13989"/>
                  </a:lnTo>
                  <a:lnTo>
                    <a:pt x="73349" y="22218"/>
                  </a:lnTo>
                  <a:lnTo>
                    <a:pt x="80094" y="37031"/>
                  </a:lnTo>
                  <a:lnTo>
                    <a:pt x="80094" y="63365"/>
                  </a:lnTo>
                  <a:lnTo>
                    <a:pt x="64918" y="66657"/>
                  </a:lnTo>
                  <a:lnTo>
                    <a:pt x="46370" y="78178"/>
                  </a:lnTo>
                  <a:lnTo>
                    <a:pt x="37939" y="92991"/>
                  </a:lnTo>
                  <a:lnTo>
                    <a:pt x="36252" y="102866"/>
                  </a:lnTo>
                  <a:lnTo>
                    <a:pt x="14331" y="89699"/>
                  </a:lnTo>
                  <a:lnTo>
                    <a:pt x="4214" y="88053"/>
                  </a:lnTo>
                  <a:lnTo>
                    <a:pt x="2950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4" name="Geertruidenberg">
              <a:extLst>
                <a:ext uri="{FF2B5EF4-FFF2-40B4-BE49-F238E27FC236}">
                  <a16:creationId xmlns:a16="http://schemas.microsoft.com/office/drawing/2014/main" id="{FF2C2336-0866-4B61-84EB-E037A89CB4B7}"/>
                </a:ext>
              </a:extLst>
            </p:cNvPr>
            <p:cNvSpPr/>
            <p:nvPr/>
          </p:nvSpPr>
          <p:spPr>
            <a:xfrm>
              <a:off x="5635580" y="4125753"/>
              <a:ext cx="125262" cy="106521"/>
            </a:xfrm>
            <a:custGeom>
              <a:avLst/>
              <a:gdLst/>
              <a:ahLst/>
              <a:cxnLst/>
              <a:rect l="l" t="t" r="r" b="b"/>
              <a:pathLst>
                <a:path w="163914" h="114300" extrusionOk="0">
                  <a:moveTo>
                    <a:pt x="91898" y="4114"/>
                  </a:moveTo>
                  <a:lnTo>
                    <a:pt x="122250" y="7406"/>
                  </a:lnTo>
                  <a:lnTo>
                    <a:pt x="149229" y="4114"/>
                  </a:lnTo>
                  <a:lnTo>
                    <a:pt x="171150" y="109449"/>
                  </a:lnTo>
                  <a:lnTo>
                    <a:pt x="159347" y="112741"/>
                  </a:lnTo>
                  <a:lnTo>
                    <a:pt x="159347" y="117678"/>
                  </a:lnTo>
                  <a:lnTo>
                    <a:pt x="147543" y="112741"/>
                  </a:lnTo>
                  <a:lnTo>
                    <a:pt x="142484" y="112741"/>
                  </a:lnTo>
                  <a:lnTo>
                    <a:pt x="140798" y="109449"/>
                  </a:lnTo>
                  <a:lnTo>
                    <a:pt x="118877" y="114387"/>
                  </a:lnTo>
                  <a:lnTo>
                    <a:pt x="90211" y="114387"/>
                  </a:lnTo>
                  <a:lnTo>
                    <a:pt x="90211" y="119324"/>
                  </a:lnTo>
                  <a:lnTo>
                    <a:pt x="83467" y="112741"/>
                  </a:lnTo>
                  <a:lnTo>
                    <a:pt x="63232" y="107803"/>
                  </a:lnTo>
                  <a:lnTo>
                    <a:pt x="53115" y="99574"/>
                  </a:lnTo>
                  <a:lnTo>
                    <a:pt x="54801" y="96282"/>
                  </a:lnTo>
                  <a:lnTo>
                    <a:pt x="34566" y="84761"/>
                  </a:lnTo>
                  <a:lnTo>
                    <a:pt x="32880" y="101220"/>
                  </a:lnTo>
                  <a:lnTo>
                    <a:pt x="14331" y="68302"/>
                  </a:lnTo>
                  <a:lnTo>
                    <a:pt x="4214" y="23864"/>
                  </a:lnTo>
                  <a:lnTo>
                    <a:pt x="29507" y="20573"/>
                  </a:lnTo>
                  <a:lnTo>
                    <a:pt x="80094" y="4114"/>
                  </a:lnTo>
                  <a:lnTo>
                    <a:pt x="91898"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5" name="Wassenaar">
              <a:extLst>
                <a:ext uri="{FF2B5EF4-FFF2-40B4-BE49-F238E27FC236}">
                  <a16:creationId xmlns:a16="http://schemas.microsoft.com/office/drawing/2014/main" id="{958E585A-7349-49D7-ACC5-45EA3FE8EB51}"/>
                </a:ext>
              </a:extLst>
            </p:cNvPr>
            <p:cNvSpPr/>
            <p:nvPr/>
          </p:nvSpPr>
          <p:spPr>
            <a:xfrm>
              <a:off x="5104325" y="3367089"/>
              <a:ext cx="151901" cy="159270"/>
            </a:xfrm>
            <a:custGeom>
              <a:avLst/>
              <a:gdLst/>
              <a:ahLst/>
              <a:cxnLst/>
              <a:rect l="l" t="t" r="r" b="b"/>
              <a:pathLst>
                <a:path w="222455" h="228600" extrusionOk="0">
                  <a:moveTo>
                    <a:pt x="149229" y="38677"/>
                  </a:moveTo>
                  <a:lnTo>
                    <a:pt x="159347" y="51844"/>
                  </a:lnTo>
                  <a:lnTo>
                    <a:pt x="166092" y="46906"/>
                  </a:lnTo>
                  <a:lnTo>
                    <a:pt x="169464" y="61719"/>
                  </a:lnTo>
                  <a:lnTo>
                    <a:pt x="172837" y="60074"/>
                  </a:lnTo>
                  <a:lnTo>
                    <a:pt x="179582" y="66657"/>
                  </a:lnTo>
                  <a:lnTo>
                    <a:pt x="182954" y="65011"/>
                  </a:lnTo>
                  <a:lnTo>
                    <a:pt x="191385" y="71595"/>
                  </a:lnTo>
                  <a:lnTo>
                    <a:pt x="213306" y="81470"/>
                  </a:lnTo>
                  <a:lnTo>
                    <a:pt x="211620" y="86407"/>
                  </a:lnTo>
                  <a:lnTo>
                    <a:pt x="218365" y="104512"/>
                  </a:lnTo>
                  <a:lnTo>
                    <a:pt x="152602" y="186805"/>
                  </a:lnTo>
                  <a:lnTo>
                    <a:pt x="108760" y="226306"/>
                  </a:lnTo>
                  <a:lnTo>
                    <a:pt x="86839" y="199972"/>
                  </a:lnTo>
                  <a:lnTo>
                    <a:pt x="61546" y="219722"/>
                  </a:lnTo>
                  <a:lnTo>
                    <a:pt x="59860" y="218076"/>
                  </a:lnTo>
                  <a:lnTo>
                    <a:pt x="56487" y="219722"/>
                  </a:lnTo>
                  <a:lnTo>
                    <a:pt x="54801" y="216431"/>
                  </a:lnTo>
                  <a:lnTo>
                    <a:pt x="39625" y="224660"/>
                  </a:lnTo>
                  <a:lnTo>
                    <a:pt x="32880" y="214785"/>
                  </a:lnTo>
                  <a:lnTo>
                    <a:pt x="46370" y="206555"/>
                  </a:lnTo>
                  <a:lnTo>
                    <a:pt x="44684" y="203264"/>
                  </a:lnTo>
                  <a:lnTo>
                    <a:pt x="48056" y="199972"/>
                  </a:lnTo>
                  <a:lnTo>
                    <a:pt x="4214" y="145658"/>
                  </a:lnTo>
                  <a:lnTo>
                    <a:pt x="68291" y="68303"/>
                  </a:lnTo>
                  <a:lnTo>
                    <a:pt x="113819" y="4114"/>
                  </a:lnTo>
                  <a:lnTo>
                    <a:pt x="140798" y="33740"/>
                  </a:lnTo>
                  <a:lnTo>
                    <a:pt x="149229" y="3867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6" name="Appingedam">
              <a:extLst>
                <a:ext uri="{FF2B5EF4-FFF2-40B4-BE49-F238E27FC236}">
                  <a16:creationId xmlns:a16="http://schemas.microsoft.com/office/drawing/2014/main" id="{0DDE7957-29A0-49AC-B519-D8356FEB7B9D}"/>
                </a:ext>
              </a:extLst>
            </p:cNvPr>
            <p:cNvSpPr/>
            <p:nvPr/>
          </p:nvSpPr>
          <p:spPr>
            <a:xfrm>
              <a:off x="7666359" y="1449176"/>
              <a:ext cx="91753" cy="104499"/>
            </a:xfrm>
            <a:custGeom>
              <a:avLst/>
              <a:gdLst/>
              <a:ahLst/>
              <a:cxnLst/>
              <a:rect l="l" t="t" r="r" b="b"/>
              <a:pathLst>
                <a:path w="128789" h="137160" extrusionOk="0">
                  <a:moveTo>
                    <a:pt x="123936" y="15635"/>
                  </a:moveTo>
                  <a:lnTo>
                    <a:pt x="120564" y="27156"/>
                  </a:lnTo>
                  <a:lnTo>
                    <a:pt x="118877" y="50198"/>
                  </a:lnTo>
                  <a:lnTo>
                    <a:pt x="122250" y="61719"/>
                  </a:lnTo>
                  <a:lnTo>
                    <a:pt x="122250" y="79824"/>
                  </a:lnTo>
                  <a:lnTo>
                    <a:pt x="125622" y="96282"/>
                  </a:lnTo>
                  <a:lnTo>
                    <a:pt x="128995" y="94636"/>
                  </a:lnTo>
                  <a:lnTo>
                    <a:pt x="128995" y="124262"/>
                  </a:lnTo>
                  <a:lnTo>
                    <a:pt x="117191" y="124262"/>
                  </a:lnTo>
                  <a:lnTo>
                    <a:pt x="117191" y="127554"/>
                  </a:lnTo>
                  <a:lnTo>
                    <a:pt x="110446" y="129200"/>
                  </a:lnTo>
                  <a:lnTo>
                    <a:pt x="108760" y="127554"/>
                  </a:lnTo>
                  <a:lnTo>
                    <a:pt x="90211" y="130845"/>
                  </a:lnTo>
                  <a:lnTo>
                    <a:pt x="88526" y="129200"/>
                  </a:lnTo>
                  <a:lnTo>
                    <a:pt x="75036" y="127554"/>
                  </a:lnTo>
                  <a:lnTo>
                    <a:pt x="68291" y="144012"/>
                  </a:lnTo>
                  <a:lnTo>
                    <a:pt x="41311" y="142367"/>
                  </a:lnTo>
                  <a:lnTo>
                    <a:pt x="36252" y="125908"/>
                  </a:lnTo>
                  <a:lnTo>
                    <a:pt x="24449" y="132491"/>
                  </a:lnTo>
                  <a:lnTo>
                    <a:pt x="10959" y="109449"/>
                  </a:lnTo>
                  <a:lnTo>
                    <a:pt x="16018" y="106158"/>
                  </a:lnTo>
                  <a:lnTo>
                    <a:pt x="4214" y="83115"/>
                  </a:lnTo>
                  <a:lnTo>
                    <a:pt x="7587" y="79824"/>
                  </a:lnTo>
                  <a:lnTo>
                    <a:pt x="4214" y="71594"/>
                  </a:lnTo>
                  <a:lnTo>
                    <a:pt x="7587" y="69949"/>
                  </a:lnTo>
                  <a:lnTo>
                    <a:pt x="5900" y="63365"/>
                  </a:lnTo>
                  <a:lnTo>
                    <a:pt x="9273" y="63365"/>
                  </a:lnTo>
                  <a:lnTo>
                    <a:pt x="9273" y="58427"/>
                  </a:lnTo>
                  <a:lnTo>
                    <a:pt x="14332" y="56782"/>
                  </a:lnTo>
                  <a:lnTo>
                    <a:pt x="14332" y="60073"/>
                  </a:lnTo>
                  <a:lnTo>
                    <a:pt x="17704" y="61719"/>
                  </a:lnTo>
                  <a:lnTo>
                    <a:pt x="21076" y="56782"/>
                  </a:lnTo>
                  <a:lnTo>
                    <a:pt x="34566" y="51844"/>
                  </a:lnTo>
                  <a:lnTo>
                    <a:pt x="49742" y="55136"/>
                  </a:lnTo>
                  <a:lnTo>
                    <a:pt x="51428" y="50198"/>
                  </a:lnTo>
                  <a:lnTo>
                    <a:pt x="54801" y="48552"/>
                  </a:lnTo>
                  <a:lnTo>
                    <a:pt x="56487" y="46906"/>
                  </a:lnTo>
                  <a:lnTo>
                    <a:pt x="48056" y="32094"/>
                  </a:lnTo>
                  <a:lnTo>
                    <a:pt x="48056" y="23864"/>
                  </a:lnTo>
                  <a:lnTo>
                    <a:pt x="46370" y="18927"/>
                  </a:lnTo>
                  <a:lnTo>
                    <a:pt x="51428" y="10697"/>
                  </a:lnTo>
                  <a:lnTo>
                    <a:pt x="59859" y="10697"/>
                  </a:lnTo>
                  <a:lnTo>
                    <a:pt x="63232" y="15635"/>
                  </a:lnTo>
                  <a:lnTo>
                    <a:pt x="69977" y="12343"/>
                  </a:lnTo>
                  <a:lnTo>
                    <a:pt x="86839" y="15635"/>
                  </a:lnTo>
                  <a:lnTo>
                    <a:pt x="88526" y="12343"/>
                  </a:lnTo>
                  <a:lnTo>
                    <a:pt x="91898" y="13989"/>
                  </a:lnTo>
                  <a:lnTo>
                    <a:pt x="90211" y="17281"/>
                  </a:lnTo>
                  <a:lnTo>
                    <a:pt x="96957" y="18927"/>
                  </a:lnTo>
                  <a:lnTo>
                    <a:pt x="96957" y="13989"/>
                  </a:lnTo>
                  <a:lnTo>
                    <a:pt x="107074" y="15635"/>
                  </a:lnTo>
                  <a:lnTo>
                    <a:pt x="108760" y="4114"/>
                  </a:lnTo>
                  <a:lnTo>
                    <a:pt x="123936" y="9052"/>
                  </a:lnTo>
                  <a:lnTo>
                    <a:pt x="123936" y="1563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7" name="Horst aan de Maas">
              <a:extLst>
                <a:ext uri="{FF2B5EF4-FFF2-40B4-BE49-F238E27FC236}">
                  <a16:creationId xmlns:a16="http://schemas.microsoft.com/office/drawing/2014/main" id="{BA11CE4A-01DA-4A4B-A799-85B08249E308}"/>
                </a:ext>
              </a:extLst>
            </p:cNvPr>
            <p:cNvSpPr/>
            <p:nvPr/>
          </p:nvSpPr>
          <p:spPr>
            <a:xfrm>
              <a:off x="6749776" y="4449424"/>
              <a:ext cx="325508" cy="255773"/>
            </a:xfrm>
            <a:custGeom>
              <a:avLst/>
              <a:gdLst/>
              <a:ahLst/>
              <a:cxnLst/>
              <a:rect l="l" t="t" r="r" b="b"/>
              <a:pathLst>
                <a:path w="468326" h="354330" extrusionOk="0">
                  <a:moveTo>
                    <a:pt x="316166" y="4114"/>
                  </a:moveTo>
                  <a:lnTo>
                    <a:pt x="319538" y="5760"/>
                  </a:lnTo>
                  <a:lnTo>
                    <a:pt x="331341" y="5760"/>
                  </a:lnTo>
                  <a:lnTo>
                    <a:pt x="344832" y="9052"/>
                  </a:lnTo>
                  <a:lnTo>
                    <a:pt x="351576" y="7406"/>
                  </a:lnTo>
                  <a:lnTo>
                    <a:pt x="361694" y="9052"/>
                  </a:lnTo>
                  <a:lnTo>
                    <a:pt x="361694" y="17281"/>
                  </a:lnTo>
                  <a:lnTo>
                    <a:pt x="385301" y="37031"/>
                  </a:lnTo>
                  <a:lnTo>
                    <a:pt x="392046" y="27156"/>
                  </a:lnTo>
                  <a:lnTo>
                    <a:pt x="400477" y="33740"/>
                  </a:lnTo>
                  <a:lnTo>
                    <a:pt x="413966" y="13989"/>
                  </a:lnTo>
                  <a:lnTo>
                    <a:pt x="444319" y="30448"/>
                  </a:lnTo>
                  <a:lnTo>
                    <a:pt x="456122" y="46907"/>
                  </a:lnTo>
                  <a:lnTo>
                    <a:pt x="457808" y="60074"/>
                  </a:lnTo>
                  <a:lnTo>
                    <a:pt x="454436" y="92991"/>
                  </a:lnTo>
                  <a:lnTo>
                    <a:pt x="471298" y="124262"/>
                  </a:lnTo>
                  <a:lnTo>
                    <a:pt x="474671" y="137429"/>
                  </a:lnTo>
                  <a:lnTo>
                    <a:pt x="469612" y="152242"/>
                  </a:lnTo>
                  <a:lnTo>
                    <a:pt x="440946" y="191742"/>
                  </a:lnTo>
                  <a:lnTo>
                    <a:pt x="437574" y="203264"/>
                  </a:lnTo>
                  <a:lnTo>
                    <a:pt x="435887" y="214785"/>
                  </a:lnTo>
                  <a:lnTo>
                    <a:pt x="444319" y="247702"/>
                  </a:lnTo>
                  <a:lnTo>
                    <a:pt x="440946" y="255931"/>
                  </a:lnTo>
                  <a:lnTo>
                    <a:pt x="432515" y="267452"/>
                  </a:lnTo>
                  <a:lnTo>
                    <a:pt x="429143" y="280619"/>
                  </a:lnTo>
                  <a:lnTo>
                    <a:pt x="435887" y="311891"/>
                  </a:lnTo>
                  <a:lnTo>
                    <a:pt x="417339" y="315182"/>
                  </a:lnTo>
                  <a:lnTo>
                    <a:pt x="408908" y="264160"/>
                  </a:lnTo>
                  <a:lnTo>
                    <a:pt x="403849" y="269098"/>
                  </a:lnTo>
                  <a:lnTo>
                    <a:pt x="402163" y="267452"/>
                  </a:lnTo>
                  <a:lnTo>
                    <a:pt x="397104" y="269098"/>
                  </a:lnTo>
                  <a:lnTo>
                    <a:pt x="397104" y="267452"/>
                  </a:lnTo>
                  <a:lnTo>
                    <a:pt x="392046" y="267452"/>
                  </a:lnTo>
                  <a:lnTo>
                    <a:pt x="378556" y="250994"/>
                  </a:lnTo>
                  <a:lnTo>
                    <a:pt x="368439" y="254286"/>
                  </a:lnTo>
                  <a:lnTo>
                    <a:pt x="366752" y="255931"/>
                  </a:lnTo>
                  <a:lnTo>
                    <a:pt x="365066" y="254286"/>
                  </a:lnTo>
                  <a:lnTo>
                    <a:pt x="356635" y="255931"/>
                  </a:lnTo>
                  <a:lnTo>
                    <a:pt x="324597" y="254286"/>
                  </a:lnTo>
                  <a:lnTo>
                    <a:pt x="319538" y="254286"/>
                  </a:lnTo>
                  <a:lnTo>
                    <a:pt x="317852" y="280619"/>
                  </a:lnTo>
                  <a:lnTo>
                    <a:pt x="312793" y="288849"/>
                  </a:lnTo>
                  <a:lnTo>
                    <a:pt x="311107" y="300370"/>
                  </a:lnTo>
                  <a:lnTo>
                    <a:pt x="312793" y="313536"/>
                  </a:lnTo>
                  <a:lnTo>
                    <a:pt x="228482" y="346453"/>
                  </a:lnTo>
                  <a:lnTo>
                    <a:pt x="184640" y="357975"/>
                  </a:lnTo>
                  <a:lnTo>
                    <a:pt x="134053" y="357975"/>
                  </a:lnTo>
                  <a:lnTo>
                    <a:pt x="117191" y="346453"/>
                  </a:lnTo>
                  <a:lnTo>
                    <a:pt x="93584" y="341516"/>
                  </a:lnTo>
                  <a:lnTo>
                    <a:pt x="4214" y="193389"/>
                  </a:lnTo>
                  <a:lnTo>
                    <a:pt x="125622" y="152242"/>
                  </a:lnTo>
                  <a:lnTo>
                    <a:pt x="188013" y="122616"/>
                  </a:lnTo>
                  <a:lnTo>
                    <a:pt x="243658" y="111095"/>
                  </a:lnTo>
                  <a:lnTo>
                    <a:pt x="252089" y="104512"/>
                  </a:lnTo>
                  <a:lnTo>
                    <a:pt x="258834" y="91345"/>
                  </a:lnTo>
                  <a:lnTo>
                    <a:pt x="274010" y="84761"/>
                  </a:lnTo>
                  <a:lnTo>
                    <a:pt x="277382" y="88053"/>
                  </a:lnTo>
                  <a:lnTo>
                    <a:pt x="287500" y="89699"/>
                  </a:lnTo>
                  <a:lnTo>
                    <a:pt x="292559" y="92991"/>
                  </a:lnTo>
                  <a:lnTo>
                    <a:pt x="302676" y="91345"/>
                  </a:lnTo>
                  <a:lnTo>
                    <a:pt x="311107" y="73240"/>
                  </a:lnTo>
                  <a:lnTo>
                    <a:pt x="299303" y="43615"/>
                  </a:lnTo>
                  <a:lnTo>
                    <a:pt x="295931" y="23865"/>
                  </a:lnTo>
                  <a:lnTo>
                    <a:pt x="299303" y="4114"/>
                  </a:lnTo>
                  <a:lnTo>
                    <a:pt x="316166"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8" name="Baarn">
              <a:extLst>
                <a:ext uri="{FF2B5EF4-FFF2-40B4-BE49-F238E27FC236}">
                  <a16:creationId xmlns:a16="http://schemas.microsoft.com/office/drawing/2014/main" id="{1A1ED226-C70D-4E9B-AD7D-64DEA06869FB}"/>
                </a:ext>
              </a:extLst>
            </p:cNvPr>
            <p:cNvSpPr/>
            <p:nvPr/>
          </p:nvSpPr>
          <p:spPr>
            <a:xfrm>
              <a:off x="6057323" y="3296433"/>
              <a:ext cx="131728" cy="110094"/>
            </a:xfrm>
            <a:custGeom>
              <a:avLst/>
              <a:gdLst/>
              <a:ahLst/>
              <a:cxnLst/>
              <a:rect l="l" t="t" r="r" b="b"/>
              <a:pathLst>
                <a:path w="187330" h="160020" extrusionOk="0">
                  <a:moveTo>
                    <a:pt x="164405" y="7406"/>
                  </a:moveTo>
                  <a:lnTo>
                    <a:pt x="193071" y="13989"/>
                  </a:lnTo>
                  <a:lnTo>
                    <a:pt x="191385" y="35385"/>
                  </a:lnTo>
                  <a:lnTo>
                    <a:pt x="181268" y="61719"/>
                  </a:lnTo>
                  <a:lnTo>
                    <a:pt x="184640" y="74886"/>
                  </a:lnTo>
                  <a:lnTo>
                    <a:pt x="161033" y="76532"/>
                  </a:lnTo>
                  <a:lnTo>
                    <a:pt x="159347" y="73240"/>
                  </a:lnTo>
                  <a:lnTo>
                    <a:pt x="154288" y="74886"/>
                  </a:lnTo>
                  <a:lnTo>
                    <a:pt x="150916" y="73240"/>
                  </a:lnTo>
                  <a:lnTo>
                    <a:pt x="144170" y="83116"/>
                  </a:lnTo>
                  <a:lnTo>
                    <a:pt x="90211" y="114387"/>
                  </a:lnTo>
                  <a:lnTo>
                    <a:pt x="58173" y="145658"/>
                  </a:lnTo>
                  <a:lnTo>
                    <a:pt x="46370" y="162117"/>
                  </a:lnTo>
                  <a:lnTo>
                    <a:pt x="44684" y="152242"/>
                  </a:lnTo>
                  <a:lnTo>
                    <a:pt x="41311" y="152242"/>
                  </a:lnTo>
                  <a:lnTo>
                    <a:pt x="41311" y="162117"/>
                  </a:lnTo>
                  <a:lnTo>
                    <a:pt x="22763" y="167055"/>
                  </a:lnTo>
                  <a:lnTo>
                    <a:pt x="17704" y="135783"/>
                  </a:lnTo>
                  <a:lnTo>
                    <a:pt x="4214" y="140721"/>
                  </a:lnTo>
                  <a:lnTo>
                    <a:pt x="10959" y="112741"/>
                  </a:lnTo>
                  <a:lnTo>
                    <a:pt x="7586" y="107803"/>
                  </a:lnTo>
                  <a:lnTo>
                    <a:pt x="7586" y="81470"/>
                  </a:lnTo>
                  <a:lnTo>
                    <a:pt x="24449" y="22219"/>
                  </a:lnTo>
                  <a:lnTo>
                    <a:pt x="120563" y="28802"/>
                  </a:lnTo>
                  <a:lnTo>
                    <a:pt x="140798" y="27156"/>
                  </a:lnTo>
                  <a:lnTo>
                    <a:pt x="149230" y="37031"/>
                  </a:lnTo>
                  <a:lnTo>
                    <a:pt x="157661" y="32094"/>
                  </a:lnTo>
                  <a:lnTo>
                    <a:pt x="161033" y="25510"/>
                  </a:lnTo>
                  <a:lnTo>
                    <a:pt x="159347" y="22219"/>
                  </a:lnTo>
                  <a:lnTo>
                    <a:pt x="159347" y="23864"/>
                  </a:lnTo>
                  <a:lnTo>
                    <a:pt x="155974" y="23864"/>
                  </a:lnTo>
                  <a:lnTo>
                    <a:pt x="154288" y="20573"/>
                  </a:lnTo>
                  <a:lnTo>
                    <a:pt x="155974" y="18927"/>
                  </a:lnTo>
                  <a:lnTo>
                    <a:pt x="149230" y="12343"/>
                  </a:lnTo>
                  <a:lnTo>
                    <a:pt x="149230" y="9052"/>
                  </a:lnTo>
                  <a:lnTo>
                    <a:pt x="157661" y="4114"/>
                  </a:lnTo>
                  <a:lnTo>
                    <a:pt x="164405" y="7406"/>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999" name="Krimpen aan den Ijssel">
              <a:extLst>
                <a:ext uri="{FF2B5EF4-FFF2-40B4-BE49-F238E27FC236}">
                  <a16:creationId xmlns:a16="http://schemas.microsoft.com/office/drawing/2014/main" id="{B733BC77-6D51-4329-B34E-B6A3EE30982D}"/>
                </a:ext>
              </a:extLst>
            </p:cNvPr>
            <p:cNvSpPr/>
            <p:nvPr/>
          </p:nvSpPr>
          <p:spPr>
            <a:xfrm>
              <a:off x="5349620" y="3804257"/>
              <a:ext cx="99401" cy="35841"/>
            </a:xfrm>
            <a:custGeom>
              <a:avLst/>
              <a:gdLst/>
              <a:ahLst/>
              <a:cxnLst/>
              <a:rect l="l" t="t" r="r" b="b"/>
              <a:pathLst>
                <a:path w="140498" h="68580" extrusionOk="0">
                  <a:moveTo>
                    <a:pt x="112133" y="7406"/>
                  </a:moveTo>
                  <a:lnTo>
                    <a:pt x="147543" y="48552"/>
                  </a:lnTo>
                  <a:lnTo>
                    <a:pt x="145857" y="50198"/>
                  </a:lnTo>
                  <a:lnTo>
                    <a:pt x="135740" y="55136"/>
                  </a:lnTo>
                  <a:lnTo>
                    <a:pt x="115505" y="60073"/>
                  </a:lnTo>
                  <a:lnTo>
                    <a:pt x="83467" y="61719"/>
                  </a:lnTo>
                  <a:lnTo>
                    <a:pt x="76722" y="60073"/>
                  </a:lnTo>
                  <a:lnTo>
                    <a:pt x="75036" y="61719"/>
                  </a:lnTo>
                  <a:lnTo>
                    <a:pt x="76722" y="65011"/>
                  </a:lnTo>
                  <a:lnTo>
                    <a:pt x="71663" y="68302"/>
                  </a:lnTo>
                  <a:lnTo>
                    <a:pt x="69977" y="65011"/>
                  </a:lnTo>
                  <a:lnTo>
                    <a:pt x="64918" y="68302"/>
                  </a:lnTo>
                  <a:lnTo>
                    <a:pt x="64918" y="73240"/>
                  </a:lnTo>
                  <a:lnTo>
                    <a:pt x="54801" y="68302"/>
                  </a:lnTo>
                  <a:lnTo>
                    <a:pt x="46370" y="71594"/>
                  </a:lnTo>
                  <a:lnTo>
                    <a:pt x="12645" y="65011"/>
                  </a:lnTo>
                  <a:lnTo>
                    <a:pt x="4214" y="66657"/>
                  </a:lnTo>
                  <a:lnTo>
                    <a:pt x="5900" y="61719"/>
                  </a:lnTo>
                  <a:lnTo>
                    <a:pt x="32880" y="55136"/>
                  </a:lnTo>
                  <a:lnTo>
                    <a:pt x="48056" y="41969"/>
                  </a:lnTo>
                  <a:lnTo>
                    <a:pt x="56487" y="28802"/>
                  </a:lnTo>
                  <a:lnTo>
                    <a:pt x="64918" y="25510"/>
                  </a:lnTo>
                  <a:lnTo>
                    <a:pt x="81781" y="15635"/>
                  </a:lnTo>
                  <a:lnTo>
                    <a:pt x="100329" y="17281"/>
                  </a:lnTo>
                  <a:lnTo>
                    <a:pt x="105388" y="13989"/>
                  </a:lnTo>
                  <a:lnTo>
                    <a:pt x="110446" y="4114"/>
                  </a:lnTo>
                  <a:lnTo>
                    <a:pt x="112133"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0" name="Arnhem">
              <a:extLst>
                <a:ext uri="{FF2B5EF4-FFF2-40B4-BE49-F238E27FC236}">
                  <a16:creationId xmlns:a16="http://schemas.microsoft.com/office/drawing/2014/main" id="{E37D3DA8-F3D1-45BD-BC7C-89294F8F564B}"/>
                </a:ext>
              </a:extLst>
            </p:cNvPr>
            <p:cNvSpPr/>
            <p:nvPr/>
          </p:nvSpPr>
          <p:spPr>
            <a:xfrm>
              <a:off x="6665714" y="3549882"/>
              <a:ext cx="209047" cy="250058"/>
            </a:xfrm>
            <a:custGeom>
              <a:avLst/>
              <a:gdLst/>
              <a:ahLst/>
              <a:cxnLst/>
              <a:rect l="l" t="t" r="r" b="b"/>
              <a:pathLst>
                <a:path w="292704" h="354330" extrusionOk="0">
                  <a:moveTo>
                    <a:pt x="221737" y="4114"/>
                  </a:moveTo>
                  <a:lnTo>
                    <a:pt x="235227" y="15635"/>
                  </a:lnTo>
                  <a:lnTo>
                    <a:pt x="216679" y="41969"/>
                  </a:lnTo>
                  <a:lnTo>
                    <a:pt x="208247" y="76532"/>
                  </a:lnTo>
                  <a:lnTo>
                    <a:pt x="214992" y="165409"/>
                  </a:lnTo>
                  <a:lnTo>
                    <a:pt x="221737" y="167054"/>
                  </a:lnTo>
                  <a:lnTo>
                    <a:pt x="218365" y="168700"/>
                  </a:lnTo>
                  <a:lnTo>
                    <a:pt x="225110" y="176930"/>
                  </a:lnTo>
                  <a:lnTo>
                    <a:pt x="233541" y="204909"/>
                  </a:lnTo>
                  <a:lnTo>
                    <a:pt x="241972" y="218076"/>
                  </a:lnTo>
                  <a:lnTo>
                    <a:pt x="252089" y="224660"/>
                  </a:lnTo>
                  <a:lnTo>
                    <a:pt x="275697" y="237827"/>
                  </a:lnTo>
                  <a:lnTo>
                    <a:pt x="290872" y="254285"/>
                  </a:lnTo>
                  <a:lnTo>
                    <a:pt x="252089" y="262514"/>
                  </a:lnTo>
                  <a:lnTo>
                    <a:pt x="236913" y="272390"/>
                  </a:lnTo>
                  <a:lnTo>
                    <a:pt x="230168" y="282265"/>
                  </a:lnTo>
                  <a:lnTo>
                    <a:pt x="228482" y="295432"/>
                  </a:lnTo>
                  <a:lnTo>
                    <a:pt x="230168" y="306953"/>
                  </a:lnTo>
                  <a:lnTo>
                    <a:pt x="236913" y="316828"/>
                  </a:lnTo>
                  <a:lnTo>
                    <a:pt x="214992" y="298724"/>
                  </a:lnTo>
                  <a:lnTo>
                    <a:pt x="206561" y="288848"/>
                  </a:lnTo>
                  <a:lnTo>
                    <a:pt x="201503" y="290494"/>
                  </a:lnTo>
                  <a:lnTo>
                    <a:pt x="198130" y="311890"/>
                  </a:lnTo>
                  <a:lnTo>
                    <a:pt x="193072" y="311890"/>
                  </a:lnTo>
                  <a:lnTo>
                    <a:pt x="176209" y="313536"/>
                  </a:lnTo>
                  <a:lnTo>
                    <a:pt x="171151" y="320120"/>
                  </a:lnTo>
                  <a:lnTo>
                    <a:pt x="169464" y="323411"/>
                  </a:lnTo>
                  <a:lnTo>
                    <a:pt x="172837" y="325057"/>
                  </a:lnTo>
                  <a:lnTo>
                    <a:pt x="155974" y="354683"/>
                  </a:lnTo>
                  <a:lnTo>
                    <a:pt x="134054" y="348099"/>
                  </a:lnTo>
                  <a:lnTo>
                    <a:pt x="105388" y="333287"/>
                  </a:lnTo>
                  <a:lnTo>
                    <a:pt x="76722" y="328349"/>
                  </a:lnTo>
                  <a:lnTo>
                    <a:pt x="76722" y="331641"/>
                  </a:lnTo>
                  <a:lnTo>
                    <a:pt x="56487" y="328349"/>
                  </a:lnTo>
                  <a:lnTo>
                    <a:pt x="56487" y="326703"/>
                  </a:lnTo>
                  <a:lnTo>
                    <a:pt x="46370" y="326703"/>
                  </a:lnTo>
                  <a:lnTo>
                    <a:pt x="44684" y="315182"/>
                  </a:lnTo>
                  <a:lnTo>
                    <a:pt x="48056" y="293786"/>
                  </a:lnTo>
                  <a:lnTo>
                    <a:pt x="44684" y="288848"/>
                  </a:lnTo>
                  <a:lnTo>
                    <a:pt x="53115" y="280619"/>
                  </a:lnTo>
                  <a:lnTo>
                    <a:pt x="53115" y="257577"/>
                  </a:lnTo>
                  <a:lnTo>
                    <a:pt x="90212" y="267452"/>
                  </a:lnTo>
                  <a:lnTo>
                    <a:pt x="100329" y="264160"/>
                  </a:lnTo>
                  <a:lnTo>
                    <a:pt x="108760" y="254285"/>
                  </a:lnTo>
                  <a:lnTo>
                    <a:pt x="100329" y="252639"/>
                  </a:lnTo>
                  <a:lnTo>
                    <a:pt x="96957" y="247702"/>
                  </a:lnTo>
                  <a:lnTo>
                    <a:pt x="102015" y="241118"/>
                  </a:lnTo>
                  <a:lnTo>
                    <a:pt x="100329" y="232889"/>
                  </a:lnTo>
                  <a:lnTo>
                    <a:pt x="95270" y="229597"/>
                  </a:lnTo>
                  <a:lnTo>
                    <a:pt x="98643" y="214785"/>
                  </a:lnTo>
                  <a:lnTo>
                    <a:pt x="95270" y="214785"/>
                  </a:lnTo>
                  <a:lnTo>
                    <a:pt x="96957" y="203264"/>
                  </a:lnTo>
                  <a:lnTo>
                    <a:pt x="85153" y="203264"/>
                  </a:lnTo>
                  <a:lnTo>
                    <a:pt x="71663" y="198326"/>
                  </a:lnTo>
                  <a:lnTo>
                    <a:pt x="39625" y="195034"/>
                  </a:lnTo>
                  <a:lnTo>
                    <a:pt x="4214" y="185159"/>
                  </a:lnTo>
                  <a:lnTo>
                    <a:pt x="10959" y="165409"/>
                  </a:lnTo>
                  <a:lnTo>
                    <a:pt x="12645" y="148950"/>
                  </a:lnTo>
                  <a:lnTo>
                    <a:pt x="31194" y="116033"/>
                  </a:lnTo>
                  <a:lnTo>
                    <a:pt x="56487" y="81470"/>
                  </a:lnTo>
                  <a:lnTo>
                    <a:pt x="75036" y="69949"/>
                  </a:lnTo>
                  <a:lnTo>
                    <a:pt x="90212" y="68303"/>
                  </a:lnTo>
                  <a:lnTo>
                    <a:pt x="123936" y="74886"/>
                  </a:lnTo>
                  <a:lnTo>
                    <a:pt x="150916" y="73240"/>
                  </a:lnTo>
                  <a:lnTo>
                    <a:pt x="147543" y="40323"/>
                  </a:lnTo>
                  <a:lnTo>
                    <a:pt x="166092" y="43615"/>
                  </a:lnTo>
                  <a:lnTo>
                    <a:pt x="22173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1" name="Westervoort">
              <a:extLst>
                <a:ext uri="{FF2B5EF4-FFF2-40B4-BE49-F238E27FC236}">
                  <a16:creationId xmlns:a16="http://schemas.microsoft.com/office/drawing/2014/main" id="{895A1877-C344-474D-9861-0EDA600FF8BF}"/>
                </a:ext>
              </a:extLst>
            </p:cNvPr>
            <p:cNvSpPr/>
            <p:nvPr/>
          </p:nvSpPr>
          <p:spPr>
            <a:xfrm>
              <a:off x="6808980" y="3725052"/>
              <a:ext cx="69298" cy="56617"/>
            </a:xfrm>
            <a:custGeom>
              <a:avLst/>
              <a:gdLst/>
              <a:ahLst/>
              <a:cxnLst/>
              <a:rect l="l" t="t" r="r" b="b"/>
              <a:pathLst>
                <a:path w="81957" h="102870" extrusionOk="0">
                  <a:moveTo>
                    <a:pt x="78408" y="17281"/>
                  </a:moveTo>
                  <a:lnTo>
                    <a:pt x="66604" y="23864"/>
                  </a:lnTo>
                  <a:lnTo>
                    <a:pt x="56487" y="23864"/>
                  </a:lnTo>
                  <a:lnTo>
                    <a:pt x="61546" y="33740"/>
                  </a:lnTo>
                  <a:lnTo>
                    <a:pt x="58173" y="43615"/>
                  </a:lnTo>
                  <a:lnTo>
                    <a:pt x="63232" y="46906"/>
                  </a:lnTo>
                  <a:lnTo>
                    <a:pt x="58173" y="73240"/>
                  </a:lnTo>
                  <a:lnTo>
                    <a:pt x="63232" y="76532"/>
                  </a:lnTo>
                  <a:lnTo>
                    <a:pt x="58173" y="86407"/>
                  </a:lnTo>
                  <a:lnTo>
                    <a:pt x="59859" y="86407"/>
                  </a:lnTo>
                  <a:lnTo>
                    <a:pt x="58173" y="94637"/>
                  </a:lnTo>
                  <a:lnTo>
                    <a:pt x="42997" y="97928"/>
                  </a:lnTo>
                  <a:lnTo>
                    <a:pt x="36252" y="104512"/>
                  </a:lnTo>
                  <a:lnTo>
                    <a:pt x="22763" y="104512"/>
                  </a:lnTo>
                  <a:lnTo>
                    <a:pt x="19390" y="89699"/>
                  </a:lnTo>
                  <a:lnTo>
                    <a:pt x="4214" y="65011"/>
                  </a:lnTo>
                  <a:lnTo>
                    <a:pt x="4214" y="53490"/>
                  </a:lnTo>
                  <a:lnTo>
                    <a:pt x="9273" y="43615"/>
                  </a:lnTo>
                  <a:lnTo>
                    <a:pt x="22763" y="28802"/>
                  </a:lnTo>
                  <a:lnTo>
                    <a:pt x="66604" y="18927"/>
                  </a:lnTo>
                  <a:lnTo>
                    <a:pt x="78408" y="12343"/>
                  </a:lnTo>
                  <a:lnTo>
                    <a:pt x="83467" y="4114"/>
                  </a:lnTo>
                  <a:lnTo>
                    <a:pt x="85153" y="5760"/>
                  </a:lnTo>
                  <a:lnTo>
                    <a:pt x="78408" y="17281"/>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2" name="Kapelle">
              <a:extLst>
                <a:ext uri="{FF2B5EF4-FFF2-40B4-BE49-F238E27FC236}">
                  <a16:creationId xmlns:a16="http://schemas.microsoft.com/office/drawing/2014/main" id="{3A9A7798-444D-4D09-8B48-6F609E79F8C9}"/>
                </a:ext>
              </a:extLst>
            </p:cNvPr>
            <p:cNvSpPr/>
            <p:nvPr/>
          </p:nvSpPr>
          <p:spPr>
            <a:xfrm>
              <a:off x="4668681" y="4448604"/>
              <a:ext cx="123386" cy="128909"/>
            </a:xfrm>
            <a:custGeom>
              <a:avLst/>
              <a:gdLst/>
              <a:ahLst/>
              <a:cxnLst/>
              <a:rect l="l" t="t" r="r" b="b"/>
              <a:pathLst>
                <a:path w="175622" h="205740" extrusionOk="0">
                  <a:moveTo>
                    <a:pt x="113819" y="13989"/>
                  </a:moveTo>
                  <a:lnTo>
                    <a:pt x="132367" y="20573"/>
                  </a:lnTo>
                  <a:lnTo>
                    <a:pt x="140798" y="27156"/>
                  </a:lnTo>
                  <a:lnTo>
                    <a:pt x="144171" y="27156"/>
                  </a:lnTo>
                  <a:lnTo>
                    <a:pt x="149230" y="28802"/>
                  </a:lnTo>
                  <a:lnTo>
                    <a:pt x="154288" y="27156"/>
                  </a:lnTo>
                  <a:lnTo>
                    <a:pt x="152602" y="41969"/>
                  </a:lnTo>
                  <a:lnTo>
                    <a:pt x="155974" y="45260"/>
                  </a:lnTo>
                  <a:lnTo>
                    <a:pt x="152602" y="37031"/>
                  </a:lnTo>
                  <a:lnTo>
                    <a:pt x="155974" y="35385"/>
                  </a:lnTo>
                  <a:lnTo>
                    <a:pt x="157661" y="46906"/>
                  </a:lnTo>
                  <a:lnTo>
                    <a:pt x="159347" y="33740"/>
                  </a:lnTo>
                  <a:lnTo>
                    <a:pt x="155974" y="28802"/>
                  </a:lnTo>
                  <a:lnTo>
                    <a:pt x="169464" y="37031"/>
                  </a:lnTo>
                  <a:lnTo>
                    <a:pt x="169464" y="32094"/>
                  </a:lnTo>
                  <a:lnTo>
                    <a:pt x="171150" y="40323"/>
                  </a:lnTo>
                  <a:lnTo>
                    <a:pt x="176209" y="50198"/>
                  </a:lnTo>
                  <a:lnTo>
                    <a:pt x="169464" y="61719"/>
                  </a:lnTo>
                  <a:lnTo>
                    <a:pt x="157661" y="68302"/>
                  </a:lnTo>
                  <a:lnTo>
                    <a:pt x="155974" y="68302"/>
                  </a:lnTo>
                  <a:lnTo>
                    <a:pt x="157661" y="180221"/>
                  </a:lnTo>
                  <a:lnTo>
                    <a:pt x="144171" y="185159"/>
                  </a:lnTo>
                  <a:lnTo>
                    <a:pt x="135740" y="196680"/>
                  </a:lnTo>
                  <a:lnTo>
                    <a:pt x="127309" y="191742"/>
                  </a:lnTo>
                  <a:lnTo>
                    <a:pt x="125622" y="195034"/>
                  </a:lnTo>
                  <a:lnTo>
                    <a:pt x="117191" y="176930"/>
                  </a:lnTo>
                  <a:lnTo>
                    <a:pt x="107074" y="170346"/>
                  </a:lnTo>
                  <a:lnTo>
                    <a:pt x="86839" y="185159"/>
                  </a:lnTo>
                  <a:lnTo>
                    <a:pt x="69977" y="185159"/>
                  </a:lnTo>
                  <a:lnTo>
                    <a:pt x="42997" y="203264"/>
                  </a:lnTo>
                  <a:lnTo>
                    <a:pt x="31194" y="195034"/>
                  </a:lnTo>
                  <a:lnTo>
                    <a:pt x="36252" y="176930"/>
                  </a:lnTo>
                  <a:lnTo>
                    <a:pt x="17704" y="165409"/>
                  </a:lnTo>
                  <a:lnTo>
                    <a:pt x="4214" y="150596"/>
                  </a:lnTo>
                  <a:lnTo>
                    <a:pt x="12645" y="130845"/>
                  </a:lnTo>
                  <a:lnTo>
                    <a:pt x="12645" y="127554"/>
                  </a:lnTo>
                  <a:lnTo>
                    <a:pt x="19390" y="122616"/>
                  </a:lnTo>
                  <a:lnTo>
                    <a:pt x="16018" y="114387"/>
                  </a:lnTo>
                  <a:lnTo>
                    <a:pt x="26135" y="111095"/>
                  </a:lnTo>
                  <a:lnTo>
                    <a:pt x="26135" y="114387"/>
                  </a:lnTo>
                  <a:lnTo>
                    <a:pt x="31194" y="114387"/>
                  </a:lnTo>
                  <a:lnTo>
                    <a:pt x="32880" y="97928"/>
                  </a:lnTo>
                  <a:lnTo>
                    <a:pt x="54801" y="94636"/>
                  </a:lnTo>
                  <a:lnTo>
                    <a:pt x="61546" y="84761"/>
                  </a:lnTo>
                  <a:lnTo>
                    <a:pt x="80094" y="69949"/>
                  </a:lnTo>
                  <a:lnTo>
                    <a:pt x="95270" y="63365"/>
                  </a:lnTo>
                  <a:lnTo>
                    <a:pt x="93584" y="28802"/>
                  </a:lnTo>
                  <a:lnTo>
                    <a:pt x="105388" y="12343"/>
                  </a:lnTo>
                  <a:lnTo>
                    <a:pt x="113819" y="13989"/>
                  </a:lnTo>
                  <a:close/>
                  <a:moveTo>
                    <a:pt x="105388" y="10698"/>
                  </a:moveTo>
                  <a:lnTo>
                    <a:pt x="105388" y="10698"/>
                  </a:lnTo>
                  <a:close/>
                  <a:moveTo>
                    <a:pt x="102015" y="9052"/>
                  </a:moveTo>
                  <a:lnTo>
                    <a:pt x="100329" y="9052"/>
                  </a:lnTo>
                  <a:lnTo>
                    <a:pt x="102015" y="9052"/>
                  </a:lnTo>
                  <a:close/>
                  <a:moveTo>
                    <a:pt x="100329" y="9052"/>
                  </a:moveTo>
                  <a:lnTo>
                    <a:pt x="100329" y="9052"/>
                  </a:lnTo>
                  <a:close/>
                  <a:moveTo>
                    <a:pt x="95270" y="7406"/>
                  </a:moveTo>
                  <a:lnTo>
                    <a:pt x="96957" y="7406"/>
                  </a:lnTo>
                  <a:lnTo>
                    <a:pt x="95270" y="7406"/>
                  </a:lnTo>
                  <a:lnTo>
                    <a:pt x="95270" y="7406"/>
                  </a:lnTo>
                  <a:close/>
                  <a:moveTo>
                    <a:pt x="95270" y="7406"/>
                  </a:moveTo>
                  <a:lnTo>
                    <a:pt x="96957" y="7406"/>
                  </a:lnTo>
                  <a:lnTo>
                    <a:pt x="93584" y="7406"/>
                  </a:lnTo>
                  <a:lnTo>
                    <a:pt x="95270" y="7406"/>
                  </a:lnTo>
                  <a:close/>
                  <a:moveTo>
                    <a:pt x="90212" y="5760"/>
                  </a:moveTo>
                  <a:lnTo>
                    <a:pt x="91898" y="5760"/>
                  </a:lnTo>
                  <a:lnTo>
                    <a:pt x="88525" y="5760"/>
                  </a:lnTo>
                  <a:lnTo>
                    <a:pt x="90212" y="5760"/>
                  </a:lnTo>
                  <a:close/>
                  <a:moveTo>
                    <a:pt x="85153" y="4114"/>
                  </a:moveTo>
                  <a:lnTo>
                    <a:pt x="88525" y="5760"/>
                  </a:lnTo>
                  <a:lnTo>
                    <a:pt x="85153" y="4114"/>
                  </a:lnTo>
                  <a:lnTo>
                    <a:pt x="85153"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3" name="Overbetuwe">
              <a:extLst>
                <a:ext uri="{FF2B5EF4-FFF2-40B4-BE49-F238E27FC236}">
                  <a16:creationId xmlns:a16="http://schemas.microsoft.com/office/drawing/2014/main" id="{DF95E796-3673-4F50-824D-75B6AC9F137E}"/>
                </a:ext>
              </a:extLst>
            </p:cNvPr>
            <p:cNvSpPr/>
            <p:nvPr/>
          </p:nvSpPr>
          <p:spPr>
            <a:xfrm>
              <a:off x="6494592" y="3729408"/>
              <a:ext cx="269196" cy="180106"/>
            </a:xfrm>
            <a:custGeom>
              <a:avLst/>
              <a:gdLst/>
              <a:ahLst/>
              <a:cxnLst/>
              <a:rect l="l" t="t" r="r" b="b"/>
              <a:pathLst>
                <a:path w="386369" h="251460" extrusionOk="0">
                  <a:moveTo>
                    <a:pt x="284127" y="35385"/>
                  </a:moveTo>
                  <a:lnTo>
                    <a:pt x="287500" y="40323"/>
                  </a:lnTo>
                  <a:lnTo>
                    <a:pt x="284127" y="61719"/>
                  </a:lnTo>
                  <a:lnTo>
                    <a:pt x="285813" y="73240"/>
                  </a:lnTo>
                  <a:lnTo>
                    <a:pt x="295931" y="73240"/>
                  </a:lnTo>
                  <a:lnTo>
                    <a:pt x="295931" y="74886"/>
                  </a:lnTo>
                  <a:lnTo>
                    <a:pt x="316166" y="78178"/>
                  </a:lnTo>
                  <a:lnTo>
                    <a:pt x="316166" y="74886"/>
                  </a:lnTo>
                  <a:lnTo>
                    <a:pt x="344832" y="79824"/>
                  </a:lnTo>
                  <a:lnTo>
                    <a:pt x="373497" y="94636"/>
                  </a:lnTo>
                  <a:lnTo>
                    <a:pt x="390359" y="97928"/>
                  </a:lnTo>
                  <a:lnTo>
                    <a:pt x="376870" y="120970"/>
                  </a:lnTo>
                  <a:lnTo>
                    <a:pt x="388673" y="130845"/>
                  </a:lnTo>
                  <a:lnTo>
                    <a:pt x="381928" y="142367"/>
                  </a:lnTo>
                  <a:lnTo>
                    <a:pt x="385301" y="145658"/>
                  </a:lnTo>
                  <a:lnTo>
                    <a:pt x="380242" y="163763"/>
                  </a:lnTo>
                  <a:lnTo>
                    <a:pt x="353262" y="162117"/>
                  </a:lnTo>
                  <a:lnTo>
                    <a:pt x="349890" y="176930"/>
                  </a:lnTo>
                  <a:lnTo>
                    <a:pt x="354949" y="176930"/>
                  </a:lnTo>
                  <a:lnTo>
                    <a:pt x="354949" y="186805"/>
                  </a:lnTo>
                  <a:lnTo>
                    <a:pt x="327969" y="188451"/>
                  </a:lnTo>
                  <a:lnTo>
                    <a:pt x="326283" y="195034"/>
                  </a:lnTo>
                  <a:lnTo>
                    <a:pt x="285813" y="196680"/>
                  </a:lnTo>
                  <a:lnTo>
                    <a:pt x="285813" y="201617"/>
                  </a:lnTo>
                  <a:lnTo>
                    <a:pt x="294245" y="208201"/>
                  </a:lnTo>
                  <a:lnTo>
                    <a:pt x="297617" y="221368"/>
                  </a:lnTo>
                  <a:lnTo>
                    <a:pt x="290872" y="234535"/>
                  </a:lnTo>
                  <a:lnTo>
                    <a:pt x="294245" y="236181"/>
                  </a:lnTo>
                  <a:lnTo>
                    <a:pt x="292559" y="241118"/>
                  </a:lnTo>
                  <a:lnTo>
                    <a:pt x="289186" y="249348"/>
                  </a:lnTo>
                  <a:lnTo>
                    <a:pt x="284127" y="246056"/>
                  </a:lnTo>
                  <a:lnTo>
                    <a:pt x="277382" y="247702"/>
                  </a:lnTo>
                  <a:lnTo>
                    <a:pt x="267265" y="254285"/>
                  </a:lnTo>
                  <a:lnTo>
                    <a:pt x="241972" y="241118"/>
                  </a:lnTo>
                  <a:lnTo>
                    <a:pt x="199816" y="234535"/>
                  </a:lnTo>
                  <a:lnTo>
                    <a:pt x="162719" y="221368"/>
                  </a:lnTo>
                  <a:lnTo>
                    <a:pt x="132367" y="216430"/>
                  </a:lnTo>
                  <a:lnTo>
                    <a:pt x="96956" y="199972"/>
                  </a:lnTo>
                  <a:lnTo>
                    <a:pt x="103701" y="190096"/>
                  </a:lnTo>
                  <a:lnTo>
                    <a:pt x="96956" y="188451"/>
                  </a:lnTo>
                  <a:lnTo>
                    <a:pt x="100329" y="180221"/>
                  </a:lnTo>
                  <a:lnTo>
                    <a:pt x="95270" y="173638"/>
                  </a:lnTo>
                  <a:lnTo>
                    <a:pt x="96956" y="163763"/>
                  </a:lnTo>
                  <a:lnTo>
                    <a:pt x="86839" y="148950"/>
                  </a:lnTo>
                  <a:lnTo>
                    <a:pt x="75036" y="139075"/>
                  </a:lnTo>
                  <a:lnTo>
                    <a:pt x="81780" y="132491"/>
                  </a:lnTo>
                  <a:lnTo>
                    <a:pt x="78408" y="130845"/>
                  </a:lnTo>
                  <a:lnTo>
                    <a:pt x="58173" y="139075"/>
                  </a:lnTo>
                  <a:lnTo>
                    <a:pt x="49742" y="132491"/>
                  </a:lnTo>
                  <a:lnTo>
                    <a:pt x="51428" y="129200"/>
                  </a:lnTo>
                  <a:lnTo>
                    <a:pt x="49742" y="127554"/>
                  </a:lnTo>
                  <a:lnTo>
                    <a:pt x="53115" y="124262"/>
                  </a:lnTo>
                  <a:lnTo>
                    <a:pt x="49742" y="120970"/>
                  </a:lnTo>
                  <a:lnTo>
                    <a:pt x="53115" y="112741"/>
                  </a:lnTo>
                  <a:lnTo>
                    <a:pt x="63232" y="111095"/>
                  </a:lnTo>
                  <a:lnTo>
                    <a:pt x="71663" y="104512"/>
                  </a:lnTo>
                  <a:lnTo>
                    <a:pt x="81780" y="107803"/>
                  </a:lnTo>
                  <a:lnTo>
                    <a:pt x="76722" y="99574"/>
                  </a:lnTo>
                  <a:lnTo>
                    <a:pt x="69977" y="97928"/>
                  </a:lnTo>
                  <a:lnTo>
                    <a:pt x="42997" y="109449"/>
                  </a:lnTo>
                  <a:lnTo>
                    <a:pt x="26135" y="111095"/>
                  </a:lnTo>
                  <a:lnTo>
                    <a:pt x="24449" y="94636"/>
                  </a:lnTo>
                  <a:lnTo>
                    <a:pt x="37938" y="89699"/>
                  </a:lnTo>
                  <a:lnTo>
                    <a:pt x="34566" y="83116"/>
                  </a:lnTo>
                  <a:lnTo>
                    <a:pt x="31194" y="84761"/>
                  </a:lnTo>
                  <a:lnTo>
                    <a:pt x="27821" y="78178"/>
                  </a:lnTo>
                  <a:lnTo>
                    <a:pt x="17704" y="83116"/>
                  </a:lnTo>
                  <a:lnTo>
                    <a:pt x="16018" y="79824"/>
                  </a:lnTo>
                  <a:lnTo>
                    <a:pt x="5900" y="86407"/>
                  </a:lnTo>
                  <a:lnTo>
                    <a:pt x="4214" y="84761"/>
                  </a:lnTo>
                  <a:lnTo>
                    <a:pt x="10959" y="68303"/>
                  </a:lnTo>
                  <a:lnTo>
                    <a:pt x="12645" y="66657"/>
                  </a:lnTo>
                  <a:lnTo>
                    <a:pt x="17704" y="71594"/>
                  </a:lnTo>
                  <a:lnTo>
                    <a:pt x="54801" y="41969"/>
                  </a:lnTo>
                  <a:lnTo>
                    <a:pt x="85153" y="33739"/>
                  </a:lnTo>
                  <a:lnTo>
                    <a:pt x="122250" y="27156"/>
                  </a:lnTo>
                  <a:lnTo>
                    <a:pt x="132367" y="18927"/>
                  </a:lnTo>
                  <a:lnTo>
                    <a:pt x="149229" y="13989"/>
                  </a:lnTo>
                  <a:lnTo>
                    <a:pt x="159347" y="13989"/>
                  </a:lnTo>
                  <a:lnTo>
                    <a:pt x="196443" y="37031"/>
                  </a:lnTo>
                  <a:lnTo>
                    <a:pt x="209934" y="40323"/>
                  </a:lnTo>
                  <a:lnTo>
                    <a:pt x="218365" y="37031"/>
                  </a:lnTo>
                  <a:lnTo>
                    <a:pt x="267265" y="9052"/>
                  </a:lnTo>
                  <a:lnTo>
                    <a:pt x="292559" y="4114"/>
                  </a:lnTo>
                  <a:lnTo>
                    <a:pt x="292559" y="27156"/>
                  </a:lnTo>
                  <a:lnTo>
                    <a:pt x="284127" y="3538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4" name="Maasdriel">
              <a:extLst>
                <a:ext uri="{FF2B5EF4-FFF2-40B4-BE49-F238E27FC236}">
                  <a16:creationId xmlns:a16="http://schemas.microsoft.com/office/drawing/2014/main" id="{D9EBFD2B-1F10-41D6-B1B3-5516881B3610}"/>
                </a:ext>
              </a:extLst>
            </p:cNvPr>
            <p:cNvSpPr/>
            <p:nvPr/>
          </p:nvSpPr>
          <p:spPr>
            <a:xfrm>
              <a:off x="5999073" y="3944863"/>
              <a:ext cx="259297" cy="183916"/>
            </a:xfrm>
            <a:custGeom>
              <a:avLst/>
              <a:gdLst/>
              <a:ahLst/>
              <a:cxnLst/>
              <a:rect l="l" t="t" r="r" b="b"/>
              <a:pathLst>
                <a:path w="374661" h="251460" extrusionOk="0">
                  <a:moveTo>
                    <a:pt x="360008" y="15635"/>
                  </a:moveTo>
                  <a:lnTo>
                    <a:pt x="376870" y="40323"/>
                  </a:lnTo>
                  <a:lnTo>
                    <a:pt x="375184" y="43615"/>
                  </a:lnTo>
                  <a:lnTo>
                    <a:pt x="363380" y="40323"/>
                  </a:lnTo>
                  <a:lnTo>
                    <a:pt x="354949" y="43615"/>
                  </a:lnTo>
                  <a:lnTo>
                    <a:pt x="344832" y="61719"/>
                  </a:lnTo>
                  <a:lnTo>
                    <a:pt x="326283" y="83116"/>
                  </a:lnTo>
                  <a:lnTo>
                    <a:pt x="306049" y="116033"/>
                  </a:lnTo>
                  <a:lnTo>
                    <a:pt x="292559" y="148950"/>
                  </a:lnTo>
                  <a:lnTo>
                    <a:pt x="290872" y="190096"/>
                  </a:lnTo>
                  <a:lnTo>
                    <a:pt x="280755" y="201618"/>
                  </a:lnTo>
                  <a:lnTo>
                    <a:pt x="231855" y="224660"/>
                  </a:lnTo>
                  <a:lnTo>
                    <a:pt x="203189" y="244410"/>
                  </a:lnTo>
                  <a:lnTo>
                    <a:pt x="194758" y="247702"/>
                  </a:lnTo>
                  <a:lnTo>
                    <a:pt x="184640" y="246056"/>
                  </a:lnTo>
                  <a:lnTo>
                    <a:pt x="171151" y="239473"/>
                  </a:lnTo>
                  <a:lnTo>
                    <a:pt x="155974" y="239473"/>
                  </a:lnTo>
                  <a:lnTo>
                    <a:pt x="142485" y="242764"/>
                  </a:lnTo>
                  <a:lnTo>
                    <a:pt x="128995" y="250993"/>
                  </a:lnTo>
                  <a:lnTo>
                    <a:pt x="118878" y="254285"/>
                  </a:lnTo>
                  <a:lnTo>
                    <a:pt x="112133" y="252639"/>
                  </a:lnTo>
                  <a:lnTo>
                    <a:pt x="93584" y="237827"/>
                  </a:lnTo>
                  <a:lnTo>
                    <a:pt x="80094" y="231243"/>
                  </a:lnTo>
                  <a:lnTo>
                    <a:pt x="66605" y="231243"/>
                  </a:lnTo>
                  <a:lnTo>
                    <a:pt x="39625" y="237827"/>
                  </a:lnTo>
                  <a:lnTo>
                    <a:pt x="22763" y="234535"/>
                  </a:lnTo>
                  <a:lnTo>
                    <a:pt x="21076" y="204910"/>
                  </a:lnTo>
                  <a:lnTo>
                    <a:pt x="14332" y="195034"/>
                  </a:lnTo>
                  <a:lnTo>
                    <a:pt x="5901" y="188451"/>
                  </a:lnTo>
                  <a:lnTo>
                    <a:pt x="4214" y="181867"/>
                  </a:lnTo>
                  <a:lnTo>
                    <a:pt x="9273" y="178576"/>
                  </a:lnTo>
                  <a:lnTo>
                    <a:pt x="14332" y="175284"/>
                  </a:lnTo>
                  <a:lnTo>
                    <a:pt x="29507" y="176930"/>
                  </a:lnTo>
                  <a:lnTo>
                    <a:pt x="32880" y="175284"/>
                  </a:lnTo>
                  <a:lnTo>
                    <a:pt x="32880" y="173638"/>
                  </a:lnTo>
                  <a:lnTo>
                    <a:pt x="56487" y="168700"/>
                  </a:lnTo>
                  <a:lnTo>
                    <a:pt x="75036" y="168700"/>
                  </a:lnTo>
                  <a:lnTo>
                    <a:pt x="102015" y="162117"/>
                  </a:lnTo>
                  <a:lnTo>
                    <a:pt x="107074" y="163763"/>
                  </a:lnTo>
                  <a:lnTo>
                    <a:pt x="118878" y="163763"/>
                  </a:lnTo>
                  <a:lnTo>
                    <a:pt x="139112" y="158825"/>
                  </a:lnTo>
                  <a:lnTo>
                    <a:pt x="140799" y="155534"/>
                  </a:lnTo>
                  <a:lnTo>
                    <a:pt x="152602" y="157179"/>
                  </a:lnTo>
                  <a:lnTo>
                    <a:pt x="147543" y="111095"/>
                  </a:lnTo>
                  <a:lnTo>
                    <a:pt x="161033" y="106158"/>
                  </a:lnTo>
                  <a:lnTo>
                    <a:pt x="181268" y="96282"/>
                  </a:lnTo>
                  <a:lnTo>
                    <a:pt x="169464" y="89699"/>
                  </a:lnTo>
                  <a:lnTo>
                    <a:pt x="172837" y="86407"/>
                  </a:lnTo>
                  <a:lnTo>
                    <a:pt x="172837" y="79824"/>
                  </a:lnTo>
                  <a:lnTo>
                    <a:pt x="174523" y="78178"/>
                  </a:lnTo>
                  <a:lnTo>
                    <a:pt x="169464" y="69949"/>
                  </a:lnTo>
                  <a:lnTo>
                    <a:pt x="172837" y="65011"/>
                  </a:lnTo>
                  <a:lnTo>
                    <a:pt x="172837" y="53490"/>
                  </a:lnTo>
                  <a:lnTo>
                    <a:pt x="174523" y="51844"/>
                  </a:lnTo>
                  <a:lnTo>
                    <a:pt x="169464" y="43615"/>
                  </a:lnTo>
                  <a:lnTo>
                    <a:pt x="194758" y="37031"/>
                  </a:lnTo>
                  <a:lnTo>
                    <a:pt x="214992" y="38677"/>
                  </a:lnTo>
                  <a:lnTo>
                    <a:pt x="233541" y="50198"/>
                  </a:lnTo>
                  <a:lnTo>
                    <a:pt x="258834" y="78178"/>
                  </a:lnTo>
                  <a:lnTo>
                    <a:pt x="265579" y="83116"/>
                  </a:lnTo>
                  <a:lnTo>
                    <a:pt x="279069" y="84761"/>
                  </a:lnTo>
                  <a:lnTo>
                    <a:pt x="289186" y="83116"/>
                  </a:lnTo>
                  <a:lnTo>
                    <a:pt x="299304" y="74886"/>
                  </a:lnTo>
                  <a:lnTo>
                    <a:pt x="329656" y="27156"/>
                  </a:lnTo>
                  <a:lnTo>
                    <a:pt x="341459" y="12343"/>
                  </a:lnTo>
                  <a:lnTo>
                    <a:pt x="353263" y="4114"/>
                  </a:lnTo>
                  <a:lnTo>
                    <a:pt x="360008" y="10698"/>
                  </a:lnTo>
                  <a:lnTo>
                    <a:pt x="360008" y="1563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5" name="Utrecht">
              <a:extLst>
                <a:ext uri="{FF2B5EF4-FFF2-40B4-BE49-F238E27FC236}">
                  <a16:creationId xmlns:a16="http://schemas.microsoft.com/office/drawing/2014/main" id="{1505BD09-33AA-488D-AE8C-220CE5E0670C}"/>
                </a:ext>
              </a:extLst>
            </p:cNvPr>
            <p:cNvSpPr/>
            <p:nvPr/>
          </p:nvSpPr>
          <p:spPr>
            <a:xfrm>
              <a:off x="5799039" y="3439761"/>
              <a:ext cx="231849" cy="202789"/>
            </a:xfrm>
            <a:custGeom>
              <a:avLst/>
              <a:gdLst/>
              <a:ahLst/>
              <a:cxnLst/>
              <a:rect l="l" t="t" r="r" b="b"/>
              <a:pathLst>
                <a:path w="339536" h="285750" extrusionOk="0">
                  <a:moveTo>
                    <a:pt x="54801" y="4114"/>
                  </a:moveTo>
                  <a:lnTo>
                    <a:pt x="68291" y="33740"/>
                  </a:lnTo>
                  <a:lnTo>
                    <a:pt x="98643" y="65011"/>
                  </a:lnTo>
                  <a:lnTo>
                    <a:pt x="112132" y="43615"/>
                  </a:lnTo>
                  <a:lnTo>
                    <a:pt x="122250" y="32094"/>
                  </a:lnTo>
                  <a:lnTo>
                    <a:pt x="142484" y="50198"/>
                  </a:lnTo>
                  <a:lnTo>
                    <a:pt x="155974" y="40323"/>
                  </a:lnTo>
                  <a:lnTo>
                    <a:pt x="159347" y="43615"/>
                  </a:lnTo>
                  <a:lnTo>
                    <a:pt x="166092" y="40323"/>
                  </a:lnTo>
                  <a:lnTo>
                    <a:pt x="182954" y="18927"/>
                  </a:lnTo>
                  <a:lnTo>
                    <a:pt x="203189" y="33740"/>
                  </a:lnTo>
                  <a:lnTo>
                    <a:pt x="206561" y="33740"/>
                  </a:lnTo>
                  <a:lnTo>
                    <a:pt x="211620" y="25510"/>
                  </a:lnTo>
                  <a:lnTo>
                    <a:pt x="241972" y="45261"/>
                  </a:lnTo>
                  <a:lnTo>
                    <a:pt x="262207" y="55136"/>
                  </a:lnTo>
                  <a:lnTo>
                    <a:pt x="272324" y="56782"/>
                  </a:lnTo>
                  <a:lnTo>
                    <a:pt x="277383" y="61719"/>
                  </a:lnTo>
                  <a:lnTo>
                    <a:pt x="275696" y="68303"/>
                  </a:lnTo>
                  <a:lnTo>
                    <a:pt x="277383" y="79824"/>
                  </a:lnTo>
                  <a:lnTo>
                    <a:pt x="295931" y="88053"/>
                  </a:lnTo>
                  <a:lnTo>
                    <a:pt x="287500" y="109449"/>
                  </a:lnTo>
                  <a:lnTo>
                    <a:pt x="295931" y="119324"/>
                  </a:lnTo>
                  <a:lnTo>
                    <a:pt x="324597" y="122616"/>
                  </a:lnTo>
                  <a:lnTo>
                    <a:pt x="324597" y="119324"/>
                  </a:lnTo>
                  <a:lnTo>
                    <a:pt x="333028" y="122616"/>
                  </a:lnTo>
                  <a:lnTo>
                    <a:pt x="338087" y="139075"/>
                  </a:lnTo>
                  <a:lnTo>
                    <a:pt x="343145" y="139075"/>
                  </a:lnTo>
                  <a:lnTo>
                    <a:pt x="346518" y="160471"/>
                  </a:lnTo>
                  <a:lnTo>
                    <a:pt x="341459" y="158825"/>
                  </a:lnTo>
                  <a:lnTo>
                    <a:pt x="324597" y="163763"/>
                  </a:lnTo>
                  <a:lnTo>
                    <a:pt x="321224" y="158825"/>
                  </a:lnTo>
                  <a:lnTo>
                    <a:pt x="309421" y="157179"/>
                  </a:lnTo>
                  <a:lnTo>
                    <a:pt x="302676" y="162117"/>
                  </a:lnTo>
                  <a:lnTo>
                    <a:pt x="292559" y="153888"/>
                  </a:lnTo>
                  <a:lnTo>
                    <a:pt x="292559" y="158825"/>
                  </a:lnTo>
                  <a:lnTo>
                    <a:pt x="285814" y="175284"/>
                  </a:lnTo>
                  <a:lnTo>
                    <a:pt x="287500" y="180221"/>
                  </a:lnTo>
                  <a:lnTo>
                    <a:pt x="290872" y="185159"/>
                  </a:lnTo>
                  <a:lnTo>
                    <a:pt x="287500" y="193388"/>
                  </a:lnTo>
                  <a:lnTo>
                    <a:pt x="289186" y="206555"/>
                  </a:lnTo>
                  <a:lnTo>
                    <a:pt x="279069" y="211493"/>
                  </a:lnTo>
                  <a:lnTo>
                    <a:pt x="270638" y="219722"/>
                  </a:lnTo>
                  <a:lnTo>
                    <a:pt x="238599" y="213139"/>
                  </a:lnTo>
                  <a:lnTo>
                    <a:pt x="233541" y="216431"/>
                  </a:lnTo>
                  <a:lnTo>
                    <a:pt x="228482" y="209847"/>
                  </a:lnTo>
                  <a:lnTo>
                    <a:pt x="218365" y="206555"/>
                  </a:lnTo>
                  <a:lnTo>
                    <a:pt x="211620" y="226306"/>
                  </a:lnTo>
                  <a:lnTo>
                    <a:pt x="208247" y="226306"/>
                  </a:lnTo>
                  <a:lnTo>
                    <a:pt x="196444" y="203264"/>
                  </a:lnTo>
                  <a:lnTo>
                    <a:pt x="191385" y="204910"/>
                  </a:lnTo>
                  <a:lnTo>
                    <a:pt x="184640" y="199972"/>
                  </a:lnTo>
                  <a:lnTo>
                    <a:pt x="155974" y="196680"/>
                  </a:lnTo>
                  <a:lnTo>
                    <a:pt x="145857" y="219722"/>
                  </a:lnTo>
                  <a:lnTo>
                    <a:pt x="144171" y="282265"/>
                  </a:lnTo>
                  <a:lnTo>
                    <a:pt x="140798" y="282265"/>
                  </a:lnTo>
                  <a:lnTo>
                    <a:pt x="132367" y="277327"/>
                  </a:lnTo>
                  <a:lnTo>
                    <a:pt x="132367" y="274036"/>
                  </a:lnTo>
                  <a:lnTo>
                    <a:pt x="123936" y="270744"/>
                  </a:lnTo>
                  <a:lnTo>
                    <a:pt x="107074" y="239473"/>
                  </a:lnTo>
                  <a:lnTo>
                    <a:pt x="91898" y="224660"/>
                  </a:lnTo>
                  <a:lnTo>
                    <a:pt x="90212" y="213139"/>
                  </a:lnTo>
                  <a:lnTo>
                    <a:pt x="80094" y="209847"/>
                  </a:lnTo>
                  <a:lnTo>
                    <a:pt x="75036" y="198326"/>
                  </a:lnTo>
                  <a:lnTo>
                    <a:pt x="76722" y="196680"/>
                  </a:lnTo>
                  <a:lnTo>
                    <a:pt x="48056" y="186805"/>
                  </a:lnTo>
                  <a:lnTo>
                    <a:pt x="56487" y="132492"/>
                  </a:lnTo>
                  <a:lnTo>
                    <a:pt x="39625" y="127554"/>
                  </a:lnTo>
                  <a:lnTo>
                    <a:pt x="32880" y="102866"/>
                  </a:lnTo>
                  <a:lnTo>
                    <a:pt x="12645" y="104512"/>
                  </a:lnTo>
                  <a:lnTo>
                    <a:pt x="7587" y="99574"/>
                  </a:lnTo>
                  <a:lnTo>
                    <a:pt x="12645" y="84761"/>
                  </a:lnTo>
                  <a:lnTo>
                    <a:pt x="17704" y="83116"/>
                  </a:lnTo>
                  <a:lnTo>
                    <a:pt x="19390" y="74886"/>
                  </a:lnTo>
                  <a:lnTo>
                    <a:pt x="16018" y="73240"/>
                  </a:lnTo>
                  <a:lnTo>
                    <a:pt x="4214" y="50198"/>
                  </a:lnTo>
                  <a:lnTo>
                    <a:pt x="9273" y="32094"/>
                  </a:lnTo>
                  <a:lnTo>
                    <a:pt x="26135" y="25510"/>
                  </a:lnTo>
                  <a:lnTo>
                    <a:pt x="29507" y="18927"/>
                  </a:lnTo>
                  <a:lnTo>
                    <a:pt x="54801"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6" name="Dantumadiel">
              <a:extLst>
                <a:ext uri="{FF2B5EF4-FFF2-40B4-BE49-F238E27FC236}">
                  <a16:creationId xmlns:a16="http://schemas.microsoft.com/office/drawing/2014/main" id="{92841AD1-1588-43B7-8F17-77004303D6FB}"/>
                </a:ext>
              </a:extLst>
            </p:cNvPr>
            <p:cNvSpPr/>
            <p:nvPr/>
          </p:nvSpPr>
          <p:spPr>
            <a:xfrm>
              <a:off x="6733299" y="1518468"/>
              <a:ext cx="190345" cy="151157"/>
            </a:xfrm>
            <a:custGeom>
              <a:avLst/>
              <a:gdLst/>
              <a:ahLst/>
              <a:cxnLst/>
              <a:rect l="l" t="t" r="r" b="b"/>
              <a:pathLst>
                <a:path w="292704" h="240030" extrusionOk="0">
                  <a:moveTo>
                    <a:pt x="228482" y="4114"/>
                  </a:moveTo>
                  <a:lnTo>
                    <a:pt x="230168" y="5760"/>
                  </a:lnTo>
                  <a:lnTo>
                    <a:pt x="233540" y="4114"/>
                  </a:lnTo>
                  <a:lnTo>
                    <a:pt x="245344" y="7406"/>
                  </a:lnTo>
                  <a:lnTo>
                    <a:pt x="255461" y="4114"/>
                  </a:lnTo>
                  <a:lnTo>
                    <a:pt x="277382" y="7406"/>
                  </a:lnTo>
                  <a:lnTo>
                    <a:pt x="285813" y="4114"/>
                  </a:lnTo>
                  <a:lnTo>
                    <a:pt x="292558" y="10697"/>
                  </a:lnTo>
                  <a:lnTo>
                    <a:pt x="287500" y="12343"/>
                  </a:lnTo>
                  <a:lnTo>
                    <a:pt x="289186" y="22218"/>
                  </a:lnTo>
                  <a:lnTo>
                    <a:pt x="284127" y="25510"/>
                  </a:lnTo>
                  <a:lnTo>
                    <a:pt x="284127" y="73240"/>
                  </a:lnTo>
                  <a:lnTo>
                    <a:pt x="280755" y="71594"/>
                  </a:lnTo>
                  <a:lnTo>
                    <a:pt x="287500" y="83115"/>
                  </a:lnTo>
                  <a:lnTo>
                    <a:pt x="275696" y="83115"/>
                  </a:lnTo>
                  <a:lnTo>
                    <a:pt x="258834" y="86407"/>
                  </a:lnTo>
                  <a:lnTo>
                    <a:pt x="257148" y="112741"/>
                  </a:lnTo>
                  <a:lnTo>
                    <a:pt x="260520" y="114387"/>
                  </a:lnTo>
                  <a:lnTo>
                    <a:pt x="257148" y="114387"/>
                  </a:lnTo>
                  <a:lnTo>
                    <a:pt x="255461" y="145658"/>
                  </a:lnTo>
                  <a:lnTo>
                    <a:pt x="253775" y="145658"/>
                  </a:lnTo>
                  <a:lnTo>
                    <a:pt x="243658" y="201618"/>
                  </a:lnTo>
                  <a:lnTo>
                    <a:pt x="221737" y="203264"/>
                  </a:lnTo>
                  <a:lnTo>
                    <a:pt x="220051" y="206555"/>
                  </a:lnTo>
                  <a:lnTo>
                    <a:pt x="211620" y="203264"/>
                  </a:lnTo>
                  <a:lnTo>
                    <a:pt x="208247" y="208201"/>
                  </a:lnTo>
                  <a:lnTo>
                    <a:pt x="203188" y="206555"/>
                  </a:lnTo>
                  <a:lnTo>
                    <a:pt x="154288" y="234535"/>
                  </a:lnTo>
                  <a:lnTo>
                    <a:pt x="139112" y="239473"/>
                  </a:lnTo>
                  <a:lnTo>
                    <a:pt x="113819" y="239473"/>
                  </a:lnTo>
                  <a:lnTo>
                    <a:pt x="93584" y="185159"/>
                  </a:lnTo>
                  <a:lnTo>
                    <a:pt x="68290" y="181867"/>
                  </a:lnTo>
                  <a:lnTo>
                    <a:pt x="68290" y="175284"/>
                  </a:lnTo>
                  <a:lnTo>
                    <a:pt x="64918" y="168700"/>
                  </a:lnTo>
                  <a:lnTo>
                    <a:pt x="51428" y="165409"/>
                  </a:lnTo>
                  <a:lnTo>
                    <a:pt x="4214" y="122616"/>
                  </a:lnTo>
                  <a:lnTo>
                    <a:pt x="17704" y="114387"/>
                  </a:lnTo>
                  <a:lnTo>
                    <a:pt x="26135" y="102866"/>
                  </a:lnTo>
                  <a:lnTo>
                    <a:pt x="39625" y="96282"/>
                  </a:lnTo>
                  <a:lnTo>
                    <a:pt x="34566" y="79824"/>
                  </a:lnTo>
                  <a:lnTo>
                    <a:pt x="24449" y="61719"/>
                  </a:lnTo>
                  <a:lnTo>
                    <a:pt x="59859" y="38677"/>
                  </a:lnTo>
                  <a:lnTo>
                    <a:pt x="63232" y="35385"/>
                  </a:lnTo>
                  <a:lnTo>
                    <a:pt x="80094" y="28802"/>
                  </a:lnTo>
                  <a:lnTo>
                    <a:pt x="102015" y="23864"/>
                  </a:lnTo>
                  <a:lnTo>
                    <a:pt x="108760" y="15635"/>
                  </a:lnTo>
                  <a:lnTo>
                    <a:pt x="123936" y="10697"/>
                  </a:lnTo>
                  <a:lnTo>
                    <a:pt x="135740" y="13989"/>
                  </a:lnTo>
                  <a:lnTo>
                    <a:pt x="139112" y="27156"/>
                  </a:lnTo>
                  <a:lnTo>
                    <a:pt x="134053" y="32094"/>
                  </a:lnTo>
                  <a:lnTo>
                    <a:pt x="142484" y="48552"/>
                  </a:lnTo>
                  <a:lnTo>
                    <a:pt x="162719" y="40323"/>
                  </a:lnTo>
                  <a:lnTo>
                    <a:pt x="174522" y="40323"/>
                  </a:lnTo>
                  <a:lnTo>
                    <a:pt x="208247" y="45261"/>
                  </a:lnTo>
                  <a:lnTo>
                    <a:pt x="209933" y="7406"/>
                  </a:lnTo>
                  <a:lnTo>
                    <a:pt x="228482"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7" name="Hellevoetsluis">
              <a:extLst>
                <a:ext uri="{FF2B5EF4-FFF2-40B4-BE49-F238E27FC236}">
                  <a16:creationId xmlns:a16="http://schemas.microsoft.com/office/drawing/2014/main" id="{677ED6C3-2224-468B-9875-505A1166F308}"/>
                </a:ext>
              </a:extLst>
            </p:cNvPr>
            <p:cNvSpPr/>
            <p:nvPr/>
          </p:nvSpPr>
          <p:spPr>
            <a:xfrm>
              <a:off x="4837906" y="3871918"/>
              <a:ext cx="152276" cy="94480"/>
            </a:xfrm>
            <a:custGeom>
              <a:avLst/>
              <a:gdLst/>
              <a:ahLst/>
              <a:cxnLst/>
              <a:rect l="l" t="t" r="r" b="b"/>
              <a:pathLst>
                <a:path w="234163" h="148590" extrusionOk="0">
                  <a:moveTo>
                    <a:pt x="107074" y="140721"/>
                  </a:moveTo>
                  <a:lnTo>
                    <a:pt x="105388" y="140721"/>
                  </a:lnTo>
                  <a:lnTo>
                    <a:pt x="102015" y="135783"/>
                  </a:lnTo>
                  <a:lnTo>
                    <a:pt x="107074" y="140721"/>
                  </a:lnTo>
                  <a:close/>
                  <a:moveTo>
                    <a:pt x="98643" y="137429"/>
                  </a:moveTo>
                  <a:lnTo>
                    <a:pt x="100329" y="137429"/>
                  </a:lnTo>
                  <a:lnTo>
                    <a:pt x="91898" y="135783"/>
                  </a:lnTo>
                  <a:lnTo>
                    <a:pt x="98643" y="137429"/>
                  </a:lnTo>
                  <a:close/>
                  <a:moveTo>
                    <a:pt x="171150" y="7406"/>
                  </a:moveTo>
                  <a:lnTo>
                    <a:pt x="174523" y="12344"/>
                  </a:lnTo>
                  <a:lnTo>
                    <a:pt x="166092" y="18927"/>
                  </a:lnTo>
                  <a:lnTo>
                    <a:pt x="176209" y="38677"/>
                  </a:lnTo>
                  <a:lnTo>
                    <a:pt x="182954" y="37031"/>
                  </a:lnTo>
                  <a:lnTo>
                    <a:pt x="216679" y="50198"/>
                  </a:lnTo>
                  <a:lnTo>
                    <a:pt x="199816" y="68303"/>
                  </a:lnTo>
                  <a:lnTo>
                    <a:pt x="209934" y="73240"/>
                  </a:lnTo>
                  <a:lnTo>
                    <a:pt x="209934" y="81470"/>
                  </a:lnTo>
                  <a:lnTo>
                    <a:pt x="223423" y="83116"/>
                  </a:lnTo>
                  <a:lnTo>
                    <a:pt x="228482" y="81470"/>
                  </a:lnTo>
                  <a:lnTo>
                    <a:pt x="233541" y="81470"/>
                  </a:lnTo>
                  <a:lnTo>
                    <a:pt x="233541" y="88053"/>
                  </a:lnTo>
                  <a:lnTo>
                    <a:pt x="216679" y="107803"/>
                  </a:lnTo>
                  <a:lnTo>
                    <a:pt x="214992" y="116033"/>
                  </a:lnTo>
                  <a:lnTo>
                    <a:pt x="186326" y="137429"/>
                  </a:lnTo>
                  <a:lnTo>
                    <a:pt x="182954" y="137429"/>
                  </a:lnTo>
                  <a:lnTo>
                    <a:pt x="172837" y="144013"/>
                  </a:lnTo>
                  <a:lnTo>
                    <a:pt x="174523" y="147304"/>
                  </a:lnTo>
                  <a:lnTo>
                    <a:pt x="172837" y="150596"/>
                  </a:lnTo>
                  <a:lnTo>
                    <a:pt x="167778" y="147304"/>
                  </a:lnTo>
                  <a:lnTo>
                    <a:pt x="154288" y="148950"/>
                  </a:lnTo>
                  <a:lnTo>
                    <a:pt x="147543" y="145658"/>
                  </a:lnTo>
                  <a:lnTo>
                    <a:pt x="142485" y="145658"/>
                  </a:lnTo>
                  <a:lnTo>
                    <a:pt x="142485" y="152242"/>
                  </a:lnTo>
                  <a:lnTo>
                    <a:pt x="137426" y="153888"/>
                  </a:lnTo>
                  <a:lnTo>
                    <a:pt x="137426" y="150596"/>
                  </a:lnTo>
                  <a:lnTo>
                    <a:pt x="125622" y="153888"/>
                  </a:lnTo>
                  <a:lnTo>
                    <a:pt x="125622" y="150596"/>
                  </a:lnTo>
                  <a:lnTo>
                    <a:pt x="128995" y="150596"/>
                  </a:lnTo>
                  <a:lnTo>
                    <a:pt x="132367" y="145658"/>
                  </a:lnTo>
                  <a:lnTo>
                    <a:pt x="128995" y="145658"/>
                  </a:lnTo>
                  <a:lnTo>
                    <a:pt x="128995" y="150596"/>
                  </a:lnTo>
                  <a:lnTo>
                    <a:pt x="125622" y="148950"/>
                  </a:lnTo>
                  <a:lnTo>
                    <a:pt x="128995" y="130845"/>
                  </a:lnTo>
                  <a:lnTo>
                    <a:pt x="125622" y="129200"/>
                  </a:lnTo>
                  <a:lnTo>
                    <a:pt x="125622" y="153888"/>
                  </a:lnTo>
                  <a:lnTo>
                    <a:pt x="118877" y="147304"/>
                  </a:lnTo>
                  <a:lnTo>
                    <a:pt x="115505" y="150596"/>
                  </a:lnTo>
                  <a:lnTo>
                    <a:pt x="118877" y="137429"/>
                  </a:lnTo>
                  <a:lnTo>
                    <a:pt x="115505" y="135783"/>
                  </a:lnTo>
                  <a:lnTo>
                    <a:pt x="112133" y="135783"/>
                  </a:lnTo>
                  <a:lnTo>
                    <a:pt x="108760" y="147304"/>
                  </a:lnTo>
                  <a:lnTo>
                    <a:pt x="112133" y="150596"/>
                  </a:lnTo>
                  <a:lnTo>
                    <a:pt x="108760" y="147304"/>
                  </a:lnTo>
                  <a:lnTo>
                    <a:pt x="108760" y="139075"/>
                  </a:lnTo>
                  <a:lnTo>
                    <a:pt x="105388" y="135783"/>
                  </a:lnTo>
                  <a:lnTo>
                    <a:pt x="80094" y="129200"/>
                  </a:lnTo>
                  <a:lnTo>
                    <a:pt x="86839" y="132492"/>
                  </a:lnTo>
                  <a:lnTo>
                    <a:pt x="86839" y="135783"/>
                  </a:lnTo>
                  <a:lnTo>
                    <a:pt x="73349" y="129200"/>
                  </a:lnTo>
                  <a:lnTo>
                    <a:pt x="42997" y="96283"/>
                  </a:lnTo>
                  <a:lnTo>
                    <a:pt x="12645" y="111095"/>
                  </a:lnTo>
                  <a:lnTo>
                    <a:pt x="4214" y="120971"/>
                  </a:lnTo>
                  <a:lnTo>
                    <a:pt x="16018" y="104512"/>
                  </a:lnTo>
                  <a:lnTo>
                    <a:pt x="32880" y="92991"/>
                  </a:lnTo>
                  <a:lnTo>
                    <a:pt x="32880" y="89699"/>
                  </a:lnTo>
                  <a:lnTo>
                    <a:pt x="56487" y="84761"/>
                  </a:lnTo>
                  <a:lnTo>
                    <a:pt x="59860" y="78178"/>
                  </a:lnTo>
                  <a:lnTo>
                    <a:pt x="66604" y="71595"/>
                  </a:lnTo>
                  <a:lnTo>
                    <a:pt x="80094" y="71595"/>
                  </a:lnTo>
                  <a:lnTo>
                    <a:pt x="110446" y="60074"/>
                  </a:lnTo>
                  <a:lnTo>
                    <a:pt x="108760" y="56782"/>
                  </a:lnTo>
                  <a:lnTo>
                    <a:pt x="115505" y="53490"/>
                  </a:lnTo>
                  <a:lnTo>
                    <a:pt x="113819" y="40323"/>
                  </a:lnTo>
                  <a:lnTo>
                    <a:pt x="125622" y="30448"/>
                  </a:lnTo>
                  <a:lnTo>
                    <a:pt x="130681" y="17281"/>
                  </a:lnTo>
                  <a:lnTo>
                    <a:pt x="140798" y="12344"/>
                  </a:lnTo>
                  <a:lnTo>
                    <a:pt x="140798" y="9052"/>
                  </a:lnTo>
                  <a:lnTo>
                    <a:pt x="145857" y="10698"/>
                  </a:lnTo>
                  <a:lnTo>
                    <a:pt x="169464" y="4114"/>
                  </a:lnTo>
                  <a:lnTo>
                    <a:pt x="171150" y="7406"/>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8" name="Nissewaard">
              <a:extLst>
                <a:ext uri="{FF2B5EF4-FFF2-40B4-BE49-F238E27FC236}">
                  <a16:creationId xmlns:a16="http://schemas.microsoft.com/office/drawing/2014/main" id="{468A74C6-47F7-4ED9-ACCD-7062D249FCA3}"/>
                </a:ext>
              </a:extLst>
            </p:cNvPr>
            <p:cNvSpPr/>
            <p:nvPr/>
          </p:nvSpPr>
          <p:spPr>
            <a:xfrm>
              <a:off x="4932805" y="3870015"/>
              <a:ext cx="295807" cy="153180"/>
            </a:xfrm>
            <a:custGeom>
              <a:avLst/>
              <a:gdLst/>
              <a:ahLst/>
              <a:cxnLst/>
              <a:rect l="l" t="t" r="r" b="b"/>
              <a:pathLst>
                <a:path w="433202" h="217170" extrusionOk="0">
                  <a:moveTo>
                    <a:pt x="10959" y="171992"/>
                  </a:moveTo>
                  <a:lnTo>
                    <a:pt x="14332" y="173638"/>
                  </a:lnTo>
                  <a:lnTo>
                    <a:pt x="10959" y="175284"/>
                  </a:lnTo>
                  <a:lnTo>
                    <a:pt x="4214" y="171992"/>
                  </a:lnTo>
                  <a:lnTo>
                    <a:pt x="10959" y="171992"/>
                  </a:lnTo>
                  <a:close/>
                  <a:moveTo>
                    <a:pt x="306048" y="56782"/>
                  </a:moveTo>
                  <a:lnTo>
                    <a:pt x="319538" y="68303"/>
                  </a:lnTo>
                  <a:lnTo>
                    <a:pt x="344832" y="79824"/>
                  </a:lnTo>
                  <a:lnTo>
                    <a:pt x="370125" y="81470"/>
                  </a:lnTo>
                  <a:lnTo>
                    <a:pt x="398791" y="79824"/>
                  </a:lnTo>
                  <a:lnTo>
                    <a:pt x="412281" y="83116"/>
                  </a:lnTo>
                  <a:lnTo>
                    <a:pt x="434202" y="94637"/>
                  </a:lnTo>
                  <a:lnTo>
                    <a:pt x="420712" y="107803"/>
                  </a:lnTo>
                  <a:lnTo>
                    <a:pt x="412281" y="112741"/>
                  </a:lnTo>
                  <a:lnTo>
                    <a:pt x="380242" y="107803"/>
                  </a:lnTo>
                  <a:lnTo>
                    <a:pt x="336400" y="142367"/>
                  </a:lnTo>
                  <a:lnTo>
                    <a:pt x="314480" y="135783"/>
                  </a:lnTo>
                  <a:lnTo>
                    <a:pt x="289186" y="142367"/>
                  </a:lnTo>
                  <a:lnTo>
                    <a:pt x="277383" y="150596"/>
                  </a:lnTo>
                  <a:lnTo>
                    <a:pt x="240286" y="158825"/>
                  </a:lnTo>
                  <a:lnTo>
                    <a:pt x="223423" y="175284"/>
                  </a:lnTo>
                  <a:lnTo>
                    <a:pt x="181268" y="168700"/>
                  </a:lnTo>
                  <a:lnTo>
                    <a:pt x="172837" y="173638"/>
                  </a:lnTo>
                  <a:lnTo>
                    <a:pt x="147543" y="214785"/>
                  </a:lnTo>
                  <a:lnTo>
                    <a:pt x="144171" y="213139"/>
                  </a:lnTo>
                  <a:lnTo>
                    <a:pt x="137426" y="216431"/>
                  </a:lnTo>
                  <a:lnTo>
                    <a:pt x="122250" y="208201"/>
                  </a:lnTo>
                  <a:lnTo>
                    <a:pt x="117191" y="201618"/>
                  </a:lnTo>
                  <a:lnTo>
                    <a:pt x="122250" y="195034"/>
                  </a:lnTo>
                  <a:lnTo>
                    <a:pt x="115505" y="201618"/>
                  </a:lnTo>
                  <a:lnTo>
                    <a:pt x="107074" y="191742"/>
                  </a:lnTo>
                  <a:lnTo>
                    <a:pt x="108760" y="188451"/>
                  </a:lnTo>
                  <a:lnTo>
                    <a:pt x="103701" y="186805"/>
                  </a:lnTo>
                  <a:lnTo>
                    <a:pt x="105388" y="183513"/>
                  </a:lnTo>
                  <a:lnTo>
                    <a:pt x="102015" y="186805"/>
                  </a:lnTo>
                  <a:lnTo>
                    <a:pt x="96957" y="180221"/>
                  </a:lnTo>
                  <a:lnTo>
                    <a:pt x="91898" y="178576"/>
                  </a:lnTo>
                  <a:lnTo>
                    <a:pt x="93584" y="173638"/>
                  </a:lnTo>
                  <a:lnTo>
                    <a:pt x="90212" y="178576"/>
                  </a:lnTo>
                  <a:lnTo>
                    <a:pt x="78408" y="171992"/>
                  </a:lnTo>
                  <a:lnTo>
                    <a:pt x="80094" y="165409"/>
                  </a:lnTo>
                  <a:lnTo>
                    <a:pt x="76722" y="171992"/>
                  </a:lnTo>
                  <a:lnTo>
                    <a:pt x="68291" y="168700"/>
                  </a:lnTo>
                  <a:lnTo>
                    <a:pt x="69977" y="165409"/>
                  </a:lnTo>
                  <a:lnTo>
                    <a:pt x="66605" y="170346"/>
                  </a:lnTo>
                  <a:lnTo>
                    <a:pt x="54801" y="168700"/>
                  </a:lnTo>
                  <a:lnTo>
                    <a:pt x="51429" y="170346"/>
                  </a:lnTo>
                  <a:lnTo>
                    <a:pt x="53115" y="168700"/>
                  </a:lnTo>
                  <a:lnTo>
                    <a:pt x="48056" y="167055"/>
                  </a:lnTo>
                  <a:lnTo>
                    <a:pt x="26135" y="135783"/>
                  </a:lnTo>
                  <a:lnTo>
                    <a:pt x="14332" y="127554"/>
                  </a:lnTo>
                  <a:lnTo>
                    <a:pt x="16018" y="124262"/>
                  </a:lnTo>
                  <a:lnTo>
                    <a:pt x="14332" y="120971"/>
                  </a:lnTo>
                  <a:lnTo>
                    <a:pt x="24449" y="114387"/>
                  </a:lnTo>
                  <a:lnTo>
                    <a:pt x="27821" y="114387"/>
                  </a:lnTo>
                  <a:lnTo>
                    <a:pt x="56487" y="92991"/>
                  </a:lnTo>
                  <a:lnTo>
                    <a:pt x="58173" y="84761"/>
                  </a:lnTo>
                  <a:lnTo>
                    <a:pt x="75036" y="65011"/>
                  </a:lnTo>
                  <a:lnTo>
                    <a:pt x="75036" y="58428"/>
                  </a:lnTo>
                  <a:lnTo>
                    <a:pt x="64918" y="60074"/>
                  </a:lnTo>
                  <a:lnTo>
                    <a:pt x="54801" y="58428"/>
                  </a:lnTo>
                  <a:lnTo>
                    <a:pt x="139112" y="4114"/>
                  </a:lnTo>
                  <a:lnTo>
                    <a:pt x="169464" y="20573"/>
                  </a:lnTo>
                  <a:lnTo>
                    <a:pt x="179582" y="23864"/>
                  </a:lnTo>
                  <a:lnTo>
                    <a:pt x="285814" y="27156"/>
                  </a:lnTo>
                  <a:lnTo>
                    <a:pt x="297617" y="46906"/>
                  </a:lnTo>
                  <a:lnTo>
                    <a:pt x="306048" y="5678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09" name="Noordenveld">
              <a:extLst>
                <a:ext uri="{FF2B5EF4-FFF2-40B4-BE49-F238E27FC236}">
                  <a16:creationId xmlns:a16="http://schemas.microsoft.com/office/drawing/2014/main" id="{874F6098-F99C-4B14-960E-2F853DCB1DEA}"/>
                </a:ext>
              </a:extLst>
            </p:cNvPr>
            <p:cNvSpPr/>
            <p:nvPr/>
          </p:nvSpPr>
          <p:spPr>
            <a:xfrm>
              <a:off x="7168893" y="1697725"/>
              <a:ext cx="250927" cy="361999"/>
            </a:xfrm>
            <a:custGeom>
              <a:avLst/>
              <a:gdLst/>
              <a:ahLst/>
              <a:cxnLst/>
              <a:rect l="l" t="t" r="r" b="b"/>
              <a:pathLst>
                <a:path w="351245" h="525780" extrusionOk="0">
                  <a:moveTo>
                    <a:pt x="275696" y="7406"/>
                  </a:moveTo>
                  <a:lnTo>
                    <a:pt x="279069" y="10697"/>
                  </a:lnTo>
                  <a:lnTo>
                    <a:pt x="282441" y="17281"/>
                  </a:lnTo>
                  <a:lnTo>
                    <a:pt x="300990" y="12343"/>
                  </a:lnTo>
                  <a:lnTo>
                    <a:pt x="312793" y="17281"/>
                  </a:lnTo>
                  <a:lnTo>
                    <a:pt x="309421" y="22218"/>
                  </a:lnTo>
                  <a:lnTo>
                    <a:pt x="316166" y="37031"/>
                  </a:lnTo>
                  <a:lnTo>
                    <a:pt x="316166" y="41969"/>
                  </a:lnTo>
                  <a:lnTo>
                    <a:pt x="322911" y="46907"/>
                  </a:lnTo>
                  <a:lnTo>
                    <a:pt x="329656" y="65011"/>
                  </a:lnTo>
                  <a:lnTo>
                    <a:pt x="338087" y="76532"/>
                  </a:lnTo>
                  <a:lnTo>
                    <a:pt x="336401" y="79824"/>
                  </a:lnTo>
                  <a:lnTo>
                    <a:pt x="344832" y="81470"/>
                  </a:lnTo>
                  <a:lnTo>
                    <a:pt x="341459" y="86407"/>
                  </a:lnTo>
                  <a:lnTo>
                    <a:pt x="346518" y="89699"/>
                  </a:lnTo>
                  <a:lnTo>
                    <a:pt x="344832" y="94637"/>
                  </a:lnTo>
                  <a:lnTo>
                    <a:pt x="348204" y="96282"/>
                  </a:lnTo>
                  <a:lnTo>
                    <a:pt x="343145" y="106158"/>
                  </a:lnTo>
                  <a:lnTo>
                    <a:pt x="348204" y="112741"/>
                  </a:lnTo>
                  <a:lnTo>
                    <a:pt x="348204" y="119324"/>
                  </a:lnTo>
                  <a:lnTo>
                    <a:pt x="343145" y="129200"/>
                  </a:lnTo>
                  <a:lnTo>
                    <a:pt x="348204" y="135783"/>
                  </a:lnTo>
                  <a:lnTo>
                    <a:pt x="349890" y="144012"/>
                  </a:lnTo>
                  <a:lnTo>
                    <a:pt x="348204" y="150596"/>
                  </a:lnTo>
                  <a:lnTo>
                    <a:pt x="353263" y="158825"/>
                  </a:lnTo>
                  <a:lnTo>
                    <a:pt x="351576" y="175284"/>
                  </a:lnTo>
                  <a:lnTo>
                    <a:pt x="309421" y="180221"/>
                  </a:lnTo>
                  <a:lnTo>
                    <a:pt x="312793" y="193388"/>
                  </a:lnTo>
                  <a:lnTo>
                    <a:pt x="294245" y="204909"/>
                  </a:lnTo>
                  <a:lnTo>
                    <a:pt x="290872" y="198326"/>
                  </a:lnTo>
                  <a:lnTo>
                    <a:pt x="263893" y="204909"/>
                  </a:lnTo>
                  <a:lnTo>
                    <a:pt x="270638" y="226306"/>
                  </a:lnTo>
                  <a:lnTo>
                    <a:pt x="272324" y="239473"/>
                  </a:lnTo>
                  <a:lnTo>
                    <a:pt x="279069" y="260869"/>
                  </a:lnTo>
                  <a:lnTo>
                    <a:pt x="316166" y="321766"/>
                  </a:lnTo>
                  <a:lnTo>
                    <a:pt x="317852" y="338224"/>
                  </a:lnTo>
                  <a:lnTo>
                    <a:pt x="314480" y="359621"/>
                  </a:lnTo>
                  <a:lnTo>
                    <a:pt x="295931" y="404059"/>
                  </a:lnTo>
                  <a:lnTo>
                    <a:pt x="300990" y="418872"/>
                  </a:lnTo>
                  <a:lnTo>
                    <a:pt x="290872" y="422163"/>
                  </a:lnTo>
                  <a:lnTo>
                    <a:pt x="302676" y="456726"/>
                  </a:lnTo>
                  <a:lnTo>
                    <a:pt x="312793" y="455081"/>
                  </a:lnTo>
                  <a:lnTo>
                    <a:pt x="317852" y="469893"/>
                  </a:lnTo>
                  <a:lnTo>
                    <a:pt x="306049" y="471539"/>
                  </a:lnTo>
                  <a:lnTo>
                    <a:pt x="169464" y="532436"/>
                  </a:lnTo>
                  <a:lnTo>
                    <a:pt x="91898" y="417226"/>
                  </a:lnTo>
                  <a:lnTo>
                    <a:pt x="98643" y="336579"/>
                  </a:lnTo>
                  <a:lnTo>
                    <a:pt x="4214" y="303661"/>
                  </a:lnTo>
                  <a:lnTo>
                    <a:pt x="19390" y="272390"/>
                  </a:lnTo>
                  <a:lnTo>
                    <a:pt x="63232" y="288848"/>
                  </a:lnTo>
                  <a:lnTo>
                    <a:pt x="80094" y="241118"/>
                  </a:lnTo>
                  <a:lnTo>
                    <a:pt x="90212" y="239473"/>
                  </a:lnTo>
                  <a:lnTo>
                    <a:pt x="93584" y="203264"/>
                  </a:lnTo>
                  <a:lnTo>
                    <a:pt x="117191" y="137429"/>
                  </a:lnTo>
                  <a:lnTo>
                    <a:pt x="115505" y="127554"/>
                  </a:lnTo>
                  <a:lnTo>
                    <a:pt x="130681" y="114387"/>
                  </a:lnTo>
                  <a:lnTo>
                    <a:pt x="135740" y="102866"/>
                  </a:lnTo>
                  <a:lnTo>
                    <a:pt x="147543" y="94637"/>
                  </a:lnTo>
                  <a:lnTo>
                    <a:pt x="149230" y="78178"/>
                  </a:lnTo>
                  <a:lnTo>
                    <a:pt x="152602" y="69949"/>
                  </a:lnTo>
                  <a:lnTo>
                    <a:pt x="177895" y="60073"/>
                  </a:lnTo>
                  <a:lnTo>
                    <a:pt x="193071" y="48552"/>
                  </a:lnTo>
                  <a:lnTo>
                    <a:pt x="199816" y="48552"/>
                  </a:lnTo>
                  <a:lnTo>
                    <a:pt x="206561" y="43615"/>
                  </a:lnTo>
                  <a:lnTo>
                    <a:pt x="213306" y="22218"/>
                  </a:lnTo>
                  <a:lnTo>
                    <a:pt x="262207" y="5760"/>
                  </a:lnTo>
                  <a:lnTo>
                    <a:pt x="268951" y="4114"/>
                  </a:lnTo>
                  <a:lnTo>
                    <a:pt x="275696" y="740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0" name="Cranendonck">
              <a:extLst>
                <a:ext uri="{FF2B5EF4-FFF2-40B4-BE49-F238E27FC236}">
                  <a16:creationId xmlns:a16="http://schemas.microsoft.com/office/drawing/2014/main" id="{BB8BC6AC-7BB7-449F-BCE3-D710B6EBCA70}"/>
                </a:ext>
              </a:extLst>
            </p:cNvPr>
            <p:cNvSpPr/>
            <p:nvPr/>
          </p:nvSpPr>
          <p:spPr>
            <a:xfrm>
              <a:off x="6380077" y="4747075"/>
              <a:ext cx="152651" cy="206856"/>
            </a:xfrm>
            <a:custGeom>
              <a:avLst/>
              <a:gdLst/>
              <a:ahLst/>
              <a:cxnLst/>
              <a:rect l="l" t="t" r="r" b="b"/>
              <a:pathLst>
                <a:path w="245871" h="320040" extrusionOk="0">
                  <a:moveTo>
                    <a:pt x="218365" y="4114"/>
                  </a:moveTo>
                  <a:lnTo>
                    <a:pt x="236913" y="69949"/>
                  </a:lnTo>
                  <a:lnTo>
                    <a:pt x="245344" y="76532"/>
                  </a:lnTo>
                  <a:lnTo>
                    <a:pt x="243658" y="91345"/>
                  </a:lnTo>
                  <a:lnTo>
                    <a:pt x="245344" y="97928"/>
                  </a:lnTo>
                  <a:lnTo>
                    <a:pt x="174523" y="198326"/>
                  </a:lnTo>
                  <a:lnTo>
                    <a:pt x="171151" y="257577"/>
                  </a:lnTo>
                  <a:lnTo>
                    <a:pt x="164405" y="305307"/>
                  </a:lnTo>
                  <a:lnTo>
                    <a:pt x="125622" y="316829"/>
                  </a:lnTo>
                  <a:lnTo>
                    <a:pt x="125622" y="313536"/>
                  </a:lnTo>
                  <a:lnTo>
                    <a:pt x="81780" y="325058"/>
                  </a:lnTo>
                  <a:lnTo>
                    <a:pt x="73349" y="321766"/>
                  </a:lnTo>
                  <a:lnTo>
                    <a:pt x="64918" y="269098"/>
                  </a:lnTo>
                  <a:lnTo>
                    <a:pt x="68291" y="226306"/>
                  </a:lnTo>
                  <a:lnTo>
                    <a:pt x="66605" y="216430"/>
                  </a:lnTo>
                  <a:lnTo>
                    <a:pt x="48056" y="204910"/>
                  </a:lnTo>
                  <a:lnTo>
                    <a:pt x="24449" y="178576"/>
                  </a:lnTo>
                  <a:lnTo>
                    <a:pt x="9273" y="160471"/>
                  </a:lnTo>
                  <a:lnTo>
                    <a:pt x="4214" y="145658"/>
                  </a:lnTo>
                  <a:lnTo>
                    <a:pt x="31194" y="120971"/>
                  </a:lnTo>
                  <a:lnTo>
                    <a:pt x="81780" y="84761"/>
                  </a:lnTo>
                  <a:lnTo>
                    <a:pt x="142485" y="58428"/>
                  </a:lnTo>
                  <a:lnTo>
                    <a:pt x="164405" y="65011"/>
                  </a:lnTo>
                  <a:lnTo>
                    <a:pt x="166092" y="58428"/>
                  </a:lnTo>
                  <a:lnTo>
                    <a:pt x="182954" y="68303"/>
                  </a:lnTo>
                  <a:lnTo>
                    <a:pt x="188013" y="61719"/>
                  </a:lnTo>
                  <a:lnTo>
                    <a:pt x="184640" y="58428"/>
                  </a:lnTo>
                  <a:lnTo>
                    <a:pt x="188013" y="53490"/>
                  </a:lnTo>
                  <a:lnTo>
                    <a:pt x="193072" y="56782"/>
                  </a:lnTo>
                  <a:lnTo>
                    <a:pt x="198130" y="51844"/>
                  </a:lnTo>
                  <a:lnTo>
                    <a:pt x="201503" y="53490"/>
                  </a:lnTo>
                  <a:lnTo>
                    <a:pt x="203189" y="50199"/>
                  </a:lnTo>
                  <a:lnTo>
                    <a:pt x="201503" y="50199"/>
                  </a:lnTo>
                  <a:lnTo>
                    <a:pt x="203189" y="46907"/>
                  </a:lnTo>
                  <a:lnTo>
                    <a:pt x="199816" y="43615"/>
                  </a:lnTo>
                  <a:lnTo>
                    <a:pt x="191385" y="43615"/>
                  </a:lnTo>
                  <a:lnTo>
                    <a:pt x="191385" y="35386"/>
                  </a:lnTo>
                  <a:lnTo>
                    <a:pt x="196444" y="37031"/>
                  </a:lnTo>
                  <a:lnTo>
                    <a:pt x="196444" y="22219"/>
                  </a:lnTo>
                  <a:lnTo>
                    <a:pt x="209934" y="13989"/>
                  </a:lnTo>
                  <a:lnTo>
                    <a:pt x="206561" y="9052"/>
                  </a:lnTo>
                  <a:lnTo>
                    <a:pt x="218365"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1" name="Bergen (L.)">
              <a:extLst>
                <a:ext uri="{FF2B5EF4-FFF2-40B4-BE49-F238E27FC236}">
                  <a16:creationId xmlns:a16="http://schemas.microsoft.com/office/drawing/2014/main" id="{4E0AE842-C88E-43CD-A157-19186C9C08DB}"/>
                </a:ext>
              </a:extLst>
            </p:cNvPr>
            <p:cNvSpPr/>
            <p:nvPr/>
          </p:nvSpPr>
          <p:spPr>
            <a:xfrm>
              <a:off x="6846935" y="4203867"/>
              <a:ext cx="267264" cy="288237"/>
            </a:xfrm>
            <a:custGeom>
              <a:avLst/>
              <a:gdLst/>
              <a:ahLst/>
              <a:cxnLst/>
              <a:rect l="l" t="t" r="r" b="b"/>
              <a:pathLst>
                <a:path w="374661" h="422910" extrusionOk="0">
                  <a:moveTo>
                    <a:pt x="93584" y="7406"/>
                  </a:moveTo>
                  <a:lnTo>
                    <a:pt x="88525" y="7406"/>
                  </a:lnTo>
                  <a:lnTo>
                    <a:pt x="96957" y="12344"/>
                  </a:lnTo>
                  <a:lnTo>
                    <a:pt x="150916" y="33740"/>
                  </a:lnTo>
                  <a:lnTo>
                    <a:pt x="155974" y="30448"/>
                  </a:lnTo>
                  <a:lnTo>
                    <a:pt x="162719" y="33740"/>
                  </a:lnTo>
                  <a:lnTo>
                    <a:pt x="162719" y="38678"/>
                  </a:lnTo>
                  <a:lnTo>
                    <a:pt x="171150" y="35386"/>
                  </a:lnTo>
                  <a:lnTo>
                    <a:pt x="176209" y="43615"/>
                  </a:lnTo>
                  <a:lnTo>
                    <a:pt x="186326" y="43615"/>
                  </a:lnTo>
                  <a:lnTo>
                    <a:pt x="193071" y="46907"/>
                  </a:lnTo>
                  <a:lnTo>
                    <a:pt x="198130" y="41969"/>
                  </a:lnTo>
                  <a:lnTo>
                    <a:pt x="221737" y="51844"/>
                  </a:lnTo>
                  <a:lnTo>
                    <a:pt x="218365" y="58428"/>
                  </a:lnTo>
                  <a:lnTo>
                    <a:pt x="221737" y="65011"/>
                  </a:lnTo>
                  <a:lnTo>
                    <a:pt x="208247" y="73240"/>
                  </a:lnTo>
                  <a:lnTo>
                    <a:pt x="213306" y="79824"/>
                  </a:lnTo>
                  <a:lnTo>
                    <a:pt x="206561" y="86407"/>
                  </a:lnTo>
                  <a:lnTo>
                    <a:pt x="194757" y="129200"/>
                  </a:lnTo>
                  <a:lnTo>
                    <a:pt x="191385" y="137429"/>
                  </a:lnTo>
                  <a:lnTo>
                    <a:pt x="186326" y="134137"/>
                  </a:lnTo>
                  <a:lnTo>
                    <a:pt x="186326" y="150596"/>
                  </a:lnTo>
                  <a:lnTo>
                    <a:pt x="182954" y="173638"/>
                  </a:lnTo>
                  <a:lnTo>
                    <a:pt x="228482" y="204910"/>
                  </a:lnTo>
                  <a:lnTo>
                    <a:pt x="243658" y="232889"/>
                  </a:lnTo>
                  <a:lnTo>
                    <a:pt x="268951" y="257577"/>
                  </a:lnTo>
                  <a:lnTo>
                    <a:pt x="284127" y="267452"/>
                  </a:lnTo>
                  <a:lnTo>
                    <a:pt x="316166" y="334933"/>
                  </a:lnTo>
                  <a:lnTo>
                    <a:pt x="351576" y="361267"/>
                  </a:lnTo>
                  <a:lnTo>
                    <a:pt x="370125" y="394184"/>
                  </a:lnTo>
                  <a:lnTo>
                    <a:pt x="373497" y="407351"/>
                  </a:lnTo>
                  <a:lnTo>
                    <a:pt x="358321" y="417226"/>
                  </a:lnTo>
                  <a:lnTo>
                    <a:pt x="334714" y="415580"/>
                  </a:lnTo>
                  <a:lnTo>
                    <a:pt x="304362" y="420518"/>
                  </a:lnTo>
                  <a:lnTo>
                    <a:pt x="300989" y="408997"/>
                  </a:lnTo>
                  <a:lnTo>
                    <a:pt x="292559" y="399122"/>
                  </a:lnTo>
                  <a:lnTo>
                    <a:pt x="267265" y="385954"/>
                  </a:lnTo>
                  <a:lnTo>
                    <a:pt x="228482" y="351391"/>
                  </a:lnTo>
                  <a:lnTo>
                    <a:pt x="218365" y="321766"/>
                  </a:lnTo>
                  <a:lnTo>
                    <a:pt x="213306" y="315182"/>
                  </a:lnTo>
                  <a:lnTo>
                    <a:pt x="201502" y="311891"/>
                  </a:lnTo>
                  <a:lnTo>
                    <a:pt x="164405" y="315182"/>
                  </a:lnTo>
                  <a:lnTo>
                    <a:pt x="139112" y="293786"/>
                  </a:lnTo>
                  <a:lnTo>
                    <a:pt x="128995" y="290494"/>
                  </a:lnTo>
                  <a:lnTo>
                    <a:pt x="117191" y="288849"/>
                  </a:lnTo>
                  <a:lnTo>
                    <a:pt x="108760" y="278973"/>
                  </a:lnTo>
                  <a:lnTo>
                    <a:pt x="100329" y="260869"/>
                  </a:lnTo>
                  <a:lnTo>
                    <a:pt x="102015" y="229597"/>
                  </a:lnTo>
                  <a:lnTo>
                    <a:pt x="96957" y="218076"/>
                  </a:lnTo>
                  <a:lnTo>
                    <a:pt x="83467" y="201618"/>
                  </a:lnTo>
                  <a:lnTo>
                    <a:pt x="78408" y="190097"/>
                  </a:lnTo>
                  <a:lnTo>
                    <a:pt x="78408" y="152242"/>
                  </a:lnTo>
                  <a:lnTo>
                    <a:pt x="75036" y="140721"/>
                  </a:lnTo>
                  <a:lnTo>
                    <a:pt x="34566" y="99574"/>
                  </a:lnTo>
                  <a:lnTo>
                    <a:pt x="4214" y="83116"/>
                  </a:lnTo>
                  <a:lnTo>
                    <a:pt x="42997" y="55136"/>
                  </a:lnTo>
                  <a:lnTo>
                    <a:pt x="42997" y="56782"/>
                  </a:lnTo>
                  <a:lnTo>
                    <a:pt x="51428" y="53490"/>
                  </a:lnTo>
                  <a:lnTo>
                    <a:pt x="61546" y="43615"/>
                  </a:lnTo>
                  <a:lnTo>
                    <a:pt x="63232" y="38678"/>
                  </a:lnTo>
                  <a:lnTo>
                    <a:pt x="78408" y="43615"/>
                  </a:lnTo>
                  <a:lnTo>
                    <a:pt x="88525" y="35386"/>
                  </a:lnTo>
                  <a:lnTo>
                    <a:pt x="76722" y="20573"/>
                  </a:lnTo>
                  <a:lnTo>
                    <a:pt x="88525" y="4114"/>
                  </a:lnTo>
                  <a:lnTo>
                    <a:pt x="93584"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2" name="Deurne">
              <a:extLst>
                <a:ext uri="{FF2B5EF4-FFF2-40B4-BE49-F238E27FC236}">
                  <a16:creationId xmlns:a16="http://schemas.microsoft.com/office/drawing/2014/main" id="{9A0D2837-B5F1-4CDC-8879-4CDC5FACF895}"/>
                </a:ext>
              </a:extLst>
            </p:cNvPr>
            <p:cNvSpPr/>
            <p:nvPr/>
          </p:nvSpPr>
          <p:spPr>
            <a:xfrm>
              <a:off x="6580509" y="4488890"/>
              <a:ext cx="227691" cy="259524"/>
            </a:xfrm>
            <a:custGeom>
              <a:avLst/>
              <a:gdLst/>
              <a:ahLst/>
              <a:cxnLst/>
              <a:rect l="l" t="t" r="r" b="b"/>
              <a:pathLst>
                <a:path w="339536" h="365760" extrusionOk="0">
                  <a:moveTo>
                    <a:pt x="211620" y="4114"/>
                  </a:moveTo>
                  <a:lnTo>
                    <a:pt x="225110" y="33739"/>
                  </a:lnTo>
                  <a:lnTo>
                    <a:pt x="241972" y="134137"/>
                  </a:lnTo>
                  <a:lnTo>
                    <a:pt x="336401" y="290494"/>
                  </a:lnTo>
                  <a:lnTo>
                    <a:pt x="248717" y="367850"/>
                  </a:lnTo>
                  <a:lnTo>
                    <a:pt x="241972" y="369496"/>
                  </a:lnTo>
                  <a:lnTo>
                    <a:pt x="235227" y="364558"/>
                  </a:lnTo>
                  <a:lnTo>
                    <a:pt x="220051" y="366204"/>
                  </a:lnTo>
                  <a:lnTo>
                    <a:pt x="214992" y="320120"/>
                  </a:lnTo>
                  <a:lnTo>
                    <a:pt x="216678" y="311890"/>
                  </a:lnTo>
                  <a:lnTo>
                    <a:pt x="191385" y="267452"/>
                  </a:lnTo>
                  <a:lnTo>
                    <a:pt x="182954" y="260869"/>
                  </a:lnTo>
                  <a:lnTo>
                    <a:pt x="181268" y="255931"/>
                  </a:lnTo>
                  <a:lnTo>
                    <a:pt x="113819" y="224660"/>
                  </a:lnTo>
                  <a:lnTo>
                    <a:pt x="107074" y="216430"/>
                  </a:lnTo>
                  <a:lnTo>
                    <a:pt x="95270" y="209847"/>
                  </a:lnTo>
                  <a:lnTo>
                    <a:pt x="86839" y="198326"/>
                  </a:lnTo>
                  <a:lnTo>
                    <a:pt x="80094" y="195034"/>
                  </a:lnTo>
                  <a:lnTo>
                    <a:pt x="73349" y="181867"/>
                  </a:lnTo>
                  <a:lnTo>
                    <a:pt x="63232" y="173638"/>
                  </a:lnTo>
                  <a:lnTo>
                    <a:pt x="31194" y="162117"/>
                  </a:lnTo>
                  <a:lnTo>
                    <a:pt x="5900" y="162117"/>
                  </a:lnTo>
                  <a:lnTo>
                    <a:pt x="5900" y="148950"/>
                  </a:lnTo>
                  <a:lnTo>
                    <a:pt x="24449" y="148950"/>
                  </a:lnTo>
                  <a:lnTo>
                    <a:pt x="12645" y="127554"/>
                  </a:lnTo>
                  <a:lnTo>
                    <a:pt x="14332" y="125908"/>
                  </a:lnTo>
                  <a:lnTo>
                    <a:pt x="10959" y="124262"/>
                  </a:lnTo>
                  <a:lnTo>
                    <a:pt x="7587" y="117678"/>
                  </a:lnTo>
                  <a:lnTo>
                    <a:pt x="4214" y="91345"/>
                  </a:lnTo>
                  <a:lnTo>
                    <a:pt x="12645" y="92991"/>
                  </a:lnTo>
                  <a:lnTo>
                    <a:pt x="14332" y="86407"/>
                  </a:lnTo>
                  <a:lnTo>
                    <a:pt x="31194" y="89699"/>
                  </a:lnTo>
                  <a:lnTo>
                    <a:pt x="32880" y="83115"/>
                  </a:lnTo>
                  <a:lnTo>
                    <a:pt x="10959" y="50198"/>
                  </a:lnTo>
                  <a:lnTo>
                    <a:pt x="16018" y="53490"/>
                  </a:lnTo>
                  <a:lnTo>
                    <a:pt x="24449" y="48552"/>
                  </a:lnTo>
                  <a:lnTo>
                    <a:pt x="31194" y="51844"/>
                  </a:lnTo>
                  <a:lnTo>
                    <a:pt x="66605" y="43615"/>
                  </a:lnTo>
                  <a:lnTo>
                    <a:pt x="91898" y="41969"/>
                  </a:lnTo>
                  <a:lnTo>
                    <a:pt x="211620"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3" name="Sliedrecht">
              <a:extLst>
                <a:ext uri="{FF2B5EF4-FFF2-40B4-BE49-F238E27FC236}">
                  <a16:creationId xmlns:a16="http://schemas.microsoft.com/office/drawing/2014/main" id="{861E3DF6-3D2A-4022-A1E9-34C99C541C61}"/>
                </a:ext>
              </a:extLst>
            </p:cNvPr>
            <p:cNvSpPr/>
            <p:nvPr/>
          </p:nvSpPr>
          <p:spPr>
            <a:xfrm>
              <a:off x="5533145" y="3942685"/>
              <a:ext cx="101278" cy="45306"/>
            </a:xfrm>
            <a:custGeom>
              <a:avLst/>
              <a:gdLst/>
              <a:ahLst/>
              <a:cxnLst/>
              <a:rect l="l" t="t" r="r" b="b"/>
              <a:pathLst>
                <a:path w="128789" h="80010" extrusionOk="0">
                  <a:moveTo>
                    <a:pt x="91898" y="9052"/>
                  </a:moveTo>
                  <a:lnTo>
                    <a:pt x="105388" y="9052"/>
                  </a:lnTo>
                  <a:lnTo>
                    <a:pt x="117191" y="5760"/>
                  </a:lnTo>
                  <a:lnTo>
                    <a:pt x="118877" y="65011"/>
                  </a:lnTo>
                  <a:lnTo>
                    <a:pt x="128995" y="66657"/>
                  </a:lnTo>
                  <a:lnTo>
                    <a:pt x="128995" y="73240"/>
                  </a:lnTo>
                  <a:lnTo>
                    <a:pt x="90212" y="79824"/>
                  </a:lnTo>
                  <a:lnTo>
                    <a:pt x="68291" y="79824"/>
                  </a:lnTo>
                  <a:lnTo>
                    <a:pt x="58173" y="78178"/>
                  </a:lnTo>
                  <a:lnTo>
                    <a:pt x="34566" y="63365"/>
                  </a:lnTo>
                  <a:lnTo>
                    <a:pt x="4214" y="63365"/>
                  </a:lnTo>
                  <a:lnTo>
                    <a:pt x="22763" y="18927"/>
                  </a:lnTo>
                  <a:lnTo>
                    <a:pt x="44684" y="9052"/>
                  </a:lnTo>
                  <a:lnTo>
                    <a:pt x="53115" y="10698"/>
                  </a:lnTo>
                  <a:lnTo>
                    <a:pt x="63232" y="10698"/>
                  </a:lnTo>
                  <a:lnTo>
                    <a:pt x="81780" y="4114"/>
                  </a:lnTo>
                  <a:lnTo>
                    <a:pt x="91898" y="9052"/>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4" name="Pekela">
              <a:extLst>
                <a:ext uri="{FF2B5EF4-FFF2-40B4-BE49-F238E27FC236}">
                  <a16:creationId xmlns:a16="http://schemas.microsoft.com/office/drawing/2014/main" id="{B12A0CD9-179C-48A9-A7EE-CF7C314102A7}"/>
                </a:ext>
              </a:extLst>
            </p:cNvPr>
            <p:cNvSpPr/>
            <p:nvPr/>
          </p:nvSpPr>
          <p:spPr>
            <a:xfrm>
              <a:off x="7771578" y="1833540"/>
              <a:ext cx="143532" cy="178143"/>
            </a:xfrm>
            <a:custGeom>
              <a:avLst/>
              <a:gdLst/>
              <a:ahLst/>
              <a:cxnLst/>
              <a:rect l="l" t="t" r="r" b="b"/>
              <a:pathLst>
                <a:path w="199038" h="262890" extrusionOk="0">
                  <a:moveTo>
                    <a:pt x="110447" y="4114"/>
                  </a:moveTo>
                  <a:lnTo>
                    <a:pt x="113819" y="5760"/>
                  </a:lnTo>
                  <a:lnTo>
                    <a:pt x="115505" y="4114"/>
                  </a:lnTo>
                  <a:lnTo>
                    <a:pt x="122251" y="12343"/>
                  </a:lnTo>
                  <a:lnTo>
                    <a:pt x="182955" y="10697"/>
                  </a:lnTo>
                  <a:lnTo>
                    <a:pt x="184640" y="12343"/>
                  </a:lnTo>
                  <a:lnTo>
                    <a:pt x="179582" y="18927"/>
                  </a:lnTo>
                  <a:lnTo>
                    <a:pt x="182955" y="20573"/>
                  </a:lnTo>
                  <a:lnTo>
                    <a:pt x="186327" y="28802"/>
                  </a:lnTo>
                  <a:lnTo>
                    <a:pt x="204875" y="45261"/>
                  </a:lnTo>
                  <a:lnTo>
                    <a:pt x="162720" y="122616"/>
                  </a:lnTo>
                  <a:lnTo>
                    <a:pt x="157661" y="112741"/>
                  </a:lnTo>
                  <a:lnTo>
                    <a:pt x="135740" y="157179"/>
                  </a:lnTo>
                  <a:lnTo>
                    <a:pt x="130682" y="158825"/>
                  </a:lnTo>
                  <a:lnTo>
                    <a:pt x="127309" y="173638"/>
                  </a:lnTo>
                  <a:lnTo>
                    <a:pt x="80095" y="259223"/>
                  </a:lnTo>
                  <a:lnTo>
                    <a:pt x="48056" y="244410"/>
                  </a:lnTo>
                  <a:lnTo>
                    <a:pt x="14332" y="209847"/>
                  </a:lnTo>
                  <a:lnTo>
                    <a:pt x="4214" y="188451"/>
                  </a:lnTo>
                  <a:lnTo>
                    <a:pt x="26136" y="185159"/>
                  </a:lnTo>
                  <a:lnTo>
                    <a:pt x="24449" y="175284"/>
                  </a:lnTo>
                  <a:lnTo>
                    <a:pt x="44684" y="173638"/>
                  </a:lnTo>
                  <a:lnTo>
                    <a:pt x="44684" y="163763"/>
                  </a:lnTo>
                  <a:lnTo>
                    <a:pt x="31194" y="153888"/>
                  </a:lnTo>
                  <a:lnTo>
                    <a:pt x="37939" y="117679"/>
                  </a:lnTo>
                  <a:lnTo>
                    <a:pt x="59860" y="96282"/>
                  </a:lnTo>
                  <a:lnTo>
                    <a:pt x="78409" y="65011"/>
                  </a:lnTo>
                  <a:lnTo>
                    <a:pt x="83467" y="61719"/>
                  </a:lnTo>
                  <a:lnTo>
                    <a:pt x="85153" y="27156"/>
                  </a:lnTo>
                  <a:lnTo>
                    <a:pt x="91898" y="23864"/>
                  </a:lnTo>
                  <a:lnTo>
                    <a:pt x="110447"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5" name="Dronten">
              <a:extLst>
                <a:ext uri="{FF2B5EF4-FFF2-40B4-BE49-F238E27FC236}">
                  <a16:creationId xmlns:a16="http://schemas.microsoft.com/office/drawing/2014/main" id="{CC30EB89-2321-49BB-9F46-0A5169979600}"/>
                </a:ext>
              </a:extLst>
            </p:cNvPr>
            <p:cNvSpPr/>
            <p:nvPr/>
          </p:nvSpPr>
          <p:spPr>
            <a:xfrm>
              <a:off x="6410140" y="2679462"/>
              <a:ext cx="315260" cy="401649"/>
            </a:xfrm>
            <a:custGeom>
              <a:avLst/>
              <a:gdLst/>
              <a:ahLst/>
              <a:cxnLst/>
              <a:rect l="l" t="t" r="r" b="b"/>
              <a:pathLst>
                <a:path w="456618" h="594360" extrusionOk="0">
                  <a:moveTo>
                    <a:pt x="262207" y="33739"/>
                  </a:moveTo>
                  <a:lnTo>
                    <a:pt x="268951" y="30448"/>
                  </a:lnTo>
                  <a:lnTo>
                    <a:pt x="274010" y="30448"/>
                  </a:lnTo>
                  <a:lnTo>
                    <a:pt x="262207" y="33739"/>
                  </a:lnTo>
                  <a:close/>
                  <a:moveTo>
                    <a:pt x="287500" y="46906"/>
                  </a:moveTo>
                  <a:lnTo>
                    <a:pt x="284128" y="35385"/>
                  </a:lnTo>
                  <a:lnTo>
                    <a:pt x="274010" y="30448"/>
                  </a:lnTo>
                  <a:lnTo>
                    <a:pt x="282441" y="32094"/>
                  </a:lnTo>
                  <a:lnTo>
                    <a:pt x="289186" y="40323"/>
                  </a:lnTo>
                  <a:lnTo>
                    <a:pt x="289186" y="37031"/>
                  </a:lnTo>
                  <a:lnTo>
                    <a:pt x="290872" y="41969"/>
                  </a:lnTo>
                  <a:lnTo>
                    <a:pt x="287500" y="46906"/>
                  </a:lnTo>
                  <a:close/>
                  <a:moveTo>
                    <a:pt x="282441" y="56782"/>
                  </a:moveTo>
                  <a:lnTo>
                    <a:pt x="277383" y="55136"/>
                  </a:lnTo>
                  <a:lnTo>
                    <a:pt x="280755" y="55136"/>
                  </a:lnTo>
                  <a:lnTo>
                    <a:pt x="282441" y="46906"/>
                  </a:lnTo>
                  <a:lnTo>
                    <a:pt x="280755" y="33739"/>
                  </a:lnTo>
                  <a:lnTo>
                    <a:pt x="285814" y="37031"/>
                  </a:lnTo>
                  <a:lnTo>
                    <a:pt x="287500" y="46906"/>
                  </a:lnTo>
                  <a:lnTo>
                    <a:pt x="282441" y="56782"/>
                  </a:lnTo>
                  <a:close/>
                  <a:moveTo>
                    <a:pt x="282441" y="66657"/>
                  </a:moveTo>
                  <a:lnTo>
                    <a:pt x="279069" y="58427"/>
                  </a:lnTo>
                  <a:lnTo>
                    <a:pt x="280755" y="55136"/>
                  </a:lnTo>
                  <a:lnTo>
                    <a:pt x="282441" y="58427"/>
                  </a:lnTo>
                  <a:lnTo>
                    <a:pt x="282441" y="56782"/>
                  </a:lnTo>
                  <a:lnTo>
                    <a:pt x="282441" y="66657"/>
                  </a:lnTo>
                  <a:close/>
                  <a:moveTo>
                    <a:pt x="284128" y="68303"/>
                  </a:moveTo>
                  <a:lnTo>
                    <a:pt x="280755" y="66657"/>
                  </a:lnTo>
                  <a:lnTo>
                    <a:pt x="279069" y="61719"/>
                  </a:lnTo>
                  <a:lnTo>
                    <a:pt x="274010" y="56782"/>
                  </a:lnTo>
                  <a:lnTo>
                    <a:pt x="270638" y="56782"/>
                  </a:lnTo>
                  <a:lnTo>
                    <a:pt x="265579" y="61719"/>
                  </a:lnTo>
                  <a:lnTo>
                    <a:pt x="275696" y="66657"/>
                  </a:lnTo>
                  <a:lnTo>
                    <a:pt x="265579" y="63365"/>
                  </a:lnTo>
                  <a:lnTo>
                    <a:pt x="258834" y="56782"/>
                  </a:lnTo>
                  <a:lnTo>
                    <a:pt x="257148" y="37031"/>
                  </a:lnTo>
                  <a:lnTo>
                    <a:pt x="265579" y="32094"/>
                  </a:lnTo>
                  <a:lnTo>
                    <a:pt x="270638" y="30448"/>
                  </a:lnTo>
                  <a:lnTo>
                    <a:pt x="262207" y="33739"/>
                  </a:lnTo>
                  <a:lnTo>
                    <a:pt x="258834" y="40323"/>
                  </a:lnTo>
                  <a:lnTo>
                    <a:pt x="262207" y="35385"/>
                  </a:lnTo>
                  <a:lnTo>
                    <a:pt x="268951" y="32094"/>
                  </a:lnTo>
                  <a:lnTo>
                    <a:pt x="275696" y="32094"/>
                  </a:lnTo>
                  <a:lnTo>
                    <a:pt x="282441" y="38677"/>
                  </a:lnTo>
                  <a:lnTo>
                    <a:pt x="282441" y="48552"/>
                  </a:lnTo>
                  <a:lnTo>
                    <a:pt x="275696" y="55136"/>
                  </a:lnTo>
                  <a:lnTo>
                    <a:pt x="277383" y="58427"/>
                  </a:lnTo>
                  <a:lnTo>
                    <a:pt x="277383" y="55136"/>
                  </a:lnTo>
                  <a:lnTo>
                    <a:pt x="279069" y="55136"/>
                  </a:lnTo>
                  <a:lnTo>
                    <a:pt x="277383" y="58427"/>
                  </a:lnTo>
                  <a:lnTo>
                    <a:pt x="284128" y="68303"/>
                  </a:lnTo>
                  <a:close/>
                  <a:moveTo>
                    <a:pt x="270638" y="53490"/>
                  </a:moveTo>
                  <a:lnTo>
                    <a:pt x="277383" y="51844"/>
                  </a:lnTo>
                  <a:lnTo>
                    <a:pt x="280755" y="45261"/>
                  </a:lnTo>
                  <a:lnTo>
                    <a:pt x="279069" y="38677"/>
                  </a:lnTo>
                  <a:lnTo>
                    <a:pt x="272324" y="33739"/>
                  </a:lnTo>
                  <a:lnTo>
                    <a:pt x="263893" y="37031"/>
                  </a:lnTo>
                  <a:lnTo>
                    <a:pt x="260520" y="43615"/>
                  </a:lnTo>
                  <a:lnTo>
                    <a:pt x="263893" y="50198"/>
                  </a:lnTo>
                  <a:lnTo>
                    <a:pt x="270638" y="53490"/>
                  </a:lnTo>
                  <a:close/>
                  <a:moveTo>
                    <a:pt x="289186" y="68303"/>
                  </a:moveTo>
                  <a:lnTo>
                    <a:pt x="287500" y="66657"/>
                  </a:lnTo>
                  <a:lnTo>
                    <a:pt x="290872" y="68303"/>
                  </a:lnTo>
                  <a:lnTo>
                    <a:pt x="285814" y="65011"/>
                  </a:lnTo>
                  <a:lnTo>
                    <a:pt x="284128" y="60073"/>
                  </a:lnTo>
                  <a:lnTo>
                    <a:pt x="285814" y="53490"/>
                  </a:lnTo>
                  <a:lnTo>
                    <a:pt x="290872" y="48552"/>
                  </a:lnTo>
                  <a:lnTo>
                    <a:pt x="292559" y="50198"/>
                  </a:lnTo>
                  <a:lnTo>
                    <a:pt x="290872" y="51844"/>
                  </a:lnTo>
                  <a:lnTo>
                    <a:pt x="292559" y="53490"/>
                  </a:lnTo>
                  <a:lnTo>
                    <a:pt x="294245" y="63365"/>
                  </a:lnTo>
                  <a:lnTo>
                    <a:pt x="292559" y="68303"/>
                  </a:lnTo>
                  <a:lnTo>
                    <a:pt x="289186" y="68303"/>
                  </a:lnTo>
                  <a:close/>
                  <a:moveTo>
                    <a:pt x="442633" y="176930"/>
                  </a:moveTo>
                  <a:lnTo>
                    <a:pt x="442633" y="170346"/>
                  </a:lnTo>
                  <a:lnTo>
                    <a:pt x="444319" y="173638"/>
                  </a:lnTo>
                  <a:lnTo>
                    <a:pt x="440946" y="173638"/>
                  </a:lnTo>
                  <a:lnTo>
                    <a:pt x="442633" y="176930"/>
                  </a:lnTo>
                  <a:close/>
                  <a:moveTo>
                    <a:pt x="447691" y="232889"/>
                  </a:moveTo>
                  <a:lnTo>
                    <a:pt x="446005" y="223014"/>
                  </a:lnTo>
                  <a:lnTo>
                    <a:pt x="449378" y="219722"/>
                  </a:lnTo>
                  <a:lnTo>
                    <a:pt x="452750" y="226306"/>
                  </a:lnTo>
                  <a:lnTo>
                    <a:pt x="447691" y="232889"/>
                  </a:lnTo>
                  <a:close/>
                  <a:moveTo>
                    <a:pt x="440946" y="280619"/>
                  </a:moveTo>
                  <a:lnTo>
                    <a:pt x="439260" y="277327"/>
                  </a:lnTo>
                  <a:lnTo>
                    <a:pt x="442633" y="272390"/>
                  </a:lnTo>
                  <a:lnTo>
                    <a:pt x="444319" y="277327"/>
                  </a:lnTo>
                  <a:lnTo>
                    <a:pt x="440946" y="280619"/>
                  </a:lnTo>
                  <a:close/>
                  <a:moveTo>
                    <a:pt x="424084" y="326703"/>
                  </a:moveTo>
                  <a:lnTo>
                    <a:pt x="420712" y="321766"/>
                  </a:lnTo>
                  <a:lnTo>
                    <a:pt x="424084" y="313536"/>
                  </a:lnTo>
                  <a:lnTo>
                    <a:pt x="425770" y="315182"/>
                  </a:lnTo>
                  <a:lnTo>
                    <a:pt x="425770" y="313536"/>
                  </a:lnTo>
                  <a:lnTo>
                    <a:pt x="427457" y="316828"/>
                  </a:lnTo>
                  <a:lnTo>
                    <a:pt x="424084" y="326703"/>
                  </a:lnTo>
                  <a:close/>
                  <a:moveTo>
                    <a:pt x="390360" y="405705"/>
                  </a:moveTo>
                  <a:lnTo>
                    <a:pt x="392046" y="404059"/>
                  </a:lnTo>
                  <a:lnTo>
                    <a:pt x="390360" y="405705"/>
                  </a:lnTo>
                  <a:close/>
                  <a:moveTo>
                    <a:pt x="388674" y="408997"/>
                  </a:moveTo>
                  <a:lnTo>
                    <a:pt x="390360" y="407350"/>
                  </a:lnTo>
                  <a:lnTo>
                    <a:pt x="388674" y="408997"/>
                  </a:lnTo>
                  <a:close/>
                  <a:moveTo>
                    <a:pt x="388674" y="408997"/>
                  </a:moveTo>
                  <a:lnTo>
                    <a:pt x="388674" y="408997"/>
                  </a:lnTo>
                  <a:close/>
                  <a:moveTo>
                    <a:pt x="267265" y="502811"/>
                  </a:moveTo>
                  <a:lnTo>
                    <a:pt x="267265" y="501165"/>
                  </a:lnTo>
                  <a:lnTo>
                    <a:pt x="274010" y="501165"/>
                  </a:lnTo>
                  <a:lnTo>
                    <a:pt x="267265" y="502811"/>
                  </a:lnTo>
                  <a:close/>
                  <a:moveTo>
                    <a:pt x="258834" y="506102"/>
                  </a:moveTo>
                  <a:lnTo>
                    <a:pt x="253776" y="504456"/>
                  </a:lnTo>
                  <a:lnTo>
                    <a:pt x="253776" y="501165"/>
                  </a:lnTo>
                  <a:lnTo>
                    <a:pt x="253776" y="502811"/>
                  </a:lnTo>
                  <a:lnTo>
                    <a:pt x="257148" y="501165"/>
                  </a:lnTo>
                  <a:lnTo>
                    <a:pt x="258834" y="504456"/>
                  </a:lnTo>
                  <a:lnTo>
                    <a:pt x="258834" y="506102"/>
                  </a:lnTo>
                  <a:close/>
                  <a:moveTo>
                    <a:pt x="241972" y="507748"/>
                  </a:moveTo>
                  <a:lnTo>
                    <a:pt x="238599" y="506102"/>
                  </a:lnTo>
                  <a:lnTo>
                    <a:pt x="241972" y="506102"/>
                  </a:lnTo>
                  <a:lnTo>
                    <a:pt x="241972" y="507748"/>
                  </a:lnTo>
                  <a:close/>
                  <a:moveTo>
                    <a:pt x="265579" y="527498"/>
                  </a:moveTo>
                  <a:lnTo>
                    <a:pt x="265579" y="519269"/>
                  </a:lnTo>
                  <a:lnTo>
                    <a:pt x="267265" y="520915"/>
                  </a:lnTo>
                  <a:lnTo>
                    <a:pt x="265579" y="527498"/>
                  </a:lnTo>
                  <a:close/>
                  <a:moveTo>
                    <a:pt x="194758" y="548895"/>
                  </a:moveTo>
                  <a:lnTo>
                    <a:pt x="191385" y="542311"/>
                  </a:lnTo>
                  <a:lnTo>
                    <a:pt x="194758" y="548895"/>
                  </a:lnTo>
                  <a:lnTo>
                    <a:pt x="198130" y="545603"/>
                  </a:lnTo>
                  <a:lnTo>
                    <a:pt x="196444" y="542311"/>
                  </a:lnTo>
                  <a:lnTo>
                    <a:pt x="199816" y="542311"/>
                  </a:lnTo>
                  <a:lnTo>
                    <a:pt x="199816" y="547249"/>
                  </a:lnTo>
                  <a:lnTo>
                    <a:pt x="194758" y="548895"/>
                  </a:lnTo>
                  <a:close/>
                  <a:moveTo>
                    <a:pt x="220051" y="557124"/>
                  </a:moveTo>
                  <a:lnTo>
                    <a:pt x="220051" y="555478"/>
                  </a:lnTo>
                  <a:lnTo>
                    <a:pt x="220051" y="557124"/>
                  </a:lnTo>
                  <a:lnTo>
                    <a:pt x="220051" y="557124"/>
                  </a:lnTo>
                  <a:close/>
                  <a:moveTo>
                    <a:pt x="214992" y="560416"/>
                  </a:moveTo>
                  <a:lnTo>
                    <a:pt x="213306" y="560416"/>
                  </a:lnTo>
                  <a:lnTo>
                    <a:pt x="214992" y="560416"/>
                  </a:lnTo>
                  <a:lnTo>
                    <a:pt x="214992" y="560416"/>
                  </a:lnTo>
                  <a:close/>
                  <a:moveTo>
                    <a:pt x="213306" y="562062"/>
                  </a:moveTo>
                  <a:lnTo>
                    <a:pt x="213306" y="560416"/>
                  </a:lnTo>
                  <a:lnTo>
                    <a:pt x="213306" y="562062"/>
                  </a:lnTo>
                  <a:close/>
                  <a:moveTo>
                    <a:pt x="209934" y="565353"/>
                  </a:moveTo>
                  <a:lnTo>
                    <a:pt x="209934" y="563708"/>
                  </a:lnTo>
                  <a:lnTo>
                    <a:pt x="209934" y="565353"/>
                  </a:lnTo>
                  <a:lnTo>
                    <a:pt x="209934" y="565353"/>
                  </a:lnTo>
                  <a:close/>
                  <a:moveTo>
                    <a:pt x="199816" y="570291"/>
                  </a:moveTo>
                  <a:lnTo>
                    <a:pt x="199816" y="568645"/>
                  </a:lnTo>
                  <a:lnTo>
                    <a:pt x="199816" y="570291"/>
                  </a:lnTo>
                  <a:close/>
                  <a:moveTo>
                    <a:pt x="174523" y="576874"/>
                  </a:moveTo>
                  <a:lnTo>
                    <a:pt x="174523" y="575229"/>
                  </a:lnTo>
                  <a:lnTo>
                    <a:pt x="176209" y="575229"/>
                  </a:lnTo>
                  <a:lnTo>
                    <a:pt x="174523" y="576874"/>
                  </a:lnTo>
                  <a:close/>
                  <a:moveTo>
                    <a:pt x="174523" y="576874"/>
                  </a:moveTo>
                  <a:lnTo>
                    <a:pt x="174523" y="576874"/>
                  </a:lnTo>
                  <a:close/>
                  <a:moveTo>
                    <a:pt x="115505" y="578520"/>
                  </a:moveTo>
                  <a:lnTo>
                    <a:pt x="117191" y="575229"/>
                  </a:lnTo>
                  <a:lnTo>
                    <a:pt x="115505" y="578520"/>
                  </a:lnTo>
                  <a:close/>
                  <a:moveTo>
                    <a:pt x="107074" y="593333"/>
                  </a:moveTo>
                  <a:lnTo>
                    <a:pt x="113819" y="588395"/>
                  </a:lnTo>
                  <a:lnTo>
                    <a:pt x="110446" y="593333"/>
                  </a:lnTo>
                  <a:lnTo>
                    <a:pt x="107074" y="593333"/>
                  </a:lnTo>
                  <a:close/>
                  <a:moveTo>
                    <a:pt x="80094" y="596625"/>
                  </a:moveTo>
                  <a:lnTo>
                    <a:pt x="80094" y="596625"/>
                  </a:lnTo>
                  <a:close/>
                  <a:moveTo>
                    <a:pt x="78408" y="596625"/>
                  </a:moveTo>
                  <a:lnTo>
                    <a:pt x="75036" y="586750"/>
                  </a:lnTo>
                  <a:lnTo>
                    <a:pt x="83467" y="562062"/>
                  </a:lnTo>
                  <a:lnTo>
                    <a:pt x="91898" y="504456"/>
                  </a:lnTo>
                  <a:lnTo>
                    <a:pt x="39625" y="497873"/>
                  </a:lnTo>
                  <a:lnTo>
                    <a:pt x="37939" y="489643"/>
                  </a:lnTo>
                  <a:lnTo>
                    <a:pt x="5900" y="438622"/>
                  </a:lnTo>
                  <a:lnTo>
                    <a:pt x="17704" y="432039"/>
                  </a:lnTo>
                  <a:lnTo>
                    <a:pt x="29507" y="415580"/>
                  </a:lnTo>
                  <a:lnTo>
                    <a:pt x="36252" y="410642"/>
                  </a:lnTo>
                  <a:lnTo>
                    <a:pt x="4214" y="356329"/>
                  </a:lnTo>
                  <a:lnTo>
                    <a:pt x="64918" y="321766"/>
                  </a:lnTo>
                  <a:lnTo>
                    <a:pt x="42997" y="283911"/>
                  </a:lnTo>
                  <a:lnTo>
                    <a:pt x="37939" y="250993"/>
                  </a:lnTo>
                  <a:lnTo>
                    <a:pt x="42997" y="250993"/>
                  </a:lnTo>
                  <a:lnTo>
                    <a:pt x="36252" y="130845"/>
                  </a:lnTo>
                  <a:lnTo>
                    <a:pt x="14332" y="51844"/>
                  </a:lnTo>
                  <a:lnTo>
                    <a:pt x="98643" y="28802"/>
                  </a:lnTo>
                  <a:lnTo>
                    <a:pt x="118878" y="17281"/>
                  </a:lnTo>
                  <a:lnTo>
                    <a:pt x="130681" y="4114"/>
                  </a:lnTo>
                  <a:lnTo>
                    <a:pt x="132367" y="5760"/>
                  </a:lnTo>
                  <a:lnTo>
                    <a:pt x="118878" y="17281"/>
                  </a:lnTo>
                  <a:lnTo>
                    <a:pt x="115505" y="23864"/>
                  </a:lnTo>
                  <a:lnTo>
                    <a:pt x="132367" y="43615"/>
                  </a:lnTo>
                  <a:lnTo>
                    <a:pt x="140798" y="50198"/>
                  </a:lnTo>
                  <a:lnTo>
                    <a:pt x="290872" y="84761"/>
                  </a:lnTo>
                  <a:lnTo>
                    <a:pt x="292559" y="91345"/>
                  </a:lnTo>
                  <a:lnTo>
                    <a:pt x="294245" y="86407"/>
                  </a:lnTo>
                  <a:lnTo>
                    <a:pt x="299303" y="83115"/>
                  </a:lnTo>
                  <a:lnTo>
                    <a:pt x="294245" y="86407"/>
                  </a:lnTo>
                  <a:lnTo>
                    <a:pt x="294245" y="92991"/>
                  </a:lnTo>
                  <a:lnTo>
                    <a:pt x="297617" y="86407"/>
                  </a:lnTo>
                  <a:lnTo>
                    <a:pt x="302676" y="86407"/>
                  </a:lnTo>
                  <a:lnTo>
                    <a:pt x="299303" y="86407"/>
                  </a:lnTo>
                  <a:lnTo>
                    <a:pt x="299303" y="91345"/>
                  </a:lnTo>
                  <a:lnTo>
                    <a:pt x="302676" y="91345"/>
                  </a:lnTo>
                  <a:lnTo>
                    <a:pt x="302676" y="88053"/>
                  </a:lnTo>
                  <a:lnTo>
                    <a:pt x="302676" y="91345"/>
                  </a:lnTo>
                  <a:lnTo>
                    <a:pt x="361694" y="89699"/>
                  </a:lnTo>
                  <a:lnTo>
                    <a:pt x="375184" y="94636"/>
                  </a:lnTo>
                  <a:lnTo>
                    <a:pt x="435888" y="160471"/>
                  </a:lnTo>
                  <a:lnTo>
                    <a:pt x="440946" y="175284"/>
                  </a:lnTo>
                  <a:lnTo>
                    <a:pt x="444319" y="234535"/>
                  </a:lnTo>
                  <a:lnTo>
                    <a:pt x="437574" y="257577"/>
                  </a:lnTo>
                  <a:lnTo>
                    <a:pt x="439260" y="267452"/>
                  </a:lnTo>
                  <a:lnTo>
                    <a:pt x="434201" y="283911"/>
                  </a:lnTo>
                  <a:lnTo>
                    <a:pt x="434201" y="292140"/>
                  </a:lnTo>
                  <a:lnTo>
                    <a:pt x="381928" y="387600"/>
                  </a:lnTo>
                  <a:lnTo>
                    <a:pt x="378556" y="387600"/>
                  </a:lnTo>
                  <a:lnTo>
                    <a:pt x="373497" y="392538"/>
                  </a:lnTo>
                  <a:lnTo>
                    <a:pt x="366753" y="412288"/>
                  </a:lnTo>
                  <a:lnTo>
                    <a:pt x="363380" y="412288"/>
                  </a:lnTo>
                  <a:lnTo>
                    <a:pt x="361694" y="415580"/>
                  </a:lnTo>
                  <a:lnTo>
                    <a:pt x="363380" y="417226"/>
                  </a:lnTo>
                  <a:lnTo>
                    <a:pt x="366753" y="413934"/>
                  </a:lnTo>
                  <a:lnTo>
                    <a:pt x="354949" y="427101"/>
                  </a:lnTo>
                  <a:lnTo>
                    <a:pt x="354949" y="432039"/>
                  </a:lnTo>
                  <a:lnTo>
                    <a:pt x="351576" y="432039"/>
                  </a:lnTo>
                  <a:lnTo>
                    <a:pt x="339773" y="443559"/>
                  </a:lnTo>
                  <a:lnTo>
                    <a:pt x="326283" y="453435"/>
                  </a:lnTo>
                  <a:lnTo>
                    <a:pt x="326283" y="455081"/>
                  </a:lnTo>
                  <a:lnTo>
                    <a:pt x="294245" y="478123"/>
                  </a:lnTo>
                  <a:lnTo>
                    <a:pt x="294245" y="481414"/>
                  </a:lnTo>
                  <a:lnTo>
                    <a:pt x="282441" y="486352"/>
                  </a:lnTo>
                  <a:lnTo>
                    <a:pt x="279069" y="491290"/>
                  </a:lnTo>
                  <a:lnTo>
                    <a:pt x="279069" y="489643"/>
                  </a:lnTo>
                  <a:lnTo>
                    <a:pt x="274010" y="489643"/>
                  </a:lnTo>
                  <a:lnTo>
                    <a:pt x="275696" y="487998"/>
                  </a:lnTo>
                  <a:lnTo>
                    <a:pt x="272324" y="487998"/>
                  </a:lnTo>
                  <a:lnTo>
                    <a:pt x="274010" y="491290"/>
                  </a:lnTo>
                  <a:lnTo>
                    <a:pt x="270638" y="491290"/>
                  </a:lnTo>
                  <a:lnTo>
                    <a:pt x="268951" y="487998"/>
                  </a:lnTo>
                  <a:lnTo>
                    <a:pt x="250403" y="483060"/>
                  </a:lnTo>
                  <a:lnTo>
                    <a:pt x="240286" y="484706"/>
                  </a:lnTo>
                  <a:lnTo>
                    <a:pt x="147543" y="530790"/>
                  </a:lnTo>
                  <a:lnTo>
                    <a:pt x="125622" y="547249"/>
                  </a:lnTo>
                  <a:lnTo>
                    <a:pt x="125622" y="552187"/>
                  </a:lnTo>
                  <a:lnTo>
                    <a:pt x="115505" y="557124"/>
                  </a:lnTo>
                  <a:lnTo>
                    <a:pt x="115505" y="562062"/>
                  </a:lnTo>
                  <a:lnTo>
                    <a:pt x="112133" y="565353"/>
                  </a:lnTo>
                  <a:lnTo>
                    <a:pt x="115505" y="562062"/>
                  </a:lnTo>
                  <a:lnTo>
                    <a:pt x="112133" y="558770"/>
                  </a:lnTo>
                  <a:lnTo>
                    <a:pt x="110446" y="562062"/>
                  </a:lnTo>
                  <a:lnTo>
                    <a:pt x="112133" y="563708"/>
                  </a:lnTo>
                  <a:lnTo>
                    <a:pt x="108760" y="562062"/>
                  </a:lnTo>
                  <a:lnTo>
                    <a:pt x="107074" y="563708"/>
                  </a:lnTo>
                  <a:lnTo>
                    <a:pt x="108760" y="566999"/>
                  </a:lnTo>
                  <a:lnTo>
                    <a:pt x="112133" y="565353"/>
                  </a:lnTo>
                  <a:lnTo>
                    <a:pt x="112133" y="566999"/>
                  </a:lnTo>
                  <a:lnTo>
                    <a:pt x="105388" y="563708"/>
                  </a:lnTo>
                  <a:lnTo>
                    <a:pt x="95270" y="571937"/>
                  </a:lnTo>
                  <a:lnTo>
                    <a:pt x="91898" y="578520"/>
                  </a:lnTo>
                  <a:lnTo>
                    <a:pt x="93584" y="581812"/>
                  </a:lnTo>
                  <a:lnTo>
                    <a:pt x="88525" y="583458"/>
                  </a:lnTo>
                  <a:lnTo>
                    <a:pt x="81780" y="593333"/>
                  </a:lnTo>
                  <a:lnTo>
                    <a:pt x="83467" y="594979"/>
                  </a:lnTo>
                  <a:lnTo>
                    <a:pt x="78408" y="596625"/>
                  </a:lnTo>
                  <a:close/>
                  <a:moveTo>
                    <a:pt x="81780" y="598271"/>
                  </a:moveTo>
                  <a:lnTo>
                    <a:pt x="80094" y="596625"/>
                  </a:lnTo>
                  <a:lnTo>
                    <a:pt x="81780" y="596625"/>
                  </a:lnTo>
                  <a:lnTo>
                    <a:pt x="81780" y="598271"/>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6" name="Lingewaard">
              <a:extLst>
                <a:ext uri="{FF2B5EF4-FFF2-40B4-BE49-F238E27FC236}">
                  <a16:creationId xmlns:a16="http://schemas.microsoft.com/office/drawing/2014/main" id="{BB6AAC82-EA28-4CD0-8908-8052CAD31E29}"/>
                </a:ext>
              </a:extLst>
            </p:cNvPr>
            <p:cNvSpPr/>
            <p:nvPr/>
          </p:nvSpPr>
          <p:spPr>
            <a:xfrm>
              <a:off x="6732462" y="3746284"/>
              <a:ext cx="190345" cy="178142"/>
            </a:xfrm>
            <a:custGeom>
              <a:avLst/>
              <a:gdLst/>
              <a:ahLst/>
              <a:cxnLst/>
              <a:rect l="l" t="t" r="r" b="b"/>
              <a:pathLst>
                <a:path w="292704" h="262890" extrusionOk="0">
                  <a:moveTo>
                    <a:pt x="147543" y="27156"/>
                  </a:moveTo>
                  <a:lnTo>
                    <a:pt x="159347" y="38677"/>
                  </a:lnTo>
                  <a:lnTo>
                    <a:pt x="162719" y="55136"/>
                  </a:lnTo>
                  <a:lnTo>
                    <a:pt x="169464" y="55136"/>
                  </a:lnTo>
                  <a:lnTo>
                    <a:pt x="172837" y="65011"/>
                  </a:lnTo>
                  <a:lnTo>
                    <a:pt x="179582" y="74886"/>
                  </a:lnTo>
                  <a:lnTo>
                    <a:pt x="179582" y="79824"/>
                  </a:lnTo>
                  <a:lnTo>
                    <a:pt x="174523" y="81470"/>
                  </a:lnTo>
                  <a:lnTo>
                    <a:pt x="189699" y="96282"/>
                  </a:lnTo>
                  <a:lnTo>
                    <a:pt x="209934" y="125908"/>
                  </a:lnTo>
                  <a:lnTo>
                    <a:pt x="252089" y="152242"/>
                  </a:lnTo>
                  <a:lnTo>
                    <a:pt x="258834" y="163763"/>
                  </a:lnTo>
                  <a:lnTo>
                    <a:pt x="268951" y="196680"/>
                  </a:lnTo>
                  <a:lnTo>
                    <a:pt x="294245" y="218076"/>
                  </a:lnTo>
                  <a:lnTo>
                    <a:pt x="272324" y="211493"/>
                  </a:lnTo>
                  <a:lnTo>
                    <a:pt x="248716" y="195034"/>
                  </a:lnTo>
                  <a:lnTo>
                    <a:pt x="230168" y="195034"/>
                  </a:lnTo>
                  <a:lnTo>
                    <a:pt x="218365" y="201617"/>
                  </a:lnTo>
                  <a:lnTo>
                    <a:pt x="208247" y="214785"/>
                  </a:lnTo>
                  <a:lnTo>
                    <a:pt x="194757" y="244410"/>
                  </a:lnTo>
                  <a:lnTo>
                    <a:pt x="189699" y="252639"/>
                  </a:lnTo>
                  <a:lnTo>
                    <a:pt x="172837" y="259223"/>
                  </a:lnTo>
                  <a:lnTo>
                    <a:pt x="155974" y="254285"/>
                  </a:lnTo>
                  <a:lnTo>
                    <a:pt x="127309" y="218076"/>
                  </a:lnTo>
                  <a:lnTo>
                    <a:pt x="118877" y="213139"/>
                  </a:lnTo>
                  <a:lnTo>
                    <a:pt x="102015" y="211493"/>
                  </a:lnTo>
                  <a:lnTo>
                    <a:pt x="83467" y="213139"/>
                  </a:lnTo>
                  <a:lnTo>
                    <a:pt x="63232" y="221368"/>
                  </a:lnTo>
                  <a:lnTo>
                    <a:pt x="49742" y="234535"/>
                  </a:lnTo>
                  <a:lnTo>
                    <a:pt x="46370" y="229597"/>
                  </a:lnTo>
                  <a:lnTo>
                    <a:pt x="42997" y="231243"/>
                  </a:lnTo>
                  <a:lnTo>
                    <a:pt x="32880" y="206555"/>
                  </a:lnTo>
                  <a:lnTo>
                    <a:pt x="27821" y="180221"/>
                  </a:lnTo>
                  <a:lnTo>
                    <a:pt x="26135" y="178575"/>
                  </a:lnTo>
                  <a:lnTo>
                    <a:pt x="4214" y="178575"/>
                  </a:lnTo>
                  <a:lnTo>
                    <a:pt x="4214" y="157179"/>
                  </a:lnTo>
                  <a:lnTo>
                    <a:pt x="31194" y="155533"/>
                  </a:lnTo>
                  <a:lnTo>
                    <a:pt x="31194" y="145658"/>
                  </a:lnTo>
                  <a:lnTo>
                    <a:pt x="26135" y="145658"/>
                  </a:lnTo>
                  <a:lnTo>
                    <a:pt x="29507" y="130845"/>
                  </a:lnTo>
                  <a:lnTo>
                    <a:pt x="56487" y="132491"/>
                  </a:lnTo>
                  <a:lnTo>
                    <a:pt x="61546" y="114387"/>
                  </a:lnTo>
                  <a:lnTo>
                    <a:pt x="58173" y="111095"/>
                  </a:lnTo>
                  <a:lnTo>
                    <a:pt x="64918" y="99574"/>
                  </a:lnTo>
                  <a:lnTo>
                    <a:pt x="53115" y="89699"/>
                  </a:lnTo>
                  <a:lnTo>
                    <a:pt x="66604" y="66657"/>
                  </a:lnTo>
                  <a:lnTo>
                    <a:pt x="73349" y="68303"/>
                  </a:lnTo>
                  <a:lnTo>
                    <a:pt x="88525" y="40323"/>
                  </a:lnTo>
                  <a:lnTo>
                    <a:pt x="85153" y="38677"/>
                  </a:lnTo>
                  <a:lnTo>
                    <a:pt x="86839" y="35385"/>
                  </a:lnTo>
                  <a:lnTo>
                    <a:pt x="91898" y="28802"/>
                  </a:lnTo>
                  <a:lnTo>
                    <a:pt x="108760" y="27156"/>
                  </a:lnTo>
                  <a:lnTo>
                    <a:pt x="113819" y="27156"/>
                  </a:lnTo>
                  <a:lnTo>
                    <a:pt x="117191" y="5760"/>
                  </a:lnTo>
                  <a:lnTo>
                    <a:pt x="122250" y="4114"/>
                  </a:lnTo>
                  <a:lnTo>
                    <a:pt x="130681" y="13989"/>
                  </a:lnTo>
                  <a:lnTo>
                    <a:pt x="147543" y="2715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7" name="Weert">
              <a:extLst>
                <a:ext uri="{FF2B5EF4-FFF2-40B4-BE49-F238E27FC236}">
                  <a16:creationId xmlns:a16="http://schemas.microsoft.com/office/drawing/2014/main" id="{6F9348BA-D7A0-4090-9069-ADF311DD6B78}"/>
                </a:ext>
              </a:extLst>
            </p:cNvPr>
            <p:cNvSpPr/>
            <p:nvPr/>
          </p:nvSpPr>
          <p:spPr>
            <a:xfrm>
              <a:off x="6417802" y="4852569"/>
              <a:ext cx="230319" cy="176237"/>
            </a:xfrm>
            <a:custGeom>
              <a:avLst/>
              <a:gdLst/>
              <a:ahLst/>
              <a:cxnLst/>
              <a:rect l="l" t="t" r="r" b="b"/>
              <a:pathLst>
                <a:path w="351245" h="262890" extrusionOk="0">
                  <a:moveTo>
                    <a:pt x="130681" y="13989"/>
                  </a:moveTo>
                  <a:lnTo>
                    <a:pt x="145857" y="30448"/>
                  </a:lnTo>
                  <a:lnTo>
                    <a:pt x="162720" y="35386"/>
                  </a:lnTo>
                  <a:lnTo>
                    <a:pt x="172837" y="37031"/>
                  </a:lnTo>
                  <a:lnTo>
                    <a:pt x="198130" y="25510"/>
                  </a:lnTo>
                  <a:lnTo>
                    <a:pt x="223424" y="20573"/>
                  </a:lnTo>
                  <a:lnTo>
                    <a:pt x="248717" y="22219"/>
                  </a:lnTo>
                  <a:lnTo>
                    <a:pt x="262207" y="28802"/>
                  </a:lnTo>
                  <a:lnTo>
                    <a:pt x="284128" y="68303"/>
                  </a:lnTo>
                  <a:lnTo>
                    <a:pt x="311107" y="86407"/>
                  </a:lnTo>
                  <a:lnTo>
                    <a:pt x="317852" y="88053"/>
                  </a:lnTo>
                  <a:lnTo>
                    <a:pt x="333028" y="101220"/>
                  </a:lnTo>
                  <a:lnTo>
                    <a:pt x="354949" y="130845"/>
                  </a:lnTo>
                  <a:lnTo>
                    <a:pt x="339773" y="171993"/>
                  </a:lnTo>
                  <a:lnTo>
                    <a:pt x="329656" y="176930"/>
                  </a:lnTo>
                  <a:lnTo>
                    <a:pt x="327970" y="185159"/>
                  </a:lnTo>
                  <a:lnTo>
                    <a:pt x="319538" y="186805"/>
                  </a:lnTo>
                  <a:lnTo>
                    <a:pt x="307735" y="181867"/>
                  </a:lnTo>
                  <a:lnTo>
                    <a:pt x="300990" y="183513"/>
                  </a:lnTo>
                  <a:lnTo>
                    <a:pt x="292559" y="188451"/>
                  </a:lnTo>
                  <a:lnTo>
                    <a:pt x="289186" y="201618"/>
                  </a:lnTo>
                  <a:lnTo>
                    <a:pt x="299304" y="204910"/>
                  </a:lnTo>
                  <a:lnTo>
                    <a:pt x="294245" y="209847"/>
                  </a:lnTo>
                  <a:lnTo>
                    <a:pt x="295931" y="213139"/>
                  </a:lnTo>
                  <a:lnTo>
                    <a:pt x="294245" y="221368"/>
                  </a:lnTo>
                  <a:lnTo>
                    <a:pt x="284128" y="236181"/>
                  </a:lnTo>
                  <a:lnTo>
                    <a:pt x="285814" y="239472"/>
                  </a:lnTo>
                  <a:lnTo>
                    <a:pt x="285814" y="244410"/>
                  </a:lnTo>
                  <a:lnTo>
                    <a:pt x="275697" y="254285"/>
                  </a:lnTo>
                  <a:lnTo>
                    <a:pt x="274010" y="259223"/>
                  </a:lnTo>
                  <a:lnTo>
                    <a:pt x="272324" y="254285"/>
                  </a:lnTo>
                  <a:lnTo>
                    <a:pt x="258834" y="259223"/>
                  </a:lnTo>
                  <a:lnTo>
                    <a:pt x="257148" y="255931"/>
                  </a:lnTo>
                  <a:lnTo>
                    <a:pt x="252089" y="259223"/>
                  </a:lnTo>
                  <a:lnTo>
                    <a:pt x="243658" y="259223"/>
                  </a:lnTo>
                  <a:lnTo>
                    <a:pt x="235227" y="262514"/>
                  </a:lnTo>
                  <a:lnTo>
                    <a:pt x="226796" y="269098"/>
                  </a:lnTo>
                  <a:lnTo>
                    <a:pt x="225110" y="265807"/>
                  </a:lnTo>
                  <a:lnTo>
                    <a:pt x="214992" y="264161"/>
                  </a:lnTo>
                  <a:lnTo>
                    <a:pt x="214992" y="260869"/>
                  </a:lnTo>
                  <a:lnTo>
                    <a:pt x="206561" y="260869"/>
                  </a:lnTo>
                  <a:lnTo>
                    <a:pt x="204875" y="264161"/>
                  </a:lnTo>
                  <a:lnTo>
                    <a:pt x="196444" y="257577"/>
                  </a:lnTo>
                  <a:lnTo>
                    <a:pt x="188013" y="260869"/>
                  </a:lnTo>
                  <a:lnTo>
                    <a:pt x="182954" y="259223"/>
                  </a:lnTo>
                  <a:lnTo>
                    <a:pt x="176209" y="264161"/>
                  </a:lnTo>
                  <a:lnTo>
                    <a:pt x="176209" y="259223"/>
                  </a:lnTo>
                  <a:lnTo>
                    <a:pt x="167778" y="257577"/>
                  </a:lnTo>
                  <a:lnTo>
                    <a:pt x="157661" y="255931"/>
                  </a:lnTo>
                  <a:lnTo>
                    <a:pt x="147543" y="259223"/>
                  </a:lnTo>
                  <a:lnTo>
                    <a:pt x="134054" y="237827"/>
                  </a:lnTo>
                  <a:lnTo>
                    <a:pt x="140799" y="236181"/>
                  </a:lnTo>
                  <a:lnTo>
                    <a:pt x="139112" y="227952"/>
                  </a:lnTo>
                  <a:lnTo>
                    <a:pt x="113819" y="216430"/>
                  </a:lnTo>
                  <a:lnTo>
                    <a:pt x="4214" y="171993"/>
                  </a:lnTo>
                  <a:lnTo>
                    <a:pt x="48056" y="160471"/>
                  </a:lnTo>
                  <a:lnTo>
                    <a:pt x="48056" y="163763"/>
                  </a:lnTo>
                  <a:lnTo>
                    <a:pt x="86839" y="152242"/>
                  </a:lnTo>
                  <a:lnTo>
                    <a:pt x="93584" y="104512"/>
                  </a:lnTo>
                  <a:lnTo>
                    <a:pt x="96957" y="45261"/>
                  </a:lnTo>
                  <a:lnTo>
                    <a:pt x="125622" y="4114"/>
                  </a:lnTo>
                  <a:lnTo>
                    <a:pt x="130681" y="13989"/>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8" name="Beverwijk">
              <a:extLst>
                <a:ext uri="{FF2B5EF4-FFF2-40B4-BE49-F238E27FC236}">
                  <a16:creationId xmlns:a16="http://schemas.microsoft.com/office/drawing/2014/main" id="{A6D1AD3C-19EA-4B49-99E0-507FB6589CF6}"/>
                </a:ext>
              </a:extLst>
            </p:cNvPr>
            <p:cNvSpPr/>
            <p:nvPr/>
          </p:nvSpPr>
          <p:spPr>
            <a:xfrm>
              <a:off x="5399139" y="2862256"/>
              <a:ext cx="133633" cy="75608"/>
            </a:xfrm>
            <a:custGeom>
              <a:avLst/>
              <a:gdLst/>
              <a:ahLst/>
              <a:cxnLst/>
              <a:rect l="l" t="t" r="r" b="b"/>
              <a:pathLst>
                <a:path w="187330" h="114300" extrusionOk="0">
                  <a:moveTo>
                    <a:pt x="130681" y="7406"/>
                  </a:moveTo>
                  <a:lnTo>
                    <a:pt x="147543" y="25510"/>
                  </a:lnTo>
                  <a:lnTo>
                    <a:pt x="161033" y="28802"/>
                  </a:lnTo>
                  <a:lnTo>
                    <a:pt x="161033" y="27156"/>
                  </a:lnTo>
                  <a:lnTo>
                    <a:pt x="166092" y="32094"/>
                  </a:lnTo>
                  <a:lnTo>
                    <a:pt x="172837" y="30448"/>
                  </a:lnTo>
                  <a:lnTo>
                    <a:pt x="174523" y="40323"/>
                  </a:lnTo>
                  <a:lnTo>
                    <a:pt x="177895" y="40323"/>
                  </a:lnTo>
                  <a:lnTo>
                    <a:pt x="181268" y="33740"/>
                  </a:lnTo>
                  <a:lnTo>
                    <a:pt x="193071" y="41969"/>
                  </a:lnTo>
                  <a:lnTo>
                    <a:pt x="189699" y="53490"/>
                  </a:lnTo>
                  <a:lnTo>
                    <a:pt x="181268" y="56782"/>
                  </a:lnTo>
                  <a:lnTo>
                    <a:pt x="177895" y="79824"/>
                  </a:lnTo>
                  <a:lnTo>
                    <a:pt x="172837" y="84761"/>
                  </a:lnTo>
                  <a:lnTo>
                    <a:pt x="155974" y="97928"/>
                  </a:lnTo>
                  <a:lnTo>
                    <a:pt x="157661" y="99574"/>
                  </a:lnTo>
                  <a:lnTo>
                    <a:pt x="142485" y="116033"/>
                  </a:lnTo>
                  <a:lnTo>
                    <a:pt x="122250" y="101220"/>
                  </a:lnTo>
                  <a:lnTo>
                    <a:pt x="132367" y="84761"/>
                  </a:lnTo>
                  <a:lnTo>
                    <a:pt x="110446" y="63365"/>
                  </a:lnTo>
                  <a:lnTo>
                    <a:pt x="103701" y="65011"/>
                  </a:lnTo>
                  <a:lnTo>
                    <a:pt x="100329" y="63365"/>
                  </a:lnTo>
                  <a:lnTo>
                    <a:pt x="100329" y="60074"/>
                  </a:lnTo>
                  <a:lnTo>
                    <a:pt x="49742" y="46906"/>
                  </a:lnTo>
                  <a:lnTo>
                    <a:pt x="36252" y="53490"/>
                  </a:lnTo>
                  <a:lnTo>
                    <a:pt x="31194" y="45261"/>
                  </a:lnTo>
                  <a:lnTo>
                    <a:pt x="4214" y="33740"/>
                  </a:lnTo>
                  <a:lnTo>
                    <a:pt x="10959" y="10698"/>
                  </a:lnTo>
                  <a:lnTo>
                    <a:pt x="17704" y="12343"/>
                  </a:lnTo>
                  <a:lnTo>
                    <a:pt x="24449" y="12343"/>
                  </a:lnTo>
                  <a:lnTo>
                    <a:pt x="27821" y="15635"/>
                  </a:lnTo>
                  <a:lnTo>
                    <a:pt x="29508" y="13989"/>
                  </a:lnTo>
                  <a:lnTo>
                    <a:pt x="27821" y="17281"/>
                  </a:lnTo>
                  <a:lnTo>
                    <a:pt x="36252" y="22219"/>
                  </a:lnTo>
                  <a:lnTo>
                    <a:pt x="41311" y="20573"/>
                  </a:lnTo>
                  <a:lnTo>
                    <a:pt x="48056" y="15635"/>
                  </a:lnTo>
                  <a:lnTo>
                    <a:pt x="83467" y="9052"/>
                  </a:lnTo>
                  <a:lnTo>
                    <a:pt x="98643" y="9052"/>
                  </a:lnTo>
                  <a:lnTo>
                    <a:pt x="113819" y="13989"/>
                  </a:lnTo>
                  <a:lnTo>
                    <a:pt x="130681" y="4114"/>
                  </a:lnTo>
                  <a:lnTo>
                    <a:pt x="130681" y="7406"/>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19" name="Olst-Wijhe">
              <a:extLst>
                <a:ext uri="{FF2B5EF4-FFF2-40B4-BE49-F238E27FC236}">
                  <a16:creationId xmlns:a16="http://schemas.microsoft.com/office/drawing/2014/main" id="{12ADA329-3E92-494C-8A7E-41B2A8CA6699}"/>
                </a:ext>
              </a:extLst>
            </p:cNvPr>
            <p:cNvSpPr/>
            <p:nvPr/>
          </p:nvSpPr>
          <p:spPr>
            <a:xfrm>
              <a:off x="6932894" y="2939555"/>
              <a:ext cx="181601" cy="244659"/>
            </a:xfrm>
            <a:custGeom>
              <a:avLst/>
              <a:gdLst/>
              <a:ahLst/>
              <a:cxnLst/>
              <a:rect l="l" t="t" r="r" b="b"/>
              <a:pathLst>
                <a:path w="257579" h="377190" extrusionOk="0">
                  <a:moveTo>
                    <a:pt x="145857" y="15635"/>
                  </a:moveTo>
                  <a:lnTo>
                    <a:pt x="169464" y="56781"/>
                  </a:lnTo>
                  <a:lnTo>
                    <a:pt x="189699" y="53490"/>
                  </a:lnTo>
                  <a:lnTo>
                    <a:pt x="189699" y="58427"/>
                  </a:lnTo>
                  <a:lnTo>
                    <a:pt x="193071" y="56781"/>
                  </a:lnTo>
                  <a:lnTo>
                    <a:pt x="193071" y="63365"/>
                  </a:lnTo>
                  <a:lnTo>
                    <a:pt x="198130" y="66657"/>
                  </a:lnTo>
                  <a:lnTo>
                    <a:pt x="213306" y="63365"/>
                  </a:lnTo>
                  <a:lnTo>
                    <a:pt x="216678" y="65011"/>
                  </a:lnTo>
                  <a:lnTo>
                    <a:pt x="214992" y="69949"/>
                  </a:lnTo>
                  <a:lnTo>
                    <a:pt x="250403" y="74886"/>
                  </a:lnTo>
                  <a:lnTo>
                    <a:pt x="236913" y="109449"/>
                  </a:lnTo>
                  <a:lnTo>
                    <a:pt x="252089" y="137429"/>
                  </a:lnTo>
                  <a:lnTo>
                    <a:pt x="250403" y="137429"/>
                  </a:lnTo>
                  <a:lnTo>
                    <a:pt x="253775" y="147304"/>
                  </a:lnTo>
                  <a:lnTo>
                    <a:pt x="250403" y="155533"/>
                  </a:lnTo>
                  <a:lnTo>
                    <a:pt x="233541" y="167054"/>
                  </a:lnTo>
                  <a:lnTo>
                    <a:pt x="230168" y="165409"/>
                  </a:lnTo>
                  <a:lnTo>
                    <a:pt x="211620" y="163763"/>
                  </a:lnTo>
                  <a:lnTo>
                    <a:pt x="208247" y="168700"/>
                  </a:lnTo>
                  <a:lnTo>
                    <a:pt x="214992" y="168700"/>
                  </a:lnTo>
                  <a:lnTo>
                    <a:pt x="216678" y="171992"/>
                  </a:lnTo>
                  <a:lnTo>
                    <a:pt x="206561" y="171992"/>
                  </a:lnTo>
                  <a:lnTo>
                    <a:pt x="206561" y="180221"/>
                  </a:lnTo>
                  <a:lnTo>
                    <a:pt x="203188" y="180221"/>
                  </a:lnTo>
                  <a:lnTo>
                    <a:pt x="209934" y="185159"/>
                  </a:lnTo>
                  <a:lnTo>
                    <a:pt x="209934" y="190096"/>
                  </a:lnTo>
                  <a:lnTo>
                    <a:pt x="204875" y="193388"/>
                  </a:lnTo>
                  <a:lnTo>
                    <a:pt x="206561" y="195034"/>
                  </a:lnTo>
                  <a:lnTo>
                    <a:pt x="206561" y="201617"/>
                  </a:lnTo>
                  <a:lnTo>
                    <a:pt x="199816" y="199972"/>
                  </a:lnTo>
                  <a:lnTo>
                    <a:pt x="198130" y="195034"/>
                  </a:lnTo>
                  <a:lnTo>
                    <a:pt x="189699" y="190096"/>
                  </a:lnTo>
                  <a:lnTo>
                    <a:pt x="188013" y="203264"/>
                  </a:lnTo>
                  <a:lnTo>
                    <a:pt x="188013" y="218076"/>
                  </a:lnTo>
                  <a:lnTo>
                    <a:pt x="196443" y="231243"/>
                  </a:lnTo>
                  <a:lnTo>
                    <a:pt x="199816" y="232889"/>
                  </a:lnTo>
                  <a:lnTo>
                    <a:pt x="198130" y="239472"/>
                  </a:lnTo>
                  <a:lnTo>
                    <a:pt x="201502" y="247702"/>
                  </a:lnTo>
                  <a:lnTo>
                    <a:pt x="240286" y="259223"/>
                  </a:lnTo>
                  <a:lnTo>
                    <a:pt x="260520" y="277327"/>
                  </a:lnTo>
                  <a:lnTo>
                    <a:pt x="253775" y="287203"/>
                  </a:lnTo>
                  <a:lnTo>
                    <a:pt x="255461" y="302015"/>
                  </a:lnTo>
                  <a:lnTo>
                    <a:pt x="260520" y="303661"/>
                  </a:lnTo>
                  <a:lnTo>
                    <a:pt x="260520" y="325057"/>
                  </a:lnTo>
                  <a:lnTo>
                    <a:pt x="216678" y="321766"/>
                  </a:lnTo>
                  <a:lnTo>
                    <a:pt x="211620" y="325057"/>
                  </a:lnTo>
                  <a:lnTo>
                    <a:pt x="211620" y="331641"/>
                  </a:lnTo>
                  <a:lnTo>
                    <a:pt x="206561" y="334932"/>
                  </a:lnTo>
                  <a:lnTo>
                    <a:pt x="179582" y="338224"/>
                  </a:lnTo>
                  <a:lnTo>
                    <a:pt x="179582" y="353037"/>
                  </a:lnTo>
                  <a:lnTo>
                    <a:pt x="161033" y="353037"/>
                  </a:lnTo>
                  <a:lnTo>
                    <a:pt x="71663" y="381017"/>
                  </a:lnTo>
                  <a:lnTo>
                    <a:pt x="68291" y="381017"/>
                  </a:lnTo>
                  <a:lnTo>
                    <a:pt x="68291" y="377725"/>
                  </a:lnTo>
                  <a:lnTo>
                    <a:pt x="59859" y="372787"/>
                  </a:lnTo>
                  <a:lnTo>
                    <a:pt x="53115" y="372787"/>
                  </a:lnTo>
                  <a:lnTo>
                    <a:pt x="54801" y="374433"/>
                  </a:lnTo>
                  <a:lnTo>
                    <a:pt x="37938" y="374433"/>
                  </a:lnTo>
                  <a:lnTo>
                    <a:pt x="34566" y="371141"/>
                  </a:lnTo>
                  <a:lnTo>
                    <a:pt x="31194" y="371141"/>
                  </a:lnTo>
                  <a:lnTo>
                    <a:pt x="29507" y="357975"/>
                  </a:lnTo>
                  <a:lnTo>
                    <a:pt x="32880" y="346453"/>
                  </a:lnTo>
                  <a:lnTo>
                    <a:pt x="26135" y="346453"/>
                  </a:lnTo>
                  <a:lnTo>
                    <a:pt x="24449" y="333287"/>
                  </a:lnTo>
                  <a:lnTo>
                    <a:pt x="12645" y="333287"/>
                  </a:lnTo>
                  <a:lnTo>
                    <a:pt x="4214" y="333287"/>
                  </a:lnTo>
                  <a:lnTo>
                    <a:pt x="4214" y="329995"/>
                  </a:lnTo>
                  <a:lnTo>
                    <a:pt x="5900" y="325057"/>
                  </a:lnTo>
                  <a:lnTo>
                    <a:pt x="10959" y="323411"/>
                  </a:lnTo>
                  <a:lnTo>
                    <a:pt x="17704" y="295432"/>
                  </a:lnTo>
                  <a:lnTo>
                    <a:pt x="16018" y="292140"/>
                  </a:lnTo>
                  <a:lnTo>
                    <a:pt x="17704" y="292140"/>
                  </a:lnTo>
                  <a:lnTo>
                    <a:pt x="19390" y="282265"/>
                  </a:lnTo>
                  <a:lnTo>
                    <a:pt x="17704" y="252639"/>
                  </a:lnTo>
                  <a:lnTo>
                    <a:pt x="21076" y="249348"/>
                  </a:lnTo>
                  <a:lnTo>
                    <a:pt x="34566" y="246056"/>
                  </a:lnTo>
                  <a:lnTo>
                    <a:pt x="46370" y="237827"/>
                  </a:lnTo>
                  <a:lnTo>
                    <a:pt x="39625" y="229597"/>
                  </a:lnTo>
                  <a:lnTo>
                    <a:pt x="22763" y="223014"/>
                  </a:lnTo>
                  <a:lnTo>
                    <a:pt x="21076" y="209847"/>
                  </a:lnTo>
                  <a:lnTo>
                    <a:pt x="22763" y="204909"/>
                  </a:lnTo>
                  <a:lnTo>
                    <a:pt x="29507" y="199972"/>
                  </a:lnTo>
                  <a:lnTo>
                    <a:pt x="73349" y="188451"/>
                  </a:lnTo>
                  <a:lnTo>
                    <a:pt x="86839" y="181867"/>
                  </a:lnTo>
                  <a:lnTo>
                    <a:pt x="93584" y="170346"/>
                  </a:lnTo>
                  <a:lnTo>
                    <a:pt x="91898" y="150596"/>
                  </a:lnTo>
                  <a:lnTo>
                    <a:pt x="98643" y="132491"/>
                  </a:lnTo>
                  <a:lnTo>
                    <a:pt x="95270" y="134137"/>
                  </a:lnTo>
                  <a:lnTo>
                    <a:pt x="88525" y="129199"/>
                  </a:lnTo>
                  <a:lnTo>
                    <a:pt x="81780" y="127554"/>
                  </a:lnTo>
                  <a:lnTo>
                    <a:pt x="75036" y="116033"/>
                  </a:lnTo>
                  <a:lnTo>
                    <a:pt x="69977" y="114387"/>
                  </a:lnTo>
                  <a:lnTo>
                    <a:pt x="75036" y="99574"/>
                  </a:lnTo>
                  <a:lnTo>
                    <a:pt x="73349" y="86407"/>
                  </a:lnTo>
                  <a:lnTo>
                    <a:pt x="80094" y="68303"/>
                  </a:lnTo>
                  <a:lnTo>
                    <a:pt x="76722" y="60073"/>
                  </a:lnTo>
                  <a:lnTo>
                    <a:pt x="81780" y="53490"/>
                  </a:lnTo>
                  <a:lnTo>
                    <a:pt x="66604" y="35385"/>
                  </a:lnTo>
                  <a:lnTo>
                    <a:pt x="83467" y="30448"/>
                  </a:lnTo>
                  <a:lnTo>
                    <a:pt x="107074" y="32094"/>
                  </a:lnTo>
                  <a:lnTo>
                    <a:pt x="108760" y="35385"/>
                  </a:lnTo>
                  <a:lnTo>
                    <a:pt x="112132" y="32094"/>
                  </a:lnTo>
                  <a:lnTo>
                    <a:pt x="113819" y="25510"/>
                  </a:lnTo>
                  <a:lnTo>
                    <a:pt x="115505" y="27156"/>
                  </a:lnTo>
                  <a:lnTo>
                    <a:pt x="123936" y="25510"/>
                  </a:lnTo>
                  <a:lnTo>
                    <a:pt x="134053" y="4114"/>
                  </a:lnTo>
                  <a:lnTo>
                    <a:pt x="139112" y="4114"/>
                  </a:lnTo>
                  <a:lnTo>
                    <a:pt x="145857" y="15635"/>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0" name="Helmond">
              <a:extLst>
                <a:ext uri="{FF2B5EF4-FFF2-40B4-BE49-F238E27FC236}">
                  <a16:creationId xmlns:a16="http://schemas.microsoft.com/office/drawing/2014/main" id="{122D5906-B9B1-4209-BD6A-8FA709A18335}"/>
                </a:ext>
              </a:extLst>
            </p:cNvPr>
            <p:cNvSpPr/>
            <p:nvPr/>
          </p:nvSpPr>
          <p:spPr>
            <a:xfrm>
              <a:off x="6426971" y="4488888"/>
              <a:ext cx="173981" cy="104320"/>
            </a:xfrm>
            <a:custGeom>
              <a:avLst/>
              <a:gdLst/>
              <a:ahLst/>
              <a:cxnLst/>
              <a:rect l="l" t="t" r="r" b="b"/>
              <a:pathLst>
                <a:path w="257579" h="171450" extrusionOk="0">
                  <a:moveTo>
                    <a:pt x="66605" y="5760"/>
                  </a:moveTo>
                  <a:lnTo>
                    <a:pt x="68291" y="7406"/>
                  </a:lnTo>
                  <a:lnTo>
                    <a:pt x="66605" y="15635"/>
                  </a:lnTo>
                  <a:lnTo>
                    <a:pt x="73349" y="25510"/>
                  </a:lnTo>
                  <a:lnTo>
                    <a:pt x="78408" y="30448"/>
                  </a:lnTo>
                  <a:lnTo>
                    <a:pt x="90212" y="30448"/>
                  </a:lnTo>
                  <a:lnTo>
                    <a:pt x="91898" y="35385"/>
                  </a:lnTo>
                  <a:lnTo>
                    <a:pt x="98643" y="38677"/>
                  </a:lnTo>
                  <a:lnTo>
                    <a:pt x="105388" y="38677"/>
                  </a:lnTo>
                  <a:lnTo>
                    <a:pt x="118878" y="22218"/>
                  </a:lnTo>
                  <a:lnTo>
                    <a:pt x="132367" y="17281"/>
                  </a:lnTo>
                  <a:lnTo>
                    <a:pt x="137426" y="9052"/>
                  </a:lnTo>
                  <a:lnTo>
                    <a:pt x="147543" y="20573"/>
                  </a:lnTo>
                  <a:lnTo>
                    <a:pt x="166092" y="28802"/>
                  </a:lnTo>
                  <a:lnTo>
                    <a:pt x="157661" y="17281"/>
                  </a:lnTo>
                  <a:lnTo>
                    <a:pt x="162719" y="13989"/>
                  </a:lnTo>
                  <a:lnTo>
                    <a:pt x="177895" y="15635"/>
                  </a:lnTo>
                  <a:lnTo>
                    <a:pt x="179582" y="7406"/>
                  </a:lnTo>
                  <a:lnTo>
                    <a:pt x="216678" y="22218"/>
                  </a:lnTo>
                  <a:lnTo>
                    <a:pt x="216678" y="28802"/>
                  </a:lnTo>
                  <a:lnTo>
                    <a:pt x="213306" y="27156"/>
                  </a:lnTo>
                  <a:lnTo>
                    <a:pt x="211620" y="32094"/>
                  </a:lnTo>
                  <a:lnTo>
                    <a:pt x="223424" y="38677"/>
                  </a:lnTo>
                  <a:lnTo>
                    <a:pt x="223424" y="48552"/>
                  </a:lnTo>
                  <a:lnTo>
                    <a:pt x="236913" y="56781"/>
                  </a:lnTo>
                  <a:lnTo>
                    <a:pt x="240286" y="68302"/>
                  </a:lnTo>
                  <a:lnTo>
                    <a:pt x="260520" y="92991"/>
                  </a:lnTo>
                  <a:lnTo>
                    <a:pt x="258834" y="101220"/>
                  </a:lnTo>
                  <a:lnTo>
                    <a:pt x="241972" y="97928"/>
                  </a:lnTo>
                  <a:lnTo>
                    <a:pt x="240286" y="104512"/>
                  </a:lnTo>
                  <a:lnTo>
                    <a:pt x="231855" y="102866"/>
                  </a:lnTo>
                  <a:lnTo>
                    <a:pt x="235227" y="129199"/>
                  </a:lnTo>
                  <a:lnTo>
                    <a:pt x="238599" y="135783"/>
                  </a:lnTo>
                  <a:lnTo>
                    <a:pt x="241972" y="137429"/>
                  </a:lnTo>
                  <a:lnTo>
                    <a:pt x="240286" y="139075"/>
                  </a:lnTo>
                  <a:lnTo>
                    <a:pt x="252089" y="160471"/>
                  </a:lnTo>
                  <a:lnTo>
                    <a:pt x="233541" y="160471"/>
                  </a:lnTo>
                  <a:lnTo>
                    <a:pt x="233541" y="173638"/>
                  </a:lnTo>
                  <a:lnTo>
                    <a:pt x="216678" y="170346"/>
                  </a:lnTo>
                  <a:lnTo>
                    <a:pt x="201503" y="175284"/>
                  </a:lnTo>
                  <a:lnTo>
                    <a:pt x="194758" y="173638"/>
                  </a:lnTo>
                  <a:lnTo>
                    <a:pt x="161033" y="129199"/>
                  </a:lnTo>
                  <a:lnTo>
                    <a:pt x="157661" y="130845"/>
                  </a:lnTo>
                  <a:lnTo>
                    <a:pt x="117191" y="132491"/>
                  </a:lnTo>
                  <a:lnTo>
                    <a:pt x="73349" y="150596"/>
                  </a:lnTo>
                  <a:lnTo>
                    <a:pt x="73349" y="147304"/>
                  </a:lnTo>
                  <a:lnTo>
                    <a:pt x="63232" y="148950"/>
                  </a:lnTo>
                  <a:lnTo>
                    <a:pt x="63232" y="144012"/>
                  </a:lnTo>
                  <a:lnTo>
                    <a:pt x="56487" y="137429"/>
                  </a:lnTo>
                  <a:lnTo>
                    <a:pt x="51428" y="142367"/>
                  </a:lnTo>
                  <a:lnTo>
                    <a:pt x="46370" y="132491"/>
                  </a:lnTo>
                  <a:lnTo>
                    <a:pt x="39625" y="127554"/>
                  </a:lnTo>
                  <a:lnTo>
                    <a:pt x="36253" y="129199"/>
                  </a:lnTo>
                  <a:lnTo>
                    <a:pt x="26135" y="122616"/>
                  </a:lnTo>
                  <a:lnTo>
                    <a:pt x="31194" y="114387"/>
                  </a:lnTo>
                  <a:lnTo>
                    <a:pt x="24449" y="109449"/>
                  </a:lnTo>
                  <a:lnTo>
                    <a:pt x="39625" y="106157"/>
                  </a:lnTo>
                  <a:lnTo>
                    <a:pt x="58174" y="96282"/>
                  </a:lnTo>
                  <a:lnTo>
                    <a:pt x="56487" y="92991"/>
                  </a:lnTo>
                  <a:lnTo>
                    <a:pt x="27822" y="76532"/>
                  </a:lnTo>
                  <a:lnTo>
                    <a:pt x="4214" y="33739"/>
                  </a:lnTo>
                  <a:lnTo>
                    <a:pt x="14332" y="28802"/>
                  </a:lnTo>
                  <a:lnTo>
                    <a:pt x="19390" y="30448"/>
                  </a:lnTo>
                  <a:lnTo>
                    <a:pt x="64918" y="4114"/>
                  </a:lnTo>
                  <a:lnTo>
                    <a:pt x="66605" y="5760"/>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1" name="Steenwijkerland">
              <a:extLst>
                <a:ext uri="{FF2B5EF4-FFF2-40B4-BE49-F238E27FC236}">
                  <a16:creationId xmlns:a16="http://schemas.microsoft.com/office/drawing/2014/main" id="{9B74471F-0DEF-448B-B73E-45856BAFF36B}"/>
                </a:ext>
              </a:extLst>
            </p:cNvPr>
            <p:cNvSpPr/>
            <p:nvPr/>
          </p:nvSpPr>
          <p:spPr>
            <a:xfrm>
              <a:off x="6657215" y="2279038"/>
              <a:ext cx="411572" cy="360153"/>
            </a:xfrm>
            <a:custGeom>
              <a:avLst/>
              <a:gdLst/>
              <a:ahLst/>
              <a:cxnLst/>
              <a:rect l="l" t="t" r="r" b="b"/>
              <a:pathLst>
                <a:path w="608824" h="514350" extrusionOk="0">
                  <a:moveTo>
                    <a:pt x="515140" y="41969"/>
                  </a:moveTo>
                  <a:lnTo>
                    <a:pt x="538747" y="65011"/>
                  </a:lnTo>
                  <a:lnTo>
                    <a:pt x="535375" y="66657"/>
                  </a:lnTo>
                  <a:lnTo>
                    <a:pt x="547178" y="74886"/>
                  </a:lnTo>
                  <a:lnTo>
                    <a:pt x="569099" y="97928"/>
                  </a:lnTo>
                  <a:lnTo>
                    <a:pt x="569099" y="96282"/>
                  </a:lnTo>
                  <a:lnTo>
                    <a:pt x="577530" y="101220"/>
                  </a:lnTo>
                  <a:lnTo>
                    <a:pt x="614627" y="148950"/>
                  </a:lnTo>
                  <a:lnTo>
                    <a:pt x="602824" y="167054"/>
                  </a:lnTo>
                  <a:lnTo>
                    <a:pt x="572472" y="198326"/>
                  </a:lnTo>
                  <a:lnTo>
                    <a:pt x="565727" y="214785"/>
                  </a:lnTo>
                  <a:lnTo>
                    <a:pt x="558982" y="216430"/>
                  </a:lnTo>
                  <a:lnTo>
                    <a:pt x="547178" y="224660"/>
                  </a:lnTo>
                  <a:lnTo>
                    <a:pt x="503337" y="239473"/>
                  </a:lnTo>
                  <a:lnTo>
                    <a:pt x="493219" y="249348"/>
                  </a:lnTo>
                  <a:lnTo>
                    <a:pt x="493219" y="255931"/>
                  </a:lnTo>
                  <a:lnTo>
                    <a:pt x="537061" y="357975"/>
                  </a:lnTo>
                  <a:lnTo>
                    <a:pt x="547178" y="390892"/>
                  </a:lnTo>
                  <a:lnTo>
                    <a:pt x="548864" y="395829"/>
                  </a:lnTo>
                  <a:lnTo>
                    <a:pt x="552237" y="395829"/>
                  </a:lnTo>
                  <a:lnTo>
                    <a:pt x="545492" y="399121"/>
                  </a:lnTo>
                  <a:lnTo>
                    <a:pt x="545492" y="408996"/>
                  </a:lnTo>
                  <a:lnTo>
                    <a:pt x="538747" y="417226"/>
                  </a:lnTo>
                  <a:lnTo>
                    <a:pt x="518512" y="432038"/>
                  </a:lnTo>
                  <a:lnTo>
                    <a:pt x="518512" y="438622"/>
                  </a:lnTo>
                  <a:lnTo>
                    <a:pt x="511768" y="445205"/>
                  </a:lnTo>
                  <a:lnTo>
                    <a:pt x="506709" y="445205"/>
                  </a:lnTo>
                  <a:lnTo>
                    <a:pt x="498278" y="453435"/>
                  </a:lnTo>
                  <a:lnTo>
                    <a:pt x="476357" y="460018"/>
                  </a:lnTo>
                  <a:lnTo>
                    <a:pt x="467926" y="464956"/>
                  </a:lnTo>
                  <a:lnTo>
                    <a:pt x="464553" y="471539"/>
                  </a:lnTo>
                  <a:lnTo>
                    <a:pt x="461181" y="463310"/>
                  </a:lnTo>
                  <a:lnTo>
                    <a:pt x="442632" y="466602"/>
                  </a:lnTo>
                  <a:lnTo>
                    <a:pt x="397104" y="497873"/>
                  </a:lnTo>
                  <a:lnTo>
                    <a:pt x="371811" y="499519"/>
                  </a:lnTo>
                  <a:lnTo>
                    <a:pt x="351576" y="517623"/>
                  </a:lnTo>
                  <a:lnTo>
                    <a:pt x="346518" y="519269"/>
                  </a:lnTo>
                  <a:lnTo>
                    <a:pt x="321224" y="492935"/>
                  </a:lnTo>
                  <a:lnTo>
                    <a:pt x="314479" y="487998"/>
                  </a:lnTo>
                  <a:lnTo>
                    <a:pt x="290872" y="481414"/>
                  </a:lnTo>
                  <a:lnTo>
                    <a:pt x="290872" y="479768"/>
                  </a:lnTo>
                  <a:lnTo>
                    <a:pt x="290872" y="481414"/>
                  </a:lnTo>
                  <a:lnTo>
                    <a:pt x="263892" y="460018"/>
                  </a:lnTo>
                  <a:lnTo>
                    <a:pt x="245344" y="456726"/>
                  </a:lnTo>
                  <a:lnTo>
                    <a:pt x="226795" y="450143"/>
                  </a:lnTo>
                  <a:lnTo>
                    <a:pt x="223423" y="450143"/>
                  </a:lnTo>
                  <a:lnTo>
                    <a:pt x="223423" y="455081"/>
                  </a:lnTo>
                  <a:lnTo>
                    <a:pt x="216678" y="453435"/>
                  </a:lnTo>
                  <a:lnTo>
                    <a:pt x="213306" y="448497"/>
                  </a:lnTo>
                  <a:lnTo>
                    <a:pt x="214992" y="438622"/>
                  </a:lnTo>
                  <a:lnTo>
                    <a:pt x="230168" y="420517"/>
                  </a:lnTo>
                  <a:lnTo>
                    <a:pt x="238599" y="413934"/>
                  </a:lnTo>
                  <a:lnTo>
                    <a:pt x="243658" y="413934"/>
                  </a:lnTo>
                  <a:lnTo>
                    <a:pt x="252089" y="402413"/>
                  </a:lnTo>
                  <a:lnTo>
                    <a:pt x="257148" y="402413"/>
                  </a:lnTo>
                  <a:lnTo>
                    <a:pt x="262206" y="394184"/>
                  </a:lnTo>
                  <a:lnTo>
                    <a:pt x="260520" y="382663"/>
                  </a:lnTo>
                  <a:lnTo>
                    <a:pt x="252089" y="369496"/>
                  </a:lnTo>
                  <a:lnTo>
                    <a:pt x="245344" y="369496"/>
                  </a:lnTo>
                  <a:lnTo>
                    <a:pt x="247030" y="361266"/>
                  </a:lnTo>
                  <a:lnTo>
                    <a:pt x="240286" y="349745"/>
                  </a:lnTo>
                  <a:lnTo>
                    <a:pt x="226795" y="343162"/>
                  </a:lnTo>
                  <a:lnTo>
                    <a:pt x="216678" y="306953"/>
                  </a:lnTo>
                  <a:lnTo>
                    <a:pt x="196443" y="257577"/>
                  </a:lnTo>
                  <a:lnTo>
                    <a:pt x="171150" y="231243"/>
                  </a:lnTo>
                  <a:lnTo>
                    <a:pt x="162719" y="231243"/>
                  </a:lnTo>
                  <a:lnTo>
                    <a:pt x="155974" y="227951"/>
                  </a:lnTo>
                  <a:lnTo>
                    <a:pt x="154288" y="223014"/>
                  </a:lnTo>
                  <a:lnTo>
                    <a:pt x="139112" y="213139"/>
                  </a:lnTo>
                  <a:lnTo>
                    <a:pt x="132367" y="203264"/>
                  </a:lnTo>
                  <a:lnTo>
                    <a:pt x="102015" y="181867"/>
                  </a:lnTo>
                  <a:lnTo>
                    <a:pt x="86839" y="175284"/>
                  </a:lnTo>
                  <a:lnTo>
                    <a:pt x="76722" y="176930"/>
                  </a:lnTo>
                  <a:lnTo>
                    <a:pt x="66604" y="173638"/>
                  </a:lnTo>
                  <a:lnTo>
                    <a:pt x="39625" y="175284"/>
                  </a:lnTo>
                  <a:lnTo>
                    <a:pt x="39625" y="168700"/>
                  </a:lnTo>
                  <a:lnTo>
                    <a:pt x="21076" y="152242"/>
                  </a:lnTo>
                  <a:lnTo>
                    <a:pt x="4214" y="122616"/>
                  </a:lnTo>
                  <a:lnTo>
                    <a:pt x="26135" y="106158"/>
                  </a:lnTo>
                  <a:lnTo>
                    <a:pt x="41311" y="97928"/>
                  </a:lnTo>
                  <a:lnTo>
                    <a:pt x="48056" y="106158"/>
                  </a:lnTo>
                  <a:lnTo>
                    <a:pt x="54801" y="106158"/>
                  </a:lnTo>
                  <a:lnTo>
                    <a:pt x="61546" y="111095"/>
                  </a:lnTo>
                  <a:lnTo>
                    <a:pt x="68290" y="119324"/>
                  </a:lnTo>
                  <a:lnTo>
                    <a:pt x="66604" y="124262"/>
                  </a:lnTo>
                  <a:lnTo>
                    <a:pt x="75036" y="120970"/>
                  </a:lnTo>
                  <a:lnTo>
                    <a:pt x="76722" y="125908"/>
                  </a:lnTo>
                  <a:lnTo>
                    <a:pt x="86839" y="124262"/>
                  </a:lnTo>
                  <a:lnTo>
                    <a:pt x="93584" y="125908"/>
                  </a:lnTo>
                  <a:lnTo>
                    <a:pt x="96956" y="120970"/>
                  </a:lnTo>
                  <a:lnTo>
                    <a:pt x="100329" y="127554"/>
                  </a:lnTo>
                  <a:lnTo>
                    <a:pt x="110446" y="127554"/>
                  </a:lnTo>
                  <a:lnTo>
                    <a:pt x="113819" y="132491"/>
                  </a:lnTo>
                  <a:lnTo>
                    <a:pt x="128995" y="135783"/>
                  </a:lnTo>
                  <a:lnTo>
                    <a:pt x="135740" y="129200"/>
                  </a:lnTo>
                  <a:lnTo>
                    <a:pt x="157661" y="119324"/>
                  </a:lnTo>
                  <a:lnTo>
                    <a:pt x="162719" y="109449"/>
                  </a:lnTo>
                  <a:lnTo>
                    <a:pt x="176209" y="104512"/>
                  </a:lnTo>
                  <a:lnTo>
                    <a:pt x="182954" y="91345"/>
                  </a:lnTo>
                  <a:lnTo>
                    <a:pt x="198130" y="81470"/>
                  </a:lnTo>
                  <a:lnTo>
                    <a:pt x="194757" y="71594"/>
                  </a:lnTo>
                  <a:lnTo>
                    <a:pt x="201502" y="69949"/>
                  </a:lnTo>
                  <a:lnTo>
                    <a:pt x="196443" y="66657"/>
                  </a:lnTo>
                  <a:lnTo>
                    <a:pt x="194757" y="63365"/>
                  </a:lnTo>
                  <a:lnTo>
                    <a:pt x="206561" y="60073"/>
                  </a:lnTo>
                  <a:lnTo>
                    <a:pt x="201502" y="58427"/>
                  </a:lnTo>
                  <a:lnTo>
                    <a:pt x="201502" y="56782"/>
                  </a:lnTo>
                  <a:lnTo>
                    <a:pt x="208247" y="51844"/>
                  </a:lnTo>
                  <a:lnTo>
                    <a:pt x="221737" y="51844"/>
                  </a:lnTo>
                  <a:lnTo>
                    <a:pt x="230168" y="46906"/>
                  </a:lnTo>
                  <a:lnTo>
                    <a:pt x="245344" y="56782"/>
                  </a:lnTo>
                  <a:lnTo>
                    <a:pt x="245344" y="46906"/>
                  </a:lnTo>
                  <a:lnTo>
                    <a:pt x="248716" y="41969"/>
                  </a:lnTo>
                  <a:lnTo>
                    <a:pt x="265579" y="35385"/>
                  </a:lnTo>
                  <a:lnTo>
                    <a:pt x="270638" y="35385"/>
                  </a:lnTo>
                  <a:lnTo>
                    <a:pt x="275696" y="53490"/>
                  </a:lnTo>
                  <a:lnTo>
                    <a:pt x="284127" y="66657"/>
                  </a:lnTo>
                  <a:lnTo>
                    <a:pt x="290872" y="84761"/>
                  </a:lnTo>
                  <a:lnTo>
                    <a:pt x="297617" y="84761"/>
                  </a:lnTo>
                  <a:lnTo>
                    <a:pt x="306048" y="96282"/>
                  </a:lnTo>
                  <a:lnTo>
                    <a:pt x="322911" y="88053"/>
                  </a:lnTo>
                  <a:lnTo>
                    <a:pt x="348204" y="81470"/>
                  </a:lnTo>
                  <a:lnTo>
                    <a:pt x="358321" y="99574"/>
                  </a:lnTo>
                  <a:lnTo>
                    <a:pt x="400477" y="73240"/>
                  </a:lnTo>
                  <a:lnTo>
                    <a:pt x="393732" y="61719"/>
                  </a:lnTo>
                  <a:lnTo>
                    <a:pt x="390359" y="46906"/>
                  </a:lnTo>
                  <a:lnTo>
                    <a:pt x="402163" y="41969"/>
                  </a:lnTo>
                  <a:lnTo>
                    <a:pt x="434201" y="41969"/>
                  </a:lnTo>
                  <a:lnTo>
                    <a:pt x="440946" y="32094"/>
                  </a:lnTo>
                  <a:lnTo>
                    <a:pt x="489847" y="4114"/>
                  </a:lnTo>
                  <a:lnTo>
                    <a:pt x="503337" y="20573"/>
                  </a:lnTo>
                  <a:lnTo>
                    <a:pt x="505023" y="28802"/>
                  </a:lnTo>
                  <a:lnTo>
                    <a:pt x="515140" y="41969"/>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2" name="Dinkelland">
              <a:extLst>
                <a:ext uri="{FF2B5EF4-FFF2-40B4-BE49-F238E27FC236}">
                  <a16:creationId xmlns:a16="http://schemas.microsoft.com/office/drawing/2014/main" id="{7EB3CCF4-E540-4A07-AEA9-C1607C1260A7}"/>
                </a:ext>
              </a:extLst>
            </p:cNvPr>
            <p:cNvSpPr/>
            <p:nvPr/>
          </p:nvSpPr>
          <p:spPr>
            <a:xfrm>
              <a:off x="7665877" y="2900361"/>
              <a:ext cx="352552" cy="318422"/>
            </a:xfrm>
            <a:custGeom>
              <a:avLst/>
              <a:gdLst/>
              <a:ahLst/>
              <a:cxnLst/>
              <a:rect l="l" t="t" r="r" b="b"/>
              <a:pathLst>
                <a:path w="480034" h="480060" extrusionOk="0">
                  <a:moveTo>
                    <a:pt x="353263" y="13989"/>
                  </a:moveTo>
                  <a:lnTo>
                    <a:pt x="354949" y="22219"/>
                  </a:lnTo>
                  <a:lnTo>
                    <a:pt x="371811" y="61720"/>
                  </a:lnTo>
                  <a:lnTo>
                    <a:pt x="380242" y="101220"/>
                  </a:lnTo>
                  <a:lnTo>
                    <a:pt x="398791" y="116033"/>
                  </a:lnTo>
                  <a:lnTo>
                    <a:pt x="420712" y="163763"/>
                  </a:lnTo>
                  <a:lnTo>
                    <a:pt x="429143" y="163763"/>
                  </a:lnTo>
                  <a:lnTo>
                    <a:pt x="444319" y="170346"/>
                  </a:lnTo>
                  <a:lnTo>
                    <a:pt x="449378" y="167055"/>
                  </a:lnTo>
                  <a:lnTo>
                    <a:pt x="454437" y="170346"/>
                  </a:lnTo>
                  <a:lnTo>
                    <a:pt x="454437" y="178576"/>
                  </a:lnTo>
                  <a:lnTo>
                    <a:pt x="462868" y="193389"/>
                  </a:lnTo>
                  <a:lnTo>
                    <a:pt x="476357" y="234535"/>
                  </a:lnTo>
                  <a:lnTo>
                    <a:pt x="380242" y="259223"/>
                  </a:lnTo>
                  <a:lnTo>
                    <a:pt x="344832" y="239473"/>
                  </a:lnTo>
                  <a:lnTo>
                    <a:pt x="322911" y="221368"/>
                  </a:lnTo>
                  <a:lnTo>
                    <a:pt x="311107" y="260869"/>
                  </a:lnTo>
                  <a:lnTo>
                    <a:pt x="324597" y="297078"/>
                  </a:lnTo>
                  <a:lnTo>
                    <a:pt x="311107" y="300370"/>
                  </a:lnTo>
                  <a:lnTo>
                    <a:pt x="297618" y="316828"/>
                  </a:lnTo>
                  <a:lnTo>
                    <a:pt x="295931" y="323412"/>
                  </a:lnTo>
                  <a:lnTo>
                    <a:pt x="299303" y="333287"/>
                  </a:lnTo>
                  <a:lnTo>
                    <a:pt x="287500" y="336579"/>
                  </a:lnTo>
                  <a:lnTo>
                    <a:pt x="267265" y="336579"/>
                  </a:lnTo>
                  <a:lnTo>
                    <a:pt x="265580" y="344808"/>
                  </a:lnTo>
                  <a:lnTo>
                    <a:pt x="235227" y="341516"/>
                  </a:lnTo>
                  <a:lnTo>
                    <a:pt x="218365" y="334933"/>
                  </a:lnTo>
                  <a:lnTo>
                    <a:pt x="209934" y="356329"/>
                  </a:lnTo>
                  <a:lnTo>
                    <a:pt x="198130" y="362912"/>
                  </a:lnTo>
                  <a:lnTo>
                    <a:pt x="194757" y="372788"/>
                  </a:lnTo>
                  <a:lnTo>
                    <a:pt x="188013" y="371142"/>
                  </a:lnTo>
                  <a:lnTo>
                    <a:pt x="184641" y="387600"/>
                  </a:lnTo>
                  <a:lnTo>
                    <a:pt x="172837" y="387600"/>
                  </a:lnTo>
                  <a:lnTo>
                    <a:pt x="169464" y="392538"/>
                  </a:lnTo>
                  <a:lnTo>
                    <a:pt x="169464" y="399121"/>
                  </a:lnTo>
                  <a:lnTo>
                    <a:pt x="161034" y="402413"/>
                  </a:lnTo>
                  <a:lnTo>
                    <a:pt x="159347" y="420518"/>
                  </a:lnTo>
                  <a:lnTo>
                    <a:pt x="167778" y="423809"/>
                  </a:lnTo>
                  <a:lnTo>
                    <a:pt x="181268" y="423809"/>
                  </a:lnTo>
                  <a:lnTo>
                    <a:pt x="189699" y="428747"/>
                  </a:lnTo>
                  <a:lnTo>
                    <a:pt x="189699" y="432039"/>
                  </a:lnTo>
                  <a:lnTo>
                    <a:pt x="196444" y="432039"/>
                  </a:lnTo>
                  <a:lnTo>
                    <a:pt x="204875" y="435330"/>
                  </a:lnTo>
                  <a:lnTo>
                    <a:pt x="211620" y="432039"/>
                  </a:lnTo>
                  <a:lnTo>
                    <a:pt x="238599" y="450143"/>
                  </a:lnTo>
                  <a:lnTo>
                    <a:pt x="213307" y="455081"/>
                  </a:lnTo>
                  <a:lnTo>
                    <a:pt x="206561" y="460018"/>
                  </a:lnTo>
                  <a:lnTo>
                    <a:pt x="204875" y="461664"/>
                  </a:lnTo>
                  <a:lnTo>
                    <a:pt x="201503" y="456726"/>
                  </a:lnTo>
                  <a:lnTo>
                    <a:pt x="194757" y="456726"/>
                  </a:lnTo>
                  <a:lnTo>
                    <a:pt x="194757" y="460018"/>
                  </a:lnTo>
                  <a:lnTo>
                    <a:pt x="189699" y="461664"/>
                  </a:lnTo>
                  <a:lnTo>
                    <a:pt x="193072" y="466602"/>
                  </a:lnTo>
                  <a:lnTo>
                    <a:pt x="186326" y="478123"/>
                  </a:lnTo>
                  <a:lnTo>
                    <a:pt x="172837" y="483060"/>
                  </a:lnTo>
                  <a:lnTo>
                    <a:pt x="130681" y="474831"/>
                  </a:lnTo>
                  <a:lnTo>
                    <a:pt x="140799" y="469894"/>
                  </a:lnTo>
                  <a:lnTo>
                    <a:pt x="139112" y="466602"/>
                  </a:lnTo>
                  <a:lnTo>
                    <a:pt x="147543" y="461664"/>
                  </a:lnTo>
                  <a:lnTo>
                    <a:pt x="145857" y="456726"/>
                  </a:lnTo>
                  <a:lnTo>
                    <a:pt x="149230" y="453435"/>
                  </a:lnTo>
                  <a:lnTo>
                    <a:pt x="139112" y="438622"/>
                  </a:lnTo>
                  <a:lnTo>
                    <a:pt x="110446" y="430393"/>
                  </a:lnTo>
                  <a:lnTo>
                    <a:pt x="98643" y="422163"/>
                  </a:lnTo>
                  <a:lnTo>
                    <a:pt x="96957" y="415580"/>
                  </a:lnTo>
                  <a:lnTo>
                    <a:pt x="107074" y="402413"/>
                  </a:lnTo>
                  <a:lnTo>
                    <a:pt x="103701" y="397475"/>
                  </a:lnTo>
                  <a:lnTo>
                    <a:pt x="86839" y="392538"/>
                  </a:lnTo>
                  <a:lnTo>
                    <a:pt x="81781" y="394184"/>
                  </a:lnTo>
                  <a:lnTo>
                    <a:pt x="80094" y="387600"/>
                  </a:lnTo>
                  <a:lnTo>
                    <a:pt x="44684" y="377725"/>
                  </a:lnTo>
                  <a:lnTo>
                    <a:pt x="46370" y="376079"/>
                  </a:lnTo>
                  <a:lnTo>
                    <a:pt x="36253" y="376079"/>
                  </a:lnTo>
                  <a:lnTo>
                    <a:pt x="27822" y="374433"/>
                  </a:lnTo>
                  <a:lnTo>
                    <a:pt x="10959" y="354683"/>
                  </a:lnTo>
                  <a:lnTo>
                    <a:pt x="9273" y="346454"/>
                  </a:lnTo>
                  <a:lnTo>
                    <a:pt x="4214" y="343162"/>
                  </a:lnTo>
                  <a:lnTo>
                    <a:pt x="5901" y="318474"/>
                  </a:lnTo>
                  <a:lnTo>
                    <a:pt x="9273" y="315182"/>
                  </a:lnTo>
                  <a:lnTo>
                    <a:pt x="26135" y="306953"/>
                  </a:lnTo>
                  <a:lnTo>
                    <a:pt x="32880" y="298724"/>
                  </a:lnTo>
                  <a:lnTo>
                    <a:pt x="39625" y="274036"/>
                  </a:lnTo>
                  <a:lnTo>
                    <a:pt x="75036" y="269098"/>
                  </a:lnTo>
                  <a:lnTo>
                    <a:pt x="91898" y="260869"/>
                  </a:lnTo>
                  <a:lnTo>
                    <a:pt x="118877" y="267452"/>
                  </a:lnTo>
                  <a:lnTo>
                    <a:pt x="144171" y="267452"/>
                  </a:lnTo>
                  <a:lnTo>
                    <a:pt x="149230" y="272390"/>
                  </a:lnTo>
                  <a:lnTo>
                    <a:pt x="161034" y="264160"/>
                  </a:lnTo>
                  <a:lnTo>
                    <a:pt x="157661" y="157179"/>
                  </a:lnTo>
                  <a:lnTo>
                    <a:pt x="140799" y="140721"/>
                  </a:lnTo>
                  <a:lnTo>
                    <a:pt x="142485" y="111095"/>
                  </a:lnTo>
                  <a:lnTo>
                    <a:pt x="208248" y="96282"/>
                  </a:lnTo>
                  <a:lnTo>
                    <a:pt x="255462" y="91345"/>
                  </a:lnTo>
                  <a:lnTo>
                    <a:pt x="272324" y="94637"/>
                  </a:lnTo>
                  <a:lnTo>
                    <a:pt x="287500" y="94637"/>
                  </a:lnTo>
                  <a:lnTo>
                    <a:pt x="284128" y="84762"/>
                  </a:lnTo>
                  <a:lnTo>
                    <a:pt x="306049" y="66657"/>
                  </a:lnTo>
                  <a:lnTo>
                    <a:pt x="327969" y="13989"/>
                  </a:lnTo>
                  <a:lnTo>
                    <a:pt x="343145" y="4114"/>
                  </a:lnTo>
                  <a:lnTo>
                    <a:pt x="353263" y="1398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3" name="Boekel">
              <a:extLst>
                <a:ext uri="{FF2B5EF4-FFF2-40B4-BE49-F238E27FC236}">
                  <a16:creationId xmlns:a16="http://schemas.microsoft.com/office/drawing/2014/main" id="{267E4E1B-6AC9-4D72-809E-384DCDD410C6}"/>
                </a:ext>
              </a:extLst>
            </p:cNvPr>
            <p:cNvSpPr/>
            <p:nvPr/>
          </p:nvSpPr>
          <p:spPr>
            <a:xfrm>
              <a:off x="6481884" y="4289219"/>
              <a:ext cx="145812" cy="75608"/>
            </a:xfrm>
            <a:custGeom>
              <a:avLst/>
              <a:gdLst/>
              <a:ahLst/>
              <a:cxnLst/>
              <a:rect l="l" t="t" r="r" b="b"/>
              <a:pathLst>
                <a:path w="210747" h="114300" extrusionOk="0">
                  <a:moveTo>
                    <a:pt x="88525" y="4114"/>
                  </a:moveTo>
                  <a:lnTo>
                    <a:pt x="88525" y="7406"/>
                  </a:lnTo>
                  <a:lnTo>
                    <a:pt x="96957" y="7406"/>
                  </a:lnTo>
                  <a:lnTo>
                    <a:pt x="179582" y="20573"/>
                  </a:lnTo>
                  <a:lnTo>
                    <a:pt x="194758" y="18927"/>
                  </a:lnTo>
                  <a:lnTo>
                    <a:pt x="208247" y="88053"/>
                  </a:lnTo>
                  <a:lnTo>
                    <a:pt x="167778" y="97928"/>
                  </a:lnTo>
                  <a:lnTo>
                    <a:pt x="132367" y="109449"/>
                  </a:lnTo>
                  <a:lnTo>
                    <a:pt x="127309" y="106158"/>
                  </a:lnTo>
                  <a:lnTo>
                    <a:pt x="117191" y="112741"/>
                  </a:lnTo>
                  <a:lnTo>
                    <a:pt x="42997" y="117679"/>
                  </a:lnTo>
                  <a:lnTo>
                    <a:pt x="37939" y="89699"/>
                  </a:lnTo>
                  <a:lnTo>
                    <a:pt x="29507" y="60074"/>
                  </a:lnTo>
                  <a:lnTo>
                    <a:pt x="4214" y="18927"/>
                  </a:lnTo>
                  <a:lnTo>
                    <a:pt x="17704" y="13989"/>
                  </a:lnTo>
                  <a:lnTo>
                    <a:pt x="41311" y="12343"/>
                  </a:lnTo>
                  <a:lnTo>
                    <a:pt x="42997" y="10698"/>
                  </a:lnTo>
                  <a:lnTo>
                    <a:pt x="63232" y="4114"/>
                  </a:lnTo>
                  <a:lnTo>
                    <a:pt x="75036" y="5760"/>
                  </a:lnTo>
                  <a:lnTo>
                    <a:pt x="75036" y="9052"/>
                  </a:lnTo>
                  <a:lnTo>
                    <a:pt x="88525"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4" name="Winterswijk">
              <a:extLst>
                <a:ext uri="{FF2B5EF4-FFF2-40B4-BE49-F238E27FC236}">
                  <a16:creationId xmlns:a16="http://schemas.microsoft.com/office/drawing/2014/main" id="{A30B5855-5661-4D35-A0E4-C1611C194220}"/>
                </a:ext>
              </a:extLst>
            </p:cNvPr>
            <p:cNvSpPr/>
            <p:nvPr/>
          </p:nvSpPr>
          <p:spPr>
            <a:xfrm>
              <a:off x="7535054" y="3604862"/>
              <a:ext cx="215860" cy="234818"/>
            </a:xfrm>
            <a:custGeom>
              <a:avLst/>
              <a:gdLst/>
              <a:ahLst/>
              <a:cxnLst/>
              <a:rect l="l" t="t" r="r" b="b"/>
              <a:pathLst>
                <a:path w="316120" h="354330" extrusionOk="0">
                  <a:moveTo>
                    <a:pt x="189699" y="30448"/>
                  </a:moveTo>
                  <a:lnTo>
                    <a:pt x="206561" y="45261"/>
                  </a:lnTo>
                  <a:lnTo>
                    <a:pt x="211620" y="53490"/>
                  </a:lnTo>
                  <a:lnTo>
                    <a:pt x="220051" y="55136"/>
                  </a:lnTo>
                  <a:lnTo>
                    <a:pt x="280755" y="102866"/>
                  </a:lnTo>
                  <a:lnTo>
                    <a:pt x="275696" y="111095"/>
                  </a:lnTo>
                  <a:lnTo>
                    <a:pt x="304362" y="112741"/>
                  </a:lnTo>
                  <a:lnTo>
                    <a:pt x="309420" y="130845"/>
                  </a:lnTo>
                  <a:lnTo>
                    <a:pt x="309420" y="147304"/>
                  </a:lnTo>
                  <a:lnTo>
                    <a:pt x="314479" y="162117"/>
                  </a:lnTo>
                  <a:lnTo>
                    <a:pt x="314479" y="170346"/>
                  </a:lnTo>
                  <a:lnTo>
                    <a:pt x="307735" y="183513"/>
                  </a:lnTo>
                  <a:lnTo>
                    <a:pt x="285814" y="185159"/>
                  </a:lnTo>
                  <a:lnTo>
                    <a:pt x="284127" y="190096"/>
                  </a:lnTo>
                  <a:lnTo>
                    <a:pt x="263893" y="198326"/>
                  </a:lnTo>
                  <a:lnTo>
                    <a:pt x="260520" y="234535"/>
                  </a:lnTo>
                  <a:lnTo>
                    <a:pt x="262207" y="237827"/>
                  </a:lnTo>
                  <a:lnTo>
                    <a:pt x="257148" y="254285"/>
                  </a:lnTo>
                  <a:lnTo>
                    <a:pt x="245344" y="264160"/>
                  </a:lnTo>
                  <a:lnTo>
                    <a:pt x="250403" y="269098"/>
                  </a:lnTo>
                  <a:lnTo>
                    <a:pt x="221737" y="302015"/>
                  </a:lnTo>
                  <a:lnTo>
                    <a:pt x="198130" y="310245"/>
                  </a:lnTo>
                  <a:lnTo>
                    <a:pt x="198130" y="316828"/>
                  </a:lnTo>
                  <a:lnTo>
                    <a:pt x="193071" y="323411"/>
                  </a:lnTo>
                  <a:lnTo>
                    <a:pt x="171150" y="329995"/>
                  </a:lnTo>
                  <a:lnTo>
                    <a:pt x="164405" y="344808"/>
                  </a:lnTo>
                  <a:lnTo>
                    <a:pt x="149229" y="351391"/>
                  </a:lnTo>
                  <a:lnTo>
                    <a:pt x="118877" y="326703"/>
                  </a:lnTo>
                  <a:lnTo>
                    <a:pt x="118877" y="318474"/>
                  </a:lnTo>
                  <a:lnTo>
                    <a:pt x="113819" y="320120"/>
                  </a:lnTo>
                  <a:lnTo>
                    <a:pt x="110446" y="318474"/>
                  </a:lnTo>
                  <a:lnTo>
                    <a:pt x="107074" y="303661"/>
                  </a:lnTo>
                  <a:lnTo>
                    <a:pt x="103701" y="306953"/>
                  </a:lnTo>
                  <a:lnTo>
                    <a:pt x="98643" y="306953"/>
                  </a:lnTo>
                  <a:lnTo>
                    <a:pt x="90211" y="303661"/>
                  </a:lnTo>
                  <a:lnTo>
                    <a:pt x="90211" y="300369"/>
                  </a:lnTo>
                  <a:lnTo>
                    <a:pt x="66604" y="310245"/>
                  </a:lnTo>
                  <a:lnTo>
                    <a:pt x="59859" y="303661"/>
                  </a:lnTo>
                  <a:lnTo>
                    <a:pt x="54801" y="305307"/>
                  </a:lnTo>
                  <a:lnTo>
                    <a:pt x="54801" y="298724"/>
                  </a:lnTo>
                  <a:lnTo>
                    <a:pt x="58173" y="298724"/>
                  </a:lnTo>
                  <a:lnTo>
                    <a:pt x="58173" y="295432"/>
                  </a:lnTo>
                  <a:lnTo>
                    <a:pt x="49742" y="285557"/>
                  </a:lnTo>
                  <a:lnTo>
                    <a:pt x="51428" y="274035"/>
                  </a:lnTo>
                  <a:lnTo>
                    <a:pt x="48056" y="275682"/>
                  </a:lnTo>
                  <a:lnTo>
                    <a:pt x="48056" y="270744"/>
                  </a:lnTo>
                  <a:lnTo>
                    <a:pt x="42997" y="270744"/>
                  </a:lnTo>
                  <a:lnTo>
                    <a:pt x="39625" y="275682"/>
                  </a:lnTo>
                  <a:lnTo>
                    <a:pt x="27821" y="270744"/>
                  </a:lnTo>
                  <a:lnTo>
                    <a:pt x="12645" y="259223"/>
                  </a:lnTo>
                  <a:lnTo>
                    <a:pt x="12645" y="254285"/>
                  </a:lnTo>
                  <a:lnTo>
                    <a:pt x="9273" y="252639"/>
                  </a:lnTo>
                  <a:lnTo>
                    <a:pt x="12645" y="236181"/>
                  </a:lnTo>
                  <a:lnTo>
                    <a:pt x="10959" y="229597"/>
                  </a:lnTo>
                  <a:lnTo>
                    <a:pt x="4214" y="223014"/>
                  </a:lnTo>
                  <a:lnTo>
                    <a:pt x="19390" y="199972"/>
                  </a:lnTo>
                  <a:lnTo>
                    <a:pt x="16018" y="186805"/>
                  </a:lnTo>
                  <a:lnTo>
                    <a:pt x="24449" y="185159"/>
                  </a:lnTo>
                  <a:lnTo>
                    <a:pt x="29507" y="173638"/>
                  </a:lnTo>
                  <a:lnTo>
                    <a:pt x="42997" y="163763"/>
                  </a:lnTo>
                  <a:lnTo>
                    <a:pt x="44684" y="162117"/>
                  </a:lnTo>
                  <a:lnTo>
                    <a:pt x="41311" y="160471"/>
                  </a:lnTo>
                  <a:lnTo>
                    <a:pt x="46370" y="157179"/>
                  </a:lnTo>
                  <a:lnTo>
                    <a:pt x="42997" y="152242"/>
                  </a:lnTo>
                  <a:lnTo>
                    <a:pt x="37938" y="107803"/>
                  </a:lnTo>
                  <a:lnTo>
                    <a:pt x="46370" y="74886"/>
                  </a:lnTo>
                  <a:lnTo>
                    <a:pt x="41311" y="68303"/>
                  </a:lnTo>
                  <a:lnTo>
                    <a:pt x="51428" y="65011"/>
                  </a:lnTo>
                  <a:lnTo>
                    <a:pt x="51428" y="60074"/>
                  </a:lnTo>
                  <a:lnTo>
                    <a:pt x="66604" y="46906"/>
                  </a:lnTo>
                  <a:lnTo>
                    <a:pt x="75036" y="33740"/>
                  </a:lnTo>
                  <a:lnTo>
                    <a:pt x="83467" y="33740"/>
                  </a:lnTo>
                  <a:lnTo>
                    <a:pt x="90211" y="5760"/>
                  </a:lnTo>
                  <a:lnTo>
                    <a:pt x="130681" y="4114"/>
                  </a:lnTo>
                  <a:lnTo>
                    <a:pt x="189699" y="30448"/>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5" name="Coevorden">
              <a:extLst>
                <a:ext uri="{FF2B5EF4-FFF2-40B4-BE49-F238E27FC236}">
                  <a16:creationId xmlns:a16="http://schemas.microsoft.com/office/drawing/2014/main" id="{6C2E8FC1-5E87-45C0-8DC1-70E569A443AE}"/>
                </a:ext>
              </a:extLst>
            </p:cNvPr>
            <p:cNvSpPr/>
            <p:nvPr/>
          </p:nvSpPr>
          <p:spPr>
            <a:xfrm>
              <a:off x="7459061" y="2238754"/>
              <a:ext cx="301522" cy="401591"/>
            </a:xfrm>
            <a:custGeom>
              <a:avLst/>
              <a:gdLst/>
              <a:ahLst/>
              <a:cxnLst/>
              <a:rect l="l" t="t" r="r" b="b"/>
              <a:pathLst>
                <a:path w="433202" h="605790" extrusionOk="0">
                  <a:moveTo>
                    <a:pt x="240286" y="17281"/>
                  </a:moveTo>
                  <a:lnTo>
                    <a:pt x="243658" y="23864"/>
                  </a:lnTo>
                  <a:lnTo>
                    <a:pt x="250403" y="20573"/>
                  </a:lnTo>
                  <a:lnTo>
                    <a:pt x="253775" y="25510"/>
                  </a:lnTo>
                  <a:lnTo>
                    <a:pt x="262207" y="45261"/>
                  </a:lnTo>
                  <a:lnTo>
                    <a:pt x="262207" y="51844"/>
                  </a:lnTo>
                  <a:lnTo>
                    <a:pt x="287500" y="69949"/>
                  </a:lnTo>
                  <a:lnTo>
                    <a:pt x="282441" y="73240"/>
                  </a:lnTo>
                  <a:lnTo>
                    <a:pt x="370125" y="140721"/>
                  </a:lnTo>
                  <a:lnTo>
                    <a:pt x="410594" y="180221"/>
                  </a:lnTo>
                  <a:lnTo>
                    <a:pt x="383614" y="244410"/>
                  </a:lnTo>
                  <a:lnTo>
                    <a:pt x="388673" y="260869"/>
                  </a:lnTo>
                  <a:lnTo>
                    <a:pt x="383614" y="272390"/>
                  </a:lnTo>
                  <a:lnTo>
                    <a:pt x="388673" y="278973"/>
                  </a:lnTo>
                  <a:lnTo>
                    <a:pt x="397105" y="285557"/>
                  </a:lnTo>
                  <a:lnTo>
                    <a:pt x="390360" y="298724"/>
                  </a:lnTo>
                  <a:lnTo>
                    <a:pt x="395418" y="298724"/>
                  </a:lnTo>
                  <a:lnTo>
                    <a:pt x="395418" y="310245"/>
                  </a:lnTo>
                  <a:lnTo>
                    <a:pt x="388673" y="318474"/>
                  </a:lnTo>
                  <a:lnTo>
                    <a:pt x="385301" y="331641"/>
                  </a:lnTo>
                  <a:lnTo>
                    <a:pt x="395418" y="349745"/>
                  </a:lnTo>
                  <a:lnTo>
                    <a:pt x="378556" y="359621"/>
                  </a:lnTo>
                  <a:lnTo>
                    <a:pt x="381928" y="371141"/>
                  </a:lnTo>
                  <a:lnTo>
                    <a:pt x="383614" y="371141"/>
                  </a:lnTo>
                  <a:lnTo>
                    <a:pt x="402163" y="433684"/>
                  </a:lnTo>
                  <a:lnTo>
                    <a:pt x="415653" y="435330"/>
                  </a:lnTo>
                  <a:lnTo>
                    <a:pt x="435887" y="553832"/>
                  </a:lnTo>
                  <a:lnTo>
                    <a:pt x="419026" y="557124"/>
                  </a:lnTo>
                  <a:lnTo>
                    <a:pt x="398791" y="548895"/>
                  </a:lnTo>
                  <a:lnTo>
                    <a:pt x="390360" y="550541"/>
                  </a:lnTo>
                  <a:lnTo>
                    <a:pt x="385301" y="557124"/>
                  </a:lnTo>
                  <a:lnTo>
                    <a:pt x="371811" y="560416"/>
                  </a:lnTo>
                  <a:lnTo>
                    <a:pt x="354949" y="557124"/>
                  </a:lnTo>
                  <a:lnTo>
                    <a:pt x="348204" y="550541"/>
                  </a:lnTo>
                  <a:lnTo>
                    <a:pt x="334714" y="553832"/>
                  </a:lnTo>
                  <a:lnTo>
                    <a:pt x="327969" y="548895"/>
                  </a:lnTo>
                  <a:lnTo>
                    <a:pt x="309421" y="552187"/>
                  </a:lnTo>
                  <a:lnTo>
                    <a:pt x="300989" y="555478"/>
                  </a:lnTo>
                  <a:lnTo>
                    <a:pt x="294245" y="563708"/>
                  </a:lnTo>
                  <a:lnTo>
                    <a:pt x="280755" y="558770"/>
                  </a:lnTo>
                  <a:lnTo>
                    <a:pt x="274010" y="566999"/>
                  </a:lnTo>
                  <a:lnTo>
                    <a:pt x="270638" y="563708"/>
                  </a:lnTo>
                  <a:lnTo>
                    <a:pt x="272324" y="560416"/>
                  </a:lnTo>
                  <a:lnTo>
                    <a:pt x="255462" y="568645"/>
                  </a:lnTo>
                  <a:lnTo>
                    <a:pt x="233541" y="598271"/>
                  </a:lnTo>
                  <a:lnTo>
                    <a:pt x="216678" y="604854"/>
                  </a:lnTo>
                  <a:lnTo>
                    <a:pt x="208247" y="611438"/>
                  </a:lnTo>
                  <a:lnTo>
                    <a:pt x="204875" y="611438"/>
                  </a:lnTo>
                  <a:lnTo>
                    <a:pt x="204875" y="613084"/>
                  </a:lnTo>
                  <a:lnTo>
                    <a:pt x="196444" y="613084"/>
                  </a:lnTo>
                  <a:lnTo>
                    <a:pt x="194757" y="609792"/>
                  </a:lnTo>
                  <a:lnTo>
                    <a:pt x="199816" y="599917"/>
                  </a:lnTo>
                  <a:lnTo>
                    <a:pt x="198130" y="591687"/>
                  </a:lnTo>
                  <a:lnTo>
                    <a:pt x="203189" y="583458"/>
                  </a:lnTo>
                  <a:lnTo>
                    <a:pt x="201502" y="580166"/>
                  </a:lnTo>
                  <a:lnTo>
                    <a:pt x="194757" y="578520"/>
                  </a:lnTo>
                  <a:lnTo>
                    <a:pt x="201502" y="573583"/>
                  </a:lnTo>
                  <a:lnTo>
                    <a:pt x="201502" y="568645"/>
                  </a:lnTo>
                  <a:lnTo>
                    <a:pt x="204875" y="560416"/>
                  </a:lnTo>
                  <a:lnTo>
                    <a:pt x="166092" y="548895"/>
                  </a:lnTo>
                  <a:lnTo>
                    <a:pt x="85153" y="512686"/>
                  </a:lnTo>
                  <a:lnTo>
                    <a:pt x="88525" y="501165"/>
                  </a:lnTo>
                  <a:lnTo>
                    <a:pt x="88525" y="471539"/>
                  </a:lnTo>
                  <a:lnTo>
                    <a:pt x="83467" y="448497"/>
                  </a:lnTo>
                  <a:lnTo>
                    <a:pt x="85153" y="408996"/>
                  </a:lnTo>
                  <a:lnTo>
                    <a:pt x="32880" y="407350"/>
                  </a:lnTo>
                  <a:lnTo>
                    <a:pt x="34566" y="382663"/>
                  </a:lnTo>
                  <a:lnTo>
                    <a:pt x="4214" y="381017"/>
                  </a:lnTo>
                  <a:lnTo>
                    <a:pt x="4214" y="379371"/>
                  </a:lnTo>
                  <a:lnTo>
                    <a:pt x="61546" y="287203"/>
                  </a:lnTo>
                  <a:lnTo>
                    <a:pt x="127309" y="193388"/>
                  </a:lnTo>
                  <a:lnTo>
                    <a:pt x="149229" y="203264"/>
                  </a:lnTo>
                  <a:lnTo>
                    <a:pt x="152602" y="198326"/>
                  </a:lnTo>
                  <a:lnTo>
                    <a:pt x="149229" y="195034"/>
                  </a:lnTo>
                  <a:lnTo>
                    <a:pt x="154288" y="190097"/>
                  </a:lnTo>
                  <a:lnTo>
                    <a:pt x="157661" y="176930"/>
                  </a:lnTo>
                  <a:lnTo>
                    <a:pt x="172836" y="171992"/>
                  </a:lnTo>
                  <a:lnTo>
                    <a:pt x="176209" y="160471"/>
                  </a:lnTo>
                  <a:lnTo>
                    <a:pt x="167778" y="140721"/>
                  </a:lnTo>
                  <a:lnTo>
                    <a:pt x="169464" y="134137"/>
                  </a:lnTo>
                  <a:lnTo>
                    <a:pt x="176209" y="129200"/>
                  </a:lnTo>
                  <a:lnTo>
                    <a:pt x="177895" y="130845"/>
                  </a:lnTo>
                  <a:lnTo>
                    <a:pt x="196444" y="107803"/>
                  </a:lnTo>
                  <a:lnTo>
                    <a:pt x="189699" y="81470"/>
                  </a:lnTo>
                  <a:lnTo>
                    <a:pt x="213306" y="76532"/>
                  </a:lnTo>
                  <a:lnTo>
                    <a:pt x="226796" y="65011"/>
                  </a:lnTo>
                  <a:lnTo>
                    <a:pt x="213306" y="46906"/>
                  </a:lnTo>
                  <a:lnTo>
                    <a:pt x="214992" y="35386"/>
                  </a:lnTo>
                  <a:lnTo>
                    <a:pt x="204875" y="30448"/>
                  </a:lnTo>
                  <a:lnTo>
                    <a:pt x="236913" y="4114"/>
                  </a:lnTo>
                  <a:lnTo>
                    <a:pt x="240286" y="17281"/>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6" name="Nijkerk">
              <a:extLst>
                <a:ext uri="{FF2B5EF4-FFF2-40B4-BE49-F238E27FC236}">
                  <a16:creationId xmlns:a16="http://schemas.microsoft.com/office/drawing/2014/main" id="{3E226D98-91B8-4603-AD36-B8CE9B37E5E5}"/>
                </a:ext>
              </a:extLst>
            </p:cNvPr>
            <p:cNvSpPr/>
            <p:nvPr/>
          </p:nvSpPr>
          <p:spPr>
            <a:xfrm>
              <a:off x="6238536" y="3260776"/>
              <a:ext cx="255834" cy="145875"/>
            </a:xfrm>
            <a:custGeom>
              <a:avLst/>
              <a:gdLst/>
              <a:ahLst/>
              <a:cxnLst/>
              <a:rect l="l" t="t" r="r" b="b"/>
              <a:pathLst>
                <a:path w="374661" h="240030" extrusionOk="0">
                  <a:moveTo>
                    <a:pt x="132367" y="12343"/>
                  </a:moveTo>
                  <a:lnTo>
                    <a:pt x="132367" y="12343"/>
                  </a:lnTo>
                  <a:close/>
                  <a:moveTo>
                    <a:pt x="125622" y="7406"/>
                  </a:moveTo>
                  <a:lnTo>
                    <a:pt x="127309" y="7406"/>
                  </a:lnTo>
                  <a:lnTo>
                    <a:pt x="123936" y="9052"/>
                  </a:lnTo>
                  <a:lnTo>
                    <a:pt x="125622" y="18927"/>
                  </a:lnTo>
                  <a:lnTo>
                    <a:pt x="134053" y="17281"/>
                  </a:lnTo>
                  <a:lnTo>
                    <a:pt x="127309" y="20573"/>
                  </a:lnTo>
                  <a:lnTo>
                    <a:pt x="140798" y="63365"/>
                  </a:lnTo>
                  <a:lnTo>
                    <a:pt x="150916" y="71595"/>
                  </a:lnTo>
                  <a:lnTo>
                    <a:pt x="162719" y="69949"/>
                  </a:lnTo>
                  <a:lnTo>
                    <a:pt x="164405" y="76532"/>
                  </a:lnTo>
                  <a:lnTo>
                    <a:pt x="176209" y="81470"/>
                  </a:lnTo>
                  <a:lnTo>
                    <a:pt x="181268" y="78178"/>
                  </a:lnTo>
                  <a:lnTo>
                    <a:pt x="181268" y="71595"/>
                  </a:lnTo>
                  <a:lnTo>
                    <a:pt x="186326" y="71595"/>
                  </a:lnTo>
                  <a:lnTo>
                    <a:pt x="184640" y="73240"/>
                  </a:lnTo>
                  <a:lnTo>
                    <a:pt x="189699" y="74886"/>
                  </a:lnTo>
                  <a:lnTo>
                    <a:pt x="188013" y="83115"/>
                  </a:lnTo>
                  <a:lnTo>
                    <a:pt x="194757" y="83115"/>
                  </a:lnTo>
                  <a:lnTo>
                    <a:pt x="206561" y="101220"/>
                  </a:lnTo>
                  <a:lnTo>
                    <a:pt x="216678" y="111095"/>
                  </a:lnTo>
                  <a:lnTo>
                    <a:pt x="218365" y="111095"/>
                  </a:lnTo>
                  <a:lnTo>
                    <a:pt x="241972" y="152242"/>
                  </a:lnTo>
                  <a:lnTo>
                    <a:pt x="326283" y="145658"/>
                  </a:lnTo>
                  <a:lnTo>
                    <a:pt x="368439" y="137429"/>
                  </a:lnTo>
                  <a:lnTo>
                    <a:pt x="371811" y="147304"/>
                  </a:lnTo>
                  <a:lnTo>
                    <a:pt x="356635" y="175284"/>
                  </a:lnTo>
                  <a:lnTo>
                    <a:pt x="348204" y="173638"/>
                  </a:lnTo>
                  <a:lnTo>
                    <a:pt x="344832" y="178575"/>
                  </a:lnTo>
                  <a:lnTo>
                    <a:pt x="344832" y="170346"/>
                  </a:lnTo>
                  <a:lnTo>
                    <a:pt x="329655" y="171992"/>
                  </a:lnTo>
                  <a:lnTo>
                    <a:pt x="329655" y="168700"/>
                  </a:lnTo>
                  <a:lnTo>
                    <a:pt x="317852" y="162117"/>
                  </a:lnTo>
                  <a:lnTo>
                    <a:pt x="300990" y="170346"/>
                  </a:lnTo>
                  <a:lnTo>
                    <a:pt x="284127" y="170346"/>
                  </a:lnTo>
                  <a:lnTo>
                    <a:pt x="280755" y="175284"/>
                  </a:lnTo>
                  <a:lnTo>
                    <a:pt x="282441" y="176930"/>
                  </a:lnTo>
                  <a:lnTo>
                    <a:pt x="284127" y="190096"/>
                  </a:lnTo>
                  <a:lnTo>
                    <a:pt x="280755" y="188451"/>
                  </a:lnTo>
                  <a:lnTo>
                    <a:pt x="277382" y="191742"/>
                  </a:lnTo>
                  <a:lnTo>
                    <a:pt x="267265" y="190096"/>
                  </a:lnTo>
                  <a:lnTo>
                    <a:pt x="263893" y="193388"/>
                  </a:lnTo>
                  <a:lnTo>
                    <a:pt x="265579" y="203264"/>
                  </a:lnTo>
                  <a:lnTo>
                    <a:pt x="270638" y="206555"/>
                  </a:lnTo>
                  <a:lnTo>
                    <a:pt x="270638" y="211493"/>
                  </a:lnTo>
                  <a:lnTo>
                    <a:pt x="240286" y="216430"/>
                  </a:lnTo>
                  <a:lnTo>
                    <a:pt x="228482" y="209847"/>
                  </a:lnTo>
                  <a:lnTo>
                    <a:pt x="213306" y="178575"/>
                  </a:lnTo>
                  <a:lnTo>
                    <a:pt x="198130" y="176930"/>
                  </a:lnTo>
                  <a:lnTo>
                    <a:pt x="184640" y="185159"/>
                  </a:lnTo>
                  <a:lnTo>
                    <a:pt x="167778" y="185159"/>
                  </a:lnTo>
                  <a:lnTo>
                    <a:pt x="144171" y="201617"/>
                  </a:lnTo>
                  <a:lnTo>
                    <a:pt x="144171" y="226306"/>
                  </a:lnTo>
                  <a:lnTo>
                    <a:pt x="135740" y="239472"/>
                  </a:lnTo>
                  <a:lnTo>
                    <a:pt x="90211" y="236181"/>
                  </a:lnTo>
                  <a:lnTo>
                    <a:pt x="80094" y="232889"/>
                  </a:lnTo>
                  <a:lnTo>
                    <a:pt x="73349" y="223014"/>
                  </a:lnTo>
                  <a:lnTo>
                    <a:pt x="75036" y="223014"/>
                  </a:lnTo>
                  <a:lnTo>
                    <a:pt x="71663" y="195034"/>
                  </a:lnTo>
                  <a:lnTo>
                    <a:pt x="75036" y="181867"/>
                  </a:lnTo>
                  <a:lnTo>
                    <a:pt x="73349" y="153888"/>
                  </a:lnTo>
                  <a:lnTo>
                    <a:pt x="76722" y="144012"/>
                  </a:lnTo>
                  <a:lnTo>
                    <a:pt x="75036" y="144012"/>
                  </a:lnTo>
                  <a:lnTo>
                    <a:pt x="73349" y="147304"/>
                  </a:lnTo>
                  <a:lnTo>
                    <a:pt x="66605" y="144012"/>
                  </a:lnTo>
                  <a:lnTo>
                    <a:pt x="29507" y="112741"/>
                  </a:lnTo>
                  <a:lnTo>
                    <a:pt x="24449" y="125908"/>
                  </a:lnTo>
                  <a:lnTo>
                    <a:pt x="4214" y="107803"/>
                  </a:lnTo>
                  <a:lnTo>
                    <a:pt x="19390" y="45261"/>
                  </a:lnTo>
                  <a:lnTo>
                    <a:pt x="36252" y="48552"/>
                  </a:lnTo>
                  <a:lnTo>
                    <a:pt x="68291" y="32094"/>
                  </a:lnTo>
                  <a:lnTo>
                    <a:pt x="96957" y="28802"/>
                  </a:lnTo>
                  <a:lnTo>
                    <a:pt x="108760" y="23864"/>
                  </a:lnTo>
                  <a:lnTo>
                    <a:pt x="112132" y="13989"/>
                  </a:lnTo>
                  <a:lnTo>
                    <a:pt x="117191" y="15635"/>
                  </a:lnTo>
                  <a:lnTo>
                    <a:pt x="122250" y="13989"/>
                  </a:lnTo>
                  <a:lnTo>
                    <a:pt x="117191" y="13989"/>
                  </a:lnTo>
                  <a:lnTo>
                    <a:pt x="122250" y="12343"/>
                  </a:lnTo>
                  <a:lnTo>
                    <a:pt x="120563" y="9052"/>
                  </a:lnTo>
                  <a:lnTo>
                    <a:pt x="125622" y="7406"/>
                  </a:lnTo>
                  <a:close/>
                  <a:moveTo>
                    <a:pt x="125622" y="5760"/>
                  </a:moveTo>
                  <a:lnTo>
                    <a:pt x="117191" y="9052"/>
                  </a:lnTo>
                  <a:lnTo>
                    <a:pt x="122250" y="5760"/>
                  </a:lnTo>
                  <a:lnTo>
                    <a:pt x="125622" y="5760"/>
                  </a:lnTo>
                  <a:close/>
                  <a:moveTo>
                    <a:pt x="122250" y="4114"/>
                  </a:moveTo>
                  <a:lnTo>
                    <a:pt x="120563" y="4114"/>
                  </a:lnTo>
                  <a:lnTo>
                    <a:pt x="122250" y="4114"/>
                  </a:lnTo>
                  <a:lnTo>
                    <a:pt x="122250"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7" name="Hillegom">
              <a:extLst>
                <a:ext uri="{FF2B5EF4-FFF2-40B4-BE49-F238E27FC236}">
                  <a16:creationId xmlns:a16="http://schemas.microsoft.com/office/drawing/2014/main" id="{60400621-5099-4300-A448-DB9E10A96B27}"/>
                </a:ext>
              </a:extLst>
            </p:cNvPr>
            <p:cNvSpPr/>
            <p:nvPr/>
          </p:nvSpPr>
          <p:spPr>
            <a:xfrm>
              <a:off x="5349620" y="3148368"/>
              <a:ext cx="77322" cy="73703"/>
            </a:xfrm>
            <a:custGeom>
              <a:avLst/>
              <a:gdLst/>
              <a:ahLst/>
              <a:cxnLst/>
              <a:rect l="l" t="t" r="r" b="b"/>
              <a:pathLst>
                <a:path w="105373" h="114300" extrusionOk="0">
                  <a:moveTo>
                    <a:pt x="73349" y="7406"/>
                  </a:moveTo>
                  <a:lnTo>
                    <a:pt x="75036" y="4114"/>
                  </a:lnTo>
                  <a:lnTo>
                    <a:pt x="86839" y="5760"/>
                  </a:lnTo>
                  <a:lnTo>
                    <a:pt x="110446" y="15635"/>
                  </a:lnTo>
                  <a:lnTo>
                    <a:pt x="110446" y="18927"/>
                  </a:lnTo>
                  <a:lnTo>
                    <a:pt x="98643" y="33740"/>
                  </a:lnTo>
                  <a:lnTo>
                    <a:pt x="88525" y="56782"/>
                  </a:lnTo>
                  <a:lnTo>
                    <a:pt x="86839" y="68302"/>
                  </a:lnTo>
                  <a:lnTo>
                    <a:pt x="75036" y="94636"/>
                  </a:lnTo>
                  <a:lnTo>
                    <a:pt x="49742" y="117678"/>
                  </a:lnTo>
                  <a:lnTo>
                    <a:pt x="4214" y="78178"/>
                  </a:lnTo>
                  <a:lnTo>
                    <a:pt x="17704" y="55136"/>
                  </a:lnTo>
                  <a:lnTo>
                    <a:pt x="24449" y="50198"/>
                  </a:lnTo>
                  <a:lnTo>
                    <a:pt x="46370" y="7406"/>
                  </a:lnTo>
                  <a:lnTo>
                    <a:pt x="53115" y="10698"/>
                  </a:lnTo>
                  <a:lnTo>
                    <a:pt x="68291" y="4114"/>
                  </a:lnTo>
                  <a:lnTo>
                    <a:pt x="73349"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8" name="De Bilt">
              <a:extLst>
                <a:ext uri="{FF2B5EF4-FFF2-40B4-BE49-F238E27FC236}">
                  <a16:creationId xmlns:a16="http://schemas.microsoft.com/office/drawing/2014/main" id="{99A888FA-D63F-4E58-8F1D-C3790C629CDB}"/>
                </a:ext>
              </a:extLst>
            </p:cNvPr>
            <p:cNvSpPr/>
            <p:nvPr/>
          </p:nvSpPr>
          <p:spPr>
            <a:xfrm>
              <a:off x="5931054" y="3361643"/>
              <a:ext cx="145466" cy="185644"/>
            </a:xfrm>
            <a:custGeom>
              <a:avLst/>
              <a:gdLst/>
              <a:ahLst/>
              <a:cxnLst/>
              <a:rect l="l" t="t" r="r" b="b"/>
              <a:pathLst>
                <a:path w="210747" h="285750" extrusionOk="0">
                  <a:moveTo>
                    <a:pt x="188013" y="43615"/>
                  </a:moveTo>
                  <a:lnTo>
                    <a:pt x="181268" y="71595"/>
                  </a:lnTo>
                  <a:lnTo>
                    <a:pt x="194758" y="66657"/>
                  </a:lnTo>
                  <a:lnTo>
                    <a:pt x="196444" y="74886"/>
                  </a:lnTo>
                  <a:lnTo>
                    <a:pt x="198130" y="74886"/>
                  </a:lnTo>
                  <a:lnTo>
                    <a:pt x="208247" y="170346"/>
                  </a:lnTo>
                  <a:lnTo>
                    <a:pt x="209934" y="214785"/>
                  </a:lnTo>
                  <a:lnTo>
                    <a:pt x="191385" y="223014"/>
                  </a:lnTo>
                  <a:lnTo>
                    <a:pt x="196444" y="246056"/>
                  </a:lnTo>
                  <a:lnTo>
                    <a:pt x="179582" y="254285"/>
                  </a:lnTo>
                  <a:lnTo>
                    <a:pt x="182954" y="260869"/>
                  </a:lnTo>
                  <a:lnTo>
                    <a:pt x="176209" y="270744"/>
                  </a:lnTo>
                  <a:lnTo>
                    <a:pt x="179582" y="278973"/>
                  </a:lnTo>
                  <a:lnTo>
                    <a:pt x="174523" y="288849"/>
                  </a:lnTo>
                  <a:lnTo>
                    <a:pt x="171151" y="287203"/>
                  </a:lnTo>
                  <a:lnTo>
                    <a:pt x="172837" y="288849"/>
                  </a:lnTo>
                  <a:lnTo>
                    <a:pt x="171151" y="292140"/>
                  </a:lnTo>
                  <a:lnTo>
                    <a:pt x="147543" y="288849"/>
                  </a:lnTo>
                  <a:lnTo>
                    <a:pt x="142485" y="272390"/>
                  </a:lnTo>
                  <a:lnTo>
                    <a:pt x="135740" y="269098"/>
                  </a:lnTo>
                  <a:lnTo>
                    <a:pt x="134054" y="269098"/>
                  </a:lnTo>
                  <a:lnTo>
                    <a:pt x="134054" y="272390"/>
                  </a:lnTo>
                  <a:lnTo>
                    <a:pt x="103701" y="269098"/>
                  </a:lnTo>
                  <a:lnTo>
                    <a:pt x="96957" y="259223"/>
                  </a:lnTo>
                  <a:lnTo>
                    <a:pt x="105388" y="237827"/>
                  </a:lnTo>
                  <a:lnTo>
                    <a:pt x="86839" y="229597"/>
                  </a:lnTo>
                  <a:lnTo>
                    <a:pt x="83467" y="208201"/>
                  </a:lnTo>
                  <a:lnTo>
                    <a:pt x="76722" y="204910"/>
                  </a:lnTo>
                  <a:lnTo>
                    <a:pt x="75036" y="206555"/>
                  </a:lnTo>
                  <a:lnTo>
                    <a:pt x="73349" y="204910"/>
                  </a:lnTo>
                  <a:lnTo>
                    <a:pt x="71663" y="204910"/>
                  </a:lnTo>
                  <a:lnTo>
                    <a:pt x="51429" y="195034"/>
                  </a:lnTo>
                  <a:lnTo>
                    <a:pt x="21076" y="175284"/>
                  </a:lnTo>
                  <a:lnTo>
                    <a:pt x="42997" y="145658"/>
                  </a:lnTo>
                  <a:lnTo>
                    <a:pt x="4214" y="120971"/>
                  </a:lnTo>
                  <a:lnTo>
                    <a:pt x="39625" y="79824"/>
                  </a:lnTo>
                  <a:lnTo>
                    <a:pt x="34566" y="61719"/>
                  </a:lnTo>
                  <a:lnTo>
                    <a:pt x="44684" y="60074"/>
                  </a:lnTo>
                  <a:lnTo>
                    <a:pt x="152602" y="68303"/>
                  </a:lnTo>
                  <a:lnTo>
                    <a:pt x="188013" y="4114"/>
                  </a:lnTo>
                  <a:lnTo>
                    <a:pt x="184640" y="38677"/>
                  </a:lnTo>
                  <a:lnTo>
                    <a:pt x="188013" y="4361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29" name="Dongen">
              <a:extLst>
                <a:ext uri="{FF2B5EF4-FFF2-40B4-BE49-F238E27FC236}">
                  <a16:creationId xmlns:a16="http://schemas.microsoft.com/office/drawing/2014/main" id="{D4850E97-A274-4AD0-B376-35E89D4C8830}"/>
                </a:ext>
              </a:extLst>
            </p:cNvPr>
            <p:cNvSpPr/>
            <p:nvPr/>
          </p:nvSpPr>
          <p:spPr>
            <a:xfrm>
              <a:off x="5724197" y="4201690"/>
              <a:ext cx="113457" cy="110035"/>
            </a:xfrm>
            <a:custGeom>
              <a:avLst/>
              <a:gdLst/>
              <a:ahLst/>
              <a:cxnLst/>
              <a:rect l="l" t="t" r="r" b="b"/>
              <a:pathLst>
                <a:path w="152206" h="171450" extrusionOk="0">
                  <a:moveTo>
                    <a:pt x="69977" y="7405"/>
                  </a:moveTo>
                  <a:lnTo>
                    <a:pt x="73349" y="9052"/>
                  </a:lnTo>
                  <a:lnTo>
                    <a:pt x="81781" y="22218"/>
                  </a:lnTo>
                  <a:lnTo>
                    <a:pt x="88526" y="55136"/>
                  </a:lnTo>
                  <a:lnTo>
                    <a:pt x="88526" y="69949"/>
                  </a:lnTo>
                  <a:lnTo>
                    <a:pt x="132367" y="61719"/>
                  </a:lnTo>
                  <a:lnTo>
                    <a:pt x="159347" y="176930"/>
                  </a:lnTo>
                  <a:lnTo>
                    <a:pt x="137426" y="175284"/>
                  </a:lnTo>
                  <a:lnTo>
                    <a:pt x="127309" y="176930"/>
                  </a:lnTo>
                  <a:lnTo>
                    <a:pt x="125622" y="173638"/>
                  </a:lnTo>
                  <a:lnTo>
                    <a:pt x="117191" y="171992"/>
                  </a:lnTo>
                  <a:lnTo>
                    <a:pt x="98643" y="162117"/>
                  </a:lnTo>
                  <a:lnTo>
                    <a:pt x="81781" y="158825"/>
                  </a:lnTo>
                  <a:lnTo>
                    <a:pt x="73349" y="167054"/>
                  </a:lnTo>
                  <a:lnTo>
                    <a:pt x="66605" y="165409"/>
                  </a:lnTo>
                  <a:lnTo>
                    <a:pt x="64918" y="170346"/>
                  </a:lnTo>
                  <a:lnTo>
                    <a:pt x="39625" y="162117"/>
                  </a:lnTo>
                  <a:lnTo>
                    <a:pt x="26135" y="153888"/>
                  </a:lnTo>
                  <a:lnTo>
                    <a:pt x="16018" y="155533"/>
                  </a:lnTo>
                  <a:lnTo>
                    <a:pt x="16018" y="150596"/>
                  </a:lnTo>
                  <a:lnTo>
                    <a:pt x="14332" y="148950"/>
                  </a:lnTo>
                  <a:lnTo>
                    <a:pt x="19390" y="145658"/>
                  </a:lnTo>
                  <a:lnTo>
                    <a:pt x="22763" y="139075"/>
                  </a:lnTo>
                  <a:lnTo>
                    <a:pt x="4214" y="134137"/>
                  </a:lnTo>
                  <a:lnTo>
                    <a:pt x="16018" y="129199"/>
                  </a:lnTo>
                  <a:lnTo>
                    <a:pt x="14332" y="122616"/>
                  </a:lnTo>
                  <a:lnTo>
                    <a:pt x="17704" y="112741"/>
                  </a:lnTo>
                  <a:lnTo>
                    <a:pt x="49742" y="71594"/>
                  </a:lnTo>
                  <a:lnTo>
                    <a:pt x="48056" y="58427"/>
                  </a:lnTo>
                  <a:lnTo>
                    <a:pt x="51428" y="55136"/>
                  </a:lnTo>
                  <a:lnTo>
                    <a:pt x="46370" y="40323"/>
                  </a:lnTo>
                  <a:lnTo>
                    <a:pt x="46370" y="32094"/>
                  </a:lnTo>
                  <a:lnTo>
                    <a:pt x="39625" y="27156"/>
                  </a:lnTo>
                  <a:lnTo>
                    <a:pt x="37939" y="12343"/>
                  </a:lnTo>
                  <a:lnTo>
                    <a:pt x="64918" y="4114"/>
                  </a:lnTo>
                  <a:lnTo>
                    <a:pt x="69977" y="740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0" name="Diemen">
              <a:extLst>
                <a:ext uri="{FF2B5EF4-FFF2-40B4-BE49-F238E27FC236}">
                  <a16:creationId xmlns:a16="http://schemas.microsoft.com/office/drawing/2014/main" id="{3B2652F1-53AA-4B11-93F1-16640482D3A3}"/>
                </a:ext>
              </a:extLst>
            </p:cNvPr>
            <p:cNvSpPr/>
            <p:nvPr/>
          </p:nvSpPr>
          <p:spPr>
            <a:xfrm>
              <a:off x="5761126" y="3097851"/>
              <a:ext cx="101653" cy="83721"/>
            </a:xfrm>
            <a:custGeom>
              <a:avLst/>
              <a:gdLst/>
              <a:ahLst/>
              <a:cxnLst/>
              <a:rect l="l" t="t" r="r" b="b"/>
              <a:pathLst>
                <a:path w="140498" h="102870" extrusionOk="0">
                  <a:moveTo>
                    <a:pt x="137426" y="20573"/>
                  </a:moveTo>
                  <a:lnTo>
                    <a:pt x="135740" y="20573"/>
                  </a:lnTo>
                  <a:lnTo>
                    <a:pt x="137426" y="15635"/>
                  </a:lnTo>
                  <a:lnTo>
                    <a:pt x="142484" y="15635"/>
                  </a:lnTo>
                  <a:lnTo>
                    <a:pt x="137426" y="20573"/>
                  </a:lnTo>
                  <a:close/>
                  <a:moveTo>
                    <a:pt x="53115" y="7406"/>
                  </a:moveTo>
                  <a:lnTo>
                    <a:pt x="90211" y="40323"/>
                  </a:lnTo>
                  <a:lnTo>
                    <a:pt x="96956" y="37031"/>
                  </a:lnTo>
                  <a:lnTo>
                    <a:pt x="105388" y="38677"/>
                  </a:lnTo>
                  <a:lnTo>
                    <a:pt x="113819" y="25510"/>
                  </a:lnTo>
                  <a:lnTo>
                    <a:pt x="117191" y="28802"/>
                  </a:lnTo>
                  <a:lnTo>
                    <a:pt x="120563" y="25510"/>
                  </a:lnTo>
                  <a:lnTo>
                    <a:pt x="132367" y="22219"/>
                  </a:lnTo>
                  <a:lnTo>
                    <a:pt x="144170" y="33740"/>
                  </a:lnTo>
                  <a:lnTo>
                    <a:pt x="142484" y="41969"/>
                  </a:lnTo>
                  <a:lnTo>
                    <a:pt x="130681" y="46906"/>
                  </a:lnTo>
                  <a:lnTo>
                    <a:pt x="134053" y="46906"/>
                  </a:lnTo>
                  <a:lnTo>
                    <a:pt x="128995" y="50198"/>
                  </a:lnTo>
                  <a:lnTo>
                    <a:pt x="132367" y="48552"/>
                  </a:lnTo>
                  <a:lnTo>
                    <a:pt x="118877" y="58427"/>
                  </a:lnTo>
                  <a:lnTo>
                    <a:pt x="110446" y="66657"/>
                  </a:lnTo>
                  <a:lnTo>
                    <a:pt x="115505" y="81470"/>
                  </a:lnTo>
                  <a:lnTo>
                    <a:pt x="86839" y="106158"/>
                  </a:lnTo>
                  <a:lnTo>
                    <a:pt x="86839" y="97928"/>
                  </a:lnTo>
                  <a:lnTo>
                    <a:pt x="76722" y="76532"/>
                  </a:lnTo>
                  <a:lnTo>
                    <a:pt x="68290" y="66657"/>
                  </a:lnTo>
                  <a:lnTo>
                    <a:pt x="53115" y="66657"/>
                  </a:lnTo>
                  <a:lnTo>
                    <a:pt x="46370" y="76532"/>
                  </a:lnTo>
                  <a:lnTo>
                    <a:pt x="41311" y="73240"/>
                  </a:lnTo>
                  <a:lnTo>
                    <a:pt x="19390" y="84761"/>
                  </a:lnTo>
                  <a:lnTo>
                    <a:pt x="10959" y="71595"/>
                  </a:lnTo>
                  <a:lnTo>
                    <a:pt x="7586" y="74886"/>
                  </a:lnTo>
                  <a:lnTo>
                    <a:pt x="4214" y="68303"/>
                  </a:lnTo>
                  <a:lnTo>
                    <a:pt x="12645" y="63365"/>
                  </a:lnTo>
                  <a:lnTo>
                    <a:pt x="9273" y="58427"/>
                  </a:lnTo>
                  <a:lnTo>
                    <a:pt x="39625" y="7406"/>
                  </a:lnTo>
                  <a:lnTo>
                    <a:pt x="44683" y="4114"/>
                  </a:lnTo>
                  <a:lnTo>
                    <a:pt x="53115" y="740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1" name="Zwijndrecht">
              <a:extLst>
                <a:ext uri="{FF2B5EF4-FFF2-40B4-BE49-F238E27FC236}">
                  <a16:creationId xmlns:a16="http://schemas.microsoft.com/office/drawing/2014/main" id="{433951AF-0AEC-4273-B7C2-E96EA1E79A41}"/>
                </a:ext>
              </a:extLst>
            </p:cNvPr>
            <p:cNvSpPr/>
            <p:nvPr/>
          </p:nvSpPr>
          <p:spPr>
            <a:xfrm>
              <a:off x="5362599" y="3929077"/>
              <a:ext cx="119951" cy="75608"/>
            </a:xfrm>
            <a:custGeom>
              <a:avLst/>
              <a:gdLst/>
              <a:ahLst/>
              <a:cxnLst/>
              <a:rect l="l" t="t" r="r" b="b"/>
              <a:pathLst>
                <a:path w="187330" h="114300" extrusionOk="0">
                  <a:moveTo>
                    <a:pt x="85153" y="30448"/>
                  </a:moveTo>
                  <a:lnTo>
                    <a:pt x="132367" y="56781"/>
                  </a:lnTo>
                  <a:lnTo>
                    <a:pt x="169464" y="41969"/>
                  </a:lnTo>
                  <a:lnTo>
                    <a:pt x="184640" y="68302"/>
                  </a:lnTo>
                  <a:lnTo>
                    <a:pt x="169464" y="74886"/>
                  </a:lnTo>
                  <a:lnTo>
                    <a:pt x="135740" y="107803"/>
                  </a:lnTo>
                  <a:lnTo>
                    <a:pt x="113819" y="116033"/>
                  </a:lnTo>
                  <a:lnTo>
                    <a:pt x="103701" y="116033"/>
                  </a:lnTo>
                  <a:lnTo>
                    <a:pt x="68291" y="102866"/>
                  </a:lnTo>
                  <a:lnTo>
                    <a:pt x="42997" y="97928"/>
                  </a:lnTo>
                  <a:lnTo>
                    <a:pt x="22763" y="86407"/>
                  </a:lnTo>
                  <a:lnTo>
                    <a:pt x="14332" y="74886"/>
                  </a:lnTo>
                  <a:lnTo>
                    <a:pt x="9273" y="51844"/>
                  </a:lnTo>
                  <a:lnTo>
                    <a:pt x="4214" y="45260"/>
                  </a:lnTo>
                  <a:lnTo>
                    <a:pt x="14332" y="23864"/>
                  </a:lnTo>
                  <a:lnTo>
                    <a:pt x="31194" y="4114"/>
                  </a:lnTo>
                  <a:lnTo>
                    <a:pt x="85153" y="3044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2" name="Goirle">
              <a:extLst>
                <a:ext uri="{FF2B5EF4-FFF2-40B4-BE49-F238E27FC236}">
                  <a16:creationId xmlns:a16="http://schemas.microsoft.com/office/drawing/2014/main" id="{E1A5303D-3E89-46F6-BE34-709EDDC5D038}"/>
                </a:ext>
              </a:extLst>
            </p:cNvPr>
            <p:cNvSpPr/>
            <p:nvPr/>
          </p:nvSpPr>
          <p:spPr>
            <a:xfrm>
              <a:off x="5787126" y="4434997"/>
              <a:ext cx="151901" cy="113412"/>
            </a:xfrm>
            <a:custGeom>
              <a:avLst/>
              <a:gdLst/>
              <a:ahLst/>
              <a:cxnLst/>
              <a:rect l="l" t="t" r="r" b="b"/>
              <a:pathLst>
                <a:path w="222455" h="171450" extrusionOk="0">
                  <a:moveTo>
                    <a:pt x="24449" y="4114"/>
                  </a:moveTo>
                  <a:lnTo>
                    <a:pt x="42997" y="4114"/>
                  </a:lnTo>
                  <a:lnTo>
                    <a:pt x="64918" y="10698"/>
                  </a:lnTo>
                  <a:lnTo>
                    <a:pt x="93584" y="7406"/>
                  </a:lnTo>
                  <a:lnTo>
                    <a:pt x="103701" y="18927"/>
                  </a:lnTo>
                  <a:lnTo>
                    <a:pt x="108760" y="30448"/>
                  </a:lnTo>
                  <a:lnTo>
                    <a:pt x="125622" y="27156"/>
                  </a:lnTo>
                  <a:lnTo>
                    <a:pt x="142484" y="30448"/>
                  </a:lnTo>
                  <a:lnTo>
                    <a:pt x="140798" y="17281"/>
                  </a:lnTo>
                  <a:lnTo>
                    <a:pt x="157661" y="10698"/>
                  </a:lnTo>
                  <a:lnTo>
                    <a:pt x="174523" y="13989"/>
                  </a:lnTo>
                  <a:lnTo>
                    <a:pt x="179582" y="15635"/>
                  </a:lnTo>
                  <a:lnTo>
                    <a:pt x="174523" y="22219"/>
                  </a:lnTo>
                  <a:lnTo>
                    <a:pt x="176209" y="28802"/>
                  </a:lnTo>
                  <a:lnTo>
                    <a:pt x="191385" y="27156"/>
                  </a:lnTo>
                  <a:lnTo>
                    <a:pt x="194757" y="23864"/>
                  </a:lnTo>
                  <a:lnTo>
                    <a:pt x="216678" y="27156"/>
                  </a:lnTo>
                  <a:lnTo>
                    <a:pt x="223423" y="33740"/>
                  </a:lnTo>
                  <a:lnTo>
                    <a:pt x="213306" y="41969"/>
                  </a:lnTo>
                  <a:lnTo>
                    <a:pt x="216678" y="46906"/>
                  </a:lnTo>
                  <a:lnTo>
                    <a:pt x="213306" y="48552"/>
                  </a:lnTo>
                  <a:lnTo>
                    <a:pt x="216678" y="53490"/>
                  </a:lnTo>
                  <a:lnTo>
                    <a:pt x="208247" y="60074"/>
                  </a:lnTo>
                  <a:lnTo>
                    <a:pt x="213306" y="65011"/>
                  </a:lnTo>
                  <a:lnTo>
                    <a:pt x="209934" y="78178"/>
                  </a:lnTo>
                  <a:lnTo>
                    <a:pt x="198130" y="74886"/>
                  </a:lnTo>
                  <a:lnTo>
                    <a:pt x="174523" y="94636"/>
                  </a:lnTo>
                  <a:lnTo>
                    <a:pt x="179582" y="99574"/>
                  </a:lnTo>
                  <a:lnTo>
                    <a:pt x="157661" y="119324"/>
                  </a:lnTo>
                  <a:lnTo>
                    <a:pt x="167778" y="134137"/>
                  </a:lnTo>
                  <a:lnTo>
                    <a:pt x="166092" y="137429"/>
                  </a:lnTo>
                  <a:lnTo>
                    <a:pt x="140798" y="132491"/>
                  </a:lnTo>
                  <a:lnTo>
                    <a:pt x="137426" y="171992"/>
                  </a:lnTo>
                  <a:lnTo>
                    <a:pt x="132367" y="171992"/>
                  </a:lnTo>
                  <a:lnTo>
                    <a:pt x="118877" y="152242"/>
                  </a:lnTo>
                  <a:lnTo>
                    <a:pt x="122250" y="137429"/>
                  </a:lnTo>
                  <a:lnTo>
                    <a:pt x="120563" y="132491"/>
                  </a:lnTo>
                  <a:lnTo>
                    <a:pt x="112132" y="132491"/>
                  </a:lnTo>
                  <a:lnTo>
                    <a:pt x="110446" y="135783"/>
                  </a:lnTo>
                  <a:lnTo>
                    <a:pt x="95270" y="145658"/>
                  </a:lnTo>
                  <a:lnTo>
                    <a:pt x="86839" y="160471"/>
                  </a:lnTo>
                  <a:lnTo>
                    <a:pt x="85153" y="158825"/>
                  </a:lnTo>
                  <a:lnTo>
                    <a:pt x="73349" y="165409"/>
                  </a:lnTo>
                  <a:lnTo>
                    <a:pt x="59859" y="150596"/>
                  </a:lnTo>
                  <a:lnTo>
                    <a:pt x="59859" y="145658"/>
                  </a:lnTo>
                  <a:lnTo>
                    <a:pt x="42997" y="142367"/>
                  </a:lnTo>
                  <a:lnTo>
                    <a:pt x="46370" y="137429"/>
                  </a:lnTo>
                  <a:lnTo>
                    <a:pt x="48056" y="139075"/>
                  </a:lnTo>
                  <a:lnTo>
                    <a:pt x="51428" y="135783"/>
                  </a:lnTo>
                  <a:lnTo>
                    <a:pt x="48056" y="134137"/>
                  </a:lnTo>
                  <a:lnTo>
                    <a:pt x="49742" y="130845"/>
                  </a:lnTo>
                  <a:lnTo>
                    <a:pt x="56487" y="130845"/>
                  </a:lnTo>
                  <a:lnTo>
                    <a:pt x="61546" y="120970"/>
                  </a:lnTo>
                  <a:lnTo>
                    <a:pt x="49742" y="116033"/>
                  </a:lnTo>
                  <a:lnTo>
                    <a:pt x="56487" y="109449"/>
                  </a:lnTo>
                  <a:lnTo>
                    <a:pt x="53115" y="107803"/>
                  </a:lnTo>
                  <a:lnTo>
                    <a:pt x="41311" y="112741"/>
                  </a:lnTo>
                  <a:lnTo>
                    <a:pt x="39625" y="102866"/>
                  </a:lnTo>
                  <a:lnTo>
                    <a:pt x="44684" y="92991"/>
                  </a:lnTo>
                  <a:lnTo>
                    <a:pt x="49742" y="71594"/>
                  </a:lnTo>
                  <a:lnTo>
                    <a:pt x="34566" y="66657"/>
                  </a:lnTo>
                  <a:lnTo>
                    <a:pt x="37938" y="58427"/>
                  </a:lnTo>
                  <a:lnTo>
                    <a:pt x="31194" y="56782"/>
                  </a:lnTo>
                  <a:lnTo>
                    <a:pt x="27821" y="48552"/>
                  </a:lnTo>
                  <a:lnTo>
                    <a:pt x="14331" y="51844"/>
                  </a:lnTo>
                  <a:lnTo>
                    <a:pt x="4214" y="38677"/>
                  </a:lnTo>
                  <a:lnTo>
                    <a:pt x="24449"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3" name="Valkenburg aan de Geul">
              <a:extLst>
                <a:ext uri="{FF2B5EF4-FFF2-40B4-BE49-F238E27FC236}">
                  <a16:creationId xmlns:a16="http://schemas.microsoft.com/office/drawing/2014/main" id="{04ECC6CF-60D8-46D3-9576-26809968A45D}"/>
                </a:ext>
              </a:extLst>
            </p:cNvPr>
            <p:cNvSpPr/>
            <p:nvPr/>
          </p:nvSpPr>
          <p:spPr>
            <a:xfrm>
              <a:off x="6625372" y="5498550"/>
              <a:ext cx="145838" cy="94480"/>
            </a:xfrm>
            <a:custGeom>
              <a:avLst/>
              <a:gdLst/>
              <a:ahLst/>
              <a:cxnLst/>
              <a:rect l="l" t="t" r="r" b="b"/>
              <a:pathLst>
                <a:path w="222455" h="148590" extrusionOk="0">
                  <a:moveTo>
                    <a:pt x="139112" y="9051"/>
                  </a:moveTo>
                  <a:lnTo>
                    <a:pt x="134053" y="20573"/>
                  </a:lnTo>
                  <a:lnTo>
                    <a:pt x="134053" y="27156"/>
                  </a:lnTo>
                  <a:lnTo>
                    <a:pt x="137426" y="28802"/>
                  </a:lnTo>
                  <a:lnTo>
                    <a:pt x="137426" y="32093"/>
                  </a:lnTo>
                  <a:lnTo>
                    <a:pt x="159347" y="25510"/>
                  </a:lnTo>
                  <a:lnTo>
                    <a:pt x="162719" y="28802"/>
                  </a:lnTo>
                  <a:lnTo>
                    <a:pt x="179582" y="28802"/>
                  </a:lnTo>
                  <a:lnTo>
                    <a:pt x="182954" y="41969"/>
                  </a:lnTo>
                  <a:lnTo>
                    <a:pt x="193071" y="50198"/>
                  </a:lnTo>
                  <a:lnTo>
                    <a:pt x="191385" y="53490"/>
                  </a:lnTo>
                  <a:lnTo>
                    <a:pt x="193071" y="56782"/>
                  </a:lnTo>
                  <a:lnTo>
                    <a:pt x="191385" y="61719"/>
                  </a:lnTo>
                  <a:lnTo>
                    <a:pt x="194757" y="63365"/>
                  </a:lnTo>
                  <a:lnTo>
                    <a:pt x="198130" y="71595"/>
                  </a:lnTo>
                  <a:lnTo>
                    <a:pt x="194757" y="74886"/>
                  </a:lnTo>
                  <a:lnTo>
                    <a:pt x="191385" y="89699"/>
                  </a:lnTo>
                  <a:lnTo>
                    <a:pt x="201503" y="89699"/>
                  </a:lnTo>
                  <a:lnTo>
                    <a:pt x="201503" y="92990"/>
                  </a:lnTo>
                  <a:lnTo>
                    <a:pt x="211620" y="101220"/>
                  </a:lnTo>
                  <a:lnTo>
                    <a:pt x="220051" y="112741"/>
                  </a:lnTo>
                  <a:lnTo>
                    <a:pt x="203189" y="116032"/>
                  </a:lnTo>
                  <a:lnTo>
                    <a:pt x="201503" y="112741"/>
                  </a:lnTo>
                  <a:lnTo>
                    <a:pt x="204875" y="127554"/>
                  </a:lnTo>
                  <a:lnTo>
                    <a:pt x="194757" y="139074"/>
                  </a:lnTo>
                  <a:lnTo>
                    <a:pt x="194757" y="134137"/>
                  </a:lnTo>
                  <a:lnTo>
                    <a:pt x="186326" y="134137"/>
                  </a:lnTo>
                  <a:lnTo>
                    <a:pt x="172837" y="150596"/>
                  </a:lnTo>
                  <a:lnTo>
                    <a:pt x="167778" y="150596"/>
                  </a:lnTo>
                  <a:lnTo>
                    <a:pt x="166092" y="148950"/>
                  </a:lnTo>
                  <a:lnTo>
                    <a:pt x="162719" y="150596"/>
                  </a:lnTo>
                  <a:lnTo>
                    <a:pt x="152602" y="145658"/>
                  </a:lnTo>
                  <a:lnTo>
                    <a:pt x="150916" y="147304"/>
                  </a:lnTo>
                  <a:lnTo>
                    <a:pt x="139112" y="140721"/>
                  </a:lnTo>
                  <a:lnTo>
                    <a:pt x="142484" y="152242"/>
                  </a:lnTo>
                  <a:lnTo>
                    <a:pt x="140798" y="155534"/>
                  </a:lnTo>
                  <a:lnTo>
                    <a:pt x="122250" y="155534"/>
                  </a:lnTo>
                  <a:lnTo>
                    <a:pt x="115505" y="150596"/>
                  </a:lnTo>
                  <a:lnTo>
                    <a:pt x="117191" y="134137"/>
                  </a:lnTo>
                  <a:lnTo>
                    <a:pt x="103701" y="127554"/>
                  </a:lnTo>
                  <a:lnTo>
                    <a:pt x="100329" y="130845"/>
                  </a:lnTo>
                  <a:lnTo>
                    <a:pt x="95270" y="127554"/>
                  </a:lnTo>
                  <a:lnTo>
                    <a:pt x="85153" y="107803"/>
                  </a:lnTo>
                  <a:lnTo>
                    <a:pt x="83467" y="111095"/>
                  </a:lnTo>
                  <a:lnTo>
                    <a:pt x="69977" y="107803"/>
                  </a:lnTo>
                  <a:lnTo>
                    <a:pt x="53115" y="107803"/>
                  </a:lnTo>
                  <a:lnTo>
                    <a:pt x="49742" y="101220"/>
                  </a:lnTo>
                  <a:lnTo>
                    <a:pt x="44684" y="99574"/>
                  </a:lnTo>
                  <a:lnTo>
                    <a:pt x="37939" y="101220"/>
                  </a:lnTo>
                  <a:lnTo>
                    <a:pt x="26135" y="96282"/>
                  </a:lnTo>
                  <a:lnTo>
                    <a:pt x="4214" y="91345"/>
                  </a:lnTo>
                  <a:lnTo>
                    <a:pt x="24449" y="73240"/>
                  </a:lnTo>
                  <a:lnTo>
                    <a:pt x="24449" y="68302"/>
                  </a:lnTo>
                  <a:lnTo>
                    <a:pt x="27821" y="66657"/>
                  </a:lnTo>
                  <a:lnTo>
                    <a:pt x="26135" y="60073"/>
                  </a:lnTo>
                  <a:lnTo>
                    <a:pt x="31194" y="51844"/>
                  </a:lnTo>
                  <a:lnTo>
                    <a:pt x="39625" y="53490"/>
                  </a:lnTo>
                  <a:lnTo>
                    <a:pt x="42997" y="50198"/>
                  </a:lnTo>
                  <a:lnTo>
                    <a:pt x="39625" y="50198"/>
                  </a:lnTo>
                  <a:lnTo>
                    <a:pt x="41311" y="48552"/>
                  </a:lnTo>
                  <a:lnTo>
                    <a:pt x="39625" y="45260"/>
                  </a:lnTo>
                  <a:lnTo>
                    <a:pt x="48056" y="25510"/>
                  </a:lnTo>
                  <a:lnTo>
                    <a:pt x="58173" y="28802"/>
                  </a:lnTo>
                  <a:lnTo>
                    <a:pt x="64918" y="25510"/>
                  </a:lnTo>
                  <a:lnTo>
                    <a:pt x="66605" y="28802"/>
                  </a:lnTo>
                  <a:lnTo>
                    <a:pt x="80094" y="27156"/>
                  </a:lnTo>
                  <a:lnTo>
                    <a:pt x="85153" y="17281"/>
                  </a:lnTo>
                  <a:lnTo>
                    <a:pt x="96957" y="15635"/>
                  </a:lnTo>
                  <a:lnTo>
                    <a:pt x="112132" y="25510"/>
                  </a:lnTo>
                  <a:lnTo>
                    <a:pt x="115505" y="18927"/>
                  </a:lnTo>
                  <a:lnTo>
                    <a:pt x="134053" y="4114"/>
                  </a:lnTo>
                  <a:lnTo>
                    <a:pt x="139112" y="5760"/>
                  </a:lnTo>
                  <a:lnTo>
                    <a:pt x="139112" y="9051"/>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4" name="Zeewolde">
              <a:extLst>
                <a:ext uri="{FF2B5EF4-FFF2-40B4-BE49-F238E27FC236}">
                  <a16:creationId xmlns:a16="http://schemas.microsoft.com/office/drawing/2014/main" id="{A97BFE24-8420-4799-AACC-41A2072C7539}"/>
                </a:ext>
              </a:extLst>
            </p:cNvPr>
            <p:cNvSpPr/>
            <p:nvPr/>
          </p:nvSpPr>
          <p:spPr>
            <a:xfrm>
              <a:off x="6141064" y="2964484"/>
              <a:ext cx="345307" cy="299057"/>
            </a:xfrm>
            <a:custGeom>
              <a:avLst/>
              <a:gdLst/>
              <a:ahLst/>
              <a:cxnLst/>
              <a:rect l="l" t="t" r="r" b="b"/>
              <a:pathLst>
                <a:path w="491743" h="457200" extrusionOk="0">
                  <a:moveTo>
                    <a:pt x="481416" y="183513"/>
                  </a:moveTo>
                  <a:lnTo>
                    <a:pt x="479730" y="176930"/>
                  </a:lnTo>
                  <a:lnTo>
                    <a:pt x="481416" y="181867"/>
                  </a:lnTo>
                  <a:lnTo>
                    <a:pt x="481416" y="183513"/>
                  </a:lnTo>
                  <a:close/>
                  <a:moveTo>
                    <a:pt x="484788" y="195034"/>
                  </a:moveTo>
                  <a:lnTo>
                    <a:pt x="478043" y="191742"/>
                  </a:lnTo>
                  <a:lnTo>
                    <a:pt x="483102" y="188451"/>
                  </a:lnTo>
                  <a:lnTo>
                    <a:pt x="484788" y="195034"/>
                  </a:lnTo>
                  <a:close/>
                  <a:moveTo>
                    <a:pt x="478043" y="198326"/>
                  </a:moveTo>
                  <a:lnTo>
                    <a:pt x="474671" y="195034"/>
                  </a:lnTo>
                  <a:lnTo>
                    <a:pt x="478043" y="193388"/>
                  </a:lnTo>
                  <a:lnTo>
                    <a:pt x="479730" y="196680"/>
                  </a:lnTo>
                  <a:lnTo>
                    <a:pt x="478043" y="198326"/>
                  </a:lnTo>
                  <a:close/>
                  <a:moveTo>
                    <a:pt x="405535" y="199972"/>
                  </a:moveTo>
                  <a:lnTo>
                    <a:pt x="402163" y="198326"/>
                  </a:lnTo>
                  <a:lnTo>
                    <a:pt x="403849" y="195034"/>
                  </a:lnTo>
                  <a:lnTo>
                    <a:pt x="407222" y="196680"/>
                  </a:lnTo>
                  <a:lnTo>
                    <a:pt x="403849" y="198326"/>
                  </a:lnTo>
                  <a:lnTo>
                    <a:pt x="405535" y="199972"/>
                  </a:lnTo>
                  <a:close/>
                  <a:moveTo>
                    <a:pt x="375184" y="270744"/>
                  </a:moveTo>
                  <a:lnTo>
                    <a:pt x="376870" y="267452"/>
                  </a:lnTo>
                  <a:lnTo>
                    <a:pt x="380242" y="270744"/>
                  </a:lnTo>
                  <a:lnTo>
                    <a:pt x="375184" y="270744"/>
                  </a:lnTo>
                  <a:close/>
                  <a:moveTo>
                    <a:pt x="375184" y="274035"/>
                  </a:moveTo>
                  <a:lnTo>
                    <a:pt x="375184" y="272390"/>
                  </a:lnTo>
                  <a:lnTo>
                    <a:pt x="380242" y="272390"/>
                  </a:lnTo>
                  <a:lnTo>
                    <a:pt x="375184" y="274035"/>
                  </a:lnTo>
                  <a:close/>
                  <a:moveTo>
                    <a:pt x="398791" y="275682"/>
                  </a:moveTo>
                  <a:lnTo>
                    <a:pt x="397105" y="270744"/>
                  </a:lnTo>
                  <a:lnTo>
                    <a:pt x="397105" y="274035"/>
                  </a:lnTo>
                  <a:lnTo>
                    <a:pt x="392046" y="270744"/>
                  </a:lnTo>
                  <a:lnTo>
                    <a:pt x="393732" y="269098"/>
                  </a:lnTo>
                  <a:lnTo>
                    <a:pt x="400477" y="272390"/>
                  </a:lnTo>
                  <a:lnTo>
                    <a:pt x="398791" y="275682"/>
                  </a:lnTo>
                  <a:close/>
                  <a:moveTo>
                    <a:pt x="370125" y="354683"/>
                  </a:moveTo>
                  <a:lnTo>
                    <a:pt x="371811" y="349745"/>
                  </a:lnTo>
                  <a:lnTo>
                    <a:pt x="371811" y="353037"/>
                  </a:lnTo>
                  <a:lnTo>
                    <a:pt x="370125" y="354683"/>
                  </a:lnTo>
                  <a:close/>
                  <a:moveTo>
                    <a:pt x="366753" y="364558"/>
                  </a:moveTo>
                  <a:lnTo>
                    <a:pt x="365066" y="364558"/>
                  </a:lnTo>
                  <a:lnTo>
                    <a:pt x="366753" y="359621"/>
                  </a:lnTo>
                  <a:lnTo>
                    <a:pt x="368439" y="362912"/>
                  </a:lnTo>
                  <a:lnTo>
                    <a:pt x="366753" y="364558"/>
                  </a:lnTo>
                  <a:close/>
                  <a:moveTo>
                    <a:pt x="172837" y="463310"/>
                  </a:moveTo>
                  <a:lnTo>
                    <a:pt x="155974" y="461664"/>
                  </a:lnTo>
                  <a:lnTo>
                    <a:pt x="145857" y="451789"/>
                  </a:lnTo>
                  <a:lnTo>
                    <a:pt x="144171" y="453435"/>
                  </a:lnTo>
                  <a:lnTo>
                    <a:pt x="147543" y="455081"/>
                  </a:lnTo>
                  <a:lnTo>
                    <a:pt x="144171" y="451789"/>
                  </a:lnTo>
                  <a:lnTo>
                    <a:pt x="144171" y="448497"/>
                  </a:lnTo>
                  <a:lnTo>
                    <a:pt x="137426" y="445205"/>
                  </a:lnTo>
                  <a:lnTo>
                    <a:pt x="137426" y="441914"/>
                  </a:lnTo>
                  <a:lnTo>
                    <a:pt x="130681" y="435330"/>
                  </a:lnTo>
                  <a:lnTo>
                    <a:pt x="27821" y="339870"/>
                  </a:lnTo>
                  <a:lnTo>
                    <a:pt x="53115" y="315182"/>
                  </a:lnTo>
                  <a:lnTo>
                    <a:pt x="76722" y="326703"/>
                  </a:lnTo>
                  <a:lnTo>
                    <a:pt x="122250" y="315182"/>
                  </a:lnTo>
                  <a:lnTo>
                    <a:pt x="4214" y="150596"/>
                  </a:lnTo>
                  <a:lnTo>
                    <a:pt x="61546" y="117678"/>
                  </a:lnTo>
                  <a:lnTo>
                    <a:pt x="73349" y="117678"/>
                  </a:lnTo>
                  <a:lnTo>
                    <a:pt x="78408" y="107803"/>
                  </a:lnTo>
                  <a:lnTo>
                    <a:pt x="130681" y="73240"/>
                  </a:lnTo>
                  <a:lnTo>
                    <a:pt x="189699" y="28802"/>
                  </a:lnTo>
                  <a:lnTo>
                    <a:pt x="211620" y="4114"/>
                  </a:lnTo>
                  <a:lnTo>
                    <a:pt x="319538" y="112741"/>
                  </a:lnTo>
                  <a:lnTo>
                    <a:pt x="354949" y="145658"/>
                  </a:lnTo>
                  <a:lnTo>
                    <a:pt x="361694" y="144012"/>
                  </a:lnTo>
                  <a:lnTo>
                    <a:pt x="402163" y="101220"/>
                  </a:lnTo>
                  <a:lnTo>
                    <a:pt x="427457" y="81470"/>
                  </a:lnTo>
                  <a:lnTo>
                    <a:pt x="435887" y="79824"/>
                  </a:lnTo>
                  <a:lnTo>
                    <a:pt x="491533" y="86407"/>
                  </a:lnTo>
                  <a:lnTo>
                    <a:pt x="483102" y="144012"/>
                  </a:lnTo>
                  <a:lnTo>
                    <a:pt x="474671" y="168700"/>
                  </a:lnTo>
                  <a:lnTo>
                    <a:pt x="479730" y="180221"/>
                  </a:lnTo>
                  <a:lnTo>
                    <a:pt x="472985" y="188451"/>
                  </a:lnTo>
                  <a:lnTo>
                    <a:pt x="474671" y="190097"/>
                  </a:lnTo>
                  <a:lnTo>
                    <a:pt x="479730" y="185159"/>
                  </a:lnTo>
                  <a:lnTo>
                    <a:pt x="476357" y="188451"/>
                  </a:lnTo>
                  <a:lnTo>
                    <a:pt x="478043" y="190097"/>
                  </a:lnTo>
                  <a:lnTo>
                    <a:pt x="472985" y="193388"/>
                  </a:lnTo>
                  <a:lnTo>
                    <a:pt x="469612" y="190097"/>
                  </a:lnTo>
                  <a:lnTo>
                    <a:pt x="467926" y="193388"/>
                  </a:lnTo>
                  <a:lnTo>
                    <a:pt x="457808" y="190097"/>
                  </a:lnTo>
                  <a:lnTo>
                    <a:pt x="434201" y="196680"/>
                  </a:lnTo>
                  <a:lnTo>
                    <a:pt x="402163" y="185159"/>
                  </a:lnTo>
                  <a:lnTo>
                    <a:pt x="363380" y="229597"/>
                  </a:lnTo>
                  <a:lnTo>
                    <a:pt x="361694" y="237827"/>
                  </a:lnTo>
                  <a:lnTo>
                    <a:pt x="370125" y="260869"/>
                  </a:lnTo>
                  <a:lnTo>
                    <a:pt x="373497" y="264160"/>
                  </a:lnTo>
                  <a:lnTo>
                    <a:pt x="378556" y="262514"/>
                  </a:lnTo>
                  <a:lnTo>
                    <a:pt x="385301" y="265806"/>
                  </a:lnTo>
                  <a:lnTo>
                    <a:pt x="385301" y="272390"/>
                  </a:lnTo>
                  <a:lnTo>
                    <a:pt x="380242" y="269098"/>
                  </a:lnTo>
                  <a:lnTo>
                    <a:pt x="383614" y="269098"/>
                  </a:lnTo>
                  <a:lnTo>
                    <a:pt x="385301" y="267452"/>
                  </a:lnTo>
                  <a:lnTo>
                    <a:pt x="380242" y="264160"/>
                  </a:lnTo>
                  <a:lnTo>
                    <a:pt x="380242" y="267452"/>
                  </a:lnTo>
                  <a:lnTo>
                    <a:pt x="378556" y="264160"/>
                  </a:lnTo>
                  <a:lnTo>
                    <a:pt x="373497" y="265806"/>
                  </a:lnTo>
                  <a:lnTo>
                    <a:pt x="376870" y="277327"/>
                  </a:lnTo>
                  <a:lnTo>
                    <a:pt x="383614" y="272390"/>
                  </a:lnTo>
                  <a:lnTo>
                    <a:pt x="378556" y="282265"/>
                  </a:lnTo>
                  <a:lnTo>
                    <a:pt x="385301" y="298724"/>
                  </a:lnTo>
                  <a:lnTo>
                    <a:pt x="380242" y="310245"/>
                  </a:lnTo>
                  <a:lnTo>
                    <a:pt x="380242" y="320120"/>
                  </a:lnTo>
                  <a:lnTo>
                    <a:pt x="376870" y="320120"/>
                  </a:lnTo>
                  <a:lnTo>
                    <a:pt x="376870" y="323411"/>
                  </a:lnTo>
                  <a:lnTo>
                    <a:pt x="380242" y="321766"/>
                  </a:lnTo>
                  <a:lnTo>
                    <a:pt x="375184" y="326703"/>
                  </a:lnTo>
                  <a:lnTo>
                    <a:pt x="370125" y="348100"/>
                  </a:lnTo>
                  <a:lnTo>
                    <a:pt x="361694" y="364558"/>
                  </a:lnTo>
                  <a:lnTo>
                    <a:pt x="365066" y="371142"/>
                  </a:lnTo>
                  <a:lnTo>
                    <a:pt x="363380" y="374433"/>
                  </a:lnTo>
                  <a:lnTo>
                    <a:pt x="365066" y="369496"/>
                  </a:lnTo>
                  <a:lnTo>
                    <a:pt x="361694" y="366204"/>
                  </a:lnTo>
                  <a:lnTo>
                    <a:pt x="363380" y="371142"/>
                  </a:lnTo>
                  <a:lnTo>
                    <a:pt x="361694" y="369496"/>
                  </a:lnTo>
                  <a:lnTo>
                    <a:pt x="360008" y="371142"/>
                  </a:lnTo>
                  <a:lnTo>
                    <a:pt x="363380" y="374433"/>
                  </a:lnTo>
                  <a:lnTo>
                    <a:pt x="358321" y="377725"/>
                  </a:lnTo>
                  <a:lnTo>
                    <a:pt x="349890" y="408996"/>
                  </a:lnTo>
                  <a:lnTo>
                    <a:pt x="344832" y="413934"/>
                  </a:lnTo>
                  <a:lnTo>
                    <a:pt x="299303" y="423809"/>
                  </a:lnTo>
                  <a:lnTo>
                    <a:pt x="287500" y="430393"/>
                  </a:lnTo>
                  <a:lnTo>
                    <a:pt x="287500" y="428747"/>
                  </a:lnTo>
                  <a:lnTo>
                    <a:pt x="285814" y="428747"/>
                  </a:lnTo>
                  <a:lnTo>
                    <a:pt x="287500" y="432039"/>
                  </a:lnTo>
                  <a:lnTo>
                    <a:pt x="248717" y="440268"/>
                  </a:lnTo>
                  <a:lnTo>
                    <a:pt x="233541" y="445205"/>
                  </a:lnTo>
                  <a:lnTo>
                    <a:pt x="233541" y="448497"/>
                  </a:lnTo>
                  <a:lnTo>
                    <a:pt x="216678" y="450143"/>
                  </a:lnTo>
                  <a:lnTo>
                    <a:pt x="172837" y="463310"/>
                  </a:lnTo>
                  <a:close/>
                  <a:moveTo>
                    <a:pt x="467926" y="191742"/>
                  </a:moveTo>
                  <a:lnTo>
                    <a:pt x="467926" y="190097"/>
                  </a:lnTo>
                  <a:lnTo>
                    <a:pt x="466240" y="188451"/>
                  </a:lnTo>
                  <a:lnTo>
                    <a:pt x="459495" y="190097"/>
                  </a:lnTo>
                  <a:lnTo>
                    <a:pt x="467926" y="19174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5" name="Apeldoorn">
              <a:extLst>
                <a:ext uri="{FF2B5EF4-FFF2-40B4-BE49-F238E27FC236}">
                  <a16:creationId xmlns:a16="http://schemas.microsoft.com/office/drawing/2014/main" id="{E52C9E48-83F3-48BE-A464-96E0A056D6F5}"/>
                </a:ext>
              </a:extLst>
            </p:cNvPr>
            <p:cNvSpPr/>
            <p:nvPr/>
          </p:nvSpPr>
          <p:spPr>
            <a:xfrm>
              <a:off x="6570628" y="3222671"/>
              <a:ext cx="390273" cy="339198"/>
            </a:xfrm>
            <a:custGeom>
              <a:avLst/>
              <a:gdLst/>
              <a:ahLst/>
              <a:cxnLst/>
              <a:rect l="l" t="t" r="r" b="b"/>
              <a:pathLst>
                <a:path w="538575" h="514350" extrusionOk="0">
                  <a:moveTo>
                    <a:pt x="397105" y="4114"/>
                  </a:moveTo>
                  <a:lnTo>
                    <a:pt x="407222" y="5760"/>
                  </a:lnTo>
                  <a:lnTo>
                    <a:pt x="402163" y="32094"/>
                  </a:lnTo>
                  <a:lnTo>
                    <a:pt x="432515" y="27156"/>
                  </a:lnTo>
                  <a:lnTo>
                    <a:pt x="462867" y="25510"/>
                  </a:lnTo>
                  <a:lnTo>
                    <a:pt x="466240" y="28802"/>
                  </a:lnTo>
                  <a:lnTo>
                    <a:pt x="462867" y="40323"/>
                  </a:lnTo>
                  <a:lnTo>
                    <a:pt x="466240" y="40323"/>
                  </a:lnTo>
                  <a:lnTo>
                    <a:pt x="464553" y="43615"/>
                  </a:lnTo>
                  <a:lnTo>
                    <a:pt x="474671" y="45261"/>
                  </a:lnTo>
                  <a:lnTo>
                    <a:pt x="471299" y="51844"/>
                  </a:lnTo>
                  <a:lnTo>
                    <a:pt x="476357" y="56782"/>
                  </a:lnTo>
                  <a:lnTo>
                    <a:pt x="476357" y="63365"/>
                  </a:lnTo>
                  <a:lnTo>
                    <a:pt x="472985" y="69949"/>
                  </a:lnTo>
                  <a:lnTo>
                    <a:pt x="467926" y="69949"/>
                  </a:lnTo>
                  <a:lnTo>
                    <a:pt x="466240" y="84761"/>
                  </a:lnTo>
                  <a:lnTo>
                    <a:pt x="462867" y="92991"/>
                  </a:lnTo>
                  <a:lnTo>
                    <a:pt x="457808" y="92991"/>
                  </a:lnTo>
                  <a:lnTo>
                    <a:pt x="462867" y="104512"/>
                  </a:lnTo>
                  <a:lnTo>
                    <a:pt x="459495" y="107803"/>
                  </a:lnTo>
                  <a:lnTo>
                    <a:pt x="462867" y="109449"/>
                  </a:lnTo>
                  <a:lnTo>
                    <a:pt x="462867" y="116033"/>
                  </a:lnTo>
                  <a:lnTo>
                    <a:pt x="474671" y="134137"/>
                  </a:lnTo>
                  <a:lnTo>
                    <a:pt x="471299" y="134137"/>
                  </a:lnTo>
                  <a:lnTo>
                    <a:pt x="471299" y="152242"/>
                  </a:lnTo>
                  <a:lnTo>
                    <a:pt x="481416" y="152242"/>
                  </a:lnTo>
                  <a:lnTo>
                    <a:pt x="484788" y="157179"/>
                  </a:lnTo>
                  <a:lnTo>
                    <a:pt x="491533" y="158825"/>
                  </a:lnTo>
                  <a:lnTo>
                    <a:pt x="493219" y="180221"/>
                  </a:lnTo>
                  <a:lnTo>
                    <a:pt x="501651" y="208201"/>
                  </a:lnTo>
                  <a:lnTo>
                    <a:pt x="508395" y="219722"/>
                  </a:lnTo>
                  <a:lnTo>
                    <a:pt x="501651" y="223014"/>
                  </a:lnTo>
                  <a:lnTo>
                    <a:pt x="496592" y="249348"/>
                  </a:lnTo>
                  <a:lnTo>
                    <a:pt x="513454" y="270744"/>
                  </a:lnTo>
                  <a:lnTo>
                    <a:pt x="520199" y="293786"/>
                  </a:lnTo>
                  <a:lnTo>
                    <a:pt x="521885" y="303661"/>
                  </a:lnTo>
                  <a:lnTo>
                    <a:pt x="518513" y="315182"/>
                  </a:lnTo>
                  <a:lnTo>
                    <a:pt x="535375" y="334932"/>
                  </a:lnTo>
                  <a:lnTo>
                    <a:pt x="540434" y="357975"/>
                  </a:lnTo>
                  <a:lnTo>
                    <a:pt x="530316" y="367850"/>
                  </a:lnTo>
                  <a:lnTo>
                    <a:pt x="526944" y="376079"/>
                  </a:lnTo>
                  <a:lnTo>
                    <a:pt x="499964" y="394184"/>
                  </a:lnTo>
                  <a:lnTo>
                    <a:pt x="494906" y="405705"/>
                  </a:lnTo>
                  <a:lnTo>
                    <a:pt x="483102" y="417226"/>
                  </a:lnTo>
                  <a:lnTo>
                    <a:pt x="484788" y="422163"/>
                  </a:lnTo>
                  <a:lnTo>
                    <a:pt x="476357" y="430393"/>
                  </a:lnTo>
                  <a:lnTo>
                    <a:pt x="474671" y="438622"/>
                  </a:lnTo>
                  <a:lnTo>
                    <a:pt x="474671" y="445205"/>
                  </a:lnTo>
                  <a:lnTo>
                    <a:pt x="471299" y="448497"/>
                  </a:lnTo>
                  <a:lnTo>
                    <a:pt x="474671" y="463310"/>
                  </a:lnTo>
                  <a:lnTo>
                    <a:pt x="471299" y="463310"/>
                  </a:lnTo>
                  <a:lnTo>
                    <a:pt x="435888" y="515977"/>
                  </a:lnTo>
                  <a:lnTo>
                    <a:pt x="408908" y="502811"/>
                  </a:lnTo>
                  <a:lnTo>
                    <a:pt x="368439" y="511040"/>
                  </a:lnTo>
                  <a:lnTo>
                    <a:pt x="354949" y="517623"/>
                  </a:lnTo>
                  <a:lnTo>
                    <a:pt x="339773" y="506102"/>
                  </a:lnTo>
                  <a:lnTo>
                    <a:pt x="348204" y="453435"/>
                  </a:lnTo>
                  <a:lnTo>
                    <a:pt x="287500" y="453435"/>
                  </a:lnTo>
                  <a:lnTo>
                    <a:pt x="270638" y="445205"/>
                  </a:lnTo>
                  <a:lnTo>
                    <a:pt x="245344" y="438622"/>
                  </a:lnTo>
                  <a:lnTo>
                    <a:pt x="216678" y="392538"/>
                  </a:lnTo>
                  <a:lnTo>
                    <a:pt x="208247" y="336579"/>
                  </a:lnTo>
                  <a:lnTo>
                    <a:pt x="186326" y="329995"/>
                  </a:lnTo>
                  <a:lnTo>
                    <a:pt x="132367" y="329995"/>
                  </a:lnTo>
                  <a:lnTo>
                    <a:pt x="130681" y="293786"/>
                  </a:lnTo>
                  <a:lnTo>
                    <a:pt x="118878" y="267452"/>
                  </a:lnTo>
                  <a:lnTo>
                    <a:pt x="134053" y="249348"/>
                  </a:lnTo>
                  <a:lnTo>
                    <a:pt x="115505" y="226306"/>
                  </a:lnTo>
                  <a:lnTo>
                    <a:pt x="103701" y="221368"/>
                  </a:lnTo>
                  <a:lnTo>
                    <a:pt x="41311" y="229597"/>
                  </a:lnTo>
                  <a:lnTo>
                    <a:pt x="10959" y="193388"/>
                  </a:lnTo>
                  <a:lnTo>
                    <a:pt x="5900" y="167054"/>
                  </a:lnTo>
                  <a:lnTo>
                    <a:pt x="27821" y="165409"/>
                  </a:lnTo>
                  <a:lnTo>
                    <a:pt x="29507" y="157179"/>
                  </a:lnTo>
                  <a:lnTo>
                    <a:pt x="22763" y="137429"/>
                  </a:lnTo>
                  <a:lnTo>
                    <a:pt x="10959" y="137429"/>
                  </a:lnTo>
                  <a:lnTo>
                    <a:pt x="9273" y="119324"/>
                  </a:lnTo>
                  <a:lnTo>
                    <a:pt x="4214" y="111095"/>
                  </a:lnTo>
                  <a:lnTo>
                    <a:pt x="56487" y="97928"/>
                  </a:lnTo>
                  <a:lnTo>
                    <a:pt x="37939" y="48552"/>
                  </a:lnTo>
                  <a:lnTo>
                    <a:pt x="41311" y="45261"/>
                  </a:lnTo>
                  <a:lnTo>
                    <a:pt x="85153" y="43615"/>
                  </a:lnTo>
                  <a:lnTo>
                    <a:pt x="110446" y="45261"/>
                  </a:lnTo>
                  <a:lnTo>
                    <a:pt x="132367" y="43615"/>
                  </a:lnTo>
                  <a:lnTo>
                    <a:pt x="147543" y="38677"/>
                  </a:lnTo>
                  <a:lnTo>
                    <a:pt x="161033" y="41969"/>
                  </a:lnTo>
                  <a:lnTo>
                    <a:pt x="179582" y="51844"/>
                  </a:lnTo>
                  <a:lnTo>
                    <a:pt x="193071" y="46906"/>
                  </a:lnTo>
                  <a:lnTo>
                    <a:pt x="198130" y="68303"/>
                  </a:lnTo>
                  <a:lnTo>
                    <a:pt x="208247" y="78178"/>
                  </a:lnTo>
                  <a:lnTo>
                    <a:pt x="218365" y="68303"/>
                  </a:lnTo>
                  <a:lnTo>
                    <a:pt x="236913" y="55136"/>
                  </a:lnTo>
                  <a:lnTo>
                    <a:pt x="321224" y="32094"/>
                  </a:lnTo>
                  <a:lnTo>
                    <a:pt x="354949" y="37031"/>
                  </a:lnTo>
                  <a:lnTo>
                    <a:pt x="378556" y="35385"/>
                  </a:lnTo>
                  <a:lnTo>
                    <a:pt x="390360" y="17281"/>
                  </a:lnTo>
                  <a:lnTo>
                    <a:pt x="392046" y="9052"/>
                  </a:lnTo>
                  <a:lnTo>
                    <a:pt x="397105"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6" name="Vught">
              <a:extLst>
                <a:ext uri="{FF2B5EF4-FFF2-40B4-BE49-F238E27FC236}">
                  <a16:creationId xmlns:a16="http://schemas.microsoft.com/office/drawing/2014/main" id="{DEA83E3E-2AA2-4C11-9D10-B887EBB20B7D}"/>
                </a:ext>
              </a:extLst>
            </p:cNvPr>
            <p:cNvSpPr/>
            <p:nvPr/>
          </p:nvSpPr>
          <p:spPr>
            <a:xfrm>
              <a:off x="6036630" y="4188081"/>
              <a:ext cx="116142" cy="121465"/>
            </a:xfrm>
            <a:custGeom>
              <a:avLst/>
              <a:gdLst/>
              <a:ahLst/>
              <a:cxnLst/>
              <a:rect l="l" t="t" r="r" b="b"/>
              <a:pathLst>
                <a:path w="187330" h="171450" extrusionOk="0">
                  <a:moveTo>
                    <a:pt x="66604" y="18927"/>
                  </a:moveTo>
                  <a:lnTo>
                    <a:pt x="71663" y="20573"/>
                  </a:lnTo>
                  <a:lnTo>
                    <a:pt x="102015" y="17281"/>
                  </a:lnTo>
                  <a:lnTo>
                    <a:pt x="123936" y="25510"/>
                  </a:lnTo>
                  <a:lnTo>
                    <a:pt x="142484" y="43615"/>
                  </a:lnTo>
                  <a:lnTo>
                    <a:pt x="152602" y="60073"/>
                  </a:lnTo>
                  <a:lnTo>
                    <a:pt x="154288" y="56781"/>
                  </a:lnTo>
                  <a:lnTo>
                    <a:pt x="159347" y="60073"/>
                  </a:lnTo>
                  <a:lnTo>
                    <a:pt x="182954" y="50198"/>
                  </a:lnTo>
                  <a:lnTo>
                    <a:pt x="167778" y="58427"/>
                  </a:lnTo>
                  <a:lnTo>
                    <a:pt x="159347" y="63365"/>
                  </a:lnTo>
                  <a:lnTo>
                    <a:pt x="159347" y="68303"/>
                  </a:lnTo>
                  <a:lnTo>
                    <a:pt x="162719" y="74886"/>
                  </a:lnTo>
                  <a:lnTo>
                    <a:pt x="172837" y="81470"/>
                  </a:lnTo>
                  <a:lnTo>
                    <a:pt x="172837" y="91345"/>
                  </a:lnTo>
                  <a:lnTo>
                    <a:pt x="182954" y="101220"/>
                  </a:lnTo>
                  <a:lnTo>
                    <a:pt x="182954" y="119324"/>
                  </a:lnTo>
                  <a:lnTo>
                    <a:pt x="186326" y="132491"/>
                  </a:lnTo>
                  <a:lnTo>
                    <a:pt x="177895" y="140720"/>
                  </a:lnTo>
                  <a:lnTo>
                    <a:pt x="167778" y="140720"/>
                  </a:lnTo>
                  <a:lnTo>
                    <a:pt x="161033" y="162117"/>
                  </a:lnTo>
                  <a:lnTo>
                    <a:pt x="152602" y="160471"/>
                  </a:lnTo>
                  <a:lnTo>
                    <a:pt x="149229" y="162117"/>
                  </a:lnTo>
                  <a:lnTo>
                    <a:pt x="145857" y="170346"/>
                  </a:lnTo>
                  <a:lnTo>
                    <a:pt x="123936" y="167054"/>
                  </a:lnTo>
                  <a:lnTo>
                    <a:pt x="123936" y="170346"/>
                  </a:lnTo>
                  <a:lnTo>
                    <a:pt x="118877" y="175284"/>
                  </a:lnTo>
                  <a:lnTo>
                    <a:pt x="93584" y="153888"/>
                  </a:lnTo>
                  <a:lnTo>
                    <a:pt x="71663" y="142367"/>
                  </a:lnTo>
                  <a:lnTo>
                    <a:pt x="78408" y="127554"/>
                  </a:lnTo>
                  <a:lnTo>
                    <a:pt x="69977" y="119324"/>
                  </a:lnTo>
                  <a:lnTo>
                    <a:pt x="68291" y="119324"/>
                  </a:lnTo>
                  <a:lnTo>
                    <a:pt x="73349" y="116033"/>
                  </a:lnTo>
                  <a:lnTo>
                    <a:pt x="68291" y="106157"/>
                  </a:lnTo>
                  <a:lnTo>
                    <a:pt x="63232" y="101220"/>
                  </a:lnTo>
                  <a:lnTo>
                    <a:pt x="59859" y="102866"/>
                  </a:lnTo>
                  <a:lnTo>
                    <a:pt x="58173" y="97928"/>
                  </a:lnTo>
                  <a:lnTo>
                    <a:pt x="58173" y="101220"/>
                  </a:lnTo>
                  <a:lnTo>
                    <a:pt x="56487" y="97928"/>
                  </a:lnTo>
                  <a:lnTo>
                    <a:pt x="46370" y="99574"/>
                  </a:lnTo>
                  <a:lnTo>
                    <a:pt x="48056" y="92991"/>
                  </a:lnTo>
                  <a:lnTo>
                    <a:pt x="44684" y="84761"/>
                  </a:lnTo>
                  <a:lnTo>
                    <a:pt x="34566" y="76532"/>
                  </a:lnTo>
                  <a:lnTo>
                    <a:pt x="32880" y="71594"/>
                  </a:lnTo>
                  <a:lnTo>
                    <a:pt x="24449" y="71594"/>
                  </a:lnTo>
                  <a:lnTo>
                    <a:pt x="10959" y="55136"/>
                  </a:lnTo>
                  <a:lnTo>
                    <a:pt x="4214" y="51844"/>
                  </a:lnTo>
                  <a:lnTo>
                    <a:pt x="12645" y="43615"/>
                  </a:lnTo>
                  <a:lnTo>
                    <a:pt x="36252" y="43615"/>
                  </a:lnTo>
                  <a:lnTo>
                    <a:pt x="41311" y="4114"/>
                  </a:lnTo>
                  <a:lnTo>
                    <a:pt x="49742" y="5760"/>
                  </a:lnTo>
                  <a:lnTo>
                    <a:pt x="53115" y="15635"/>
                  </a:lnTo>
                  <a:lnTo>
                    <a:pt x="66604" y="18927"/>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7" name="Boxtel">
              <a:extLst>
                <a:ext uri="{FF2B5EF4-FFF2-40B4-BE49-F238E27FC236}">
                  <a16:creationId xmlns:a16="http://schemas.microsoft.com/office/drawing/2014/main" id="{21B4CE57-3F97-478D-B47F-B718FEAD89BE}"/>
                </a:ext>
              </a:extLst>
            </p:cNvPr>
            <p:cNvSpPr/>
            <p:nvPr/>
          </p:nvSpPr>
          <p:spPr>
            <a:xfrm>
              <a:off x="6075474" y="4273978"/>
              <a:ext cx="183131" cy="155519"/>
            </a:xfrm>
            <a:custGeom>
              <a:avLst/>
              <a:gdLst/>
              <a:ahLst/>
              <a:cxnLst/>
              <a:rect l="l" t="t" r="r" b="b"/>
              <a:pathLst>
                <a:path w="245871" h="217170" extrusionOk="0">
                  <a:moveTo>
                    <a:pt x="115505" y="4114"/>
                  </a:moveTo>
                  <a:lnTo>
                    <a:pt x="147543" y="33740"/>
                  </a:lnTo>
                  <a:lnTo>
                    <a:pt x="155974" y="32094"/>
                  </a:lnTo>
                  <a:lnTo>
                    <a:pt x="152602" y="38677"/>
                  </a:lnTo>
                  <a:lnTo>
                    <a:pt x="154288" y="46906"/>
                  </a:lnTo>
                  <a:lnTo>
                    <a:pt x="147543" y="53490"/>
                  </a:lnTo>
                  <a:lnTo>
                    <a:pt x="142485" y="53490"/>
                  </a:lnTo>
                  <a:lnTo>
                    <a:pt x="137426" y="60074"/>
                  </a:lnTo>
                  <a:lnTo>
                    <a:pt x="142485" y="66657"/>
                  </a:lnTo>
                  <a:lnTo>
                    <a:pt x="137426" y="66657"/>
                  </a:lnTo>
                  <a:lnTo>
                    <a:pt x="137426" y="69949"/>
                  </a:lnTo>
                  <a:lnTo>
                    <a:pt x="140798" y="73240"/>
                  </a:lnTo>
                  <a:lnTo>
                    <a:pt x="144171" y="79824"/>
                  </a:lnTo>
                  <a:lnTo>
                    <a:pt x="150916" y="76532"/>
                  </a:lnTo>
                  <a:lnTo>
                    <a:pt x="154288" y="86407"/>
                  </a:lnTo>
                  <a:lnTo>
                    <a:pt x="159347" y="79824"/>
                  </a:lnTo>
                  <a:lnTo>
                    <a:pt x="166092" y="78178"/>
                  </a:lnTo>
                  <a:lnTo>
                    <a:pt x="169464" y="84761"/>
                  </a:lnTo>
                  <a:lnTo>
                    <a:pt x="213306" y="79824"/>
                  </a:lnTo>
                  <a:lnTo>
                    <a:pt x="220051" y="84761"/>
                  </a:lnTo>
                  <a:lnTo>
                    <a:pt x="216678" y="94637"/>
                  </a:lnTo>
                  <a:lnTo>
                    <a:pt x="213306" y="96282"/>
                  </a:lnTo>
                  <a:lnTo>
                    <a:pt x="220051" y="109449"/>
                  </a:lnTo>
                  <a:lnTo>
                    <a:pt x="221737" y="107803"/>
                  </a:lnTo>
                  <a:lnTo>
                    <a:pt x="226796" y="112741"/>
                  </a:lnTo>
                  <a:lnTo>
                    <a:pt x="220051" y="112741"/>
                  </a:lnTo>
                  <a:lnTo>
                    <a:pt x="213306" y="117679"/>
                  </a:lnTo>
                  <a:lnTo>
                    <a:pt x="226796" y="127554"/>
                  </a:lnTo>
                  <a:lnTo>
                    <a:pt x="223423" y="129200"/>
                  </a:lnTo>
                  <a:lnTo>
                    <a:pt x="225110" y="134137"/>
                  </a:lnTo>
                  <a:lnTo>
                    <a:pt x="226796" y="130845"/>
                  </a:lnTo>
                  <a:lnTo>
                    <a:pt x="231855" y="135783"/>
                  </a:lnTo>
                  <a:lnTo>
                    <a:pt x="228482" y="145658"/>
                  </a:lnTo>
                  <a:lnTo>
                    <a:pt x="236913" y="144012"/>
                  </a:lnTo>
                  <a:lnTo>
                    <a:pt x="248717" y="145658"/>
                  </a:lnTo>
                  <a:lnTo>
                    <a:pt x="245344" y="150596"/>
                  </a:lnTo>
                  <a:lnTo>
                    <a:pt x="245344" y="155534"/>
                  </a:lnTo>
                  <a:lnTo>
                    <a:pt x="240286" y="153888"/>
                  </a:lnTo>
                  <a:lnTo>
                    <a:pt x="241972" y="168700"/>
                  </a:lnTo>
                  <a:lnTo>
                    <a:pt x="238599" y="168700"/>
                  </a:lnTo>
                  <a:lnTo>
                    <a:pt x="241972" y="178576"/>
                  </a:lnTo>
                  <a:lnTo>
                    <a:pt x="250403" y="178576"/>
                  </a:lnTo>
                  <a:lnTo>
                    <a:pt x="247030" y="188451"/>
                  </a:lnTo>
                  <a:lnTo>
                    <a:pt x="248717" y="211493"/>
                  </a:lnTo>
                  <a:lnTo>
                    <a:pt x="214992" y="223014"/>
                  </a:lnTo>
                  <a:lnTo>
                    <a:pt x="193071" y="223014"/>
                  </a:lnTo>
                  <a:lnTo>
                    <a:pt x="188013" y="219722"/>
                  </a:lnTo>
                  <a:lnTo>
                    <a:pt x="159347" y="221368"/>
                  </a:lnTo>
                  <a:lnTo>
                    <a:pt x="145857" y="216430"/>
                  </a:lnTo>
                  <a:lnTo>
                    <a:pt x="139112" y="204909"/>
                  </a:lnTo>
                  <a:lnTo>
                    <a:pt x="127309" y="204909"/>
                  </a:lnTo>
                  <a:lnTo>
                    <a:pt x="100329" y="218076"/>
                  </a:lnTo>
                  <a:lnTo>
                    <a:pt x="39625" y="198326"/>
                  </a:lnTo>
                  <a:lnTo>
                    <a:pt x="34566" y="191742"/>
                  </a:lnTo>
                  <a:lnTo>
                    <a:pt x="4214" y="135783"/>
                  </a:lnTo>
                  <a:lnTo>
                    <a:pt x="7587" y="111095"/>
                  </a:lnTo>
                  <a:lnTo>
                    <a:pt x="19390" y="102866"/>
                  </a:lnTo>
                  <a:lnTo>
                    <a:pt x="31194" y="86407"/>
                  </a:lnTo>
                  <a:lnTo>
                    <a:pt x="39625" y="84761"/>
                  </a:lnTo>
                  <a:lnTo>
                    <a:pt x="51428" y="76532"/>
                  </a:lnTo>
                  <a:lnTo>
                    <a:pt x="59860" y="74886"/>
                  </a:lnTo>
                  <a:lnTo>
                    <a:pt x="59860" y="78178"/>
                  </a:lnTo>
                  <a:lnTo>
                    <a:pt x="69977" y="81470"/>
                  </a:lnTo>
                  <a:lnTo>
                    <a:pt x="75036" y="78178"/>
                  </a:lnTo>
                  <a:lnTo>
                    <a:pt x="78408" y="79824"/>
                  </a:lnTo>
                  <a:lnTo>
                    <a:pt x="88525" y="71595"/>
                  </a:lnTo>
                  <a:lnTo>
                    <a:pt x="100329" y="51844"/>
                  </a:lnTo>
                  <a:lnTo>
                    <a:pt x="113819" y="45261"/>
                  </a:lnTo>
                  <a:lnTo>
                    <a:pt x="103701" y="7406"/>
                  </a:lnTo>
                  <a:lnTo>
                    <a:pt x="115505"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8" name="Eemnes">
              <a:extLst>
                <a:ext uri="{FF2B5EF4-FFF2-40B4-BE49-F238E27FC236}">
                  <a16:creationId xmlns:a16="http://schemas.microsoft.com/office/drawing/2014/main" id="{AB5605CE-C784-448E-9563-AE80C2297BF0}"/>
                </a:ext>
              </a:extLst>
            </p:cNvPr>
            <p:cNvSpPr/>
            <p:nvPr/>
          </p:nvSpPr>
          <p:spPr>
            <a:xfrm>
              <a:off x="6068837" y="3225665"/>
              <a:ext cx="110022" cy="102534"/>
            </a:xfrm>
            <a:custGeom>
              <a:avLst/>
              <a:gdLst/>
              <a:ahLst/>
              <a:cxnLst/>
              <a:rect l="l" t="t" r="r" b="b"/>
              <a:pathLst>
                <a:path w="163914" h="148590" extrusionOk="0">
                  <a:moveTo>
                    <a:pt x="69977" y="4114"/>
                  </a:moveTo>
                  <a:lnTo>
                    <a:pt x="132368" y="13989"/>
                  </a:lnTo>
                  <a:lnTo>
                    <a:pt x="140799" y="23864"/>
                  </a:lnTo>
                  <a:lnTo>
                    <a:pt x="139112" y="25510"/>
                  </a:lnTo>
                  <a:lnTo>
                    <a:pt x="145857" y="23864"/>
                  </a:lnTo>
                  <a:lnTo>
                    <a:pt x="154288" y="27156"/>
                  </a:lnTo>
                  <a:lnTo>
                    <a:pt x="169464" y="23864"/>
                  </a:lnTo>
                  <a:lnTo>
                    <a:pt x="162720" y="41969"/>
                  </a:lnTo>
                  <a:lnTo>
                    <a:pt x="155974" y="50198"/>
                  </a:lnTo>
                  <a:lnTo>
                    <a:pt x="164406" y="63365"/>
                  </a:lnTo>
                  <a:lnTo>
                    <a:pt x="166092" y="68303"/>
                  </a:lnTo>
                  <a:lnTo>
                    <a:pt x="159347" y="74886"/>
                  </a:lnTo>
                  <a:lnTo>
                    <a:pt x="144171" y="76532"/>
                  </a:lnTo>
                  <a:lnTo>
                    <a:pt x="137426" y="91345"/>
                  </a:lnTo>
                  <a:lnTo>
                    <a:pt x="142485" y="119324"/>
                  </a:lnTo>
                  <a:lnTo>
                    <a:pt x="132368" y="129200"/>
                  </a:lnTo>
                  <a:lnTo>
                    <a:pt x="139112" y="137429"/>
                  </a:lnTo>
                  <a:lnTo>
                    <a:pt x="137426" y="139075"/>
                  </a:lnTo>
                  <a:lnTo>
                    <a:pt x="139112" y="142367"/>
                  </a:lnTo>
                  <a:lnTo>
                    <a:pt x="142485" y="142367"/>
                  </a:lnTo>
                  <a:lnTo>
                    <a:pt x="142485" y="140721"/>
                  </a:lnTo>
                  <a:lnTo>
                    <a:pt x="144171" y="144013"/>
                  </a:lnTo>
                  <a:lnTo>
                    <a:pt x="140799" y="150596"/>
                  </a:lnTo>
                  <a:lnTo>
                    <a:pt x="132368" y="155534"/>
                  </a:lnTo>
                  <a:lnTo>
                    <a:pt x="123936" y="145658"/>
                  </a:lnTo>
                  <a:lnTo>
                    <a:pt x="103701" y="147304"/>
                  </a:lnTo>
                  <a:lnTo>
                    <a:pt x="4214" y="140721"/>
                  </a:lnTo>
                  <a:lnTo>
                    <a:pt x="69977"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39" name="Kerkrade">
              <a:extLst>
                <a:ext uri="{FF2B5EF4-FFF2-40B4-BE49-F238E27FC236}">
                  <a16:creationId xmlns:a16="http://schemas.microsoft.com/office/drawing/2014/main" id="{2BA8EBBE-F00B-4549-A8FC-E5880A5FF6B9}"/>
                </a:ext>
              </a:extLst>
            </p:cNvPr>
            <p:cNvSpPr/>
            <p:nvPr/>
          </p:nvSpPr>
          <p:spPr>
            <a:xfrm>
              <a:off x="6893305" y="5471442"/>
              <a:ext cx="105463" cy="102534"/>
            </a:xfrm>
            <a:custGeom>
              <a:avLst/>
              <a:gdLst/>
              <a:ahLst/>
              <a:cxnLst/>
              <a:rect l="l" t="t" r="r" b="b"/>
              <a:pathLst>
                <a:path w="140498" h="148590" extrusionOk="0">
                  <a:moveTo>
                    <a:pt x="127309" y="10698"/>
                  </a:moveTo>
                  <a:lnTo>
                    <a:pt x="120564" y="40323"/>
                  </a:lnTo>
                  <a:lnTo>
                    <a:pt x="127309" y="50198"/>
                  </a:lnTo>
                  <a:lnTo>
                    <a:pt x="125622" y="53490"/>
                  </a:lnTo>
                  <a:lnTo>
                    <a:pt x="127309" y="60074"/>
                  </a:lnTo>
                  <a:lnTo>
                    <a:pt x="132367" y="60074"/>
                  </a:lnTo>
                  <a:lnTo>
                    <a:pt x="130681" y="61720"/>
                  </a:lnTo>
                  <a:lnTo>
                    <a:pt x="137426" y="66657"/>
                  </a:lnTo>
                  <a:lnTo>
                    <a:pt x="135740" y="74887"/>
                  </a:lnTo>
                  <a:lnTo>
                    <a:pt x="140798" y="84762"/>
                  </a:lnTo>
                  <a:lnTo>
                    <a:pt x="137426" y="86407"/>
                  </a:lnTo>
                  <a:lnTo>
                    <a:pt x="137426" y="91345"/>
                  </a:lnTo>
                  <a:lnTo>
                    <a:pt x="134053" y="102866"/>
                  </a:lnTo>
                  <a:lnTo>
                    <a:pt x="128995" y="102866"/>
                  </a:lnTo>
                  <a:lnTo>
                    <a:pt x="128995" y="107804"/>
                  </a:lnTo>
                  <a:lnTo>
                    <a:pt x="123936" y="112741"/>
                  </a:lnTo>
                  <a:lnTo>
                    <a:pt x="118877" y="147304"/>
                  </a:lnTo>
                  <a:lnTo>
                    <a:pt x="102015" y="137429"/>
                  </a:lnTo>
                  <a:lnTo>
                    <a:pt x="91898" y="135783"/>
                  </a:lnTo>
                  <a:lnTo>
                    <a:pt x="91898" y="125908"/>
                  </a:lnTo>
                  <a:lnTo>
                    <a:pt x="88525" y="120971"/>
                  </a:lnTo>
                  <a:lnTo>
                    <a:pt x="68291" y="135783"/>
                  </a:lnTo>
                  <a:lnTo>
                    <a:pt x="56487" y="137429"/>
                  </a:lnTo>
                  <a:lnTo>
                    <a:pt x="46370" y="144013"/>
                  </a:lnTo>
                  <a:lnTo>
                    <a:pt x="32880" y="148950"/>
                  </a:lnTo>
                  <a:lnTo>
                    <a:pt x="31194" y="153888"/>
                  </a:lnTo>
                  <a:lnTo>
                    <a:pt x="27821" y="153888"/>
                  </a:lnTo>
                  <a:lnTo>
                    <a:pt x="4214" y="120971"/>
                  </a:lnTo>
                  <a:lnTo>
                    <a:pt x="16018" y="116033"/>
                  </a:lnTo>
                  <a:lnTo>
                    <a:pt x="14332" y="112741"/>
                  </a:lnTo>
                  <a:lnTo>
                    <a:pt x="19390" y="106158"/>
                  </a:lnTo>
                  <a:lnTo>
                    <a:pt x="34566" y="94637"/>
                  </a:lnTo>
                  <a:lnTo>
                    <a:pt x="29507" y="89699"/>
                  </a:lnTo>
                  <a:lnTo>
                    <a:pt x="37939" y="86407"/>
                  </a:lnTo>
                  <a:lnTo>
                    <a:pt x="51428" y="86407"/>
                  </a:lnTo>
                  <a:lnTo>
                    <a:pt x="59859" y="51845"/>
                  </a:lnTo>
                  <a:lnTo>
                    <a:pt x="64918" y="46907"/>
                  </a:lnTo>
                  <a:lnTo>
                    <a:pt x="69977" y="48552"/>
                  </a:lnTo>
                  <a:lnTo>
                    <a:pt x="73349" y="41969"/>
                  </a:lnTo>
                  <a:lnTo>
                    <a:pt x="64918" y="37032"/>
                  </a:lnTo>
                  <a:lnTo>
                    <a:pt x="68291" y="35385"/>
                  </a:lnTo>
                  <a:lnTo>
                    <a:pt x="69977" y="17281"/>
                  </a:lnTo>
                  <a:lnTo>
                    <a:pt x="78408" y="18927"/>
                  </a:lnTo>
                  <a:lnTo>
                    <a:pt x="90211" y="18927"/>
                  </a:lnTo>
                  <a:lnTo>
                    <a:pt x="90211" y="13990"/>
                  </a:lnTo>
                  <a:lnTo>
                    <a:pt x="93584" y="12343"/>
                  </a:lnTo>
                  <a:lnTo>
                    <a:pt x="95270" y="15635"/>
                  </a:lnTo>
                  <a:lnTo>
                    <a:pt x="102015" y="12343"/>
                  </a:lnTo>
                  <a:lnTo>
                    <a:pt x="102015" y="9052"/>
                  </a:lnTo>
                  <a:lnTo>
                    <a:pt x="105388" y="7406"/>
                  </a:lnTo>
                  <a:lnTo>
                    <a:pt x="127309" y="4114"/>
                  </a:lnTo>
                  <a:lnTo>
                    <a:pt x="127309" y="1069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0" name="Voorst">
              <a:extLst>
                <a:ext uri="{FF2B5EF4-FFF2-40B4-BE49-F238E27FC236}">
                  <a16:creationId xmlns:a16="http://schemas.microsoft.com/office/drawing/2014/main" id="{83D99293-9586-447A-90D8-3DC0CDF54DA7}"/>
                </a:ext>
              </a:extLst>
            </p:cNvPr>
            <p:cNvSpPr/>
            <p:nvPr/>
          </p:nvSpPr>
          <p:spPr>
            <a:xfrm>
              <a:off x="6901721" y="3144012"/>
              <a:ext cx="173981" cy="299056"/>
            </a:xfrm>
            <a:custGeom>
              <a:avLst/>
              <a:gdLst/>
              <a:ahLst/>
              <a:cxnLst/>
              <a:rect l="l" t="t" r="r" b="b"/>
              <a:pathLst>
                <a:path w="257579" h="457200" extrusionOk="0">
                  <a:moveTo>
                    <a:pt x="56487" y="4114"/>
                  </a:moveTo>
                  <a:lnTo>
                    <a:pt x="76722" y="5760"/>
                  </a:lnTo>
                  <a:lnTo>
                    <a:pt x="73349" y="25510"/>
                  </a:lnTo>
                  <a:lnTo>
                    <a:pt x="66605" y="30448"/>
                  </a:lnTo>
                  <a:lnTo>
                    <a:pt x="66605" y="37031"/>
                  </a:lnTo>
                  <a:lnTo>
                    <a:pt x="86839" y="37031"/>
                  </a:lnTo>
                  <a:lnTo>
                    <a:pt x="88526" y="50198"/>
                  </a:lnTo>
                  <a:lnTo>
                    <a:pt x="95270" y="50198"/>
                  </a:lnTo>
                  <a:lnTo>
                    <a:pt x="91898" y="61719"/>
                  </a:lnTo>
                  <a:lnTo>
                    <a:pt x="93584" y="74886"/>
                  </a:lnTo>
                  <a:lnTo>
                    <a:pt x="96957" y="74886"/>
                  </a:lnTo>
                  <a:lnTo>
                    <a:pt x="103701" y="79824"/>
                  </a:lnTo>
                  <a:lnTo>
                    <a:pt x="117191" y="78178"/>
                  </a:lnTo>
                  <a:lnTo>
                    <a:pt x="115505" y="76532"/>
                  </a:lnTo>
                  <a:lnTo>
                    <a:pt x="120564" y="76532"/>
                  </a:lnTo>
                  <a:lnTo>
                    <a:pt x="123936" y="84761"/>
                  </a:lnTo>
                  <a:lnTo>
                    <a:pt x="127309" y="97928"/>
                  </a:lnTo>
                  <a:lnTo>
                    <a:pt x="135740" y="109449"/>
                  </a:lnTo>
                  <a:lnTo>
                    <a:pt x="137426" y="132492"/>
                  </a:lnTo>
                  <a:lnTo>
                    <a:pt x="150916" y="147304"/>
                  </a:lnTo>
                  <a:lnTo>
                    <a:pt x="155974" y="167055"/>
                  </a:lnTo>
                  <a:lnTo>
                    <a:pt x="164405" y="173638"/>
                  </a:lnTo>
                  <a:lnTo>
                    <a:pt x="157661" y="183513"/>
                  </a:lnTo>
                  <a:lnTo>
                    <a:pt x="155974" y="195034"/>
                  </a:lnTo>
                  <a:lnTo>
                    <a:pt x="172837" y="199972"/>
                  </a:lnTo>
                  <a:lnTo>
                    <a:pt x="184640" y="208201"/>
                  </a:lnTo>
                  <a:lnTo>
                    <a:pt x="194757" y="203264"/>
                  </a:lnTo>
                  <a:lnTo>
                    <a:pt x="201503" y="206555"/>
                  </a:lnTo>
                  <a:lnTo>
                    <a:pt x="201503" y="213139"/>
                  </a:lnTo>
                  <a:lnTo>
                    <a:pt x="182954" y="226306"/>
                  </a:lnTo>
                  <a:lnTo>
                    <a:pt x="182954" y="237827"/>
                  </a:lnTo>
                  <a:lnTo>
                    <a:pt x="189699" y="249348"/>
                  </a:lnTo>
                  <a:lnTo>
                    <a:pt x="194757" y="254285"/>
                  </a:lnTo>
                  <a:lnTo>
                    <a:pt x="213306" y="259223"/>
                  </a:lnTo>
                  <a:lnTo>
                    <a:pt x="216678" y="265806"/>
                  </a:lnTo>
                  <a:lnTo>
                    <a:pt x="214992" y="275682"/>
                  </a:lnTo>
                  <a:lnTo>
                    <a:pt x="220051" y="277327"/>
                  </a:lnTo>
                  <a:lnTo>
                    <a:pt x="223423" y="269098"/>
                  </a:lnTo>
                  <a:lnTo>
                    <a:pt x="220051" y="264160"/>
                  </a:lnTo>
                  <a:lnTo>
                    <a:pt x="214992" y="252639"/>
                  </a:lnTo>
                  <a:lnTo>
                    <a:pt x="223423" y="255931"/>
                  </a:lnTo>
                  <a:lnTo>
                    <a:pt x="223423" y="252639"/>
                  </a:lnTo>
                  <a:lnTo>
                    <a:pt x="214992" y="250993"/>
                  </a:lnTo>
                  <a:lnTo>
                    <a:pt x="220051" y="244410"/>
                  </a:lnTo>
                  <a:lnTo>
                    <a:pt x="255462" y="277327"/>
                  </a:lnTo>
                  <a:lnTo>
                    <a:pt x="258834" y="292140"/>
                  </a:lnTo>
                  <a:lnTo>
                    <a:pt x="255462" y="300369"/>
                  </a:lnTo>
                  <a:lnTo>
                    <a:pt x="248717" y="308599"/>
                  </a:lnTo>
                  <a:lnTo>
                    <a:pt x="231855" y="315182"/>
                  </a:lnTo>
                  <a:lnTo>
                    <a:pt x="211620" y="318474"/>
                  </a:lnTo>
                  <a:lnTo>
                    <a:pt x="206561" y="323411"/>
                  </a:lnTo>
                  <a:lnTo>
                    <a:pt x="206561" y="331641"/>
                  </a:lnTo>
                  <a:lnTo>
                    <a:pt x="209934" y="343162"/>
                  </a:lnTo>
                  <a:lnTo>
                    <a:pt x="226796" y="346453"/>
                  </a:lnTo>
                  <a:lnTo>
                    <a:pt x="243658" y="364558"/>
                  </a:lnTo>
                  <a:lnTo>
                    <a:pt x="258834" y="371142"/>
                  </a:lnTo>
                  <a:lnTo>
                    <a:pt x="263893" y="381017"/>
                  </a:lnTo>
                  <a:lnTo>
                    <a:pt x="260520" y="395829"/>
                  </a:lnTo>
                  <a:lnTo>
                    <a:pt x="247030" y="413934"/>
                  </a:lnTo>
                  <a:lnTo>
                    <a:pt x="213306" y="412288"/>
                  </a:lnTo>
                  <a:lnTo>
                    <a:pt x="203189" y="417226"/>
                  </a:lnTo>
                  <a:lnTo>
                    <a:pt x="186326" y="418872"/>
                  </a:lnTo>
                  <a:lnTo>
                    <a:pt x="130681" y="435330"/>
                  </a:lnTo>
                  <a:lnTo>
                    <a:pt x="85153" y="456726"/>
                  </a:lnTo>
                  <a:lnTo>
                    <a:pt x="83467" y="445205"/>
                  </a:lnTo>
                  <a:lnTo>
                    <a:pt x="66605" y="425455"/>
                  </a:lnTo>
                  <a:lnTo>
                    <a:pt x="69977" y="413934"/>
                  </a:lnTo>
                  <a:lnTo>
                    <a:pt x="68291" y="404059"/>
                  </a:lnTo>
                  <a:lnTo>
                    <a:pt x="61546" y="381017"/>
                  </a:lnTo>
                  <a:lnTo>
                    <a:pt x="44684" y="359621"/>
                  </a:lnTo>
                  <a:lnTo>
                    <a:pt x="49742" y="333287"/>
                  </a:lnTo>
                  <a:lnTo>
                    <a:pt x="56487" y="329995"/>
                  </a:lnTo>
                  <a:lnTo>
                    <a:pt x="49742" y="318474"/>
                  </a:lnTo>
                  <a:lnTo>
                    <a:pt x="41311" y="290494"/>
                  </a:lnTo>
                  <a:lnTo>
                    <a:pt x="39625" y="269098"/>
                  </a:lnTo>
                  <a:lnTo>
                    <a:pt x="32880" y="267452"/>
                  </a:lnTo>
                  <a:lnTo>
                    <a:pt x="29507" y="262515"/>
                  </a:lnTo>
                  <a:lnTo>
                    <a:pt x="19390" y="262515"/>
                  </a:lnTo>
                  <a:lnTo>
                    <a:pt x="19390" y="244410"/>
                  </a:lnTo>
                  <a:lnTo>
                    <a:pt x="22763" y="244410"/>
                  </a:lnTo>
                  <a:lnTo>
                    <a:pt x="10959" y="226306"/>
                  </a:lnTo>
                  <a:lnTo>
                    <a:pt x="10959" y="219722"/>
                  </a:lnTo>
                  <a:lnTo>
                    <a:pt x="7587" y="218076"/>
                  </a:lnTo>
                  <a:lnTo>
                    <a:pt x="10959" y="214785"/>
                  </a:lnTo>
                  <a:lnTo>
                    <a:pt x="4214" y="203264"/>
                  </a:lnTo>
                  <a:lnTo>
                    <a:pt x="10959" y="203264"/>
                  </a:lnTo>
                  <a:lnTo>
                    <a:pt x="14332" y="195034"/>
                  </a:lnTo>
                  <a:lnTo>
                    <a:pt x="16018" y="180221"/>
                  </a:lnTo>
                  <a:lnTo>
                    <a:pt x="21076" y="180221"/>
                  </a:lnTo>
                  <a:lnTo>
                    <a:pt x="24449" y="173638"/>
                  </a:lnTo>
                  <a:lnTo>
                    <a:pt x="24449" y="167055"/>
                  </a:lnTo>
                  <a:lnTo>
                    <a:pt x="19390" y="162117"/>
                  </a:lnTo>
                  <a:lnTo>
                    <a:pt x="22763" y="155534"/>
                  </a:lnTo>
                  <a:lnTo>
                    <a:pt x="32880" y="155534"/>
                  </a:lnTo>
                  <a:lnTo>
                    <a:pt x="29507" y="147304"/>
                  </a:lnTo>
                  <a:lnTo>
                    <a:pt x="32880" y="130845"/>
                  </a:lnTo>
                  <a:lnTo>
                    <a:pt x="19390" y="92991"/>
                  </a:lnTo>
                  <a:lnTo>
                    <a:pt x="46370" y="17281"/>
                  </a:lnTo>
                  <a:lnTo>
                    <a:pt x="46370" y="5760"/>
                  </a:lnTo>
                  <a:lnTo>
                    <a:pt x="56487"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1" name="Geldrop-Mierlo">
              <a:extLst>
                <a:ext uri="{FF2B5EF4-FFF2-40B4-BE49-F238E27FC236}">
                  <a16:creationId xmlns:a16="http://schemas.microsoft.com/office/drawing/2014/main" id="{B6FB22BC-515A-4EB3-A838-2FB77B8FDC31}"/>
                </a:ext>
              </a:extLst>
            </p:cNvPr>
            <p:cNvSpPr/>
            <p:nvPr/>
          </p:nvSpPr>
          <p:spPr>
            <a:xfrm>
              <a:off x="6372143" y="4567276"/>
              <a:ext cx="147717" cy="104498"/>
            </a:xfrm>
            <a:custGeom>
              <a:avLst/>
              <a:gdLst/>
              <a:ahLst/>
              <a:cxnLst/>
              <a:rect l="l" t="t" r="r" b="b"/>
              <a:pathLst>
                <a:path w="210747" h="137160" extrusionOk="0">
                  <a:moveTo>
                    <a:pt x="103701" y="10697"/>
                  </a:moveTo>
                  <a:lnTo>
                    <a:pt x="108760" y="9052"/>
                  </a:lnTo>
                  <a:lnTo>
                    <a:pt x="115505" y="13989"/>
                  </a:lnTo>
                  <a:lnTo>
                    <a:pt x="120563" y="23864"/>
                  </a:lnTo>
                  <a:lnTo>
                    <a:pt x="125622" y="18926"/>
                  </a:lnTo>
                  <a:lnTo>
                    <a:pt x="132367" y="25510"/>
                  </a:lnTo>
                  <a:lnTo>
                    <a:pt x="132367" y="30448"/>
                  </a:lnTo>
                  <a:lnTo>
                    <a:pt x="142484" y="28802"/>
                  </a:lnTo>
                  <a:lnTo>
                    <a:pt x="142484" y="32094"/>
                  </a:lnTo>
                  <a:lnTo>
                    <a:pt x="186326" y="13989"/>
                  </a:lnTo>
                  <a:lnTo>
                    <a:pt x="206561" y="12343"/>
                  </a:lnTo>
                  <a:lnTo>
                    <a:pt x="201502" y="37031"/>
                  </a:lnTo>
                  <a:lnTo>
                    <a:pt x="194757" y="50198"/>
                  </a:lnTo>
                  <a:lnTo>
                    <a:pt x="186326" y="51844"/>
                  </a:lnTo>
                  <a:lnTo>
                    <a:pt x="179582" y="96282"/>
                  </a:lnTo>
                  <a:lnTo>
                    <a:pt x="113819" y="106157"/>
                  </a:lnTo>
                  <a:lnTo>
                    <a:pt x="69977" y="130845"/>
                  </a:lnTo>
                  <a:lnTo>
                    <a:pt x="66604" y="132491"/>
                  </a:lnTo>
                  <a:lnTo>
                    <a:pt x="68290" y="135783"/>
                  </a:lnTo>
                  <a:lnTo>
                    <a:pt x="64918" y="139075"/>
                  </a:lnTo>
                  <a:lnTo>
                    <a:pt x="59859" y="139075"/>
                  </a:lnTo>
                  <a:lnTo>
                    <a:pt x="59859" y="135783"/>
                  </a:lnTo>
                  <a:lnTo>
                    <a:pt x="32880" y="139075"/>
                  </a:lnTo>
                  <a:lnTo>
                    <a:pt x="34566" y="142367"/>
                  </a:lnTo>
                  <a:lnTo>
                    <a:pt x="32880" y="140720"/>
                  </a:lnTo>
                  <a:lnTo>
                    <a:pt x="21076" y="142367"/>
                  </a:lnTo>
                  <a:lnTo>
                    <a:pt x="19390" y="139075"/>
                  </a:lnTo>
                  <a:lnTo>
                    <a:pt x="5900" y="139075"/>
                  </a:lnTo>
                  <a:lnTo>
                    <a:pt x="4214" y="83115"/>
                  </a:lnTo>
                  <a:lnTo>
                    <a:pt x="12645" y="84761"/>
                  </a:lnTo>
                  <a:lnTo>
                    <a:pt x="14331" y="73240"/>
                  </a:lnTo>
                  <a:lnTo>
                    <a:pt x="27821" y="73240"/>
                  </a:lnTo>
                  <a:lnTo>
                    <a:pt x="66604" y="50198"/>
                  </a:lnTo>
                  <a:lnTo>
                    <a:pt x="95270" y="4114"/>
                  </a:lnTo>
                  <a:lnTo>
                    <a:pt x="103701" y="1069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2" name="Ijsselstein">
              <a:extLst>
                <a:ext uri="{FF2B5EF4-FFF2-40B4-BE49-F238E27FC236}">
                  <a16:creationId xmlns:a16="http://schemas.microsoft.com/office/drawing/2014/main" id="{CF6B9C40-67E6-44E4-8AE5-64C4E7D0B4F7}"/>
                </a:ext>
              </a:extLst>
            </p:cNvPr>
            <p:cNvSpPr/>
            <p:nvPr/>
          </p:nvSpPr>
          <p:spPr>
            <a:xfrm>
              <a:off x="5799478" y="3585809"/>
              <a:ext cx="113457" cy="106225"/>
            </a:xfrm>
            <a:custGeom>
              <a:avLst/>
              <a:gdLst/>
              <a:ahLst/>
              <a:cxnLst/>
              <a:rect l="l" t="t" r="r" b="b"/>
              <a:pathLst>
                <a:path w="152206" h="171450" extrusionOk="0">
                  <a:moveTo>
                    <a:pt x="71663" y="17281"/>
                  </a:moveTo>
                  <a:lnTo>
                    <a:pt x="78408" y="18927"/>
                  </a:lnTo>
                  <a:lnTo>
                    <a:pt x="80094" y="30448"/>
                  </a:lnTo>
                  <a:lnTo>
                    <a:pt x="95270" y="45261"/>
                  </a:lnTo>
                  <a:lnTo>
                    <a:pt x="112132" y="78178"/>
                  </a:lnTo>
                  <a:lnTo>
                    <a:pt x="120564" y="79824"/>
                  </a:lnTo>
                  <a:lnTo>
                    <a:pt x="120564" y="83115"/>
                  </a:lnTo>
                  <a:lnTo>
                    <a:pt x="128995" y="88053"/>
                  </a:lnTo>
                  <a:lnTo>
                    <a:pt x="132367" y="88053"/>
                  </a:lnTo>
                  <a:lnTo>
                    <a:pt x="135740" y="107803"/>
                  </a:lnTo>
                  <a:lnTo>
                    <a:pt x="150916" y="144012"/>
                  </a:lnTo>
                  <a:lnTo>
                    <a:pt x="145857" y="152242"/>
                  </a:lnTo>
                  <a:lnTo>
                    <a:pt x="150916" y="150596"/>
                  </a:lnTo>
                  <a:lnTo>
                    <a:pt x="154288" y="155533"/>
                  </a:lnTo>
                  <a:lnTo>
                    <a:pt x="154288" y="158825"/>
                  </a:lnTo>
                  <a:lnTo>
                    <a:pt x="137426" y="167054"/>
                  </a:lnTo>
                  <a:lnTo>
                    <a:pt x="130681" y="173638"/>
                  </a:lnTo>
                  <a:lnTo>
                    <a:pt x="117191" y="163763"/>
                  </a:lnTo>
                  <a:lnTo>
                    <a:pt x="118878" y="160471"/>
                  </a:lnTo>
                  <a:lnTo>
                    <a:pt x="100329" y="139075"/>
                  </a:lnTo>
                  <a:lnTo>
                    <a:pt x="88525" y="142367"/>
                  </a:lnTo>
                  <a:lnTo>
                    <a:pt x="66605" y="89699"/>
                  </a:lnTo>
                  <a:lnTo>
                    <a:pt x="29507" y="99574"/>
                  </a:lnTo>
                  <a:lnTo>
                    <a:pt x="27821" y="79824"/>
                  </a:lnTo>
                  <a:lnTo>
                    <a:pt x="10959" y="84761"/>
                  </a:lnTo>
                  <a:lnTo>
                    <a:pt x="4214" y="55136"/>
                  </a:lnTo>
                  <a:lnTo>
                    <a:pt x="10959" y="55136"/>
                  </a:lnTo>
                  <a:lnTo>
                    <a:pt x="21076" y="25510"/>
                  </a:lnTo>
                  <a:lnTo>
                    <a:pt x="31194" y="23864"/>
                  </a:lnTo>
                  <a:lnTo>
                    <a:pt x="44684" y="17281"/>
                  </a:lnTo>
                  <a:lnTo>
                    <a:pt x="51428" y="22219"/>
                  </a:lnTo>
                  <a:lnTo>
                    <a:pt x="63232" y="4114"/>
                  </a:lnTo>
                  <a:lnTo>
                    <a:pt x="71663" y="17281"/>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3" name="Veendam">
              <a:extLst>
                <a:ext uri="{FF2B5EF4-FFF2-40B4-BE49-F238E27FC236}">
                  <a16:creationId xmlns:a16="http://schemas.microsoft.com/office/drawing/2014/main" id="{0A73732D-2557-48EF-9F1E-527952D2E1DB}"/>
                </a:ext>
              </a:extLst>
            </p:cNvPr>
            <p:cNvSpPr/>
            <p:nvPr/>
          </p:nvSpPr>
          <p:spPr>
            <a:xfrm>
              <a:off x="7682395" y="1810951"/>
              <a:ext cx="156461" cy="180166"/>
            </a:xfrm>
            <a:custGeom>
              <a:avLst/>
              <a:gdLst/>
              <a:ahLst/>
              <a:cxnLst/>
              <a:rect l="l" t="t" r="r" b="b"/>
              <a:pathLst>
                <a:path w="245871" h="240030" extrusionOk="0">
                  <a:moveTo>
                    <a:pt x="155974" y="5760"/>
                  </a:moveTo>
                  <a:lnTo>
                    <a:pt x="201502" y="13989"/>
                  </a:lnTo>
                  <a:lnTo>
                    <a:pt x="221737" y="20573"/>
                  </a:lnTo>
                  <a:lnTo>
                    <a:pt x="238600" y="22219"/>
                  </a:lnTo>
                  <a:lnTo>
                    <a:pt x="243658" y="48552"/>
                  </a:lnTo>
                  <a:lnTo>
                    <a:pt x="241972" y="81470"/>
                  </a:lnTo>
                  <a:lnTo>
                    <a:pt x="236913" y="84761"/>
                  </a:lnTo>
                  <a:lnTo>
                    <a:pt x="218365" y="116033"/>
                  </a:lnTo>
                  <a:lnTo>
                    <a:pt x="196443" y="137429"/>
                  </a:lnTo>
                  <a:lnTo>
                    <a:pt x="189699" y="173638"/>
                  </a:lnTo>
                  <a:lnTo>
                    <a:pt x="203189" y="183513"/>
                  </a:lnTo>
                  <a:lnTo>
                    <a:pt x="203189" y="193388"/>
                  </a:lnTo>
                  <a:lnTo>
                    <a:pt x="182954" y="195034"/>
                  </a:lnTo>
                  <a:lnTo>
                    <a:pt x="184640" y="204909"/>
                  </a:lnTo>
                  <a:lnTo>
                    <a:pt x="162719" y="208201"/>
                  </a:lnTo>
                  <a:lnTo>
                    <a:pt x="166092" y="219722"/>
                  </a:lnTo>
                  <a:lnTo>
                    <a:pt x="157661" y="227951"/>
                  </a:lnTo>
                  <a:lnTo>
                    <a:pt x="159347" y="231243"/>
                  </a:lnTo>
                  <a:lnTo>
                    <a:pt x="152602" y="236181"/>
                  </a:lnTo>
                  <a:lnTo>
                    <a:pt x="127309" y="203264"/>
                  </a:lnTo>
                  <a:lnTo>
                    <a:pt x="107074" y="216430"/>
                  </a:lnTo>
                  <a:lnTo>
                    <a:pt x="102015" y="211493"/>
                  </a:lnTo>
                  <a:lnTo>
                    <a:pt x="96956" y="216430"/>
                  </a:lnTo>
                  <a:lnTo>
                    <a:pt x="24449" y="145658"/>
                  </a:lnTo>
                  <a:lnTo>
                    <a:pt x="4214" y="28802"/>
                  </a:lnTo>
                  <a:lnTo>
                    <a:pt x="10959" y="27156"/>
                  </a:lnTo>
                  <a:lnTo>
                    <a:pt x="5900" y="17281"/>
                  </a:lnTo>
                  <a:lnTo>
                    <a:pt x="32880" y="5760"/>
                  </a:lnTo>
                  <a:lnTo>
                    <a:pt x="36252" y="12343"/>
                  </a:lnTo>
                  <a:lnTo>
                    <a:pt x="112132" y="17281"/>
                  </a:lnTo>
                  <a:lnTo>
                    <a:pt x="112132" y="12343"/>
                  </a:lnTo>
                  <a:lnTo>
                    <a:pt x="127309" y="12343"/>
                  </a:lnTo>
                  <a:lnTo>
                    <a:pt x="128995" y="4114"/>
                  </a:lnTo>
                  <a:lnTo>
                    <a:pt x="155974"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4" name="Tiel">
              <a:extLst>
                <a:ext uri="{FF2B5EF4-FFF2-40B4-BE49-F238E27FC236}">
                  <a16:creationId xmlns:a16="http://schemas.microsoft.com/office/drawing/2014/main" id="{295B43B1-9B55-4B86-9D46-7F035623683E}"/>
                </a:ext>
              </a:extLst>
            </p:cNvPr>
            <p:cNvSpPr/>
            <p:nvPr/>
          </p:nvSpPr>
          <p:spPr>
            <a:xfrm>
              <a:off x="6170602" y="3804531"/>
              <a:ext cx="151901" cy="121465"/>
            </a:xfrm>
            <a:custGeom>
              <a:avLst/>
              <a:gdLst/>
              <a:ahLst/>
              <a:cxnLst/>
              <a:rect l="l" t="t" r="r" b="b"/>
              <a:pathLst>
                <a:path w="222455" h="171450" extrusionOk="0">
                  <a:moveTo>
                    <a:pt x="196444" y="7405"/>
                  </a:moveTo>
                  <a:lnTo>
                    <a:pt x="196444" y="9052"/>
                  </a:lnTo>
                  <a:lnTo>
                    <a:pt x="208247" y="7405"/>
                  </a:lnTo>
                  <a:lnTo>
                    <a:pt x="220051" y="10697"/>
                  </a:lnTo>
                  <a:lnTo>
                    <a:pt x="216678" y="22218"/>
                  </a:lnTo>
                  <a:lnTo>
                    <a:pt x="221737" y="32094"/>
                  </a:lnTo>
                  <a:lnTo>
                    <a:pt x="223423" y="30448"/>
                  </a:lnTo>
                  <a:lnTo>
                    <a:pt x="225110" y="40323"/>
                  </a:lnTo>
                  <a:lnTo>
                    <a:pt x="198130" y="48552"/>
                  </a:lnTo>
                  <a:lnTo>
                    <a:pt x="211620" y="84761"/>
                  </a:lnTo>
                  <a:lnTo>
                    <a:pt x="188013" y="92991"/>
                  </a:lnTo>
                  <a:lnTo>
                    <a:pt x="164405" y="114387"/>
                  </a:lnTo>
                  <a:lnTo>
                    <a:pt x="145857" y="147304"/>
                  </a:lnTo>
                  <a:lnTo>
                    <a:pt x="137426" y="175284"/>
                  </a:lnTo>
                  <a:lnTo>
                    <a:pt x="125622" y="168700"/>
                  </a:lnTo>
                  <a:lnTo>
                    <a:pt x="113819" y="168700"/>
                  </a:lnTo>
                  <a:lnTo>
                    <a:pt x="107074" y="171992"/>
                  </a:lnTo>
                  <a:lnTo>
                    <a:pt x="100329" y="170346"/>
                  </a:lnTo>
                  <a:lnTo>
                    <a:pt x="80094" y="147304"/>
                  </a:lnTo>
                  <a:lnTo>
                    <a:pt x="53115" y="158825"/>
                  </a:lnTo>
                  <a:lnTo>
                    <a:pt x="34566" y="158825"/>
                  </a:lnTo>
                  <a:lnTo>
                    <a:pt x="26135" y="163763"/>
                  </a:lnTo>
                  <a:lnTo>
                    <a:pt x="19390" y="162117"/>
                  </a:lnTo>
                  <a:lnTo>
                    <a:pt x="19390" y="158825"/>
                  </a:lnTo>
                  <a:lnTo>
                    <a:pt x="4214" y="162117"/>
                  </a:lnTo>
                  <a:lnTo>
                    <a:pt x="4214" y="144012"/>
                  </a:lnTo>
                  <a:lnTo>
                    <a:pt x="16018" y="130845"/>
                  </a:lnTo>
                  <a:lnTo>
                    <a:pt x="21076" y="120970"/>
                  </a:lnTo>
                  <a:lnTo>
                    <a:pt x="24449" y="122616"/>
                  </a:lnTo>
                  <a:lnTo>
                    <a:pt x="29507" y="112741"/>
                  </a:lnTo>
                  <a:lnTo>
                    <a:pt x="36252" y="114387"/>
                  </a:lnTo>
                  <a:lnTo>
                    <a:pt x="42997" y="112741"/>
                  </a:lnTo>
                  <a:lnTo>
                    <a:pt x="102015" y="66657"/>
                  </a:lnTo>
                  <a:lnTo>
                    <a:pt x="113819" y="61719"/>
                  </a:lnTo>
                  <a:lnTo>
                    <a:pt x="120564" y="46906"/>
                  </a:lnTo>
                  <a:lnTo>
                    <a:pt x="128995" y="40323"/>
                  </a:lnTo>
                  <a:lnTo>
                    <a:pt x="130681" y="30448"/>
                  </a:lnTo>
                  <a:lnTo>
                    <a:pt x="142484" y="27156"/>
                  </a:lnTo>
                  <a:lnTo>
                    <a:pt x="149229" y="17281"/>
                  </a:lnTo>
                  <a:lnTo>
                    <a:pt x="154288" y="13989"/>
                  </a:lnTo>
                  <a:lnTo>
                    <a:pt x="162719" y="13989"/>
                  </a:lnTo>
                  <a:lnTo>
                    <a:pt x="167778" y="9052"/>
                  </a:lnTo>
                  <a:lnTo>
                    <a:pt x="181268" y="7405"/>
                  </a:lnTo>
                  <a:lnTo>
                    <a:pt x="186326" y="9052"/>
                  </a:lnTo>
                  <a:lnTo>
                    <a:pt x="194757" y="4114"/>
                  </a:lnTo>
                  <a:lnTo>
                    <a:pt x="196444" y="7405"/>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5" name="Opmeer">
              <a:extLst>
                <a:ext uri="{FF2B5EF4-FFF2-40B4-BE49-F238E27FC236}">
                  <a16:creationId xmlns:a16="http://schemas.microsoft.com/office/drawing/2014/main" id="{7E6EF3A9-7BD2-4EF5-B18C-96155BDA1384}"/>
                </a:ext>
              </a:extLst>
            </p:cNvPr>
            <p:cNvSpPr/>
            <p:nvPr/>
          </p:nvSpPr>
          <p:spPr>
            <a:xfrm>
              <a:off x="5723484" y="2458563"/>
              <a:ext cx="123733" cy="128909"/>
            </a:xfrm>
            <a:custGeom>
              <a:avLst/>
              <a:gdLst/>
              <a:ahLst/>
              <a:cxnLst/>
              <a:rect l="l" t="t" r="r" b="b"/>
              <a:pathLst>
                <a:path w="175622" h="205740" extrusionOk="0">
                  <a:moveTo>
                    <a:pt x="90212" y="7406"/>
                  </a:moveTo>
                  <a:lnTo>
                    <a:pt x="90212" y="9052"/>
                  </a:lnTo>
                  <a:lnTo>
                    <a:pt x="152602" y="12343"/>
                  </a:lnTo>
                  <a:lnTo>
                    <a:pt x="150916" y="25510"/>
                  </a:lnTo>
                  <a:lnTo>
                    <a:pt x="154288" y="30448"/>
                  </a:lnTo>
                  <a:lnTo>
                    <a:pt x="149230" y="33739"/>
                  </a:lnTo>
                  <a:lnTo>
                    <a:pt x="154288" y="41969"/>
                  </a:lnTo>
                  <a:lnTo>
                    <a:pt x="150916" y="45261"/>
                  </a:lnTo>
                  <a:lnTo>
                    <a:pt x="167778" y="78178"/>
                  </a:lnTo>
                  <a:lnTo>
                    <a:pt x="172837" y="74886"/>
                  </a:lnTo>
                  <a:lnTo>
                    <a:pt x="172837" y="83115"/>
                  </a:lnTo>
                  <a:lnTo>
                    <a:pt x="139112" y="106158"/>
                  </a:lnTo>
                  <a:lnTo>
                    <a:pt x="134053" y="97928"/>
                  </a:lnTo>
                  <a:lnTo>
                    <a:pt x="113819" y="109449"/>
                  </a:lnTo>
                  <a:lnTo>
                    <a:pt x="122250" y="122616"/>
                  </a:lnTo>
                  <a:lnTo>
                    <a:pt x="123936" y="125908"/>
                  </a:lnTo>
                  <a:lnTo>
                    <a:pt x="135740" y="140721"/>
                  </a:lnTo>
                  <a:lnTo>
                    <a:pt x="127309" y="155533"/>
                  </a:lnTo>
                  <a:lnTo>
                    <a:pt x="125622" y="188451"/>
                  </a:lnTo>
                  <a:lnTo>
                    <a:pt x="120564" y="193388"/>
                  </a:lnTo>
                  <a:lnTo>
                    <a:pt x="112132" y="188451"/>
                  </a:lnTo>
                  <a:lnTo>
                    <a:pt x="105388" y="190097"/>
                  </a:lnTo>
                  <a:lnTo>
                    <a:pt x="105388" y="193388"/>
                  </a:lnTo>
                  <a:lnTo>
                    <a:pt x="102015" y="196680"/>
                  </a:lnTo>
                  <a:lnTo>
                    <a:pt x="98643" y="196680"/>
                  </a:lnTo>
                  <a:lnTo>
                    <a:pt x="98643" y="201618"/>
                  </a:lnTo>
                  <a:lnTo>
                    <a:pt x="85153" y="206555"/>
                  </a:lnTo>
                  <a:lnTo>
                    <a:pt x="78408" y="199972"/>
                  </a:lnTo>
                  <a:lnTo>
                    <a:pt x="14332" y="170346"/>
                  </a:lnTo>
                  <a:lnTo>
                    <a:pt x="12645" y="168700"/>
                  </a:lnTo>
                  <a:lnTo>
                    <a:pt x="31194" y="155533"/>
                  </a:lnTo>
                  <a:lnTo>
                    <a:pt x="32880" y="145658"/>
                  </a:lnTo>
                  <a:lnTo>
                    <a:pt x="29507" y="139075"/>
                  </a:lnTo>
                  <a:lnTo>
                    <a:pt x="22763" y="137429"/>
                  </a:lnTo>
                  <a:lnTo>
                    <a:pt x="5900" y="144012"/>
                  </a:lnTo>
                  <a:lnTo>
                    <a:pt x="4214" y="120970"/>
                  </a:lnTo>
                  <a:lnTo>
                    <a:pt x="53115" y="37031"/>
                  </a:lnTo>
                  <a:lnTo>
                    <a:pt x="56487" y="20573"/>
                  </a:lnTo>
                  <a:lnTo>
                    <a:pt x="68291" y="17281"/>
                  </a:lnTo>
                  <a:lnTo>
                    <a:pt x="73349" y="9052"/>
                  </a:lnTo>
                  <a:lnTo>
                    <a:pt x="88525" y="4114"/>
                  </a:lnTo>
                  <a:lnTo>
                    <a:pt x="90212"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6" name="Zuidplas">
              <a:extLst>
                <a:ext uri="{FF2B5EF4-FFF2-40B4-BE49-F238E27FC236}">
                  <a16:creationId xmlns:a16="http://schemas.microsoft.com/office/drawing/2014/main" id="{2F56C6FF-A230-4630-8FBD-6B9BA76B4187}"/>
                </a:ext>
              </a:extLst>
            </p:cNvPr>
            <p:cNvSpPr/>
            <p:nvPr/>
          </p:nvSpPr>
          <p:spPr>
            <a:xfrm>
              <a:off x="5342754" y="3585535"/>
              <a:ext cx="161079" cy="202612"/>
            </a:xfrm>
            <a:custGeom>
              <a:avLst/>
              <a:gdLst/>
              <a:ahLst/>
              <a:cxnLst/>
              <a:rect l="l" t="t" r="r" b="b"/>
              <a:pathLst>
                <a:path w="222455" h="320040" extrusionOk="0">
                  <a:moveTo>
                    <a:pt x="100329" y="9052"/>
                  </a:moveTo>
                  <a:lnTo>
                    <a:pt x="95270" y="40323"/>
                  </a:lnTo>
                  <a:lnTo>
                    <a:pt x="103701" y="43615"/>
                  </a:lnTo>
                  <a:lnTo>
                    <a:pt x="103701" y="50198"/>
                  </a:lnTo>
                  <a:lnTo>
                    <a:pt x="96956" y="50198"/>
                  </a:lnTo>
                  <a:lnTo>
                    <a:pt x="98643" y="51844"/>
                  </a:lnTo>
                  <a:lnTo>
                    <a:pt x="73349" y="76532"/>
                  </a:lnTo>
                  <a:lnTo>
                    <a:pt x="123936" y="125908"/>
                  </a:lnTo>
                  <a:lnTo>
                    <a:pt x="142485" y="134137"/>
                  </a:lnTo>
                  <a:lnTo>
                    <a:pt x="161033" y="116033"/>
                  </a:lnTo>
                  <a:lnTo>
                    <a:pt x="161033" y="112741"/>
                  </a:lnTo>
                  <a:lnTo>
                    <a:pt x="171150" y="112741"/>
                  </a:lnTo>
                  <a:lnTo>
                    <a:pt x="182954" y="104512"/>
                  </a:lnTo>
                  <a:lnTo>
                    <a:pt x="184640" y="109449"/>
                  </a:lnTo>
                  <a:lnTo>
                    <a:pt x="189699" y="107803"/>
                  </a:lnTo>
                  <a:lnTo>
                    <a:pt x="189699" y="114387"/>
                  </a:lnTo>
                  <a:lnTo>
                    <a:pt x="184640" y="127554"/>
                  </a:lnTo>
                  <a:lnTo>
                    <a:pt x="194758" y="135783"/>
                  </a:lnTo>
                  <a:lnTo>
                    <a:pt x="177895" y="150596"/>
                  </a:lnTo>
                  <a:lnTo>
                    <a:pt x="182954" y="155534"/>
                  </a:lnTo>
                  <a:lnTo>
                    <a:pt x="194758" y="157179"/>
                  </a:lnTo>
                  <a:lnTo>
                    <a:pt x="208247" y="171992"/>
                  </a:lnTo>
                  <a:lnTo>
                    <a:pt x="214992" y="168700"/>
                  </a:lnTo>
                  <a:lnTo>
                    <a:pt x="221737" y="171992"/>
                  </a:lnTo>
                  <a:lnTo>
                    <a:pt x="198130" y="196680"/>
                  </a:lnTo>
                  <a:lnTo>
                    <a:pt x="191385" y="213138"/>
                  </a:lnTo>
                  <a:lnTo>
                    <a:pt x="171150" y="219722"/>
                  </a:lnTo>
                  <a:lnTo>
                    <a:pt x="159347" y="227951"/>
                  </a:lnTo>
                  <a:lnTo>
                    <a:pt x="134053" y="236181"/>
                  </a:lnTo>
                  <a:lnTo>
                    <a:pt x="132367" y="241118"/>
                  </a:lnTo>
                  <a:lnTo>
                    <a:pt x="145857" y="254285"/>
                  </a:lnTo>
                  <a:lnTo>
                    <a:pt x="155974" y="272390"/>
                  </a:lnTo>
                  <a:lnTo>
                    <a:pt x="145857" y="280619"/>
                  </a:lnTo>
                  <a:lnTo>
                    <a:pt x="137426" y="313536"/>
                  </a:lnTo>
                  <a:lnTo>
                    <a:pt x="132367" y="316828"/>
                  </a:lnTo>
                  <a:lnTo>
                    <a:pt x="120564" y="316828"/>
                  </a:lnTo>
                  <a:lnTo>
                    <a:pt x="113819" y="323411"/>
                  </a:lnTo>
                  <a:lnTo>
                    <a:pt x="85153" y="288848"/>
                  </a:lnTo>
                  <a:lnTo>
                    <a:pt x="88525" y="283911"/>
                  </a:lnTo>
                  <a:lnTo>
                    <a:pt x="61546" y="244410"/>
                  </a:lnTo>
                  <a:lnTo>
                    <a:pt x="69977" y="237827"/>
                  </a:lnTo>
                  <a:lnTo>
                    <a:pt x="88525" y="229597"/>
                  </a:lnTo>
                  <a:lnTo>
                    <a:pt x="76722" y="219722"/>
                  </a:lnTo>
                  <a:lnTo>
                    <a:pt x="83467" y="190096"/>
                  </a:lnTo>
                  <a:lnTo>
                    <a:pt x="76722" y="175284"/>
                  </a:lnTo>
                  <a:lnTo>
                    <a:pt x="53115" y="185159"/>
                  </a:lnTo>
                  <a:lnTo>
                    <a:pt x="54801" y="191742"/>
                  </a:lnTo>
                  <a:lnTo>
                    <a:pt x="51428" y="195034"/>
                  </a:lnTo>
                  <a:lnTo>
                    <a:pt x="53115" y="206555"/>
                  </a:lnTo>
                  <a:lnTo>
                    <a:pt x="39625" y="211493"/>
                  </a:lnTo>
                  <a:lnTo>
                    <a:pt x="44683" y="223014"/>
                  </a:lnTo>
                  <a:lnTo>
                    <a:pt x="51428" y="218076"/>
                  </a:lnTo>
                  <a:lnTo>
                    <a:pt x="53115" y="219722"/>
                  </a:lnTo>
                  <a:lnTo>
                    <a:pt x="46370" y="226306"/>
                  </a:lnTo>
                  <a:lnTo>
                    <a:pt x="34566" y="231243"/>
                  </a:lnTo>
                  <a:lnTo>
                    <a:pt x="27821" y="229597"/>
                  </a:lnTo>
                  <a:lnTo>
                    <a:pt x="24449" y="234535"/>
                  </a:lnTo>
                  <a:lnTo>
                    <a:pt x="19390" y="237827"/>
                  </a:lnTo>
                  <a:lnTo>
                    <a:pt x="5900" y="226306"/>
                  </a:lnTo>
                  <a:lnTo>
                    <a:pt x="12645" y="221368"/>
                  </a:lnTo>
                  <a:lnTo>
                    <a:pt x="14331" y="216430"/>
                  </a:lnTo>
                  <a:lnTo>
                    <a:pt x="10959" y="204909"/>
                  </a:lnTo>
                  <a:lnTo>
                    <a:pt x="5900" y="201618"/>
                  </a:lnTo>
                  <a:lnTo>
                    <a:pt x="4214" y="181867"/>
                  </a:lnTo>
                  <a:lnTo>
                    <a:pt x="7587" y="178576"/>
                  </a:lnTo>
                  <a:lnTo>
                    <a:pt x="5900" y="175284"/>
                  </a:lnTo>
                  <a:lnTo>
                    <a:pt x="9273" y="171992"/>
                  </a:lnTo>
                  <a:lnTo>
                    <a:pt x="17704" y="147304"/>
                  </a:lnTo>
                  <a:lnTo>
                    <a:pt x="22763" y="91345"/>
                  </a:lnTo>
                  <a:lnTo>
                    <a:pt x="26135" y="81470"/>
                  </a:lnTo>
                  <a:lnTo>
                    <a:pt x="31194" y="74886"/>
                  </a:lnTo>
                  <a:lnTo>
                    <a:pt x="27821" y="60074"/>
                  </a:lnTo>
                  <a:lnTo>
                    <a:pt x="34566" y="18927"/>
                  </a:lnTo>
                  <a:lnTo>
                    <a:pt x="98643" y="4114"/>
                  </a:lnTo>
                  <a:lnTo>
                    <a:pt x="100329" y="9052"/>
                  </a:lnTo>
                  <a:close/>
                </a:path>
              </a:pathLst>
            </a:custGeom>
            <a:solidFill>
              <a:srgbClr val="59943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7" name="Lelystad">
              <a:extLst>
                <a:ext uri="{FF2B5EF4-FFF2-40B4-BE49-F238E27FC236}">
                  <a16:creationId xmlns:a16="http://schemas.microsoft.com/office/drawing/2014/main" id="{C07CC4AC-4EDF-44D3-93E0-8A43F8557B9B}"/>
                </a:ext>
              </a:extLst>
            </p:cNvPr>
            <p:cNvSpPr/>
            <p:nvPr/>
          </p:nvSpPr>
          <p:spPr>
            <a:xfrm>
              <a:off x="6106833" y="2535049"/>
              <a:ext cx="359767" cy="509898"/>
            </a:xfrm>
            <a:custGeom>
              <a:avLst/>
              <a:gdLst/>
              <a:ahLst/>
              <a:cxnLst/>
              <a:rect l="l" t="t" r="r" b="b"/>
              <a:pathLst>
                <a:path w="526867" h="742950" extrusionOk="0">
                  <a:moveTo>
                    <a:pt x="115505" y="547249"/>
                  </a:moveTo>
                  <a:lnTo>
                    <a:pt x="115505" y="548895"/>
                  </a:lnTo>
                  <a:lnTo>
                    <a:pt x="115505" y="545603"/>
                  </a:lnTo>
                  <a:lnTo>
                    <a:pt x="130681" y="537374"/>
                  </a:lnTo>
                  <a:lnTo>
                    <a:pt x="115505" y="547249"/>
                  </a:lnTo>
                  <a:close/>
                  <a:moveTo>
                    <a:pt x="247030" y="446851"/>
                  </a:moveTo>
                  <a:lnTo>
                    <a:pt x="209934" y="481414"/>
                  </a:lnTo>
                  <a:lnTo>
                    <a:pt x="245344" y="446851"/>
                  </a:lnTo>
                  <a:lnTo>
                    <a:pt x="257148" y="443559"/>
                  </a:lnTo>
                  <a:lnTo>
                    <a:pt x="247030" y="446851"/>
                  </a:lnTo>
                  <a:close/>
                  <a:moveTo>
                    <a:pt x="253775" y="435330"/>
                  </a:moveTo>
                  <a:lnTo>
                    <a:pt x="257148" y="436976"/>
                  </a:lnTo>
                  <a:lnTo>
                    <a:pt x="252089" y="435330"/>
                  </a:lnTo>
                  <a:lnTo>
                    <a:pt x="250403" y="440268"/>
                  </a:lnTo>
                  <a:lnTo>
                    <a:pt x="243658" y="441914"/>
                  </a:lnTo>
                  <a:lnTo>
                    <a:pt x="252089" y="438622"/>
                  </a:lnTo>
                  <a:lnTo>
                    <a:pt x="257148" y="422163"/>
                  </a:lnTo>
                  <a:lnTo>
                    <a:pt x="253775" y="435330"/>
                  </a:lnTo>
                  <a:close/>
                  <a:moveTo>
                    <a:pt x="268951" y="407350"/>
                  </a:moveTo>
                  <a:lnTo>
                    <a:pt x="268951" y="405705"/>
                  </a:lnTo>
                  <a:lnTo>
                    <a:pt x="270638" y="397475"/>
                  </a:lnTo>
                  <a:lnTo>
                    <a:pt x="268951" y="407350"/>
                  </a:lnTo>
                  <a:close/>
                  <a:moveTo>
                    <a:pt x="268951" y="397475"/>
                  </a:moveTo>
                  <a:lnTo>
                    <a:pt x="265579" y="422163"/>
                  </a:lnTo>
                  <a:lnTo>
                    <a:pt x="265579" y="410642"/>
                  </a:lnTo>
                  <a:lnTo>
                    <a:pt x="262207" y="410642"/>
                  </a:lnTo>
                  <a:lnTo>
                    <a:pt x="262207" y="402413"/>
                  </a:lnTo>
                  <a:lnTo>
                    <a:pt x="263893" y="399121"/>
                  </a:lnTo>
                  <a:lnTo>
                    <a:pt x="267265" y="399121"/>
                  </a:lnTo>
                  <a:lnTo>
                    <a:pt x="274010" y="379371"/>
                  </a:lnTo>
                  <a:lnTo>
                    <a:pt x="267265" y="392538"/>
                  </a:lnTo>
                  <a:lnTo>
                    <a:pt x="268951" y="397475"/>
                  </a:lnTo>
                  <a:close/>
                  <a:moveTo>
                    <a:pt x="501651" y="318474"/>
                  </a:moveTo>
                  <a:lnTo>
                    <a:pt x="506709" y="436976"/>
                  </a:lnTo>
                  <a:lnTo>
                    <a:pt x="501651" y="436976"/>
                  </a:lnTo>
                  <a:lnTo>
                    <a:pt x="506709" y="469893"/>
                  </a:lnTo>
                  <a:lnTo>
                    <a:pt x="528630" y="507748"/>
                  </a:lnTo>
                  <a:lnTo>
                    <a:pt x="467926" y="542311"/>
                  </a:lnTo>
                  <a:lnTo>
                    <a:pt x="499964" y="596625"/>
                  </a:lnTo>
                  <a:lnTo>
                    <a:pt x="493219" y="601562"/>
                  </a:lnTo>
                  <a:lnTo>
                    <a:pt x="481416" y="618021"/>
                  </a:lnTo>
                  <a:lnTo>
                    <a:pt x="469612" y="624604"/>
                  </a:lnTo>
                  <a:lnTo>
                    <a:pt x="501651" y="675626"/>
                  </a:lnTo>
                  <a:lnTo>
                    <a:pt x="503337" y="683856"/>
                  </a:lnTo>
                  <a:lnTo>
                    <a:pt x="494906" y="683856"/>
                  </a:lnTo>
                  <a:lnTo>
                    <a:pt x="488160" y="687147"/>
                  </a:lnTo>
                  <a:lnTo>
                    <a:pt x="425770" y="748044"/>
                  </a:lnTo>
                  <a:lnTo>
                    <a:pt x="419026" y="749690"/>
                  </a:lnTo>
                  <a:lnTo>
                    <a:pt x="383615" y="718419"/>
                  </a:lnTo>
                  <a:lnTo>
                    <a:pt x="277383" y="608146"/>
                  </a:lnTo>
                  <a:lnTo>
                    <a:pt x="253775" y="632834"/>
                  </a:lnTo>
                  <a:lnTo>
                    <a:pt x="214992" y="664105"/>
                  </a:lnTo>
                  <a:lnTo>
                    <a:pt x="144171" y="711835"/>
                  </a:lnTo>
                  <a:lnTo>
                    <a:pt x="142484" y="708543"/>
                  </a:lnTo>
                  <a:lnTo>
                    <a:pt x="132367" y="708543"/>
                  </a:lnTo>
                  <a:lnTo>
                    <a:pt x="117191" y="697022"/>
                  </a:lnTo>
                  <a:lnTo>
                    <a:pt x="29507" y="655876"/>
                  </a:lnTo>
                  <a:lnTo>
                    <a:pt x="17704" y="646001"/>
                  </a:lnTo>
                  <a:lnTo>
                    <a:pt x="4214" y="626250"/>
                  </a:lnTo>
                  <a:lnTo>
                    <a:pt x="201503" y="487998"/>
                  </a:lnTo>
                  <a:lnTo>
                    <a:pt x="198130" y="494581"/>
                  </a:lnTo>
                  <a:lnTo>
                    <a:pt x="211620" y="491290"/>
                  </a:lnTo>
                  <a:lnTo>
                    <a:pt x="226796" y="476477"/>
                  </a:lnTo>
                  <a:lnTo>
                    <a:pt x="223423" y="471539"/>
                  </a:lnTo>
                  <a:lnTo>
                    <a:pt x="228482" y="476477"/>
                  </a:lnTo>
                  <a:lnTo>
                    <a:pt x="243658" y="463310"/>
                  </a:lnTo>
                  <a:lnTo>
                    <a:pt x="240286" y="458372"/>
                  </a:lnTo>
                  <a:lnTo>
                    <a:pt x="243658" y="461664"/>
                  </a:lnTo>
                  <a:lnTo>
                    <a:pt x="247030" y="461664"/>
                  </a:lnTo>
                  <a:lnTo>
                    <a:pt x="248717" y="456726"/>
                  </a:lnTo>
                  <a:lnTo>
                    <a:pt x="260520" y="448497"/>
                  </a:lnTo>
                  <a:lnTo>
                    <a:pt x="258834" y="445205"/>
                  </a:lnTo>
                  <a:lnTo>
                    <a:pt x="260520" y="448497"/>
                  </a:lnTo>
                  <a:lnTo>
                    <a:pt x="270638" y="443559"/>
                  </a:lnTo>
                  <a:lnTo>
                    <a:pt x="279069" y="427101"/>
                  </a:lnTo>
                  <a:lnTo>
                    <a:pt x="277383" y="423809"/>
                  </a:lnTo>
                  <a:lnTo>
                    <a:pt x="274010" y="425455"/>
                  </a:lnTo>
                  <a:lnTo>
                    <a:pt x="275696" y="432038"/>
                  </a:lnTo>
                  <a:lnTo>
                    <a:pt x="272324" y="427101"/>
                  </a:lnTo>
                  <a:lnTo>
                    <a:pt x="270638" y="397475"/>
                  </a:lnTo>
                  <a:lnTo>
                    <a:pt x="279069" y="389246"/>
                  </a:lnTo>
                  <a:lnTo>
                    <a:pt x="274010" y="395829"/>
                  </a:lnTo>
                  <a:lnTo>
                    <a:pt x="275696" y="397475"/>
                  </a:lnTo>
                  <a:lnTo>
                    <a:pt x="280755" y="394184"/>
                  </a:lnTo>
                  <a:lnTo>
                    <a:pt x="280755" y="390892"/>
                  </a:lnTo>
                  <a:lnTo>
                    <a:pt x="282441" y="392538"/>
                  </a:lnTo>
                  <a:lnTo>
                    <a:pt x="287500" y="387600"/>
                  </a:lnTo>
                  <a:lnTo>
                    <a:pt x="287500" y="385954"/>
                  </a:lnTo>
                  <a:lnTo>
                    <a:pt x="284128" y="385954"/>
                  </a:lnTo>
                  <a:lnTo>
                    <a:pt x="284128" y="382663"/>
                  </a:lnTo>
                  <a:lnTo>
                    <a:pt x="279069" y="387600"/>
                  </a:lnTo>
                  <a:lnTo>
                    <a:pt x="284128" y="381017"/>
                  </a:lnTo>
                  <a:lnTo>
                    <a:pt x="290872" y="384308"/>
                  </a:lnTo>
                  <a:lnTo>
                    <a:pt x="300990" y="357975"/>
                  </a:lnTo>
                  <a:lnTo>
                    <a:pt x="297617" y="356329"/>
                  </a:lnTo>
                  <a:lnTo>
                    <a:pt x="302676" y="349745"/>
                  </a:lnTo>
                  <a:lnTo>
                    <a:pt x="299303" y="346454"/>
                  </a:lnTo>
                  <a:lnTo>
                    <a:pt x="304362" y="339870"/>
                  </a:lnTo>
                  <a:lnTo>
                    <a:pt x="314480" y="339870"/>
                  </a:lnTo>
                  <a:lnTo>
                    <a:pt x="304362" y="341516"/>
                  </a:lnTo>
                  <a:lnTo>
                    <a:pt x="300990" y="346454"/>
                  </a:lnTo>
                  <a:lnTo>
                    <a:pt x="306048" y="349745"/>
                  </a:lnTo>
                  <a:lnTo>
                    <a:pt x="309421" y="344808"/>
                  </a:lnTo>
                  <a:lnTo>
                    <a:pt x="312793" y="344808"/>
                  </a:lnTo>
                  <a:lnTo>
                    <a:pt x="312793" y="341516"/>
                  </a:lnTo>
                  <a:lnTo>
                    <a:pt x="314480" y="344808"/>
                  </a:lnTo>
                  <a:lnTo>
                    <a:pt x="356635" y="341516"/>
                  </a:lnTo>
                  <a:lnTo>
                    <a:pt x="365066" y="338224"/>
                  </a:lnTo>
                  <a:lnTo>
                    <a:pt x="454436" y="249348"/>
                  </a:lnTo>
                  <a:lnTo>
                    <a:pt x="464554" y="242764"/>
                  </a:lnTo>
                  <a:lnTo>
                    <a:pt x="478043" y="237827"/>
                  </a:lnTo>
                  <a:lnTo>
                    <a:pt x="501651" y="318474"/>
                  </a:lnTo>
                  <a:close/>
                  <a:moveTo>
                    <a:pt x="61546" y="7406"/>
                  </a:moveTo>
                  <a:lnTo>
                    <a:pt x="59859" y="10697"/>
                  </a:lnTo>
                  <a:lnTo>
                    <a:pt x="61546" y="7406"/>
                  </a:lnTo>
                  <a:lnTo>
                    <a:pt x="61546" y="7406"/>
                  </a:lnTo>
                  <a:close/>
                  <a:moveTo>
                    <a:pt x="61546" y="7406"/>
                  </a:moveTo>
                  <a:lnTo>
                    <a:pt x="59859" y="12343"/>
                  </a:lnTo>
                  <a:lnTo>
                    <a:pt x="48056" y="12343"/>
                  </a:lnTo>
                  <a:lnTo>
                    <a:pt x="49742" y="7406"/>
                  </a:lnTo>
                  <a:lnTo>
                    <a:pt x="61546" y="7406"/>
                  </a:lnTo>
                  <a:close/>
                  <a:moveTo>
                    <a:pt x="71663" y="7406"/>
                  </a:moveTo>
                  <a:lnTo>
                    <a:pt x="147543" y="40323"/>
                  </a:lnTo>
                  <a:lnTo>
                    <a:pt x="159347" y="48552"/>
                  </a:lnTo>
                  <a:lnTo>
                    <a:pt x="214992" y="106158"/>
                  </a:lnTo>
                  <a:lnTo>
                    <a:pt x="238599" y="140721"/>
                  </a:lnTo>
                  <a:lnTo>
                    <a:pt x="241972" y="139075"/>
                  </a:lnTo>
                  <a:lnTo>
                    <a:pt x="245344" y="145658"/>
                  </a:lnTo>
                  <a:lnTo>
                    <a:pt x="241972" y="140721"/>
                  </a:lnTo>
                  <a:lnTo>
                    <a:pt x="238599" y="142367"/>
                  </a:lnTo>
                  <a:lnTo>
                    <a:pt x="241972" y="145658"/>
                  </a:lnTo>
                  <a:lnTo>
                    <a:pt x="243658" y="145658"/>
                  </a:lnTo>
                  <a:lnTo>
                    <a:pt x="241972" y="147304"/>
                  </a:lnTo>
                  <a:lnTo>
                    <a:pt x="243658" y="152242"/>
                  </a:lnTo>
                  <a:lnTo>
                    <a:pt x="304362" y="246056"/>
                  </a:lnTo>
                  <a:lnTo>
                    <a:pt x="321224" y="303661"/>
                  </a:lnTo>
                  <a:lnTo>
                    <a:pt x="314480" y="311890"/>
                  </a:lnTo>
                  <a:lnTo>
                    <a:pt x="290872" y="321766"/>
                  </a:lnTo>
                  <a:lnTo>
                    <a:pt x="277383" y="336579"/>
                  </a:lnTo>
                  <a:lnTo>
                    <a:pt x="258834" y="382663"/>
                  </a:lnTo>
                  <a:lnTo>
                    <a:pt x="255462" y="420517"/>
                  </a:lnTo>
                  <a:lnTo>
                    <a:pt x="255462" y="404059"/>
                  </a:lnTo>
                  <a:lnTo>
                    <a:pt x="252089" y="404059"/>
                  </a:lnTo>
                  <a:lnTo>
                    <a:pt x="252089" y="400767"/>
                  </a:lnTo>
                  <a:lnTo>
                    <a:pt x="257148" y="399121"/>
                  </a:lnTo>
                  <a:lnTo>
                    <a:pt x="258834" y="377725"/>
                  </a:lnTo>
                  <a:lnTo>
                    <a:pt x="277383" y="334932"/>
                  </a:lnTo>
                  <a:lnTo>
                    <a:pt x="289186" y="321766"/>
                  </a:lnTo>
                  <a:lnTo>
                    <a:pt x="314480" y="310245"/>
                  </a:lnTo>
                  <a:lnTo>
                    <a:pt x="319538" y="303661"/>
                  </a:lnTo>
                  <a:lnTo>
                    <a:pt x="302676" y="247702"/>
                  </a:lnTo>
                  <a:lnTo>
                    <a:pt x="216678" y="111095"/>
                  </a:lnTo>
                  <a:lnTo>
                    <a:pt x="155974" y="46906"/>
                  </a:lnTo>
                  <a:lnTo>
                    <a:pt x="71663" y="9052"/>
                  </a:lnTo>
                  <a:lnTo>
                    <a:pt x="63232" y="12343"/>
                  </a:lnTo>
                  <a:lnTo>
                    <a:pt x="68291" y="12343"/>
                  </a:lnTo>
                  <a:lnTo>
                    <a:pt x="68291" y="15635"/>
                  </a:lnTo>
                  <a:lnTo>
                    <a:pt x="58173" y="25510"/>
                  </a:lnTo>
                  <a:lnTo>
                    <a:pt x="46370" y="28802"/>
                  </a:lnTo>
                  <a:lnTo>
                    <a:pt x="51428" y="30448"/>
                  </a:lnTo>
                  <a:lnTo>
                    <a:pt x="63232" y="30448"/>
                  </a:lnTo>
                  <a:lnTo>
                    <a:pt x="63232" y="27156"/>
                  </a:lnTo>
                  <a:lnTo>
                    <a:pt x="75036" y="13989"/>
                  </a:lnTo>
                  <a:lnTo>
                    <a:pt x="63232" y="30448"/>
                  </a:lnTo>
                  <a:lnTo>
                    <a:pt x="51428" y="32094"/>
                  </a:lnTo>
                  <a:lnTo>
                    <a:pt x="42997" y="28802"/>
                  </a:lnTo>
                  <a:lnTo>
                    <a:pt x="39625" y="23864"/>
                  </a:lnTo>
                  <a:lnTo>
                    <a:pt x="51428" y="25510"/>
                  </a:lnTo>
                  <a:lnTo>
                    <a:pt x="58173" y="20573"/>
                  </a:lnTo>
                  <a:lnTo>
                    <a:pt x="63232" y="4114"/>
                  </a:lnTo>
                  <a:lnTo>
                    <a:pt x="71663" y="7406"/>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8" name="Bergen op Zoom">
              <a:extLst>
                <a:ext uri="{FF2B5EF4-FFF2-40B4-BE49-F238E27FC236}">
                  <a16:creationId xmlns:a16="http://schemas.microsoft.com/office/drawing/2014/main" id="{CE7FDA46-E5BC-437C-B67B-33799407C980}"/>
                </a:ext>
              </a:extLst>
            </p:cNvPr>
            <p:cNvSpPr/>
            <p:nvPr/>
          </p:nvSpPr>
          <p:spPr>
            <a:xfrm>
              <a:off x="4990020" y="4381760"/>
              <a:ext cx="169421" cy="208761"/>
            </a:xfrm>
            <a:custGeom>
              <a:avLst/>
              <a:gdLst/>
              <a:ahLst/>
              <a:cxnLst/>
              <a:rect l="l" t="t" r="r" b="b"/>
              <a:pathLst>
                <a:path w="234163" h="320040" extrusionOk="0">
                  <a:moveTo>
                    <a:pt x="90212" y="20573"/>
                  </a:moveTo>
                  <a:lnTo>
                    <a:pt x="128995" y="33740"/>
                  </a:lnTo>
                  <a:lnTo>
                    <a:pt x="125622" y="46907"/>
                  </a:lnTo>
                  <a:lnTo>
                    <a:pt x="159347" y="53490"/>
                  </a:lnTo>
                  <a:lnTo>
                    <a:pt x="155974" y="66657"/>
                  </a:lnTo>
                  <a:lnTo>
                    <a:pt x="144171" y="63365"/>
                  </a:lnTo>
                  <a:lnTo>
                    <a:pt x="140798" y="71595"/>
                  </a:lnTo>
                  <a:lnTo>
                    <a:pt x="172837" y="91345"/>
                  </a:lnTo>
                  <a:lnTo>
                    <a:pt x="174523" y="102866"/>
                  </a:lnTo>
                  <a:lnTo>
                    <a:pt x="169464" y="106158"/>
                  </a:lnTo>
                  <a:lnTo>
                    <a:pt x="196444" y="114387"/>
                  </a:lnTo>
                  <a:lnTo>
                    <a:pt x="193071" y="122617"/>
                  </a:lnTo>
                  <a:lnTo>
                    <a:pt x="194758" y="134137"/>
                  </a:lnTo>
                  <a:lnTo>
                    <a:pt x="209934" y="134137"/>
                  </a:lnTo>
                  <a:lnTo>
                    <a:pt x="209934" y="142367"/>
                  </a:lnTo>
                  <a:lnTo>
                    <a:pt x="206561" y="163763"/>
                  </a:lnTo>
                  <a:lnTo>
                    <a:pt x="213306" y="162117"/>
                  </a:lnTo>
                  <a:lnTo>
                    <a:pt x="213306" y="163763"/>
                  </a:lnTo>
                  <a:lnTo>
                    <a:pt x="204875" y="168701"/>
                  </a:lnTo>
                  <a:lnTo>
                    <a:pt x="208247" y="178576"/>
                  </a:lnTo>
                  <a:lnTo>
                    <a:pt x="218365" y="195034"/>
                  </a:lnTo>
                  <a:lnTo>
                    <a:pt x="240286" y="208201"/>
                  </a:lnTo>
                  <a:lnTo>
                    <a:pt x="238599" y="227952"/>
                  </a:lnTo>
                  <a:lnTo>
                    <a:pt x="223423" y="234535"/>
                  </a:lnTo>
                  <a:lnTo>
                    <a:pt x="225110" y="246056"/>
                  </a:lnTo>
                  <a:lnTo>
                    <a:pt x="223423" y="247702"/>
                  </a:lnTo>
                  <a:lnTo>
                    <a:pt x="230168" y="282265"/>
                  </a:lnTo>
                  <a:lnTo>
                    <a:pt x="196444" y="272390"/>
                  </a:lnTo>
                  <a:lnTo>
                    <a:pt x="189699" y="267452"/>
                  </a:lnTo>
                  <a:lnTo>
                    <a:pt x="184640" y="274036"/>
                  </a:lnTo>
                  <a:lnTo>
                    <a:pt x="171150" y="264160"/>
                  </a:lnTo>
                  <a:lnTo>
                    <a:pt x="162719" y="272390"/>
                  </a:lnTo>
                  <a:lnTo>
                    <a:pt x="144171" y="272390"/>
                  </a:lnTo>
                  <a:lnTo>
                    <a:pt x="139112" y="257577"/>
                  </a:lnTo>
                  <a:lnTo>
                    <a:pt x="127309" y="259223"/>
                  </a:lnTo>
                  <a:lnTo>
                    <a:pt x="125622" y="255931"/>
                  </a:lnTo>
                  <a:lnTo>
                    <a:pt x="123936" y="257577"/>
                  </a:lnTo>
                  <a:lnTo>
                    <a:pt x="123936" y="297078"/>
                  </a:lnTo>
                  <a:lnTo>
                    <a:pt x="118877" y="300370"/>
                  </a:lnTo>
                  <a:lnTo>
                    <a:pt x="117191" y="308599"/>
                  </a:lnTo>
                  <a:lnTo>
                    <a:pt x="107074" y="311891"/>
                  </a:lnTo>
                  <a:lnTo>
                    <a:pt x="100329" y="321766"/>
                  </a:lnTo>
                  <a:lnTo>
                    <a:pt x="73349" y="321766"/>
                  </a:lnTo>
                  <a:lnTo>
                    <a:pt x="4214" y="162117"/>
                  </a:lnTo>
                  <a:lnTo>
                    <a:pt x="5900" y="140721"/>
                  </a:lnTo>
                  <a:lnTo>
                    <a:pt x="31194" y="74886"/>
                  </a:lnTo>
                  <a:lnTo>
                    <a:pt x="32880" y="53490"/>
                  </a:lnTo>
                  <a:lnTo>
                    <a:pt x="37939" y="51844"/>
                  </a:lnTo>
                  <a:lnTo>
                    <a:pt x="44684" y="32094"/>
                  </a:lnTo>
                  <a:lnTo>
                    <a:pt x="42997" y="23865"/>
                  </a:lnTo>
                  <a:lnTo>
                    <a:pt x="58173" y="4114"/>
                  </a:lnTo>
                  <a:lnTo>
                    <a:pt x="81780" y="12344"/>
                  </a:lnTo>
                  <a:lnTo>
                    <a:pt x="80094" y="18927"/>
                  </a:lnTo>
                  <a:lnTo>
                    <a:pt x="90212" y="2057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49" name="Hoorn">
              <a:extLst>
                <a:ext uri="{FF2B5EF4-FFF2-40B4-BE49-F238E27FC236}">
                  <a16:creationId xmlns:a16="http://schemas.microsoft.com/office/drawing/2014/main" id="{37864A06-BBCE-48E4-9112-EB261043FA2E}"/>
                </a:ext>
              </a:extLst>
            </p:cNvPr>
            <p:cNvSpPr/>
            <p:nvPr/>
          </p:nvSpPr>
          <p:spPr>
            <a:xfrm>
              <a:off x="5837121" y="2572878"/>
              <a:ext cx="121452" cy="72114"/>
            </a:xfrm>
            <a:custGeom>
              <a:avLst/>
              <a:gdLst/>
              <a:ahLst/>
              <a:cxnLst/>
              <a:rect l="l" t="t" r="r" b="b"/>
              <a:pathLst>
                <a:path w="163914" h="137160" extrusionOk="0">
                  <a:moveTo>
                    <a:pt x="115505" y="7406"/>
                  </a:moveTo>
                  <a:lnTo>
                    <a:pt x="130681" y="32094"/>
                  </a:lnTo>
                  <a:lnTo>
                    <a:pt x="132367" y="37031"/>
                  </a:lnTo>
                  <a:lnTo>
                    <a:pt x="128995" y="40323"/>
                  </a:lnTo>
                  <a:lnTo>
                    <a:pt x="144171" y="56782"/>
                  </a:lnTo>
                  <a:lnTo>
                    <a:pt x="145857" y="63365"/>
                  </a:lnTo>
                  <a:lnTo>
                    <a:pt x="152602" y="74886"/>
                  </a:lnTo>
                  <a:lnTo>
                    <a:pt x="155974" y="78178"/>
                  </a:lnTo>
                  <a:lnTo>
                    <a:pt x="157661" y="76532"/>
                  </a:lnTo>
                  <a:lnTo>
                    <a:pt x="162719" y="84761"/>
                  </a:lnTo>
                  <a:lnTo>
                    <a:pt x="159347" y="86407"/>
                  </a:lnTo>
                  <a:lnTo>
                    <a:pt x="159347" y="88053"/>
                  </a:lnTo>
                  <a:lnTo>
                    <a:pt x="137426" y="94637"/>
                  </a:lnTo>
                  <a:lnTo>
                    <a:pt x="142485" y="122616"/>
                  </a:lnTo>
                  <a:lnTo>
                    <a:pt x="135740" y="124262"/>
                  </a:lnTo>
                  <a:lnTo>
                    <a:pt x="118878" y="102866"/>
                  </a:lnTo>
                  <a:lnTo>
                    <a:pt x="122250" y="109449"/>
                  </a:lnTo>
                  <a:lnTo>
                    <a:pt x="117191" y="111095"/>
                  </a:lnTo>
                  <a:lnTo>
                    <a:pt x="117191" y="106158"/>
                  </a:lnTo>
                  <a:lnTo>
                    <a:pt x="108760" y="107803"/>
                  </a:lnTo>
                  <a:lnTo>
                    <a:pt x="117191" y="112741"/>
                  </a:lnTo>
                  <a:lnTo>
                    <a:pt x="112133" y="111095"/>
                  </a:lnTo>
                  <a:lnTo>
                    <a:pt x="115505" y="114387"/>
                  </a:lnTo>
                  <a:lnTo>
                    <a:pt x="117191" y="114387"/>
                  </a:lnTo>
                  <a:lnTo>
                    <a:pt x="113819" y="119324"/>
                  </a:lnTo>
                  <a:lnTo>
                    <a:pt x="115505" y="116033"/>
                  </a:lnTo>
                  <a:lnTo>
                    <a:pt x="105388" y="104512"/>
                  </a:lnTo>
                  <a:lnTo>
                    <a:pt x="107074" y="107803"/>
                  </a:lnTo>
                  <a:lnTo>
                    <a:pt x="103701" y="109449"/>
                  </a:lnTo>
                  <a:lnTo>
                    <a:pt x="105388" y="116033"/>
                  </a:lnTo>
                  <a:lnTo>
                    <a:pt x="113819" y="120970"/>
                  </a:lnTo>
                  <a:lnTo>
                    <a:pt x="108760" y="120970"/>
                  </a:lnTo>
                  <a:lnTo>
                    <a:pt x="102015" y="111095"/>
                  </a:lnTo>
                  <a:lnTo>
                    <a:pt x="102015" y="107803"/>
                  </a:lnTo>
                  <a:lnTo>
                    <a:pt x="96957" y="111095"/>
                  </a:lnTo>
                  <a:lnTo>
                    <a:pt x="93584" y="107803"/>
                  </a:lnTo>
                  <a:lnTo>
                    <a:pt x="88526" y="109449"/>
                  </a:lnTo>
                  <a:lnTo>
                    <a:pt x="95270" y="109449"/>
                  </a:lnTo>
                  <a:lnTo>
                    <a:pt x="96957" y="112741"/>
                  </a:lnTo>
                  <a:lnTo>
                    <a:pt x="86839" y="124262"/>
                  </a:lnTo>
                  <a:lnTo>
                    <a:pt x="80094" y="119324"/>
                  </a:lnTo>
                  <a:lnTo>
                    <a:pt x="85153" y="117679"/>
                  </a:lnTo>
                  <a:lnTo>
                    <a:pt x="85153" y="116033"/>
                  </a:lnTo>
                  <a:lnTo>
                    <a:pt x="78408" y="117679"/>
                  </a:lnTo>
                  <a:lnTo>
                    <a:pt x="86839" y="111095"/>
                  </a:lnTo>
                  <a:lnTo>
                    <a:pt x="80094" y="106158"/>
                  </a:lnTo>
                  <a:lnTo>
                    <a:pt x="80094" y="107803"/>
                  </a:lnTo>
                  <a:lnTo>
                    <a:pt x="76722" y="106158"/>
                  </a:lnTo>
                  <a:lnTo>
                    <a:pt x="83467" y="109449"/>
                  </a:lnTo>
                  <a:lnTo>
                    <a:pt x="83467" y="112741"/>
                  </a:lnTo>
                  <a:lnTo>
                    <a:pt x="73349" y="116033"/>
                  </a:lnTo>
                  <a:lnTo>
                    <a:pt x="78408" y="116033"/>
                  </a:lnTo>
                  <a:lnTo>
                    <a:pt x="78408" y="117679"/>
                  </a:lnTo>
                  <a:lnTo>
                    <a:pt x="78408" y="127554"/>
                  </a:lnTo>
                  <a:lnTo>
                    <a:pt x="76722" y="124262"/>
                  </a:lnTo>
                  <a:lnTo>
                    <a:pt x="78408" y="119324"/>
                  </a:lnTo>
                  <a:lnTo>
                    <a:pt x="69977" y="120970"/>
                  </a:lnTo>
                  <a:lnTo>
                    <a:pt x="69977" y="124262"/>
                  </a:lnTo>
                  <a:lnTo>
                    <a:pt x="78408" y="129200"/>
                  </a:lnTo>
                  <a:lnTo>
                    <a:pt x="66605" y="125908"/>
                  </a:lnTo>
                  <a:lnTo>
                    <a:pt x="69977" y="117679"/>
                  </a:lnTo>
                  <a:lnTo>
                    <a:pt x="64918" y="109449"/>
                  </a:lnTo>
                  <a:lnTo>
                    <a:pt x="53115" y="107803"/>
                  </a:lnTo>
                  <a:lnTo>
                    <a:pt x="41311" y="119324"/>
                  </a:lnTo>
                  <a:lnTo>
                    <a:pt x="29508" y="120970"/>
                  </a:lnTo>
                  <a:lnTo>
                    <a:pt x="16018" y="130845"/>
                  </a:lnTo>
                  <a:lnTo>
                    <a:pt x="14332" y="129200"/>
                  </a:lnTo>
                  <a:lnTo>
                    <a:pt x="16018" y="130845"/>
                  </a:lnTo>
                  <a:lnTo>
                    <a:pt x="12645" y="135783"/>
                  </a:lnTo>
                  <a:lnTo>
                    <a:pt x="4214" y="134137"/>
                  </a:lnTo>
                  <a:lnTo>
                    <a:pt x="9273" y="117679"/>
                  </a:lnTo>
                  <a:lnTo>
                    <a:pt x="32880" y="101220"/>
                  </a:lnTo>
                  <a:lnTo>
                    <a:pt x="41311" y="89699"/>
                  </a:lnTo>
                  <a:lnTo>
                    <a:pt x="42997" y="73240"/>
                  </a:lnTo>
                  <a:lnTo>
                    <a:pt x="36253" y="46906"/>
                  </a:lnTo>
                  <a:lnTo>
                    <a:pt x="37939" y="37031"/>
                  </a:lnTo>
                  <a:lnTo>
                    <a:pt x="80094" y="32094"/>
                  </a:lnTo>
                  <a:lnTo>
                    <a:pt x="78408" y="22219"/>
                  </a:lnTo>
                  <a:lnTo>
                    <a:pt x="108760" y="5760"/>
                  </a:lnTo>
                  <a:lnTo>
                    <a:pt x="108760" y="7406"/>
                  </a:lnTo>
                  <a:lnTo>
                    <a:pt x="113819" y="4114"/>
                  </a:lnTo>
                  <a:lnTo>
                    <a:pt x="115505"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0" name="Stede Broec">
              <a:extLst>
                <a:ext uri="{FF2B5EF4-FFF2-40B4-BE49-F238E27FC236}">
                  <a16:creationId xmlns:a16="http://schemas.microsoft.com/office/drawing/2014/main" id="{6D8CDD73-14FC-45EF-B151-BB84FF800355}"/>
                </a:ext>
              </a:extLst>
            </p:cNvPr>
            <p:cNvSpPr/>
            <p:nvPr/>
          </p:nvSpPr>
          <p:spPr>
            <a:xfrm>
              <a:off x="6023964" y="2501570"/>
              <a:ext cx="81508" cy="71857"/>
            </a:xfrm>
            <a:custGeom>
              <a:avLst/>
              <a:gdLst/>
              <a:ahLst/>
              <a:cxnLst/>
              <a:rect l="l" t="t" r="r" b="b"/>
              <a:pathLst>
                <a:path w="117081" h="102870" extrusionOk="0">
                  <a:moveTo>
                    <a:pt x="58174" y="4114"/>
                  </a:moveTo>
                  <a:lnTo>
                    <a:pt x="112133" y="7406"/>
                  </a:lnTo>
                  <a:lnTo>
                    <a:pt x="113819" y="78178"/>
                  </a:lnTo>
                  <a:lnTo>
                    <a:pt x="110447" y="79824"/>
                  </a:lnTo>
                  <a:lnTo>
                    <a:pt x="107074" y="76532"/>
                  </a:lnTo>
                  <a:lnTo>
                    <a:pt x="112133" y="81470"/>
                  </a:lnTo>
                  <a:lnTo>
                    <a:pt x="107074" y="78178"/>
                  </a:lnTo>
                  <a:lnTo>
                    <a:pt x="95270" y="81470"/>
                  </a:lnTo>
                  <a:lnTo>
                    <a:pt x="93584" y="78178"/>
                  </a:lnTo>
                  <a:lnTo>
                    <a:pt x="37939" y="84761"/>
                  </a:lnTo>
                  <a:lnTo>
                    <a:pt x="34566" y="89699"/>
                  </a:lnTo>
                  <a:lnTo>
                    <a:pt x="32880" y="99574"/>
                  </a:lnTo>
                  <a:lnTo>
                    <a:pt x="4214" y="22218"/>
                  </a:lnTo>
                  <a:lnTo>
                    <a:pt x="41311" y="5760"/>
                  </a:lnTo>
                  <a:lnTo>
                    <a:pt x="58174"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1" name="Someren">
              <a:extLst>
                <a:ext uri="{FF2B5EF4-FFF2-40B4-BE49-F238E27FC236}">
                  <a16:creationId xmlns:a16="http://schemas.microsoft.com/office/drawing/2014/main" id="{CD008790-C7CA-403B-9153-FB9D211556B8}"/>
                </a:ext>
              </a:extLst>
            </p:cNvPr>
            <p:cNvSpPr/>
            <p:nvPr/>
          </p:nvSpPr>
          <p:spPr>
            <a:xfrm>
              <a:off x="6504075" y="4564011"/>
              <a:ext cx="136287" cy="246742"/>
            </a:xfrm>
            <a:custGeom>
              <a:avLst/>
              <a:gdLst/>
              <a:ahLst/>
              <a:cxnLst/>
              <a:rect l="l" t="t" r="r" b="b"/>
              <a:pathLst>
                <a:path w="210747" h="342900" extrusionOk="0">
                  <a:moveTo>
                    <a:pt x="76722" y="28802"/>
                  </a:moveTo>
                  <a:lnTo>
                    <a:pt x="91898" y="48552"/>
                  </a:lnTo>
                  <a:lnTo>
                    <a:pt x="107074" y="116033"/>
                  </a:lnTo>
                  <a:lnTo>
                    <a:pt x="155974" y="167055"/>
                  </a:lnTo>
                  <a:lnTo>
                    <a:pt x="162719" y="214785"/>
                  </a:lnTo>
                  <a:lnTo>
                    <a:pt x="171150" y="211493"/>
                  </a:lnTo>
                  <a:lnTo>
                    <a:pt x="211620" y="302015"/>
                  </a:lnTo>
                  <a:lnTo>
                    <a:pt x="58173" y="348100"/>
                  </a:lnTo>
                  <a:lnTo>
                    <a:pt x="56487" y="341516"/>
                  </a:lnTo>
                  <a:lnTo>
                    <a:pt x="58173" y="326703"/>
                  </a:lnTo>
                  <a:lnTo>
                    <a:pt x="49742" y="320120"/>
                  </a:lnTo>
                  <a:lnTo>
                    <a:pt x="5901" y="168700"/>
                  </a:lnTo>
                  <a:lnTo>
                    <a:pt x="4214" y="112741"/>
                  </a:lnTo>
                  <a:lnTo>
                    <a:pt x="12645" y="45261"/>
                  </a:lnTo>
                  <a:lnTo>
                    <a:pt x="21076" y="43615"/>
                  </a:lnTo>
                  <a:lnTo>
                    <a:pt x="27821" y="30448"/>
                  </a:lnTo>
                  <a:lnTo>
                    <a:pt x="32880" y="5760"/>
                  </a:lnTo>
                  <a:lnTo>
                    <a:pt x="56487" y="4114"/>
                  </a:lnTo>
                  <a:lnTo>
                    <a:pt x="76722" y="28802"/>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2" name="Gemert-Bakel">
              <a:extLst>
                <a:ext uri="{FF2B5EF4-FFF2-40B4-BE49-F238E27FC236}">
                  <a16:creationId xmlns:a16="http://schemas.microsoft.com/office/drawing/2014/main" id="{13E9335F-F48C-42C3-8367-F604D36C3922}"/>
                </a:ext>
              </a:extLst>
            </p:cNvPr>
            <p:cNvSpPr/>
            <p:nvPr/>
          </p:nvSpPr>
          <p:spPr>
            <a:xfrm>
              <a:off x="6504557" y="4347736"/>
              <a:ext cx="228847" cy="179988"/>
            </a:xfrm>
            <a:custGeom>
              <a:avLst/>
              <a:gdLst/>
              <a:ahLst/>
              <a:cxnLst/>
              <a:rect l="l" t="t" r="r" b="b"/>
              <a:pathLst>
                <a:path w="316120" h="274320" extrusionOk="0">
                  <a:moveTo>
                    <a:pt x="214992" y="13989"/>
                  </a:moveTo>
                  <a:lnTo>
                    <a:pt x="233541" y="51844"/>
                  </a:lnTo>
                  <a:lnTo>
                    <a:pt x="265579" y="74886"/>
                  </a:lnTo>
                  <a:lnTo>
                    <a:pt x="292559" y="79824"/>
                  </a:lnTo>
                  <a:lnTo>
                    <a:pt x="314479" y="231243"/>
                  </a:lnTo>
                  <a:lnTo>
                    <a:pt x="231854" y="255931"/>
                  </a:lnTo>
                  <a:lnTo>
                    <a:pt x="216678" y="262515"/>
                  </a:lnTo>
                  <a:lnTo>
                    <a:pt x="201502" y="265807"/>
                  </a:lnTo>
                  <a:lnTo>
                    <a:pt x="193071" y="269098"/>
                  </a:lnTo>
                  <a:lnTo>
                    <a:pt x="169464" y="270744"/>
                  </a:lnTo>
                  <a:lnTo>
                    <a:pt x="135740" y="278973"/>
                  </a:lnTo>
                  <a:lnTo>
                    <a:pt x="125622" y="275682"/>
                  </a:lnTo>
                  <a:lnTo>
                    <a:pt x="115505" y="280619"/>
                  </a:lnTo>
                  <a:lnTo>
                    <a:pt x="108760" y="269098"/>
                  </a:lnTo>
                  <a:lnTo>
                    <a:pt x="98643" y="264160"/>
                  </a:lnTo>
                  <a:lnTo>
                    <a:pt x="98643" y="254286"/>
                  </a:lnTo>
                  <a:lnTo>
                    <a:pt x="86839" y="247702"/>
                  </a:lnTo>
                  <a:lnTo>
                    <a:pt x="88525" y="242764"/>
                  </a:lnTo>
                  <a:lnTo>
                    <a:pt x="91897" y="244410"/>
                  </a:lnTo>
                  <a:lnTo>
                    <a:pt x="91897" y="237827"/>
                  </a:lnTo>
                  <a:lnTo>
                    <a:pt x="54801" y="223014"/>
                  </a:lnTo>
                  <a:lnTo>
                    <a:pt x="58173" y="211493"/>
                  </a:lnTo>
                  <a:lnTo>
                    <a:pt x="54801" y="209847"/>
                  </a:lnTo>
                  <a:lnTo>
                    <a:pt x="54801" y="199972"/>
                  </a:lnTo>
                  <a:lnTo>
                    <a:pt x="51428" y="198326"/>
                  </a:lnTo>
                  <a:lnTo>
                    <a:pt x="46370" y="188451"/>
                  </a:lnTo>
                  <a:lnTo>
                    <a:pt x="39625" y="181867"/>
                  </a:lnTo>
                  <a:lnTo>
                    <a:pt x="39625" y="180221"/>
                  </a:lnTo>
                  <a:lnTo>
                    <a:pt x="49742" y="178576"/>
                  </a:lnTo>
                  <a:lnTo>
                    <a:pt x="44684" y="176930"/>
                  </a:lnTo>
                  <a:lnTo>
                    <a:pt x="46370" y="173638"/>
                  </a:lnTo>
                  <a:lnTo>
                    <a:pt x="51428" y="175284"/>
                  </a:lnTo>
                  <a:lnTo>
                    <a:pt x="41311" y="163763"/>
                  </a:lnTo>
                  <a:lnTo>
                    <a:pt x="27821" y="144013"/>
                  </a:lnTo>
                  <a:lnTo>
                    <a:pt x="17704" y="117679"/>
                  </a:lnTo>
                  <a:lnTo>
                    <a:pt x="5900" y="74886"/>
                  </a:lnTo>
                  <a:lnTo>
                    <a:pt x="12645" y="61719"/>
                  </a:lnTo>
                  <a:lnTo>
                    <a:pt x="5900" y="53490"/>
                  </a:lnTo>
                  <a:lnTo>
                    <a:pt x="4214" y="43615"/>
                  </a:lnTo>
                  <a:lnTo>
                    <a:pt x="78408" y="38677"/>
                  </a:lnTo>
                  <a:lnTo>
                    <a:pt x="88525" y="32094"/>
                  </a:lnTo>
                  <a:lnTo>
                    <a:pt x="93584" y="35385"/>
                  </a:lnTo>
                  <a:lnTo>
                    <a:pt x="128995" y="23865"/>
                  </a:lnTo>
                  <a:lnTo>
                    <a:pt x="211620" y="4114"/>
                  </a:lnTo>
                  <a:lnTo>
                    <a:pt x="214992" y="13989"/>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3" name="Echt-Susteren">
              <a:extLst>
                <a:ext uri="{FF2B5EF4-FFF2-40B4-BE49-F238E27FC236}">
                  <a16:creationId xmlns:a16="http://schemas.microsoft.com/office/drawing/2014/main" id="{E6475570-70AD-47F4-976C-5A506D9E489A}"/>
                </a:ext>
              </a:extLst>
            </p:cNvPr>
            <p:cNvSpPr/>
            <p:nvPr/>
          </p:nvSpPr>
          <p:spPr>
            <a:xfrm>
              <a:off x="6665714" y="5104768"/>
              <a:ext cx="266915" cy="166713"/>
            </a:xfrm>
            <a:custGeom>
              <a:avLst/>
              <a:gdLst/>
              <a:ahLst/>
              <a:cxnLst/>
              <a:rect l="l" t="t" r="r" b="b"/>
              <a:pathLst>
                <a:path w="374661" h="262890" extrusionOk="0">
                  <a:moveTo>
                    <a:pt x="164406" y="4114"/>
                  </a:moveTo>
                  <a:lnTo>
                    <a:pt x="172837" y="10698"/>
                  </a:lnTo>
                  <a:lnTo>
                    <a:pt x="179582" y="5760"/>
                  </a:lnTo>
                  <a:lnTo>
                    <a:pt x="184640" y="13989"/>
                  </a:lnTo>
                  <a:lnTo>
                    <a:pt x="188013" y="9052"/>
                  </a:lnTo>
                  <a:lnTo>
                    <a:pt x="193072" y="15635"/>
                  </a:lnTo>
                  <a:lnTo>
                    <a:pt x="189699" y="22219"/>
                  </a:lnTo>
                  <a:lnTo>
                    <a:pt x="198130" y="40323"/>
                  </a:lnTo>
                  <a:lnTo>
                    <a:pt x="209934" y="56782"/>
                  </a:lnTo>
                  <a:lnTo>
                    <a:pt x="230168" y="55136"/>
                  </a:lnTo>
                  <a:lnTo>
                    <a:pt x="230168" y="58427"/>
                  </a:lnTo>
                  <a:lnTo>
                    <a:pt x="241972" y="56782"/>
                  </a:lnTo>
                  <a:lnTo>
                    <a:pt x="241972" y="58427"/>
                  </a:lnTo>
                  <a:lnTo>
                    <a:pt x="248717" y="58427"/>
                  </a:lnTo>
                  <a:lnTo>
                    <a:pt x="250403" y="55136"/>
                  </a:lnTo>
                  <a:lnTo>
                    <a:pt x="252089" y="58427"/>
                  </a:lnTo>
                  <a:lnTo>
                    <a:pt x="268952" y="45261"/>
                  </a:lnTo>
                  <a:lnTo>
                    <a:pt x="279069" y="53490"/>
                  </a:lnTo>
                  <a:lnTo>
                    <a:pt x="285814" y="48552"/>
                  </a:lnTo>
                  <a:lnTo>
                    <a:pt x="289186" y="50198"/>
                  </a:lnTo>
                  <a:lnTo>
                    <a:pt x="295931" y="43615"/>
                  </a:lnTo>
                  <a:lnTo>
                    <a:pt x="295931" y="45261"/>
                  </a:lnTo>
                  <a:lnTo>
                    <a:pt x="299304" y="38678"/>
                  </a:lnTo>
                  <a:lnTo>
                    <a:pt x="319538" y="43615"/>
                  </a:lnTo>
                  <a:lnTo>
                    <a:pt x="324597" y="55136"/>
                  </a:lnTo>
                  <a:lnTo>
                    <a:pt x="344832" y="45261"/>
                  </a:lnTo>
                  <a:lnTo>
                    <a:pt x="343145" y="48552"/>
                  </a:lnTo>
                  <a:lnTo>
                    <a:pt x="356635" y="56782"/>
                  </a:lnTo>
                  <a:lnTo>
                    <a:pt x="361694" y="65011"/>
                  </a:lnTo>
                  <a:lnTo>
                    <a:pt x="358322" y="66657"/>
                  </a:lnTo>
                  <a:lnTo>
                    <a:pt x="360008" y="73240"/>
                  </a:lnTo>
                  <a:lnTo>
                    <a:pt x="366753" y="71595"/>
                  </a:lnTo>
                  <a:lnTo>
                    <a:pt x="370125" y="84762"/>
                  </a:lnTo>
                  <a:lnTo>
                    <a:pt x="380243" y="96282"/>
                  </a:lnTo>
                  <a:lnTo>
                    <a:pt x="356635" y="106157"/>
                  </a:lnTo>
                  <a:lnTo>
                    <a:pt x="351577" y="101220"/>
                  </a:lnTo>
                  <a:lnTo>
                    <a:pt x="344832" y="109449"/>
                  </a:lnTo>
                  <a:lnTo>
                    <a:pt x="338087" y="111095"/>
                  </a:lnTo>
                  <a:lnTo>
                    <a:pt x="317852" y="129199"/>
                  </a:lnTo>
                  <a:lnTo>
                    <a:pt x="306049" y="150596"/>
                  </a:lnTo>
                  <a:lnTo>
                    <a:pt x="292559" y="155534"/>
                  </a:lnTo>
                  <a:lnTo>
                    <a:pt x="292559" y="158825"/>
                  </a:lnTo>
                  <a:lnTo>
                    <a:pt x="295931" y="162117"/>
                  </a:lnTo>
                  <a:lnTo>
                    <a:pt x="284128" y="178576"/>
                  </a:lnTo>
                  <a:lnTo>
                    <a:pt x="277383" y="183514"/>
                  </a:lnTo>
                  <a:lnTo>
                    <a:pt x="279069" y="190096"/>
                  </a:lnTo>
                  <a:lnTo>
                    <a:pt x="274010" y="196680"/>
                  </a:lnTo>
                  <a:lnTo>
                    <a:pt x="277383" y="199972"/>
                  </a:lnTo>
                  <a:lnTo>
                    <a:pt x="275697" y="208201"/>
                  </a:lnTo>
                  <a:lnTo>
                    <a:pt x="277383" y="218076"/>
                  </a:lnTo>
                  <a:lnTo>
                    <a:pt x="272324" y="224660"/>
                  </a:lnTo>
                  <a:lnTo>
                    <a:pt x="258834" y="231243"/>
                  </a:lnTo>
                  <a:lnTo>
                    <a:pt x="262207" y="237827"/>
                  </a:lnTo>
                  <a:lnTo>
                    <a:pt x="258834" y="247702"/>
                  </a:lnTo>
                  <a:lnTo>
                    <a:pt x="247031" y="241118"/>
                  </a:lnTo>
                  <a:lnTo>
                    <a:pt x="228482" y="246056"/>
                  </a:lnTo>
                  <a:lnTo>
                    <a:pt x="223424" y="231243"/>
                  </a:lnTo>
                  <a:lnTo>
                    <a:pt x="209934" y="214785"/>
                  </a:lnTo>
                  <a:lnTo>
                    <a:pt x="198130" y="176930"/>
                  </a:lnTo>
                  <a:lnTo>
                    <a:pt x="189699" y="170346"/>
                  </a:lnTo>
                  <a:lnTo>
                    <a:pt x="162719" y="193389"/>
                  </a:lnTo>
                  <a:lnTo>
                    <a:pt x="155974" y="203264"/>
                  </a:lnTo>
                  <a:lnTo>
                    <a:pt x="117191" y="206556"/>
                  </a:lnTo>
                  <a:lnTo>
                    <a:pt x="117191" y="219722"/>
                  </a:lnTo>
                  <a:lnTo>
                    <a:pt x="128995" y="237827"/>
                  </a:lnTo>
                  <a:lnTo>
                    <a:pt x="134054" y="241118"/>
                  </a:lnTo>
                  <a:lnTo>
                    <a:pt x="132367" y="254286"/>
                  </a:lnTo>
                  <a:lnTo>
                    <a:pt x="115505" y="260869"/>
                  </a:lnTo>
                  <a:lnTo>
                    <a:pt x="100329" y="264160"/>
                  </a:lnTo>
                  <a:lnTo>
                    <a:pt x="95270" y="260869"/>
                  </a:lnTo>
                  <a:lnTo>
                    <a:pt x="90212" y="247702"/>
                  </a:lnTo>
                  <a:lnTo>
                    <a:pt x="90212" y="244410"/>
                  </a:lnTo>
                  <a:lnTo>
                    <a:pt x="95270" y="239473"/>
                  </a:lnTo>
                  <a:lnTo>
                    <a:pt x="88526" y="219722"/>
                  </a:lnTo>
                  <a:lnTo>
                    <a:pt x="76722" y="221368"/>
                  </a:lnTo>
                  <a:lnTo>
                    <a:pt x="68291" y="214785"/>
                  </a:lnTo>
                  <a:lnTo>
                    <a:pt x="54801" y="218076"/>
                  </a:lnTo>
                  <a:lnTo>
                    <a:pt x="49742" y="157179"/>
                  </a:lnTo>
                  <a:lnTo>
                    <a:pt x="42997" y="157179"/>
                  </a:lnTo>
                  <a:lnTo>
                    <a:pt x="22763" y="193389"/>
                  </a:lnTo>
                  <a:lnTo>
                    <a:pt x="17704" y="193389"/>
                  </a:lnTo>
                  <a:lnTo>
                    <a:pt x="10959" y="186805"/>
                  </a:lnTo>
                  <a:lnTo>
                    <a:pt x="14332" y="178576"/>
                  </a:lnTo>
                  <a:lnTo>
                    <a:pt x="7587" y="158825"/>
                  </a:lnTo>
                  <a:lnTo>
                    <a:pt x="10959" y="152242"/>
                  </a:lnTo>
                  <a:lnTo>
                    <a:pt x="19390" y="147304"/>
                  </a:lnTo>
                  <a:lnTo>
                    <a:pt x="19390" y="142367"/>
                  </a:lnTo>
                  <a:lnTo>
                    <a:pt x="16018" y="132492"/>
                  </a:lnTo>
                  <a:lnTo>
                    <a:pt x="5901" y="122617"/>
                  </a:lnTo>
                  <a:lnTo>
                    <a:pt x="4214" y="112741"/>
                  </a:lnTo>
                  <a:lnTo>
                    <a:pt x="12645" y="104512"/>
                  </a:lnTo>
                  <a:lnTo>
                    <a:pt x="24449" y="99574"/>
                  </a:lnTo>
                  <a:lnTo>
                    <a:pt x="34566" y="101220"/>
                  </a:lnTo>
                  <a:lnTo>
                    <a:pt x="48056" y="109449"/>
                  </a:lnTo>
                  <a:lnTo>
                    <a:pt x="53115" y="107804"/>
                  </a:lnTo>
                  <a:lnTo>
                    <a:pt x="59860" y="101220"/>
                  </a:lnTo>
                  <a:lnTo>
                    <a:pt x="69977" y="83115"/>
                  </a:lnTo>
                  <a:lnTo>
                    <a:pt x="81781" y="78178"/>
                  </a:lnTo>
                  <a:lnTo>
                    <a:pt x="88526" y="66657"/>
                  </a:lnTo>
                  <a:lnTo>
                    <a:pt x="91898" y="68303"/>
                  </a:lnTo>
                  <a:lnTo>
                    <a:pt x="123936" y="5760"/>
                  </a:lnTo>
                  <a:lnTo>
                    <a:pt x="127309" y="7406"/>
                  </a:lnTo>
                  <a:lnTo>
                    <a:pt x="139112" y="5760"/>
                  </a:lnTo>
                  <a:lnTo>
                    <a:pt x="140799" y="9052"/>
                  </a:lnTo>
                  <a:lnTo>
                    <a:pt x="145857" y="5760"/>
                  </a:lnTo>
                  <a:lnTo>
                    <a:pt x="147543" y="7406"/>
                  </a:lnTo>
                  <a:lnTo>
                    <a:pt x="161033" y="4114"/>
                  </a:lnTo>
                  <a:lnTo>
                    <a:pt x="164406" y="4114"/>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4" name="Texel">
              <a:extLst>
                <a:ext uri="{FF2B5EF4-FFF2-40B4-BE49-F238E27FC236}">
                  <a16:creationId xmlns:a16="http://schemas.microsoft.com/office/drawing/2014/main" id="{8F268753-A536-4425-9CDC-CFCD415E4F45}"/>
                </a:ext>
              </a:extLst>
            </p:cNvPr>
            <p:cNvSpPr/>
            <p:nvPr/>
          </p:nvSpPr>
          <p:spPr>
            <a:xfrm>
              <a:off x="5495377" y="1734742"/>
              <a:ext cx="258114" cy="380931"/>
            </a:xfrm>
            <a:custGeom>
              <a:avLst/>
              <a:gdLst/>
              <a:ahLst/>
              <a:cxnLst/>
              <a:rect l="l" t="t" r="r" b="b"/>
              <a:pathLst>
                <a:path w="386369" h="548640" extrusionOk="0">
                  <a:moveTo>
                    <a:pt x="39625" y="494581"/>
                  </a:moveTo>
                  <a:lnTo>
                    <a:pt x="51428" y="499519"/>
                  </a:lnTo>
                  <a:lnTo>
                    <a:pt x="32880" y="494581"/>
                  </a:lnTo>
                  <a:lnTo>
                    <a:pt x="26135" y="501165"/>
                  </a:lnTo>
                  <a:lnTo>
                    <a:pt x="26135" y="497873"/>
                  </a:lnTo>
                  <a:lnTo>
                    <a:pt x="21076" y="496227"/>
                  </a:lnTo>
                  <a:lnTo>
                    <a:pt x="19390" y="499519"/>
                  </a:lnTo>
                  <a:lnTo>
                    <a:pt x="22763" y="502811"/>
                  </a:lnTo>
                  <a:lnTo>
                    <a:pt x="37939" y="504456"/>
                  </a:lnTo>
                  <a:lnTo>
                    <a:pt x="64918" y="502811"/>
                  </a:lnTo>
                  <a:lnTo>
                    <a:pt x="75036" y="512686"/>
                  </a:lnTo>
                  <a:lnTo>
                    <a:pt x="51428" y="527499"/>
                  </a:lnTo>
                  <a:lnTo>
                    <a:pt x="37939" y="547249"/>
                  </a:lnTo>
                  <a:lnTo>
                    <a:pt x="31194" y="547249"/>
                  </a:lnTo>
                  <a:lnTo>
                    <a:pt x="24449" y="543957"/>
                  </a:lnTo>
                  <a:lnTo>
                    <a:pt x="12645" y="534082"/>
                  </a:lnTo>
                  <a:lnTo>
                    <a:pt x="4214" y="520915"/>
                  </a:lnTo>
                  <a:lnTo>
                    <a:pt x="4214" y="509394"/>
                  </a:lnTo>
                  <a:lnTo>
                    <a:pt x="9273" y="496227"/>
                  </a:lnTo>
                  <a:lnTo>
                    <a:pt x="17704" y="487998"/>
                  </a:lnTo>
                  <a:lnTo>
                    <a:pt x="26135" y="487998"/>
                  </a:lnTo>
                  <a:lnTo>
                    <a:pt x="39625" y="494581"/>
                  </a:lnTo>
                  <a:close/>
                  <a:moveTo>
                    <a:pt x="378556" y="134137"/>
                  </a:moveTo>
                  <a:lnTo>
                    <a:pt x="376870" y="135783"/>
                  </a:lnTo>
                  <a:lnTo>
                    <a:pt x="375184" y="135783"/>
                  </a:lnTo>
                  <a:lnTo>
                    <a:pt x="378556" y="130846"/>
                  </a:lnTo>
                  <a:lnTo>
                    <a:pt x="378556" y="134137"/>
                  </a:lnTo>
                  <a:close/>
                  <a:moveTo>
                    <a:pt x="240286" y="114387"/>
                  </a:moveTo>
                  <a:lnTo>
                    <a:pt x="238599" y="112741"/>
                  </a:lnTo>
                  <a:lnTo>
                    <a:pt x="241972" y="111095"/>
                  </a:lnTo>
                  <a:lnTo>
                    <a:pt x="240286" y="114387"/>
                  </a:lnTo>
                  <a:close/>
                  <a:moveTo>
                    <a:pt x="253775" y="104512"/>
                  </a:moveTo>
                  <a:lnTo>
                    <a:pt x="248717" y="106158"/>
                  </a:lnTo>
                  <a:lnTo>
                    <a:pt x="245344" y="111095"/>
                  </a:lnTo>
                  <a:lnTo>
                    <a:pt x="240286" y="111095"/>
                  </a:lnTo>
                  <a:lnTo>
                    <a:pt x="245344" y="104512"/>
                  </a:lnTo>
                  <a:lnTo>
                    <a:pt x="248717" y="104512"/>
                  </a:lnTo>
                  <a:lnTo>
                    <a:pt x="248717" y="106158"/>
                  </a:lnTo>
                  <a:lnTo>
                    <a:pt x="250403" y="97928"/>
                  </a:lnTo>
                  <a:lnTo>
                    <a:pt x="253775" y="99574"/>
                  </a:lnTo>
                  <a:lnTo>
                    <a:pt x="253775" y="104512"/>
                  </a:lnTo>
                  <a:close/>
                  <a:moveTo>
                    <a:pt x="312793" y="7406"/>
                  </a:moveTo>
                  <a:lnTo>
                    <a:pt x="316166" y="10697"/>
                  </a:lnTo>
                  <a:lnTo>
                    <a:pt x="309421" y="7406"/>
                  </a:lnTo>
                  <a:lnTo>
                    <a:pt x="294245" y="12343"/>
                  </a:lnTo>
                  <a:lnTo>
                    <a:pt x="309421" y="7406"/>
                  </a:lnTo>
                  <a:lnTo>
                    <a:pt x="314480" y="10697"/>
                  </a:lnTo>
                  <a:lnTo>
                    <a:pt x="317852" y="10697"/>
                  </a:lnTo>
                  <a:lnTo>
                    <a:pt x="316166" y="12343"/>
                  </a:lnTo>
                  <a:lnTo>
                    <a:pt x="317852" y="12343"/>
                  </a:lnTo>
                  <a:lnTo>
                    <a:pt x="317852" y="13989"/>
                  </a:lnTo>
                  <a:lnTo>
                    <a:pt x="333028" y="32094"/>
                  </a:lnTo>
                  <a:lnTo>
                    <a:pt x="336400" y="45261"/>
                  </a:lnTo>
                  <a:lnTo>
                    <a:pt x="343145" y="56782"/>
                  </a:lnTo>
                  <a:lnTo>
                    <a:pt x="343145" y="61719"/>
                  </a:lnTo>
                  <a:lnTo>
                    <a:pt x="343145" y="56782"/>
                  </a:lnTo>
                  <a:lnTo>
                    <a:pt x="339773" y="53490"/>
                  </a:lnTo>
                  <a:lnTo>
                    <a:pt x="339773" y="68303"/>
                  </a:lnTo>
                  <a:lnTo>
                    <a:pt x="344832" y="74886"/>
                  </a:lnTo>
                  <a:lnTo>
                    <a:pt x="353262" y="73240"/>
                  </a:lnTo>
                  <a:lnTo>
                    <a:pt x="356635" y="76532"/>
                  </a:lnTo>
                  <a:lnTo>
                    <a:pt x="380242" y="117679"/>
                  </a:lnTo>
                  <a:lnTo>
                    <a:pt x="381928" y="120970"/>
                  </a:lnTo>
                  <a:lnTo>
                    <a:pt x="380242" y="120970"/>
                  </a:lnTo>
                  <a:lnTo>
                    <a:pt x="378556" y="119324"/>
                  </a:lnTo>
                  <a:lnTo>
                    <a:pt x="375184" y="119324"/>
                  </a:lnTo>
                  <a:lnTo>
                    <a:pt x="381928" y="120970"/>
                  </a:lnTo>
                  <a:lnTo>
                    <a:pt x="383615" y="124262"/>
                  </a:lnTo>
                  <a:lnTo>
                    <a:pt x="385301" y="129200"/>
                  </a:lnTo>
                  <a:lnTo>
                    <a:pt x="381928" y="129200"/>
                  </a:lnTo>
                  <a:lnTo>
                    <a:pt x="381928" y="134137"/>
                  </a:lnTo>
                  <a:lnTo>
                    <a:pt x="376870" y="127554"/>
                  </a:lnTo>
                  <a:lnTo>
                    <a:pt x="378556" y="130846"/>
                  </a:lnTo>
                  <a:lnTo>
                    <a:pt x="375184" y="130846"/>
                  </a:lnTo>
                  <a:lnTo>
                    <a:pt x="375184" y="125908"/>
                  </a:lnTo>
                  <a:lnTo>
                    <a:pt x="376870" y="132491"/>
                  </a:lnTo>
                  <a:lnTo>
                    <a:pt x="375184" y="130846"/>
                  </a:lnTo>
                  <a:lnTo>
                    <a:pt x="373497" y="139075"/>
                  </a:lnTo>
                  <a:lnTo>
                    <a:pt x="380242" y="135783"/>
                  </a:lnTo>
                  <a:lnTo>
                    <a:pt x="373497" y="140721"/>
                  </a:lnTo>
                  <a:lnTo>
                    <a:pt x="376870" y="144013"/>
                  </a:lnTo>
                  <a:lnTo>
                    <a:pt x="371811" y="152242"/>
                  </a:lnTo>
                  <a:lnTo>
                    <a:pt x="370125" y="208201"/>
                  </a:lnTo>
                  <a:lnTo>
                    <a:pt x="371811" y="241118"/>
                  </a:lnTo>
                  <a:lnTo>
                    <a:pt x="366752" y="260869"/>
                  </a:lnTo>
                  <a:lnTo>
                    <a:pt x="353262" y="275682"/>
                  </a:lnTo>
                  <a:lnTo>
                    <a:pt x="343145" y="278973"/>
                  </a:lnTo>
                  <a:lnTo>
                    <a:pt x="339773" y="288848"/>
                  </a:lnTo>
                  <a:lnTo>
                    <a:pt x="331342" y="293786"/>
                  </a:lnTo>
                  <a:lnTo>
                    <a:pt x="331342" y="316828"/>
                  </a:lnTo>
                  <a:lnTo>
                    <a:pt x="314480" y="333287"/>
                  </a:lnTo>
                  <a:lnTo>
                    <a:pt x="311107" y="343162"/>
                  </a:lnTo>
                  <a:lnTo>
                    <a:pt x="306048" y="351391"/>
                  </a:lnTo>
                  <a:lnTo>
                    <a:pt x="300990" y="353037"/>
                  </a:lnTo>
                  <a:lnTo>
                    <a:pt x="300990" y="354683"/>
                  </a:lnTo>
                  <a:lnTo>
                    <a:pt x="300990" y="353037"/>
                  </a:lnTo>
                  <a:lnTo>
                    <a:pt x="304362" y="348099"/>
                  </a:lnTo>
                  <a:lnTo>
                    <a:pt x="306048" y="349745"/>
                  </a:lnTo>
                  <a:lnTo>
                    <a:pt x="312793" y="336579"/>
                  </a:lnTo>
                  <a:lnTo>
                    <a:pt x="306048" y="341516"/>
                  </a:lnTo>
                  <a:lnTo>
                    <a:pt x="307735" y="343162"/>
                  </a:lnTo>
                  <a:lnTo>
                    <a:pt x="306048" y="346454"/>
                  </a:lnTo>
                  <a:lnTo>
                    <a:pt x="300990" y="344808"/>
                  </a:lnTo>
                  <a:lnTo>
                    <a:pt x="295931" y="354683"/>
                  </a:lnTo>
                  <a:lnTo>
                    <a:pt x="300990" y="356329"/>
                  </a:lnTo>
                  <a:lnTo>
                    <a:pt x="294245" y="364558"/>
                  </a:lnTo>
                  <a:lnTo>
                    <a:pt x="277383" y="376079"/>
                  </a:lnTo>
                  <a:lnTo>
                    <a:pt x="250403" y="379371"/>
                  </a:lnTo>
                  <a:lnTo>
                    <a:pt x="209934" y="428747"/>
                  </a:lnTo>
                  <a:lnTo>
                    <a:pt x="211620" y="432038"/>
                  </a:lnTo>
                  <a:lnTo>
                    <a:pt x="218365" y="432038"/>
                  </a:lnTo>
                  <a:lnTo>
                    <a:pt x="211620" y="432038"/>
                  </a:lnTo>
                  <a:lnTo>
                    <a:pt x="209934" y="435330"/>
                  </a:lnTo>
                  <a:lnTo>
                    <a:pt x="214992" y="436976"/>
                  </a:lnTo>
                  <a:lnTo>
                    <a:pt x="216678" y="435330"/>
                  </a:lnTo>
                  <a:lnTo>
                    <a:pt x="216678" y="436976"/>
                  </a:lnTo>
                  <a:lnTo>
                    <a:pt x="209934" y="443559"/>
                  </a:lnTo>
                  <a:lnTo>
                    <a:pt x="198130" y="445205"/>
                  </a:lnTo>
                  <a:lnTo>
                    <a:pt x="194758" y="438622"/>
                  </a:lnTo>
                  <a:lnTo>
                    <a:pt x="194758" y="441914"/>
                  </a:lnTo>
                  <a:lnTo>
                    <a:pt x="191385" y="440268"/>
                  </a:lnTo>
                  <a:lnTo>
                    <a:pt x="196444" y="445205"/>
                  </a:lnTo>
                  <a:lnTo>
                    <a:pt x="193071" y="445205"/>
                  </a:lnTo>
                  <a:lnTo>
                    <a:pt x="181268" y="435330"/>
                  </a:lnTo>
                  <a:lnTo>
                    <a:pt x="174523" y="433684"/>
                  </a:lnTo>
                  <a:lnTo>
                    <a:pt x="154288" y="423809"/>
                  </a:lnTo>
                  <a:lnTo>
                    <a:pt x="152602" y="425455"/>
                  </a:lnTo>
                  <a:lnTo>
                    <a:pt x="149229" y="423809"/>
                  </a:lnTo>
                  <a:lnTo>
                    <a:pt x="145857" y="428747"/>
                  </a:lnTo>
                  <a:lnTo>
                    <a:pt x="150916" y="430393"/>
                  </a:lnTo>
                  <a:lnTo>
                    <a:pt x="152602" y="438622"/>
                  </a:lnTo>
                  <a:lnTo>
                    <a:pt x="162719" y="445205"/>
                  </a:lnTo>
                  <a:lnTo>
                    <a:pt x="166092" y="443559"/>
                  </a:lnTo>
                  <a:lnTo>
                    <a:pt x="164405" y="445205"/>
                  </a:lnTo>
                  <a:lnTo>
                    <a:pt x="166092" y="443559"/>
                  </a:lnTo>
                  <a:lnTo>
                    <a:pt x="169464" y="446851"/>
                  </a:lnTo>
                  <a:lnTo>
                    <a:pt x="176209" y="448497"/>
                  </a:lnTo>
                  <a:lnTo>
                    <a:pt x="181268" y="451789"/>
                  </a:lnTo>
                  <a:lnTo>
                    <a:pt x="181268" y="458372"/>
                  </a:lnTo>
                  <a:lnTo>
                    <a:pt x="159347" y="463310"/>
                  </a:lnTo>
                  <a:lnTo>
                    <a:pt x="142485" y="463310"/>
                  </a:lnTo>
                  <a:lnTo>
                    <a:pt x="137426" y="464956"/>
                  </a:lnTo>
                  <a:lnTo>
                    <a:pt x="137426" y="471539"/>
                  </a:lnTo>
                  <a:lnTo>
                    <a:pt x="142485" y="469893"/>
                  </a:lnTo>
                  <a:lnTo>
                    <a:pt x="132367" y="476477"/>
                  </a:lnTo>
                  <a:lnTo>
                    <a:pt x="102015" y="486352"/>
                  </a:lnTo>
                  <a:lnTo>
                    <a:pt x="98643" y="481414"/>
                  </a:lnTo>
                  <a:lnTo>
                    <a:pt x="98643" y="453435"/>
                  </a:lnTo>
                  <a:lnTo>
                    <a:pt x="86839" y="413934"/>
                  </a:lnTo>
                  <a:lnTo>
                    <a:pt x="85153" y="389246"/>
                  </a:lnTo>
                  <a:lnTo>
                    <a:pt x="88525" y="367850"/>
                  </a:lnTo>
                  <a:lnTo>
                    <a:pt x="83467" y="367850"/>
                  </a:lnTo>
                  <a:lnTo>
                    <a:pt x="88525" y="367850"/>
                  </a:lnTo>
                  <a:lnTo>
                    <a:pt x="91898" y="343162"/>
                  </a:lnTo>
                  <a:lnTo>
                    <a:pt x="86839" y="341516"/>
                  </a:lnTo>
                  <a:lnTo>
                    <a:pt x="91898" y="343162"/>
                  </a:lnTo>
                  <a:lnTo>
                    <a:pt x="105388" y="295432"/>
                  </a:lnTo>
                  <a:lnTo>
                    <a:pt x="127309" y="249348"/>
                  </a:lnTo>
                  <a:lnTo>
                    <a:pt x="125622" y="244410"/>
                  </a:lnTo>
                  <a:lnTo>
                    <a:pt x="128995" y="244410"/>
                  </a:lnTo>
                  <a:lnTo>
                    <a:pt x="132367" y="239473"/>
                  </a:lnTo>
                  <a:lnTo>
                    <a:pt x="130681" y="234535"/>
                  </a:lnTo>
                  <a:lnTo>
                    <a:pt x="132367" y="236181"/>
                  </a:lnTo>
                  <a:lnTo>
                    <a:pt x="134053" y="234535"/>
                  </a:lnTo>
                  <a:lnTo>
                    <a:pt x="172837" y="175284"/>
                  </a:lnTo>
                  <a:lnTo>
                    <a:pt x="218365" y="112741"/>
                  </a:lnTo>
                  <a:lnTo>
                    <a:pt x="221737" y="116033"/>
                  </a:lnTo>
                  <a:lnTo>
                    <a:pt x="221737" y="119324"/>
                  </a:lnTo>
                  <a:lnTo>
                    <a:pt x="218365" y="122616"/>
                  </a:lnTo>
                  <a:lnTo>
                    <a:pt x="221737" y="127554"/>
                  </a:lnTo>
                  <a:lnTo>
                    <a:pt x="225110" y="129200"/>
                  </a:lnTo>
                  <a:lnTo>
                    <a:pt x="228482" y="125908"/>
                  </a:lnTo>
                  <a:lnTo>
                    <a:pt x="230168" y="127554"/>
                  </a:lnTo>
                  <a:lnTo>
                    <a:pt x="226796" y="127554"/>
                  </a:lnTo>
                  <a:lnTo>
                    <a:pt x="238599" y="132491"/>
                  </a:lnTo>
                  <a:lnTo>
                    <a:pt x="230168" y="125908"/>
                  </a:lnTo>
                  <a:lnTo>
                    <a:pt x="235227" y="125908"/>
                  </a:lnTo>
                  <a:lnTo>
                    <a:pt x="236913" y="129200"/>
                  </a:lnTo>
                  <a:lnTo>
                    <a:pt x="235227" y="124262"/>
                  </a:lnTo>
                  <a:lnTo>
                    <a:pt x="238599" y="119324"/>
                  </a:lnTo>
                  <a:lnTo>
                    <a:pt x="241972" y="125908"/>
                  </a:lnTo>
                  <a:lnTo>
                    <a:pt x="238599" y="119324"/>
                  </a:lnTo>
                  <a:lnTo>
                    <a:pt x="248717" y="112741"/>
                  </a:lnTo>
                  <a:lnTo>
                    <a:pt x="250403" y="114387"/>
                  </a:lnTo>
                  <a:lnTo>
                    <a:pt x="248717" y="112741"/>
                  </a:lnTo>
                  <a:lnTo>
                    <a:pt x="240286" y="117679"/>
                  </a:lnTo>
                  <a:lnTo>
                    <a:pt x="252089" y="106158"/>
                  </a:lnTo>
                  <a:lnTo>
                    <a:pt x="252089" y="112741"/>
                  </a:lnTo>
                  <a:lnTo>
                    <a:pt x="257148" y="102866"/>
                  </a:lnTo>
                  <a:lnTo>
                    <a:pt x="255462" y="99574"/>
                  </a:lnTo>
                  <a:lnTo>
                    <a:pt x="258834" y="97928"/>
                  </a:lnTo>
                  <a:lnTo>
                    <a:pt x="257148" y="104512"/>
                  </a:lnTo>
                  <a:lnTo>
                    <a:pt x="260520" y="106158"/>
                  </a:lnTo>
                  <a:lnTo>
                    <a:pt x="267265" y="102866"/>
                  </a:lnTo>
                  <a:lnTo>
                    <a:pt x="260520" y="112741"/>
                  </a:lnTo>
                  <a:lnTo>
                    <a:pt x="255462" y="112741"/>
                  </a:lnTo>
                  <a:lnTo>
                    <a:pt x="253775" y="116033"/>
                  </a:lnTo>
                  <a:lnTo>
                    <a:pt x="267265" y="104512"/>
                  </a:lnTo>
                  <a:lnTo>
                    <a:pt x="270638" y="97928"/>
                  </a:lnTo>
                  <a:lnTo>
                    <a:pt x="267265" y="91345"/>
                  </a:lnTo>
                  <a:lnTo>
                    <a:pt x="267265" y="96282"/>
                  </a:lnTo>
                  <a:lnTo>
                    <a:pt x="268951" y="96282"/>
                  </a:lnTo>
                  <a:lnTo>
                    <a:pt x="267265" y="102866"/>
                  </a:lnTo>
                  <a:lnTo>
                    <a:pt x="262207" y="94637"/>
                  </a:lnTo>
                  <a:lnTo>
                    <a:pt x="260520" y="94637"/>
                  </a:lnTo>
                  <a:lnTo>
                    <a:pt x="260520" y="92991"/>
                  </a:lnTo>
                  <a:lnTo>
                    <a:pt x="260520" y="94637"/>
                  </a:lnTo>
                  <a:lnTo>
                    <a:pt x="253775" y="94637"/>
                  </a:lnTo>
                  <a:lnTo>
                    <a:pt x="255462" y="88053"/>
                  </a:lnTo>
                  <a:lnTo>
                    <a:pt x="253775" y="88053"/>
                  </a:lnTo>
                  <a:lnTo>
                    <a:pt x="252089" y="81470"/>
                  </a:lnTo>
                  <a:lnTo>
                    <a:pt x="257148" y="79824"/>
                  </a:lnTo>
                  <a:lnTo>
                    <a:pt x="252089" y="79824"/>
                  </a:lnTo>
                  <a:lnTo>
                    <a:pt x="248717" y="81470"/>
                  </a:lnTo>
                  <a:lnTo>
                    <a:pt x="252089" y="86407"/>
                  </a:lnTo>
                  <a:lnTo>
                    <a:pt x="250403" y="83116"/>
                  </a:lnTo>
                  <a:lnTo>
                    <a:pt x="250403" y="88053"/>
                  </a:lnTo>
                  <a:lnTo>
                    <a:pt x="247031" y="92991"/>
                  </a:lnTo>
                  <a:lnTo>
                    <a:pt x="248717" y="97928"/>
                  </a:lnTo>
                  <a:lnTo>
                    <a:pt x="241972" y="107803"/>
                  </a:lnTo>
                  <a:lnTo>
                    <a:pt x="238599" y="107803"/>
                  </a:lnTo>
                  <a:lnTo>
                    <a:pt x="240286" y="104512"/>
                  </a:lnTo>
                  <a:lnTo>
                    <a:pt x="231855" y="111095"/>
                  </a:lnTo>
                  <a:lnTo>
                    <a:pt x="236913" y="111095"/>
                  </a:lnTo>
                  <a:lnTo>
                    <a:pt x="236913" y="112741"/>
                  </a:lnTo>
                  <a:lnTo>
                    <a:pt x="226796" y="109449"/>
                  </a:lnTo>
                  <a:lnTo>
                    <a:pt x="223423" y="116033"/>
                  </a:lnTo>
                  <a:lnTo>
                    <a:pt x="218365" y="111095"/>
                  </a:lnTo>
                  <a:lnTo>
                    <a:pt x="248717" y="61719"/>
                  </a:lnTo>
                  <a:lnTo>
                    <a:pt x="279069" y="20573"/>
                  </a:lnTo>
                  <a:lnTo>
                    <a:pt x="285814" y="7406"/>
                  </a:lnTo>
                  <a:lnTo>
                    <a:pt x="282441" y="4114"/>
                  </a:lnTo>
                  <a:lnTo>
                    <a:pt x="285814" y="7406"/>
                  </a:lnTo>
                  <a:lnTo>
                    <a:pt x="300990" y="4114"/>
                  </a:lnTo>
                  <a:lnTo>
                    <a:pt x="312793" y="7406"/>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5" name="Terschelling">
              <a:extLst>
                <a:ext uri="{FF2B5EF4-FFF2-40B4-BE49-F238E27FC236}">
                  <a16:creationId xmlns:a16="http://schemas.microsoft.com/office/drawing/2014/main" id="{19563406-39B1-4C1E-9667-467962A57008}"/>
                </a:ext>
              </a:extLst>
            </p:cNvPr>
            <p:cNvSpPr/>
            <p:nvPr/>
          </p:nvSpPr>
          <p:spPr>
            <a:xfrm>
              <a:off x="5989463" y="1319888"/>
              <a:ext cx="401299" cy="314179"/>
            </a:xfrm>
            <a:custGeom>
              <a:avLst/>
              <a:gdLst/>
              <a:ahLst/>
              <a:cxnLst/>
              <a:rect l="l" t="t" r="r" b="b"/>
              <a:pathLst>
                <a:path w="585408" h="480060" extrusionOk="0">
                  <a:moveTo>
                    <a:pt x="137426" y="478123"/>
                  </a:moveTo>
                  <a:lnTo>
                    <a:pt x="139112" y="481414"/>
                  </a:lnTo>
                  <a:lnTo>
                    <a:pt x="142485" y="479768"/>
                  </a:lnTo>
                  <a:lnTo>
                    <a:pt x="142485" y="483060"/>
                  </a:lnTo>
                  <a:lnTo>
                    <a:pt x="137426" y="481414"/>
                  </a:lnTo>
                  <a:lnTo>
                    <a:pt x="137426" y="478123"/>
                  </a:lnTo>
                  <a:close/>
                  <a:moveTo>
                    <a:pt x="150916" y="464956"/>
                  </a:moveTo>
                  <a:lnTo>
                    <a:pt x="172837" y="471539"/>
                  </a:lnTo>
                  <a:lnTo>
                    <a:pt x="174523" y="469893"/>
                  </a:lnTo>
                  <a:lnTo>
                    <a:pt x="174523" y="471539"/>
                  </a:lnTo>
                  <a:lnTo>
                    <a:pt x="166092" y="473185"/>
                  </a:lnTo>
                  <a:lnTo>
                    <a:pt x="167778" y="474831"/>
                  </a:lnTo>
                  <a:lnTo>
                    <a:pt x="162719" y="476477"/>
                  </a:lnTo>
                  <a:lnTo>
                    <a:pt x="154288" y="474831"/>
                  </a:lnTo>
                  <a:lnTo>
                    <a:pt x="161033" y="474831"/>
                  </a:lnTo>
                  <a:lnTo>
                    <a:pt x="157661" y="478123"/>
                  </a:lnTo>
                  <a:lnTo>
                    <a:pt x="145857" y="478123"/>
                  </a:lnTo>
                  <a:lnTo>
                    <a:pt x="142485" y="476477"/>
                  </a:lnTo>
                  <a:lnTo>
                    <a:pt x="142485" y="469893"/>
                  </a:lnTo>
                  <a:lnTo>
                    <a:pt x="137426" y="466602"/>
                  </a:lnTo>
                  <a:lnTo>
                    <a:pt x="142485" y="464956"/>
                  </a:lnTo>
                  <a:lnTo>
                    <a:pt x="150916" y="464956"/>
                  </a:lnTo>
                  <a:close/>
                  <a:moveTo>
                    <a:pt x="14332" y="374433"/>
                  </a:moveTo>
                  <a:lnTo>
                    <a:pt x="10959" y="366204"/>
                  </a:lnTo>
                  <a:lnTo>
                    <a:pt x="14332" y="371141"/>
                  </a:lnTo>
                  <a:lnTo>
                    <a:pt x="14332" y="374433"/>
                  </a:lnTo>
                  <a:close/>
                  <a:moveTo>
                    <a:pt x="476357" y="97928"/>
                  </a:moveTo>
                  <a:lnTo>
                    <a:pt x="472985" y="97928"/>
                  </a:lnTo>
                  <a:lnTo>
                    <a:pt x="472985" y="96282"/>
                  </a:lnTo>
                  <a:lnTo>
                    <a:pt x="479730" y="89699"/>
                  </a:lnTo>
                  <a:lnTo>
                    <a:pt x="483102" y="91345"/>
                  </a:lnTo>
                  <a:lnTo>
                    <a:pt x="476357" y="97928"/>
                  </a:lnTo>
                  <a:close/>
                  <a:moveTo>
                    <a:pt x="464554" y="81469"/>
                  </a:moveTo>
                  <a:lnTo>
                    <a:pt x="459495" y="83115"/>
                  </a:lnTo>
                  <a:lnTo>
                    <a:pt x="456122" y="79824"/>
                  </a:lnTo>
                  <a:lnTo>
                    <a:pt x="464554" y="81469"/>
                  </a:lnTo>
                  <a:close/>
                  <a:moveTo>
                    <a:pt x="585962" y="17281"/>
                  </a:moveTo>
                  <a:lnTo>
                    <a:pt x="585962" y="20573"/>
                  </a:lnTo>
                  <a:lnTo>
                    <a:pt x="577531" y="30448"/>
                  </a:lnTo>
                  <a:lnTo>
                    <a:pt x="567413" y="18927"/>
                  </a:lnTo>
                  <a:lnTo>
                    <a:pt x="552237" y="22218"/>
                  </a:lnTo>
                  <a:lnTo>
                    <a:pt x="567413" y="20573"/>
                  </a:lnTo>
                  <a:lnTo>
                    <a:pt x="579217" y="33740"/>
                  </a:lnTo>
                  <a:lnTo>
                    <a:pt x="572472" y="37031"/>
                  </a:lnTo>
                  <a:lnTo>
                    <a:pt x="569100" y="33740"/>
                  </a:lnTo>
                  <a:lnTo>
                    <a:pt x="572472" y="37031"/>
                  </a:lnTo>
                  <a:lnTo>
                    <a:pt x="545493" y="45261"/>
                  </a:lnTo>
                  <a:lnTo>
                    <a:pt x="538748" y="45261"/>
                  </a:lnTo>
                  <a:lnTo>
                    <a:pt x="537061" y="41969"/>
                  </a:lnTo>
                  <a:lnTo>
                    <a:pt x="535375" y="45261"/>
                  </a:lnTo>
                  <a:lnTo>
                    <a:pt x="532003" y="38677"/>
                  </a:lnTo>
                  <a:lnTo>
                    <a:pt x="532003" y="28802"/>
                  </a:lnTo>
                  <a:lnTo>
                    <a:pt x="538748" y="25510"/>
                  </a:lnTo>
                  <a:lnTo>
                    <a:pt x="535375" y="27156"/>
                  </a:lnTo>
                  <a:lnTo>
                    <a:pt x="532003" y="25510"/>
                  </a:lnTo>
                  <a:lnTo>
                    <a:pt x="533689" y="27156"/>
                  </a:lnTo>
                  <a:lnTo>
                    <a:pt x="530316" y="37031"/>
                  </a:lnTo>
                  <a:lnTo>
                    <a:pt x="521885" y="27156"/>
                  </a:lnTo>
                  <a:lnTo>
                    <a:pt x="520199" y="28802"/>
                  </a:lnTo>
                  <a:lnTo>
                    <a:pt x="515140" y="25510"/>
                  </a:lnTo>
                  <a:lnTo>
                    <a:pt x="526944" y="32094"/>
                  </a:lnTo>
                  <a:lnTo>
                    <a:pt x="530316" y="38677"/>
                  </a:lnTo>
                  <a:lnTo>
                    <a:pt x="530316" y="45261"/>
                  </a:lnTo>
                  <a:lnTo>
                    <a:pt x="525258" y="41969"/>
                  </a:lnTo>
                  <a:lnTo>
                    <a:pt x="520199" y="33740"/>
                  </a:lnTo>
                  <a:lnTo>
                    <a:pt x="515140" y="33740"/>
                  </a:lnTo>
                  <a:lnTo>
                    <a:pt x="510082" y="37031"/>
                  </a:lnTo>
                  <a:lnTo>
                    <a:pt x="515140" y="33740"/>
                  </a:lnTo>
                  <a:lnTo>
                    <a:pt x="520199" y="33740"/>
                  </a:lnTo>
                  <a:lnTo>
                    <a:pt x="523572" y="43615"/>
                  </a:lnTo>
                  <a:lnTo>
                    <a:pt x="516827" y="40323"/>
                  </a:lnTo>
                  <a:lnTo>
                    <a:pt x="523572" y="41969"/>
                  </a:lnTo>
                  <a:lnTo>
                    <a:pt x="532003" y="48552"/>
                  </a:lnTo>
                  <a:lnTo>
                    <a:pt x="510082" y="60073"/>
                  </a:lnTo>
                  <a:lnTo>
                    <a:pt x="498278" y="51844"/>
                  </a:lnTo>
                  <a:lnTo>
                    <a:pt x="496592" y="45261"/>
                  </a:lnTo>
                  <a:lnTo>
                    <a:pt x="496592" y="48552"/>
                  </a:lnTo>
                  <a:lnTo>
                    <a:pt x="493220" y="46906"/>
                  </a:lnTo>
                  <a:lnTo>
                    <a:pt x="494906" y="40323"/>
                  </a:lnTo>
                  <a:lnTo>
                    <a:pt x="498278" y="40323"/>
                  </a:lnTo>
                  <a:lnTo>
                    <a:pt x="498278" y="33740"/>
                  </a:lnTo>
                  <a:lnTo>
                    <a:pt x="496592" y="40323"/>
                  </a:lnTo>
                  <a:lnTo>
                    <a:pt x="489847" y="35385"/>
                  </a:lnTo>
                  <a:lnTo>
                    <a:pt x="494906" y="38677"/>
                  </a:lnTo>
                  <a:lnTo>
                    <a:pt x="493220" y="46906"/>
                  </a:lnTo>
                  <a:lnTo>
                    <a:pt x="489847" y="43615"/>
                  </a:lnTo>
                  <a:lnTo>
                    <a:pt x="493220" y="46906"/>
                  </a:lnTo>
                  <a:lnTo>
                    <a:pt x="488161" y="46906"/>
                  </a:lnTo>
                  <a:lnTo>
                    <a:pt x="481416" y="41969"/>
                  </a:lnTo>
                  <a:lnTo>
                    <a:pt x="481416" y="43615"/>
                  </a:lnTo>
                  <a:lnTo>
                    <a:pt x="493220" y="46906"/>
                  </a:lnTo>
                  <a:lnTo>
                    <a:pt x="503337" y="58427"/>
                  </a:lnTo>
                  <a:lnTo>
                    <a:pt x="503337" y="63365"/>
                  </a:lnTo>
                  <a:lnTo>
                    <a:pt x="505023" y="61719"/>
                  </a:lnTo>
                  <a:lnTo>
                    <a:pt x="491533" y="68303"/>
                  </a:lnTo>
                  <a:lnTo>
                    <a:pt x="491533" y="71594"/>
                  </a:lnTo>
                  <a:lnTo>
                    <a:pt x="483102" y="61719"/>
                  </a:lnTo>
                  <a:lnTo>
                    <a:pt x="489847" y="73240"/>
                  </a:lnTo>
                  <a:lnTo>
                    <a:pt x="476357" y="69949"/>
                  </a:lnTo>
                  <a:lnTo>
                    <a:pt x="469612" y="63365"/>
                  </a:lnTo>
                  <a:lnTo>
                    <a:pt x="476357" y="69949"/>
                  </a:lnTo>
                  <a:lnTo>
                    <a:pt x="472985" y="69949"/>
                  </a:lnTo>
                  <a:lnTo>
                    <a:pt x="464554" y="60073"/>
                  </a:lnTo>
                  <a:lnTo>
                    <a:pt x="461181" y="48552"/>
                  </a:lnTo>
                  <a:lnTo>
                    <a:pt x="462868" y="45261"/>
                  </a:lnTo>
                  <a:lnTo>
                    <a:pt x="459495" y="48552"/>
                  </a:lnTo>
                  <a:lnTo>
                    <a:pt x="457809" y="46906"/>
                  </a:lnTo>
                  <a:lnTo>
                    <a:pt x="459495" y="45261"/>
                  </a:lnTo>
                  <a:lnTo>
                    <a:pt x="456122" y="46906"/>
                  </a:lnTo>
                  <a:lnTo>
                    <a:pt x="461181" y="51844"/>
                  </a:lnTo>
                  <a:lnTo>
                    <a:pt x="462868" y="56782"/>
                  </a:lnTo>
                  <a:lnTo>
                    <a:pt x="449378" y="53490"/>
                  </a:lnTo>
                  <a:lnTo>
                    <a:pt x="459495" y="56782"/>
                  </a:lnTo>
                  <a:lnTo>
                    <a:pt x="472985" y="71594"/>
                  </a:lnTo>
                  <a:lnTo>
                    <a:pt x="472985" y="73240"/>
                  </a:lnTo>
                  <a:lnTo>
                    <a:pt x="462868" y="69949"/>
                  </a:lnTo>
                  <a:lnTo>
                    <a:pt x="472985" y="73240"/>
                  </a:lnTo>
                  <a:lnTo>
                    <a:pt x="472985" y="71594"/>
                  </a:lnTo>
                  <a:lnTo>
                    <a:pt x="481416" y="73240"/>
                  </a:lnTo>
                  <a:lnTo>
                    <a:pt x="472985" y="74886"/>
                  </a:lnTo>
                  <a:lnTo>
                    <a:pt x="476357" y="81469"/>
                  </a:lnTo>
                  <a:lnTo>
                    <a:pt x="469612" y="83115"/>
                  </a:lnTo>
                  <a:lnTo>
                    <a:pt x="456122" y="78178"/>
                  </a:lnTo>
                  <a:lnTo>
                    <a:pt x="452750" y="76532"/>
                  </a:lnTo>
                  <a:lnTo>
                    <a:pt x="456122" y="76532"/>
                  </a:lnTo>
                  <a:lnTo>
                    <a:pt x="454436" y="74886"/>
                  </a:lnTo>
                  <a:lnTo>
                    <a:pt x="442633" y="68303"/>
                  </a:lnTo>
                  <a:lnTo>
                    <a:pt x="444319" y="71594"/>
                  </a:lnTo>
                  <a:lnTo>
                    <a:pt x="439260" y="66657"/>
                  </a:lnTo>
                  <a:lnTo>
                    <a:pt x="440947" y="65011"/>
                  </a:lnTo>
                  <a:lnTo>
                    <a:pt x="432515" y="51844"/>
                  </a:lnTo>
                  <a:lnTo>
                    <a:pt x="440947" y="69949"/>
                  </a:lnTo>
                  <a:lnTo>
                    <a:pt x="430829" y="61719"/>
                  </a:lnTo>
                  <a:lnTo>
                    <a:pt x="440947" y="71594"/>
                  </a:lnTo>
                  <a:lnTo>
                    <a:pt x="437574" y="71594"/>
                  </a:lnTo>
                  <a:lnTo>
                    <a:pt x="429143" y="65011"/>
                  </a:lnTo>
                  <a:lnTo>
                    <a:pt x="444319" y="76532"/>
                  </a:lnTo>
                  <a:lnTo>
                    <a:pt x="442633" y="79824"/>
                  </a:lnTo>
                  <a:lnTo>
                    <a:pt x="444319" y="76532"/>
                  </a:lnTo>
                  <a:lnTo>
                    <a:pt x="447691" y="81469"/>
                  </a:lnTo>
                  <a:lnTo>
                    <a:pt x="454436" y="81469"/>
                  </a:lnTo>
                  <a:lnTo>
                    <a:pt x="449378" y="81469"/>
                  </a:lnTo>
                  <a:lnTo>
                    <a:pt x="447691" y="88053"/>
                  </a:lnTo>
                  <a:lnTo>
                    <a:pt x="451064" y="81469"/>
                  </a:lnTo>
                  <a:lnTo>
                    <a:pt x="461181" y="86407"/>
                  </a:lnTo>
                  <a:lnTo>
                    <a:pt x="479730" y="89699"/>
                  </a:lnTo>
                  <a:lnTo>
                    <a:pt x="478043" y="92991"/>
                  </a:lnTo>
                  <a:lnTo>
                    <a:pt x="471299" y="97928"/>
                  </a:lnTo>
                  <a:lnTo>
                    <a:pt x="461181" y="94636"/>
                  </a:lnTo>
                  <a:lnTo>
                    <a:pt x="467926" y="97928"/>
                  </a:lnTo>
                  <a:lnTo>
                    <a:pt x="472985" y="97928"/>
                  </a:lnTo>
                  <a:lnTo>
                    <a:pt x="471299" y="99574"/>
                  </a:lnTo>
                  <a:lnTo>
                    <a:pt x="451064" y="104512"/>
                  </a:lnTo>
                  <a:lnTo>
                    <a:pt x="449378" y="104512"/>
                  </a:lnTo>
                  <a:lnTo>
                    <a:pt x="452750" y="102866"/>
                  </a:lnTo>
                  <a:lnTo>
                    <a:pt x="451064" y="97928"/>
                  </a:lnTo>
                  <a:lnTo>
                    <a:pt x="451064" y="102866"/>
                  </a:lnTo>
                  <a:lnTo>
                    <a:pt x="449378" y="104512"/>
                  </a:lnTo>
                  <a:lnTo>
                    <a:pt x="432515" y="101220"/>
                  </a:lnTo>
                  <a:lnTo>
                    <a:pt x="439260" y="104512"/>
                  </a:lnTo>
                  <a:lnTo>
                    <a:pt x="378556" y="104512"/>
                  </a:lnTo>
                  <a:lnTo>
                    <a:pt x="343145" y="111095"/>
                  </a:lnTo>
                  <a:lnTo>
                    <a:pt x="319538" y="127554"/>
                  </a:lnTo>
                  <a:lnTo>
                    <a:pt x="304362" y="145658"/>
                  </a:lnTo>
                  <a:lnTo>
                    <a:pt x="306049" y="145658"/>
                  </a:lnTo>
                  <a:lnTo>
                    <a:pt x="304362" y="145658"/>
                  </a:lnTo>
                  <a:lnTo>
                    <a:pt x="299304" y="147304"/>
                  </a:lnTo>
                  <a:lnTo>
                    <a:pt x="299304" y="148950"/>
                  </a:lnTo>
                  <a:lnTo>
                    <a:pt x="294245" y="150596"/>
                  </a:lnTo>
                  <a:lnTo>
                    <a:pt x="295931" y="152242"/>
                  </a:lnTo>
                  <a:lnTo>
                    <a:pt x="294245" y="150596"/>
                  </a:lnTo>
                  <a:lnTo>
                    <a:pt x="292559" y="153888"/>
                  </a:lnTo>
                  <a:lnTo>
                    <a:pt x="289186" y="153888"/>
                  </a:lnTo>
                  <a:lnTo>
                    <a:pt x="289186" y="155533"/>
                  </a:lnTo>
                  <a:lnTo>
                    <a:pt x="284128" y="157179"/>
                  </a:lnTo>
                  <a:lnTo>
                    <a:pt x="285814" y="158825"/>
                  </a:lnTo>
                  <a:lnTo>
                    <a:pt x="282441" y="157179"/>
                  </a:lnTo>
                  <a:lnTo>
                    <a:pt x="268952" y="160471"/>
                  </a:lnTo>
                  <a:lnTo>
                    <a:pt x="255462" y="168700"/>
                  </a:lnTo>
                  <a:lnTo>
                    <a:pt x="252089" y="167054"/>
                  </a:lnTo>
                  <a:lnTo>
                    <a:pt x="258834" y="171992"/>
                  </a:lnTo>
                  <a:lnTo>
                    <a:pt x="238599" y="162117"/>
                  </a:lnTo>
                  <a:lnTo>
                    <a:pt x="231855" y="171992"/>
                  </a:lnTo>
                  <a:lnTo>
                    <a:pt x="223424" y="175284"/>
                  </a:lnTo>
                  <a:lnTo>
                    <a:pt x="218365" y="173638"/>
                  </a:lnTo>
                  <a:lnTo>
                    <a:pt x="213306" y="185159"/>
                  </a:lnTo>
                  <a:lnTo>
                    <a:pt x="206561" y="188451"/>
                  </a:lnTo>
                  <a:lnTo>
                    <a:pt x="206561" y="186805"/>
                  </a:lnTo>
                  <a:lnTo>
                    <a:pt x="196444" y="185159"/>
                  </a:lnTo>
                  <a:lnTo>
                    <a:pt x="188013" y="180221"/>
                  </a:lnTo>
                  <a:lnTo>
                    <a:pt x="172837" y="183513"/>
                  </a:lnTo>
                  <a:lnTo>
                    <a:pt x="155974" y="181867"/>
                  </a:lnTo>
                  <a:lnTo>
                    <a:pt x="150916" y="186805"/>
                  </a:lnTo>
                  <a:lnTo>
                    <a:pt x="150916" y="188451"/>
                  </a:lnTo>
                  <a:lnTo>
                    <a:pt x="135740" y="196680"/>
                  </a:lnTo>
                  <a:lnTo>
                    <a:pt x="118878" y="213139"/>
                  </a:lnTo>
                  <a:lnTo>
                    <a:pt x="122250" y="216430"/>
                  </a:lnTo>
                  <a:lnTo>
                    <a:pt x="117191" y="213139"/>
                  </a:lnTo>
                  <a:lnTo>
                    <a:pt x="100329" y="224660"/>
                  </a:lnTo>
                  <a:lnTo>
                    <a:pt x="98643" y="214784"/>
                  </a:lnTo>
                  <a:lnTo>
                    <a:pt x="100329" y="206555"/>
                  </a:lnTo>
                  <a:lnTo>
                    <a:pt x="105388" y="204909"/>
                  </a:lnTo>
                  <a:lnTo>
                    <a:pt x="98643" y="213139"/>
                  </a:lnTo>
                  <a:lnTo>
                    <a:pt x="100329" y="224660"/>
                  </a:lnTo>
                  <a:lnTo>
                    <a:pt x="135740" y="198326"/>
                  </a:lnTo>
                  <a:lnTo>
                    <a:pt x="128995" y="195034"/>
                  </a:lnTo>
                  <a:lnTo>
                    <a:pt x="112133" y="198326"/>
                  </a:lnTo>
                  <a:lnTo>
                    <a:pt x="110447" y="201618"/>
                  </a:lnTo>
                  <a:lnTo>
                    <a:pt x="105388" y="203264"/>
                  </a:lnTo>
                  <a:lnTo>
                    <a:pt x="110447" y="201618"/>
                  </a:lnTo>
                  <a:lnTo>
                    <a:pt x="110447" y="198326"/>
                  </a:lnTo>
                  <a:lnTo>
                    <a:pt x="103702" y="199972"/>
                  </a:lnTo>
                  <a:lnTo>
                    <a:pt x="105388" y="201618"/>
                  </a:lnTo>
                  <a:lnTo>
                    <a:pt x="98643" y="206555"/>
                  </a:lnTo>
                  <a:lnTo>
                    <a:pt x="96957" y="218076"/>
                  </a:lnTo>
                  <a:lnTo>
                    <a:pt x="90212" y="221368"/>
                  </a:lnTo>
                  <a:lnTo>
                    <a:pt x="98643" y="226306"/>
                  </a:lnTo>
                  <a:lnTo>
                    <a:pt x="85153" y="219722"/>
                  </a:lnTo>
                  <a:lnTo>
                    <a:pt x="59860" y="239472"/>
                  </a:lnTo>
                  <a:lnTo>
                    <a:pt x="32880" y="239472"/>
                  </a:lnTo>
                  <a:lnTo>
                    <a:pt x="17704" y="231243"/>
                  </a:lnTo>
                  <a:lnTo>
                    <a:pt x="12645" y="223014"/>
                  </a:lnTo>
                  <a:lnTo>
                    <a:pt x="7587" y="224660"/>
                  </a:lnTo>
                  <a:lnTo>
                    <a:pt x="4214" y="221368"/>
                  </a:lnTo>
                  <a:lnTo>
                    <a:pt x="5901" y="209847"/>
                  </a:lnTo>
                  <a:lnTo>
                    <a:pt x="19390" y="186805"/>
                  </a:lnTo>
                  <a:lnTo>
                    <a:pt x="46370" y="157179"/>
                  </a:lnTo>
                  <a:lnTo>
                    <a:pt x="49742" y="148950"/>
                  </a:lnTo>
                  <a:lnTo>
                    <a:pt x="59860" y="135783"/>
                  </a:lnTo>
                  <a:lnTo>
                    <a:pt x="78408" y="127554"/>
                  </a:lnTo>
                  <a:lnTo>
                    <a:pt x="184640" y="96282"/>
                  </a:lnTo>
                  <a:lnTo>
                    <a:pt x="258834" y="79824"/>
                  </a:lnTo>
                  <a:lnTo>
                    <a:pt x="360008" y="55136"/>
                  </a:lnTo>
                  <a:lnTo>
                    <a:pt x="503337" y="9052"/>
                  </a:lnTo>
                  <a:lnTo>
                    <a:pt x="528630" y="4114"/>
                  </a:lnTo>
                  <a:lnTo>
                    <a:pt x="547179" y="4114"/>
                  </a:lnTo>
                  <a:lnTo>
                    <a:pt x="572472" y="10697"/>
                  </a:lnTo>
                  <a:lnTo>
                    <a:pt x="585962" y="17281"/>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6" name="Wageningen">
              <a:extLst>
                <a:ext uri="{FF2B5EF4-FFF2-40B4-BE49-F238E27FC236}">
                  <a16:creationId xmlns:a16="http://schemas.microsoft.com/office/drawing/2014/main" id="{B163A01A-8313-45BA-BC91-7FC3B15129B3}"/>
                </a:ext>
              </a:extLst>
            </p:cNvPr>
            <p:cNvSpPr/>
            <p:nvPr/>
          </p:nvSpPr>
          <p:spPr>
            <a:xfrm>
              <a:off x="6455799" y="3686948"/>
              <a:ext cx="131728" cy="113471"/>
            </a:xfrm>
            <a:custGeom>
              <a:avLst/>
              <a:gdLst/>
              <a:ahLst/>
              <a:cxnLst/>
              <a:rect l="l" t="t" r="r" b="b"/>
              <a:pathLst>
                <a:path w="187330" h="160020" extrusionOk="0">
                  <a:moveTo>
                    <a:pt x="186326" y="4114"/>
                  </a:moveTo>
                  <a:lnTo>
                    <a:pt x="174523" y="50198"/>
                  </a:lnTo>
                  <a:lnTo>
                    <a:pt x="181268" y="53490"/>
                  </a:lnTo>
                  <a:lnTo>
                    <a:pt x="169464" y="83116"/>
                  </a:lnTo>
                  <a:lnTo>
                    <a:pt x="181268" y="86407"/>
                  </a:lnTo>
                  <a:lnTo>
                    <a:pt x="182954" y="92991"/>
                  </a:lnTo>
                  <a:lnTo>
                    <a:pt x="120564" y="104512"/>
                  </a:lnTo>
                  <a:lnTo>
                    <a:pt x="96957" y="119324"/>
                  </a:lnTo>
                  <a:lnTo>
                    <a:pt x="76722" y="117679"/>
                  </a:lnTo>
                  <a:lnTo>
                    <a:pt x="66605" y="119324"/>
                  </a:lnTo>
                  <a:lnTo>
                    <a:pt x="63232" y="120971"/>
                  </a:lnTo>
                  <a:lnTo>
                    <a:pt x="71663" y="127554"/>
                  </a:lnTo>
                  <a:lnTo>
                    <a:pt x="64918" y="135783"/>
                  </a:lnTo>
                  <a:lnTo>
                    <a:pt x="64918" y="140721"/>
                  </a:lnTo>
                  <a:lnTo>
                    <a:pt x="58173" y="153888"/>
                  </a:lnTo>
                  <a:lnTo>
                    <a:pt x="51428" y="158825"/>
                  </a:lnTo>
                  <a:lnTo>
                    <a:pt x="41311" y="158825"/>
                  </a:lnTo>
                  <a:lnTo>
                    <a:pt x="26135" y="150596"/>
                  </a:lnTo>
                  <a:lnTo>
                    <a:pt x="26135" y="147304"/>
                  </a:lnTo>
                  <a:lnTo>
                    <a:pt x="5900" y="144013"/>
                  </a:lnTo>
                  <a:lnTo>
                    <a:pt x="21076" y="129200"/>
                  </a:lnTo>
                  <a:lnTo>
                    <a:pt x="27821" y="130845"/>
                  </a:lnTo>
                  <a:lnTo>
                    <a:pt x="27821" y="124262"/>
                  </a:lnTo>
                  <a:lnTo>
                    <a:pt x="37939" y="120971"/>
                  </a:lnTo>
                  <a:lnTo>
                    <a:pt x="34566" y="102866"/>
                  </a:lnTo>
                  <a:lnTo>
                    <a:pt x="27821" y="86407"/>
                  </a:lnTo>
                  <a:lnTo>
                    <a:pt x="24449" y="88053"/>
                  </a:lnTo>
                  <a:lnTo>
                    <a:pt x="34566" y="78178"/>
                  </a:lnTo>
                  <a:lnTo>
                    <a:pt x="36252" y="69949"/>
                  </a:lnTo>
                  <a:lnTo>
                    <a:pt x="26135" y="61719"/>
                  </a:lnTo>
                  <a:lnTo>
                    <a:pt x="19390" y="48552"/>
                  </a:lnTo>
                  <a:lnTo>
                    <a:pt x="17704" y="30448"/>
                  </a:lnTo>
                  <a:lnTo>
                    <a:pt x="10959" y="22219"/>
                  </a:lnTo>
                  <a:lnTo>
                    <a:pt x="4214" y="20573"/>
                  </a:lnTo>
                  <a:lnTo>
                    <a:pt x="5900" y="12343"/>
                  </a:lnTo>
                  <a:lnTo>
                    <a:pt x="17704" y="7406"/>
                  </a:lnTo>
                  <a:lnTo>
                    <a:pt x="26135" y="23864"/>
                  </a:lnTo>
                  <a:lnTo>
                    <a:pt x="34566" y="17281"/>
                  </a:lnTo>
                  <a:lnTo>
                    <a:pt x="37939" y="23864"/>
                  </a:lnTo>
                  <a:lnTo>
                    <a:pt x="46370" y="17281"/>
                  </a:lnTo>
                  <a:lnTo>
                    <a:pt x="53115" y="25510"/>
                  </a:lnTo>
                  <a:lnTo>
                    <a:pt x="78408" y="17281"/>
                  </a:lnTo>
                  <a:lnTo>
                    <a:pt x="80094" y="22219"/>
                  </a:lnTo>
                  <a:lnTo>
                    <a:pt x="91898" y="18927"/>
                  </a:lnTo>
                  <a:lnTo>
                    <a:pt x="93584" y="22219"/>
                  </a:lnTo>
                  <a:lnTo>
                    <a:pt x="102015" y="18927"/>
                  </a:lnTo>
                  <a:lnTo>
                    <a:pt x="110446" y="27156"/>
                  </a:lnTo>
                  <a:lnTo>
                    <a:pt x="122250" y="23864"/>
                  </a:lnTo>
                  <a:lnTo>
                    <a:pt x="122250" y="20573"/>
                  </a:lnTo>
                  <a:lnTo>
                    <a:pt x="18632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7" name="Nijmegen">
              <a:extLst>
                <a:ext uri="{FF2B5EF4-FFF2-40B4-BE49-F238E27FC236}">
                  <a16:creationId xmlns:a16="http://schemas.microsoft.com/office/drawing/2014/main" id="{E3FFAA41-3620-44F4-BAE2-58A9A2C20BE3}"/>
                </a:ext>
              </a:extLst>
            </p:cNvPr>
            <p:cNvSpPr/>
            <p:nvPr/>
          </p:nvSpPr>
          <p:spPr>
            <a:xfrm>
              <a:off x="6625372" y="3867563"/>
              <a:ext cx="165263" cy="158718"/>
            </a:xfrm>
            <a:custGeom>
              <a:avLst/>
              <a:gdLst/>
              <a:ahLst/>
              <a:cxnLst/>
              <a:rect l="l" t="t" r="r" b="b"/>
              <a:pathLst>
                <a:path w="234163" h="251460" extrusionOk="0">
                  <a:moveTo>
                    <a:pt x="155974" y="4114"/>
                  </a:moveTo>
                  <a:lnTo>
                    <a:pt x="155974" y="18926"/>
                  </a:lnTo>
                  <a:lnTo>
                    <a:pt x="177895" y="18926"/>
                  </a:lnTo>
                  <a:lnTo>
                    <a:pt x="179582" y="20573"/>
                  </a:lnTo>
                  <a:lnTo>
                    <a:pt x="191385" y="65011"/>
                  </a:lnTo>
                  <a:lnTo>
                    <a:pt x="194757" y="73240"/>
                  </a:lnTo>
                  <a:lnTo>
                    <a:pt x="198130" y="69949"/>
                  </a:lnTo>
                  <a:lnTo>
                    <a:pt x="201503" y="74886"/>
                  </a:lnTo>
                  <a:lnTo>
                    <a:pt x="193071" y="89699"/>
                  </a:lnTo>
                  <a:lnTo>
                    <a:pt x="203189" y="89699"/>
                  </a:lnTo>
                  <a:lnTo>
                    <a:pt x="203189" y="101220"/>
                  </a:lnTo>
                  <a:lnTo>
                    <a:pt x="198130" y="111095"/>
                  </a:lnTo>
                  <a:lnTo>
                    <a:pt x="203189" y="112741"/>
                  </a:lnTo>
                  <a:lnTo>
                    <a:pt x="191385" y="124262"/>
                  </a:lnTo>
                  <a:lnTo>
                    <a:pt x="204875" y="130845"/>
                  </a:lnTo>
                  <a:lnTo>
                    <a:pt x="213306" y="132491"/>
                  </a:lnTo>
                  <a:lnTo>
                    <a:pt x="211620" y="137429"/>
                  </a:lnTo>
                  <a:lnTo>
                    <a:pt x="220051" y="144012"/>
                  </a:lnTo>
                  <a:lnTo>
                    <a:pt x="216678" y="153888"/>
                  </a:lnTo>
                  <a:lnTo>
                    <a:pt x="230168" y="157179"/>
                  </a:lnTo>
                  <a:lnTo>
                    <a:pt x="235227" y="160471"/>
                  </a:lnTo>
                  <a:lnTo>
                    <a:pt x="230168" y="165409"/>
                  </a:lnTo>
                  <a:lnTo>
                    <a:pt x="193071" y="181867"/>
                  </a:lnTo>
                  <a:lnTo>
                    <a:pt x="198130" y="198326"/>
                  </a:lnTo>
                  <a:lnTo>
                    <a:pt x="204875" y="208201"/>
                  </a:lnTo>
                  <a:lnTo>
                    <a:pt x="194757" y="209847"/>
                  </a:lnTo>
                  <a:lnTo>
                    <a:pt x="174523" y="208201"/>
                  </a:lnTo>
                  <a:lnTo>
                    <a:pt x="150916" y="214785"/>
                  </a:lnTo>
                  <a:lnTo>
                    <a:pt x="144171" y="213138"/>
                  </a:lnTo>
                  <a:lnTo>
                    <a:pt x="134053" y="214785"/>
                  </a:lnTo>
                  <a:lnTo>
                    <a:pt x="128995" y="221368"/>
                  </a:lnTo>
                  <a:lnTo>
                    <a:pt x="125622" y="218076"/>
                  </a:lnTo>
                  <a:lnTo>
                    <a:pt x="108760" y="232889"/>
                  </a:lnTo>
                  <a:lnTo>
                    <a:pt x="112132" y="234535"/>
                  </a:lnTo>
                  <a:lnTo>
                    <a:pt x="85153" y="255931"/>
                  </a:lnTo>
                  <a:lnTo>
                    <a:pt x="63232" y="237827"/>
                  </a:lnTo>
                  <a:lnTo>
                    <a:pt x="61546" y="239472"/>
                  </a:lnTo>
                  <a:lnTo>
                    <a:pt x="58173" y="236181"/>
                  </a:lnTo>
                  <a:lnTo>
                    <a:pt x="54801" y="227951"/>
                  </a:lnTo>
                  <a:lnTo>
                    <a:pt x="41311" y="211493"/>
                  </a:lnTo>
                  <a:lnTo>
                    <a:pt x="29507" y="181867"/>
                  </a:lnTo>
                  <a:lnTo>
                    <a:pt x="26135" y="176930"/>
                  </a:lnTo>
                  <a:lnTo>
                    <a:pt x="4214" y="175284"/>
                  </a:lnTo>
                  <a:lnTo>
                    <a:pt x="31194" y="125908"/>
                  </a:lnTo>
                  <a:lnTo>
                    <a:pt x="37939" y="125908"/>
                  </a:lnTo>
                  <a:lnTo>
                    <a:pt x="41311" y="130845"/>
                  </a:lnTo>
                  <a:lnTo>
                    <a:pt x="49742" y="134137"/>
                  </a:lnTo>
                  <a:lnTo>
                    <a:pt x="76722" y="112741"/>
                  </a:lnTo>
                  <a:lnTo>
                    <a:pt x="80094" y="107803"/>
                  </a:lnTo>
                  <a:lnTo>
                    <a:pt x="88525" y="112741"/>
                  </a:lnTo>
                  <a:lnTo>
                    <a:pt x="95270" y="112741"/>
                  </a:lnTo>
                  <a:lnTo>
                    <a:pt x="107074" y="88053"/>
                  </a:lnTo>
                  <a:lnTo>
                    <a:pt x="107074" y="81470"/>
                  </a:lnTo>
                  <a:lnTo>
                    <a:pt x="105388" y="78178"/>
                  </a:lnTo>
                  <a:lnTo>
                    <a:pt x="108760" y="73240"/>
                  </a:lnTo>
                  <a:lnTo>
                    <a:pt x="95270" y="63365"/>
                  </a:lnTo>
                  <a:lnTo>
                    <a:pt x="105388" y="56781"/>
                  </a:lnTo>
                  <a:lnTo>
                    <a:pt x="112132" y="55136"/>
                  </a:lnTo>
                  <a:lnTo>
                    <a:pt x="117191" y="58427"/>
                  </a:lnTo>
                  <a:lnTo>
                    <a:pt x="122250" y="45260"/>
                  </a:lnTo>
                  <a:lnTo>
                    <a:pt x="118878" y="43615"/>
                  </a:lnTo>
                  <a:lnTo>
                    <a:pt x="125622" y="30448"/>
                  </a:lnTo>
                  <a:lnTo>
                    <a:pt x="122250" y="17281"/>
                  </a:lnTo>
                  <a:lnTo>
                    <a:pt x="113819" y="10697"/>
                  </a:lnTo>
                  <a:lnTo>
                    <a:pt x="113819" y="5760"/>
                  </a:lnTo>
                  <a:lnTo>
                    <a:pt x="155974"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8" name="Castricum">
              <a:extLst>
                <a:ext uri="{FF2B5EF4-FFF2-40B4-BE49-F238E27FC236}">
                  <a16:creationId xmlns:a16="http://schemas.microsoft.com/office/drawing/2014/main" id="{EA3E5288-1CB0-45AF-8D4A-97EE9422E0CD}"/>
                </a:ext>
              </a:extLst>
            </p:cNvPr>
            <p:cNvSpPr/>
            <p:nvPr/>
          </p:nvSpPr>
          <p:spPr>
            <a:xfrm>
              <a:off x="5410695" y="2714302"/>
              <a:ext cx="197591" cy="110094"/>
            </a:xfrm>
            <a:custGeom>
              <a:avLst/>
              <a:gdLst/>
              <a:ahLst/>
              <a:cxnLst/>
              <a:rect l="l" t="t" r="r" b="b"/>
              <a:pathLst>
                <a:path w="280996" h="160020" extrusionOk="0">
                  <a:moveTo>
                    <a:pt x="243658" y="5760"/>
                  </a:moveTo>
                  <a:lnTo>
                    <a:pt x="225110" y="65011"/>
                  </a:lnTo>
                  <a:lnTo>
                    <a:pt x="236913" y="76532"/>
                  </a:lnTo>
                  <a:lnTo>
                    <a:pt x="265579" y="83116"/>
                  </a:lnTo>
                  <a:lnTo>
                    <a:pt x="280755" y="89699"/>
                  </a:lnTo>
                  <a:lnTo>
                    <a:pt x="274010" y="120971"/>
                  </a:lnTo>
                  <a:lnTo>
                    <a:pt x="274010" y="145658"/>
                  </a:lnTo>
                  <a:lnTo>
                    <a:pt x="258834" y="144013"/>
                  </a:lnTo>
                  <a:lnTo>
                    <a:pt x="250403" y="137429"/>
                  </a:lnTo>
                  <a:lnTo>
                    <a:pt x="240286" y="140721"/>
                  </a:lnTo>
                  <a:lnTo>
                    <a:pt x="221737" y="127554"/>
                  </a:lnTo>
                  <a:lnTo>
                    <a:pt x="194758" y="114387"/>
                  </a:lnTo>
                  <a:lnTo>
                    <a:pt x="193071" y="114387"/>
                  </a:lnTo>
                  <a:lnTo>
                    <a:pt x="186326" y="120971"/>
                  </a:lnTo>
                  <a:lnTo>
                    <a:pt x="186326" y="102866"/>
                  </a:lnTo>
                  <a:lnTo>
                    <a:pt x="166092" y="111095"/>
                  </a:lnTo>
                  <a:lnTo>
                    <a:pt x="166092" y="114387"/>
                  </a:lnTo>
                  <a:lnTo>
                    <a:pt x="162719" y="117679"/>
                  </a:lnTo>
                  <a:lnTo>
                    <a:pt x="149230" y="119324"/>
                  </a:lnTo>
                  <a:lnTo>
                    <a:pt x="152602" y="155533"/>
                  </a:lnTo>
                  <a:lnTo>
                    <a:pt x="150916" y="162117"/>
                  </a:lnTo>
                  <a:lnTo>
                    <a:pt x="96957" y="148950"/>
                  </a:lnTo>
                  <a:lnTo>
                    <a:pt x="86839" y="152242"/>
                  </a:lnTo>
                  <a:lnTo>
                    <a:pt x="4214" y="150596"/>
                  </a:lnTo>
                  <a:lnTo>
                    <a:pt x="22763" y="46907"/>
                  </a:lnTo>
                  <a:lnTo>
                    <a:pt x="90212" y="25510"/>
                  </a:lnTo>
                  <a:lnTo>
                    <a:pt x="90212" y="18927"/>
                  </a:lnTo>
                  <a:lnTo>
                    <a:pt x="96957" y="18927"/>
                  </a:lnTo>
                  <a:lnTo>
                    <a:pt x="117191" y="7406"/>
                  </a:lnTo>
                  <a:lnTo>
                    <a:pt x="118877" y="9052"/>
                  </a:lnTo>
                  <a:lnTo>
                    <a:pt x="113819" y="12343"/>
                  </a:lnTo>
                  <a:lnTo>
                    <a:pt x="115505" y="15635"/>
                  </a:lnTo>
                  <a:lnTo>
                    <a:pt x="123936" y="20573"/>
                  </a:lnTo>
                  <a:lnTo>
                    <a:pt x="123936" y="23865"/>
                  </a:lnTo>
                  <a:lnTo>
                    <a:pt x="137426" y="25510"/>
                  </a:lnTo>
                  <a:lnTo>
                    <a:pt x="135740" y="30448"/>
                  </a:lnTo>
                  <a:lnTo>
                    <a:pt x="144171" y="33740"/>
                  </a:lnTo>
                  <a:lnTo>
                    <a:pt x="152602" y="35385"/>
                  </a:lnTo>
                  <a:lnTo>
                    <a:pt x="155974" y="28802"/>
                  </a:lnTo>
                  <a:lnTo>
                    <a:pt x="162719" y="30448"/>
                  </a:lnTo>
                  <a:lnTo>
                    <a:pt x="164406" y="32094"/>
                  </a:lnTo>
                  <a:lnTo>
                    <a:pt x="193071" y="33740"/>
                  </a:lnTo>
                  <a:lnTo>
                    <a:pt x="194758" y="37031"/>
                  </a:lnTo>
                  <a:lnTo>
                    <a:pt x="198130" y="35385"/>
                  </a:lnTo>
                  <a:lnTo>
                    <a:pt x="218365" y="37031"/>
                  </a:lnTo>
                  <a:lnTo>
                    <a:pt x="225110" y="9052"/>
                  </a:lnTo>
                  <a:lnTo>
                    <a:pt x="235227" y="12343"/>
                  </a:lnTo>
                  <a:lnTo>
                    <a:pt x="236913" y="4114"/>
                  </a:lnTo>
                  <a:lnTo>
                    <a:pt x="243658"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59" name="Cuijk">
              <a:extLst>
                <a:ext uri="{FF2B5EF4-FFF2-40B4-BE49-F238E27FC236}">
                  <a16:creationId xmlns:a16="http://schemas.microsoft.com/office/drawing/2014/main" id="{15D5892B-ACF5-4703-BC15-AA2C5A0C0B1C}"/>
                </a:ext>
              </a:extLst>
            </p:cNvPr>
            <p:cNvSpPr/>
            <p:nvPr/>
          </p:nvSpPr>
          <p:spPr>
            <a:xfrm>
              <a:off x="6646936" y="4087371"/>
              <a:ext cx="169073" cy="145993"/>
            </a:xfrm>
            <a:custGeom>
              <a:avLst/>
              <a:gdLst/>
              <a:ahLst/>
              <a:cxnLst/>
              <a:rect l="l" t="t" r="r" b="b"/>
              <a:pathLst>
                <a:path w="234163" h="217170" extrusionOk="0">
                  <a:moveTo>
                    <a:pt x="150916" y="46907"/>
                  </a:moveTo>
                  <a:lnTo>
                    <a:pt x="155974" y="79824"/>
                  </a:lnTo>
                  <a:lnTo>
                    <a:pt x="166092" y="92991"/>
                  </a:lnTo>
                  <a:lnTo>
                    <a:pt x="189699" y="102866"/>
                  </a:lnTo>
                  <a:lnTo>
                    <a:pt x="223423" y="106158"/>
                  </a:lnTo>
                  <a:lnTo>
                    <a:pt x="230168" y="107804"/>
                  </a:lnTo>
                  <a:lnTo>
                    <a:pt x="231854" y="111095"/>
                  </a:lnTo>
                  <a:lnTo>
                    <a:pt x="226796" y="114387"/>
                  </a:lnTo>
                  <a:lnTo>
                    <a:pt x="221737" y="124262"/>
                  </a:lnTo>
                  <a:lnTo>
                    <a:pt x="209934" y="129200"/>
                  </a:lnTo>
                  <a:lnTo>
                    <a:pt x="203189" y="140721"/>
                  </a:lnTo>
                  <a:lnTo>
                    <a:pt x="193071" y="147304"/>
                  </a:lnTo>
                  <a:lnTo>
                    <a:pt x="171150" y="175284"/>
                  </a:lnTo>
                  <a:lnTo>
                    <a:pt x="179581" y="183513"/>
                  </a:lnTo>
                  <a:lnTo>
                    <a:pt x="172836" y="191743"/>
                  </a:lnTo>
                  <a:lnTo>
                    <a:pt x="152602" y="204910"/>
                  </a:lnTo>
                  <a:lnTo>
                    <a:pt x="147543" y="201618"/>
                  </a:lnTo>
                  <a:lnTo>
                    <a:pt x="140798" y="203264"/>
                  </a:lnTo>
                  <a:lnTo>
                    <a:pt x="118877" y="221368"/>
                  </a:lnTo>
                  <a:lnTo>
                    <a:pt x="96956" y="204910"/>
                  </a:lnTo>
                  <a:lnTo>
                    <a:pt x="59859" y="148950"/>
                  </a:lnTo>
                  <a:lnTo>
                    <a:pt x="49742" y="145659"/>
                  </a:lnTo>
                  <a:lnTo>
                    <a:pt x="32880" y="147304"/>
                  </a:lnTo>
                  <a:lnTo>
                    <a:pt x="24449" y="140721"/>
                  </a:lnTo>
                  <a:lnTo>
                    <a:pt x="29507" y="135783"/>
                  </a:lnTo>
                  <a:lnTo>
                    <a:pt x="7586" y="127554"/>
                  </a:lnTo>
                  <a:lnTo>
                    <a:pt x="14332" y="124262"/>
                  </a:lnTo>
                  <a:lnTo>
                    <a:pt x="14332" y="99574"/>
                  </a:lnTo>
                  <a:lnTo>
                    <a:pt x="22763" y="96283"/>
                  </a:lnTo>
                  <a:lnTo>
                    <a:pt x="17704" y="76532"/>
                  </a:lnTo>
                  <a:lnTo>
                    <a:pt x="21076" y="74886"/>
                  </a:lnTo>
                  <a:lnTo>
                    <a:pt x="24449" y="65011"/>
                  </a:lnTo>
                  <a:lnTo>
                    <a:pt x="16018" y="60074"/>
                  </a:lnTo>
                  <a:lnTo>
                    <a:pt x="19390" y="51844"/>
                  </a:lnTo>
                  <a:lnTo>
                    <a:pt x="4214" y="41969"/>
                  </a:lnTo>
                  <a:lnTo>
                    <a:pt x="10959" y="28802"/>
                  </a:lnTo>
                  <a:lnTo>
                    <a:pt x="10959" y="18927"/>
                  </a:lnTo>
                  <a:lnTo>
                    <a:pt x="36252" y="12344"/>
                  </a:lnTo>
                  <a:lnTo>
                    <a:pt x="105388" y="4114"/>
                  </a:lnTo>
                  <a:lnTo>
                    <a:pt x="127309" y="10698"/>
                  </a:lnTo>
                  <a:lnTo>
                    <a:pt x="142484" y="22219"/>
                  </a:lnTo>
                  <a:lnTo>
                    <a:pt x="147543" y="30448"/>
                  </a:lnTo>
                  <a:lnTo>
                    <a:pt x="150916" y="46907"/>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0" name="Wierden">
              <a:extLst>
                <a:ext uri="{FF2B5EF4-FFF2-40B4-BE49-F238E27FC236}">
                  <a16:creationId xmlns:a16="http://schemas.microsoft.com/office/drawing/2014/main" id="{8F5BD26F-A057-4B68-BD4F-9F8B3CE04D9C}"/>
                </a:ext>
              </a:extLst>
            </p:cNvPr>
            <p:cNvSpPr/>
            <p:nvPr/>
          </p:nvSpPr>
          <p:spPr>
            <a:xfrm>
              <a:off x="7351097" y="3004493"/>
              <a:ext cx="180620" cy="221425"/>
            </a:xfrm>
            <a:custGeom>
              <a:avLst/>
              <a:gdLst/>
              <a:ahLst/>
              <a:cxnLst/>
              <a:rect l="l" t="t" r="r" b="b"/>
              <a:pathLst>
                <a:path w="257579" h="365760" extrusionOk="0">
                  <a:moveTo>
                    <a:pt x="199816" y="86407"/>
                  </a:moveTo>
                  <a:lnTo>
                    <a:pt x="214992" y="125908"/>
                  </a:lnTo>
                  <a:lnTo>
                    <a:pt x="223424" y="130845"/>
                  </a:lnTo>
                  <a:lnTo>
                    <a:pt x="226796" y="139075"/>
                  </a:lnTo>
                  <a:lnTo>
                    <a:pt x="225110" y="150596"/>
                  </a:lnTo>
                  <a:lnTo>
                    <a:pt x="218365" y="155533"/>
                  </a:lnTo>
                  <a:lnTo>
                    <a:pt x="209934" y="180221"/>
                  </a:lnTo>
                  <a:lnTo>
                    <a:pt x="199816" y="185159"/>
                  </a:lnTo>
                  <a:lnTo>
                    <a:pt x="208247" y="201617"/>
                  </a:lnTo>
                  <a:lnTo>
                    <a:pt x="228482" y="216430"/>
                  </a:lnTo>
                  <a:lnTo>
                    <a:pt x="233541" y="224660"/>
                  </a:lnTo>
                  <a:lnTo>
                    <a:pt x="223424" y="242764"/>
                  </a:lnTo>
                  <a:lnTo>
                    <a:pt x="220051" y="246056"/>
                  </a:lnTo>
                  <a:lnTo>
                    <a:pt x="220051" y="247702"/>
                  </a:lnTo>
                  <a:lnTo>
                    <a:pt x="211620" y="257577"/>
                  </a:lnTo>
                  <a:lnTo>
                    <a:pt x="221737" y="255931"/>
                  </a:lnTo>
                  <a:lnTo>
                    <a:pt x="226796" y="259223"/>
                  </a:lnTo>
                  <a:lnTo>
                    <a:pt x="225110" y="264160"/>
                  </a:lnTo>
                  <a:lnTo>
                    <a:pt x="230168" y="265806"/>
                  </a:lnTo>
                  <a:lnTo>
                    <a:pt x="216678" y="269098"/>
                  </a:lnTo>
                  <a:lnTo>
                    <a:pt x="233541" y="272390"/>
                  </a:lnTo>
                  <a:lnTo>
                    <a:pt x="253776" y="282265"/>
                  </a:lnTo>
                  <a:lnTo>
                    <a:pt x="245344" y="311890"/>
                  </a:lnTo>
                  <a:lnTo>
                    <a:pt x="214992" y="357975"/>
                  </a:lnTo>
                  <a:lnTo>
                    <a:pt x="198130" y="357975"/>
                  </a:lnTo>
                  <a:lnTo>
                    <a:pt x="169464" y="362912"/>
                  </a:lnTo>
                  <a:lnTo>
                    <a:pt x="157661" y="361266"/>
                  </a:lnTo>
                  <a:lnTo>
                    <a:pt x="152602" y="354683"/>
                  </a:lnTo>
                  <a:lnTo>
                    <a:pt x="128995" y="318474"/>
                  </a:lnTo>
                  <a:lnTo>
                    <a:pt x="132367" y="300369"/>
                  </a:lnTo>
                  <a:lnTo>
                    <a:pt x="134053" y="302015"/>
                  </a:lnTo>
                  <a:lnTo>
                    <a:pt x="134053" y="290494"/>
                  </a:lnTo>
                  <a:lnTo>
                    <a:pt x="128995" y="264160"/>
                  </a:lnTo>
                  <a:lnTo>
                    <a:pt x="120564" y="244410"/>
                  </a:lnTo>
                  <a:lnTo>
                    <a:pt x="112133" y="250993"/>
                  </a:lnTo>
                  <a:lnTo>
                    <a:pt x="107074" y="250993"/>
                  </a:lnTo>
                  <a:lnTo>
                    <a:pt x="102015" y="249348"/>
                  </a:lnTo>
                  <a:lnTo>
                    <a:pt x="90212" y="227951"/>
                  </a:lnTo>
                  <a:lnTo>
                    <a:pt x="86839" y="232889"/>
                  </a:lnTo>
                  <a:lnTo>
                    <a:pt x="80094" y="229597"/>
                  </a:lnTo>
                  <a:lnTo>
                    <a:pt x="51428" y="232889"/>
                  </a:lnTo>
                  <a:lnTo>
                    <a:pt x="4214" y="227951"/>
                  </a:lnTo>
                  <a:lnTo>
                    <a:pt x="34566" y="185159"/>
                  </a:lnTo>
                  <a:lnTo>
                    <a:pt x="31194" y="181867"/>
                  </a:lnTo>
                  <a:lnTo>
                    <a:pt x="34566" y="180221"/>
                  </a:lnTo>
                  <a:lnTo>
                    <a:pt x="37939" y="171992"/>
                  </a:lnTo>
                  <a:lnTo>
                    <a:pt x="44684" y="170346"/>
                  </a:lnTo>
                  <a:lnTo>
                    <a:pt x="53115" y="162117"/>
                  </a:lnTo>
                  <a:lnTo>
                    <a:pt x="59860" y="163763"/>
                  </a:lnTo>
                  <a:lnTo>
                    <a:pt x="61546" y="157179"/>
                  </a:lnTo>
                  <a:lnTo>
                    <a:pt x="80094" y="157179"/>
                  </a:lnTo>
                  <a:lnTo>
                    <a:pt x="81781" y="142367"/>
                  </a:lnTo>
                  <a:lnTo>
                    <a:pt x="49742" y="137429"/>
                  </a:lnTo>
                  <a:lnTo>
                    <a:pt x="44684" y="125908"/>
                  </a:lnTo>
                  <a:lnTo>
                    <a:pt x="42997" y="106158"/>
                  </a:lnTo>
                  <a:lnTo>
                    <a:pt x="71663" y="92991"/>
                  </a:lnTo>
                  <a:lnTo>
                    <a:pt x="63232" y="68303"/>
                  </a:lnTo>
                  <a:lnTo>
                    <a:pt x="73349" y="33740"/>
                  </a:lnTo>
                  <a:lnTo>
                    <a:pt x="164406" y="4114"/>
                  </a:lnTo>
                  <a:lnTo>
                    <a:pt x="199816" y="86407"/>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1" name="De Wolden">
              <a:extLst>
                <a:ext uri="{FF2B5EF4-FFF2-40B4-BE49-F238E27FC236}">
                  <a16:creationId xmlns:a16="http://schemas.microsoft.com/office/drawing/2014/main" id="{9635ECAB-2271-4D5E-A695-E154C017D7C0}"/>
                </a:ext>
              </a:extLst>
            </p:cNvPr>
            <p:cNvSpPr/>
            <p:nvPr/>
          </p:nvSpPr>
          <p:spPr>
            <a:xfrm>
              <a:off x="7085991" y="2355521"/>
              <a:ext cx="329346" cy="320445"/>
            </a:xfrm>
            <a:custGeom>
              <a:avLst/>
              <a:gdLst/>
              <a:ahLst/>
              <a:cxnLst/>
              <a:rect l="l" t="t" r="r" b="b"/>
              <a:pathLst>
                <a:path w="480034" h="457200" extrusionOk="0">
                  <a:moveTo>
                    <a:pt x="209933" y="12343"/>
                  </a:moveTo>
                  <a:lnTo>
                    <a:pt x="203188" y="20573"/>
                  </a:lnTo>
                  <a:lnTo>
                    <a:pt x="191385" y="27156"/>
                  </a:lnTo>
                  <a:lnTo>
                    <a:pt x="206561" y="30448"/>
                  </a:lnTo>
                  <a:lnTo>
                    <a:pt x="208247" y="37031"/>
                  </a:lnTo>
                  <a:lnTo>
                    <a:pt x="201502" y="41969"/>
                  </a:lnTo>
                  <a:lnTo>
                    <a:pt x="208247" y="43615"/>
                  </a:lnTo>
                  <a:lnTo>
                    <a:pt x="211620" y="50198"/>
                  </a:lnTo>
                  <a:lnTo>
                    <a:pt x="220051" y="41969"/>
                  </a:lnTo>
                  <a:lnTo>
                    <a:pt x="236913" y="48552"/>
                  </a:lnTo>
                  <a:lnTo>
                    <a:pt x="240286" y="45261"/>
                  </a:lnTo>
                  <a:lnTo>
                    <a:pt x="238599" y="43615"/>
                  </a:lnTo>
                  <a:lnTo>
                    <a:pt x="245344" y="37031"/>
                  </a:lnTo>
                  <a:lnTo>
                    <a:pt x="258834" y="51844"/>
                  </a:lnTo>
                  <a:lnTo>
                    <a:pt x="265579" y="50198"/>
                  </a:lnTo>
                  <a:lnTo>
                    <a:pt x="268951" y="55136"/>
                  </a:lnTo>
                  <a:lnTo>
                    <a:pt x="297617" y="28802"/>
                  </a:lnTo>
                  <a:lnTo>
                    <a:pt x="302676" y="32094"/>
                  </a:lnTo>
                  <a:lnTo>
                    <a:pt x="302676" y="43615"/>
                  </a:lnTo>
                  <a:lnTo>
                    <a:pt x="311107" y="45261"/>
                  </a:lnTo>
                  <a:lnTo>
                    <a:pt x="312793" y="41969"/>
                  </a:lnTo>
                  <a:lnTo>
                    <a:pt x="319538" y="41969"/>
                  </a:lnTo>
                  <a:lnTo>
                    <a:pt x="319538" y="38677"/>
                  </a:lnTo>
                  <a:lnTo>
                    <a:pt x="326283" y="37031"/>
                  </a:lnTo>
                  <a:lnTo>
                    <a:pt x="326283" y="32094"/>
                  </a:lnTo>
                  <a:lnTo>
                    <a:pt x="322911" y="30448"/>
                  </a:lnTo>
                  <a:lnTo>
                    <a:pt x="322911" y="27156"/>
                  </a:lnTo>
                  <a:lnTo>
                    <a:pt x="333028" y="18927"/>
                  </a:lnTo>
                  <a:lnTo>
                    <a:pt x="348204" y="33739"/>
                  </a:lnTo>
                  <a:lnTo>
                    <a:pt x="348204" y="55136"/>
                  </a:lnTo>
                  <a:lnTo>
                    <a:pt x="334714" y="68303"/>
                  </a:lnTo>
                  <a:lnTo>
                    <a:pt x="324597" y="76532"/>
                  </a:lnTo>
                  <a:lnTo>
                    <a:pt x="294245" y="84761"/>
                  </a:lnTo>
                  <a:lnTo>
                    <a:pt x="302676" y="107803"/>
                  </a:lnTo>
                  <a:lnTo>
                    <a:pt x="307734" y="106158"/>
                  </a:lnTo>
                  <a:lnTo>
                    <a:pt x="317852" y="117679"/>
                  </a:lnTo>
                  <a:lnTo>
                    <a:pt x="309421" y="124262"/>
                  </a:lnTo>
                  <a:lnTo>
                    <a:pt x="314479" y="137429"/>
                  </a:lnTo>
                  <a:lnTo>
                    <a:pt x="302676" y="142367"/>
                  </a:lnTo>
                  <a:lnTo>
                    <a:pt x="311107" y="165409"/>
                  </a:lnTo>
                  <a:lnTo>
                    <a:pt x="290872" y="173638"/>
                  </a:lnTo>
                  <a:lnTo>
                    <a:pt x="302676" y="193388"/>
                  </a:lnTo>
                  <a:lnTo>
                    <a:pt x="300989" y="199972"/>
                  </a:lnTo>
                  <a:lnTo>
                    <a:pt x="289186" y="209847"/>
                  </a:lnTo>
                  <a:lnTo>
                    <a:pt x="285813" y="227951"/>
                  </a:lnTo>
                  <a:lnTo>
                    <a:pt x="287500" y="231243"/>
                  </a:lnTo>
                  <a:lnTo>
                    <a:pt x="290872" y="224660"/>
                  </a:lnTo>
                  <a:lnTo>
                    <a:pt x="311107" y="237826"/>
                  </a:lnTo>
                  <a:lnTo>
                    <a:pt x="316166" y="231243"/>
                  </a:lnTo>
                  <a:lnTo>
                    <a:pt x="324597" y="227951"/>
                  </a:lnTo>
                  <a:lnTo>
                    <a:pt x="356635" y="224660"/>
                  </a:lnTo>
                  <a:lnTo>
                    <a:pt x="354949" y="227951"/>
                  </a:lnTo>
                  <a:lnTo>
                    <a:pt x="358321" y="242764"/>
                  </a:lnTo>
                  <a:lnTo>
                    <a:pt x="354949" y="255931"/>
                  </a:lnTo>
                  <a:lnTo>
                    <a:pt x="375184" y="252639"/>
                  </a:lnTo>
                  <a:lnTo>
                    <a:pt x="376870" y="255931"/>
                  </a:lnTo>
                  <a:lnTo>
                    <a:pt x="392046" y="254285"/>
                  </a:lnTo>
                  <a:lnTo>
                    <a:pt x="410594" y="255931"/>
                  </a:lnTo>
                  <a:lnTo>
                    <a:pt x="408908" y="277327"/>
                  </a:lnTo>
                  <a:lnTo>
                    <a:pt x="422398" y="278973"/>
                  </a:lnTo>
                  <a:lnTo>
                    <a:pt x="420712" y="297078"/>
                  </a:lnTo>
                  <a:lnTo>
                    <a:pt x="432515" y="298723"/>
                  </a:lnTo>
                  <a:lnTo>
                    <a:pt x="430829" y="303661"/>
                  </a:lnTo>
                  <a:lnTo>
                    <a:pt x="478043" y="305307"/>
                  </a:lnTo>
                  <a:lnTo>
                    <a:pt x="476357" y="348099"/>
                  </a:lnTo>
                  <a:lnTo>
                    <a:pt x="454436" y="369496"/>
                  </a:lnTo>
                  <a:lnTo>
                    <a:pt x="462867" y="446851"/>
                  </a:lnTo>
                  <a:lnTo>
                    <a:pt x="452750" y="448497"/>
                  </a:lnTo>
                  <a:lnTo>
                    <a:pt x="440946" y="440268"/>
                  </a:lnTo>
                  <a:lnTo>
                    <a:pt x="422398" y="435330"/>
                  </a:lnTo>
                  <a:lnTo>
                    <a:pt x="400477" y="436976"/>
                  </a:lnTo>
                  <a:lnTo>
                    <a:pt x="397104" y="430393"/>
                  </a:lnTo>
                  <a:lnTo>
                    <a:pt x="393732" y="430393"/>
                  </a:lnTo>
                  <a:lnTo>
                    <a:pt x="392046" y="422163"/>
                  </a:lnTo>
                  <a:lnTo>
                    <a:pt x="388673" y="422163"/>
                  </a:lnTo>
                  <a:lnTo>
                    <a:pt x="378556" y="425455"/>
                  </a:lnTo>
                  <a:lnTo>
                    <a:pt x="380242" y="428747"/>
                  </a:lnTo>
                  <a:lnTo>
                    <a:pt x="373497" y="443559"/>
                  </a:lnTo>
                  <a:lnTo>
                    <a:pt x="366752" y="445205"/>
                  </a:lnTo>
                  <a:lnTo>
                    <a:pt x="363380" y="448497"/>
                  </a:lnTo>
                  <a:lnTo>
                    <a:pt x="360007" y="445205"/>
                  </a:lnTo>
                  <a:lnTo>
                    <a:pt x="346518" y="445205"/>
                  </a:lnTo>
                  <a:lnTo>
                    <a:pt x="336400" y="435330"/>
                  </a:lnTo>
                  <a:lnTo>
                    <a:pt x="336400" y="428747"/>
                  </a:lnTo>
                  <a:lnTo>
                    <a:pt x="333028" y="420517"/>
                  </a:lnTo>
                  <a:lnTo>
                    <a:pt x="334714" y="418872"/>
                  </a:lnTo>
                  <a:lnTo>
                    <a:pt x="329655" y="413934"/>
                  </a:lnTo>
                  <a:lnTo>
                    <a:pt x="326283" y="413934"/>
                  </a:lnTo>
                  <a:lnTo>
                    <a:pt x="322911" y="420517"/>
                  </a:lnTo>
                  <a:lnTo>
                    <a:pt x="322911" y="423809"/>
                  </a:lnTo>
                  <a:lnTo>
                    <a:pt x="314479" y="428747"/>
                  </a:lnTo>
                  <a:lnTo>
                    <a:pt x="311107" y="436976"/>
                  </a:lnTo>
                  <a:lnTo>
                    <a:pt x="302676" y="435330"/>
                  </a:lnTo>
                  <a:lnTo>
                    <a:pt x="297617" y="430393"/>
                  </a:lnTo>
                  <a:lnTo>
                    <a:pt x="292558" y="433684"/>
                  </a:lnTo>
                  <a:lnTo>
                    <a:pt x="294245" y="440268"/>
                  </a:lnTo>
                  <a:lnTo>
                    <a:pt x="289186" y="443559"/>
                  </a:lnTo>
                  <a:lnTo>
                    <a:pt x="277382" y="440268"/>
                  </a:lnTo>
                  <a:lnTo>
                    <a:pt x="270638" y="448497"/>
                  </a:lnTo>
                  <a:lnTo>
                    <a:pt x="258834" y="453435"/>
                  </a:lnTo>
                  <a:lnTo>
                    <a:pt x="257148" y="445205"/>
                  </a:lnTo>
                  <a:lnTo>
                    <a:pt x="253775" y="446851"/>
                  </a:lnTo>
                  <a:lnTo>
                    <a:pt x="248716" y="443559"/>
                  </a:lnTo>
                  <a:lnTo>
                    <a:pt x="248716" y="435330"/>
                  </a:lnTo>
                  <a:lnTo>
                    <a:pt x="243658" y="425455"/>
                  </a:lnTo>
                  <a:lnTo>
                    <a:pt x="245344" y="422163"/>
                  </a:lnTo>
                  <a:lnTo>
                    <a:pt x="243658" y="420517"/>
                  </a:lnTo>
                  <a:lnTo>
                    <a:pt x="245344" y="417226"/>
                  </a:lnTo>
                  <a:lnTo>
                    <a:pt x="240286" y="407350"/>
                  </a:lnTo>
                  <a:lnTo>
                    <a:pt x="236913" y="405705"/>
                  </a:lnTo>
                  <a:lnTo>
                    <a:pt x="236913" y="397475"/>
                  </a:lnTo>
                  <a:lnTo>
                    <a:pt x="226795" y="389246"/>
                  </a:lnTo>
                  <a:lnTo>
                    <a:pt x="228482" y="379371"/>
                  </a:lnTo>
                  <a:lnTo>
                    <a:pt x="221737" y="374433"/>
                  </a:lnTo>
                  <a:lnTo>
                    <a:pt x="213306" y="372787"/>
                  </a:lnTo>
                  <a:lnTo>
                    <a:pt x="211620" y="369496"/>
                  </a:lnTo>
                  <a:lnTo>
                    <a:pt x="203188" y="366204"/>
                  </a:lnTo>
                  <a:lnTo>
                    <a:pt x="194757" y="353037"/>
                  </a:lnTo>
                  <a:lnTo>
                    <a:pt x="182954" y="353037"/>
                  </a:lnTo>
                  <a:lnTo>
                    <a:pt x="181267" y="348099"/>
                  </a:lnTo>
                  <a:lnTo>
                    <a:pt x="171150" y="341516"/>
                  </a:lnTo>
                  <a:lnTo>
                    <a:pt x="171150" y="333287"/>
                  </a:lnTo>
                  <a:lnTo>
                    <a:pt x="176209" y="326703"/>
                  </a:lnTo>
                  <a:lnTo>
                    <a:pt x="172836" y="318474"/>
                  </a:lnTo>
                  <a:lnTo>
                    <a:pt x="161033" y="315182"/>
                  </a:lnTo>
                  <a:lnTo>
                    <a:pt x="145857" y="323412"/>
                  </a:lnTo>
                  <a:lnTo>
                    <a:pt x="140798" y="325057"/>
                  </a:lnTo>
                  <a:lnTo>
                    <a:pt x="135740" y="321766"/>
                  </a:lnTo>
                  <a:lnTo>
                    <a:pt x="130681" y="326703"/>
                  </a:lnTo>
                  <a:lnTo>
                    <a:pt x="127308" y="325057"/>
                  </a:lnTo>
                  <a:lnTo>
                    <a:pt x="123936" y="334932"/>
                  </a:lnTo>
                  <a:lnTo>
                    <a:pt x="112132" y="331641"/>
                  </a:lnTo>
                  <a:lnTo>
                    <a:pt x="108760" y="328349"/>
                  </a:lnTo>
                  <a:lnTo>
                    <a:pt x="110446" y="323412"/>
                  </a:lnTo>
                  <a:lnTo>
                    <a:pt x="100329" y="318474"/>
                  </a:lnTo>
                  <a:lnTo>
                    <a:pt x="96956" y="320120"/>
                  </a:lnTo>
                  <a:lnTo>
                    <a:pt x="90211" y="329995"/>
                  </a:lnTo>
                  <a:lnTo>
                    <a:pt x="86839" y="329995"/>
                  </a:lnTo>
                  <a:lnTo>
                    <a:pt x="80094" y="325057"/>
                  </a:lnTo>
                  <a:lnTo>
                    <a:pt x="81780" y="313536"/>
                  </a:lnTo>
                  <a:lnTo>
                    <a:pt x="83467" y="313536"/>
                  </a:lnTo>
                  <a:lnTo>
                    <a:pt x="85153" y="308599"/>
                  </a:lnTo>
                  <a:lnTo>
                    <a:pt x="90211" y="306953"/>
                  </a:lnTo>
                  <a:lnTo>
                    <a:pt x="85153" y="287202"/>
                  </a:lnTo>
                  <a:lnTo>
                    <a:pt x="93584" y="283911"/>
                  </a:lnTo>
                  <a:lnTo>
                    <a:pt x="107074" y="287202"/>
                  </a:lnTo>
                  <a:lnTo>
                    <a:pt x="107074" y="282265"/>
                  </a:lnTo>
                  <a:lnTo>
                    <a:pt x="93584" y="274035"/>
                  </a:lnTo>
                  <a:lnTo>
                    <a:pt x="95270" y="267452"/>
                  </a:lnTo>
                  <a:lnTo>
                    <a:pt x="108760" y="269098"/>
                  </a:lnTo>
                  <a:lnTo>
                    <a:pt x="110446" y="246056"/>
                  </a:lnTo>
                  <a:lnTo>
                    <a:pt x="93584" y="255931"/>
                  </a:lnTo>
                  <a:lnTo>
                    <a:pt x="95270" y="249348"/>
                  </a:lnTo>
                  <a:lnTo>
                    <a:pt x="100329" y="244410"/>
                  </a:lnTo>
                  <a:lnTo>
                    <a:pt x="96956" y="241118"/>
                  </a:lnTo>
                  <a:lnTo>
                    <a:pt x="95270" y="242764"/>
                  </a:lnTo>
                  <a:lnTo>
                    <a:pt x="96956" y="236181"/>
                  </a:lnTo>
                  <a:lnTo>
                    <a:pt x="91897" y="236181"/>
                  </a:lnTo>
                  <a:lnTo>
                    <a:pt x="91897" y="229597"/>
                  </a:lnTo>
                  <a:lnTo>
                    <a:pt x="59859" y="231243"/>
                  </a:lnTo>
                  <a:lnTo>
                    <a:pt x="53115" y="224660"/>
                  </a:lnTo>
                  <a:lnTo>
                    <a:pt x="36252" y="231243"/>
                  </a:lnTo>
                  <a:lnTo>
                    <a:pt x="29507" y="229597"/>
                  </a:lnTo>
                  <a:lnTo>
                    <a:pt x="17704" y="237826"/>
                  </a:lnTo>
                  <a:lnTo>
                    <a:pt x="5900" y="237826"/>
                  </a:lnTo>
                  <a:lnTo>
                    <a:pt x="4214" y="199972"/>
                  </a:lnTo>
                  <a:lnTo>
                    <a:pt x="5900" y="193388"/>
                  </a:lnTo>
                  <a:lnTo>
                    <a:pt x="31194" y="147304"/>
                  </a:lnTo>
                  <a:lnTo>
                    <a:pt x="26135" y="144012"/>
                  </a:lnTo>
                  <a:lnTo>
                    <a:pt x="34566" y="139075"/>
                  </a:lnTo>
                  <a:lnTo>
                    <a:pt x="41311" y="122616"/>
                  </a:lnTo>
                  <a:lnTo>
                    <a:pt x="54801" y="104512"/>
                  </a:lnTo>
                  <a:lnTo>
                    <a:pt x="81780" y="102866"/>
                  </a:lnTo>
                  <a:lnTo>
                    <a:pt x="98642" y="92991"/>
                  </a:lnTo>
                  <a:lnTo>
                    <a:pt x="127308" y="83115"/>
                  </a:lnTo>
                  <a:lnTo>
                    <a:pt x="127308" y="78178"/>
                  </a:lnTo>
                  <a:lnTo>
                    <a:pt x="117191" y="53490"/>
                  </a:lnTo>
                  <a:lnTo>
                    <a:pt x="125622" y="45261"/>
                  </a:lnTo>
                  <a:lnTo>
                    <a:pt x="123936" y="43615"/>
                  </a:lnTo>
                  <a:lnTo>
                    <a:pt x="128995" y="37031"/>
                  </a:lnTo>
                  <a:lnTo>
                    <a:pt x="127308" y="33739"/>
                  </a:lnTo>
                  <a:lnTo>
                    <a:pt x="132367" y="28802"/>
                  </a:lnTo>
                  <a:lnTo>
                    <a:pt x="128995" y="23864"/>
                  </a:lnTo>
                  <a:lnTo>
                    <a:pt x="135740" y="22218"/>
                  </a:lnTo>
                  <a:lnTo>
                    <a:pt x="142484" y="12343"/>
                  </a:lnTo>
                  <a:lnTo>
                    <a:pt x="159347" y="12343"/>
                  </a:lnTo>
                  <a:lnTo>
                    <a:pt x="188013" y="4114"/>
                  </a:lnTo>
                  <a:lnTo>
                    <a:pt x="208247" y="4114"/>
                  </a:lnTo>
                  <a:lnTo>
                    <a:pt x="209933" y="12343"/>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2" name="Westland">
              <a:extLst>
                <a:ext uri="{FF2B5EF4-FFF2-40B4-BE49-F238E27FC236}">
                  <a16:creationId xmlns:a16="http://schemas.microsoft.com/office/drawing/2014/main" id="{FCF14FB9-9450-451E-86FC-0A0F7F05A9D9}"/>
                </a:ext>
              </a:extLst>
            </p:cNvPr>
            <p:cNvSpPr/>
            <p:nvPr/>
          </p:nvSpPr>
          <p:spPr>
            <a:xfrm>
              <a:off x="4906364" y="3585809"/>
              <a:ext cx="197591" cy="178082"/>
            </a:xfrm>
            <a:custGeom>
              <a:avLst/>
              <a:gdLst/>
              <a:ahLst/>
              <a:cxnLst/>
              <a:rect l="l" t="t" r="r" b="b"/>
              <a:pathLst>
                <a:path w="280996" h="274320" extrusionOk="0">
                  <a:moveTo>
                    <a:pt x="113819" y="9052"/>
                  </a:moveTo>
                  <a:lnTo>
                    <a:pt x="115505" y="18927"/>
                  </a:lnTo>
                  <a:lnTo>
                    <a:pt x="134053" y="56782"/>
                  </a:lnTo>
                  <a:lnTo>
                    <a:pt x="130681" y="58427"/>
                  </a:lnTo>
                  <a:lnTo>
                    <a:pt x="134053" y="65011"/>
                  </a:lnTo>
                  <a:lnTo>
                    <a:pt x="145857" y="58427"/>
                  </a:lnTo>
                  <a:lnTo>
                    <a:pt x="159347" y="56782"/>
                  </a:lnTo>
                  <a:lnTo>
                    <a:pt x="169464" y="45261"/>
                  </a:lnTo>
                  <a:lnTo>
                    <a:pt x="189699" y="79824"/>
                  </a:lnTo>
                  <a:lnTo>
                    <a:pt x="226796" y="53490"/>
                  </a:lnTo>
                  <a:lnTo>
                    <a:pt x="231855" y="65011"/>
                  </a:lnTo>
                  <a:lnTo>
                    <a:pt x="235227" y="61719"/>
                  </a:lnTo>
                  <a:lnTo>
                    <a:pt x="240286" y="74886"/>
                  </a:lnTo>
                  <a:lnTo>
                    <a:pt x="243658" y="76532"/>
                  </a:lnTo>
                  <a:lnTo>
                    <a:pt x="245344" y="74886"/>
                  </a:lnTo>
                  <a:lnTo>
                    <a:pt x="245344" y="79824"/>
                  </a:lnTo>
                  <a:lnTo>
                    <a:pt x="250403" y="83115"/>
                  </a:lnTo>
                  <a:lnTo>
                    <a:pt x="247031" y="84761"/>
                  </a:lnTo>
                  <a:lnTo>
                    <a:pt x="258834" y="94637"/>
                  </a:lnTo>
                  <a:lnTo>
                    <a:pt x="252089" y="97928"/>
                  </a:lnTo>
                  <a:lnTo>
                    <a:pt x="260520" y="104512"/>
                  </a:lnTo>
                  <a:lnTo>
                    <a:pt x="268951" y="97928"/>
                  </a:lnTo>
                  <a:lnTo>
                    <a:pt x="272324" y="101220"/>
                  </a:lnTo>
                  <a:lnTo>
                    <a:pt x="279069" y="97928"/>
                  </a:lnTo>
                  <a:lnTo>
                    <a:pt x="282441" y="104512"/>
                  </a:lnTo>
                  <a:lnTo>
                    <a:pt x="213306" y="150596"/>
                  </a:lnTo>
                  <a:lnTo>
                    <a:pt x="216678" y="157179"/>
                  </a:lnTo>
                  <a:lnTo>
                    <a:pt x="236913" y="163763"/>
                  </a:lnTo>
                  <a:lnTo>
                    <a:pt x="236913" y="168700"/>
                  </a:lnTo>
                  <a:lnTo>
                    <a:pt x="241972" y="175284"/>
                  </a:lnTo>
                  <a:lnTo>
                    <a:pt x="248717" y="168700"/>
                  </a:lnTo>
                  <a:lnTo>
                    <a:pt x="253775" y="181867"/>
                  </a:lnTo>
                  <a:lnTo>
                    <a:pt x="260520" y="180221"/>
                  </a:lnTo>
                  <a:lnTo>
                    <a:pt x="260520" y="185159"/>
                  </a:lnTo>
                  <a:lnTo>
                    <a:pt x="263893" y="185159"/>
                  </a:lnTo>
                  <a:lnTo>
                    <a:pt x="270638" y="190096"/>
                  </a:lnTo>
                  <a:lnTo>
                    <a:pt x="247031" y="204909"/>
                  </a:lnTo>
                  <a:lnTo>
                    <a:pt x="250403" y="208201"/>
                  </a:lnTo>
                  <a:lnTo>
                    <a:pt x="243658" y="213138"/>
                  </a:lnTo>
                  <a:lnTo>
                    <a:pt x="241972" y="211493"/>
                  </a:lnTo>
                  <a:lnTo>
                    <a:pt x="238599" y="213138"/>
                  </a:lnTo>
                  <a:lnTo>
                    <a:pt x="236913" y="209847"/>
                  </a:lnTo>
                  <a:lnTo>
                    <a:pt x="233541" y="211493"/>
                  </a:lnTo>
                  <a:lnTo>
                    <a:pt x="225110" y="204909"/>
                  </a:lnTo>
                  <a:lnTo>
                    <a:pt x="221737" y="213138"/>
                  </a:lnTo>
                  <a:lnTo>
                    <a:pt x="230168" y="224660"/>
                  </a:lnTo>
                  <a:lnTo>
                    <a:pt x="209934" y="236181"/>
                  </a:lnTo>
                  <a:lnTo>
                    <a:pt x="194758" y="239472"/>
                  </a:lnTo>
                  <a:lnTo>
                    <a:pt x="164406" y="252639"/>
                  </a:lnTo>
                  <a:lnTo>
                    <a:pt x="164406" y="260869"/>
                  </a:lnTo>
                  <a:lnTo>
                    <a:pt x="174523" y="275682"/>
                  </a:lnTo>
                  <a:lnTo>
                    <a:pt x="174523" y="277327"/>
                  </a:lnTo>
                  <a:lnTo>
                    <a:pt x="169464" y="275682"/>
                  </a:lnTo>
                  <a:lnTo>
                    <a:pt x="161033" y="277327"/>
                  </a:lnTo>
                  <a:lnTo>
                    <a:pt x="155974" y="265806"/>
                  </a:lnTo>
                  <a:lnTo>
                    <a:pt x="142485" y="280619"/>
                  </a:lnTo>
                  <a:lnTo>
                    <a:pt x="139112" y="280619"/>
                  </a:lnTo>
                  <a:lnTo>
                    <a:pt x="113819" y="259223"/>
                  </a:lnTo>
                  <a:lnTo>
                    <a:pt x="100329" y="247702"/>
                  </a:lnTo>
                  <a:lnTo>
                    <a:pt x="93584" y="229597"/>
                  </a:lnTo>
                  <a:lnTo>
                    <a:pt x="98643" y="221368"/>
                  </a:lnTo>
                  <a:lnTo>
                    <a:pt x="93584" y="221368"/>
                  </a:lnTo>
                  <a:lnTo>
                    <a:pt x="93584" y="218076"/>
                  </a:lnTo>
                  <a:lnTo>
                    <a:pt x="76722" y="206555"/>
                  </a:lnTo>
                  <a:lnTo>
                    <a:pt x="44684" y="191742"/>
                  </a:lnTo>
                  <a:lnTo>
                    <a:pt x="46370" y="186805"/>
                  </a:lnTo>
                  <a:lnTo>
                    <a:pt x="32880" y="181867"/>
                  </a:lnTo>
                  <a:lnTo>
                    <a:pt x="39625" y="167054"/>
                  </a:lnTo>
                  <a:lnTo>
                    <a:pt x="16018" y="155533"/>
                  </a:lnTo>
                  <a:lnTo>
                    <a:pt x="9273" y="144012"/>
                  </a:lnTo>
                  <a:lnTo>
                    <a:pt x="10959" y="140721"/>
                  </a:lnTo>
                  <a:lnTo>
                    <a:pt x="4214" y="135783"/>
                  </a:lnTo>
                  <a:lnTo>
                    <a:pt x="14331" y="122616"/>
                  </a:lnTo>
                  <a:lnTo>
                    <a:pt x="12645" y="120970"/>
                  </a:lnTo>
                  <a:lnTo>
                    <a:pt x="16018" y="122616"/>
                  </a:lnTo>
                  <a:lnTo>
                    <a:pt x="19390" y="119324"/>
                  </a:lnTo>
                  <a:lnTo>
                    <a:pt x="16018" y="117679"/>
                  </a:lnTo>
                  <a:lnTo>
                    <a:pt x="19390" y="119324"/>
                  </a:lnTo>
                  <a:lnTo>
                    <a:pt x="21076" y="116033"/>
                  </a:lnTo>
                  <a:lnTo>
                    <a:pt x="17704" y="112741"/>
                  </a:lnTo>
                  <a:lnTo>
                    <a:pt x="21076" y="116033"/>
                  </a:lnTo>
                  <a:lnTo>
                    <a:pt x="24449" y="112741"/>
                  </a:lnTo>
                  <a:lnTo>
                    <a:pt x="21076" y="111095"/>
                  </a:lnTo>
                  <a:lnTo>
                    <a:pt x="24449" y="112741"/>
                  </a:lnTo>
                  <a:lnTo>
                    <a:pt x="26135" y="109449"/>
                  </a:lnTo>
                  <a:lnTo>
                    <a:pt x="22763" y="106157"/>
                  </a:lnTo>
                  <a:lnTo>
                    <a:pt x="26135" y="109449"/>
                  </a:lnTo>
                  <a:lnTo>
                    <a:pt x="29508" y="106157"/>
                  </a:lnTo>
                  <a:lnTo>
                    <a:pt x="26135" y="102866"/>
                  </a:lnTo>
                  <a:lnTo>
                    <a:pt x="29508" y="106157"/>
                  </a:lnTo>
                  <a:lnTo>
                    <a:pt x="31194" y="102866"/>
                  </a:lnTo>
                  <a:lnTo>
                    <a:pt x="26135" y="99574"/>
                  </a:lnTo>
                  <a:lnTo>
                    <a:pt x="31194" y="102866"/>
                  </a:lnTo>
                  <a:lnTo>
                    <a:pt x="34566" y="99574"/>
                  </a:lnTo>
                  <a:lnTo>
                    <a:pt x="31194" y="96282"/>
                  </a:lnTo>
                  <a:lnTo>
                    <a:pt x="34566" y="99574"/>
                  </a:lnTo>
                  <a:lnTo>
                    <a:pt x="36252" y="96282"/>
                  </a:lnTo>
                  <a:lnTo>
                    <a:pt x="31194" y="92991"/>
                  </a:lnTo>
                  <a:lnTo>
                    <a:pt x="36252" y="96282"/>
                  </a:lnTo>
                  <a:lnTo>
                    <a:pt x="39625" y="92991"/>
                  </a:lnTo>
                  <a:lnTo>
                    <a:pt x="36252" y="91345"/>
                  </a:lnTo>
                  <a:lnTo>
                    <a:pt x="39625" y="92991"/>
                  </a:lnTo>
                  <a:lnTo>
                    <a:pt x="41311" y="89699"/>
                  </a:lnTo>
                  <a:lnTo>
                    <a:pt x="36252" y="86407"/>
                  </a:lnTo>
                  <a:lnTo>
                    <a:pt x="41311" y="89699"/>
                  </a:lnTo>
                  <a:lnTo>
                    <a:pt x="42997" y="86407"/>
                  </a:lnTo>
                  <a:lnTo>
                    <a:pt x="41311" y="84761"/>
                  </a:lnTo>
                  <a:lnTo>
                    <a:pt x="44684" y="86407"/>
                  </a:lnTo>
                  <a:lnTo>
                    <a:pt x="46370" y="83115"/>
                  </a:lnTo>
                  <a:lnTo>
                    <a:pt x="41311" y="79824"/>
                  </a:lnTo>
                  <a:lnTo>
                    <a:pt x="46370" y="83115"/>
                  </a:lnTo>
                  <a:lnTo>
                    <a:pt x="49742" y="79824"/>
                  </a:lnTo>
                  <a:lnTo>
                    <a:pt x="46370" y="78178"/>
                  </a:lnTo>
                  <a:lnTo>
                    <a:pt x="49742" y="79824"/>
                  </a:lnTo>
                  <a:lnTo>
                    <a:pt x="51428" y="76532"/>
                  </a:lnTo>
                  <a:lnTo>
                    <a:pt x="46370" y="73240"/>
                  </a:lnTo>
                  <a:lnTo>
                    <a:pt x="51428" y="76532"/>
                  </a:lnTo>
                  <a:lnTo>
                    <a:pt x="54801" y="73240"/>
                  </a:lnTo>
                  <a:lnTo>
                    <a:pt x="51428" y="71595"/>
                  </a:lnTo>
                  <a:lnTo>
                    <a:pt x="54801" y="73240"/>
                  </a:lnTo>
                  <a:lnTo>
                    <a:pt x="56487" y="69949"/>
                  </a:lnTo>
                  <a:lnTo>
                    <a:pt x="53115" y="65011"/>
                  </a:lnTo>
                  <a:lnTo>
                    <a:pt x="58173" y="68303"/>
                  </a:lnTo>
                  <a:lnTo>
                    <a:pt x="59860" y="65011"/>
                  </a:lnTo>
                  <a:lnTo>
                    <a:pt x="58173" y="63365"/>
                  </a:lnTo>
                  <a:lnTo>
                    <a:pt x="61546" y="65011"/>
                  </a:lnTo>
                  <a:lnTo>
                    <a:pt x="63232" y="61719"/>
                  </a:lnTo>
                  <a:lnTo>
                    <a:pt x="59860" y="58427"/>
                  </a:lnTo>
                  <a:lnTo>
                    <a:pt x="63232" y="61719"/>
                  </a:lnTo>
                  <a:lnTo>
                    <a:pt x="64918" y="60073"/>
                  </a:lnTo>
                  <a:lnTo>
                    <a:pt x="75036" y="50198"/>
                  </a:lnTo>
                  <a:lnTo>
                    <a:pt x="73349" y="46906"/>
                  </a:lnTo>
                  <a:lnTo>
                    <a:pt x="75036" y="50198"/>
                  </a:lnTo>
                  <a:lnTo>
                    <a:pt x="81781" y="43615"/>
                  </a:lnTo>
                  <a:lnTo>
                    <a:pt x="78408" y="41969"/>
                  </a:lnTo>
                  <a:lnTo>
                    <a:pt x="81781" y="43615"/>
                  </a:lnTo>
                  <a:lnTo>
                    <a:pt x="86839" y="37031"/>
                  </a:lnTo>
                  <a:lnTo>
                    <a:pt x="83467" y="35385"/>
                  </a:lnTo>
                  <a:lnTo>
                    <a:pt x="86839" y="37031"/>
                  </a:lnTo>
                  <a:lnTo>
                    <a:pt x="108760" y="12343"/>
                  </a:lnTo>
                  <a:lnTo>
                    <a:pt x="105388" y="10698"/>
                  </a:lnTo>
                  <a:lnTo>
                    <a:pt x="108760" y="12343"/>
                  </a:lnTo>
                  <a:lnTo>
                    <a:pt x="113819" y="9052"/>
                  </a:lnTo>
                  <a:close/>
                  <a:moveTo>
                    <a:pt x="110446" y="4114"/>
                  </a:moveTo>
                  <a:lnTo>
                    <a:pt x="112133" y="4114"/>
                  </a:lnTo>
                  <a:lnTo>
                    <a:pt x="110446" y="4114"/>
                  </a:lnTo>
                  <a:lnTo>
                    <a:pt x="11044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3" name="Best">
              <a:extLst>
                <a:ext uri="{FF2B5EF4-FFF2-40B4-BE49-F238E27FC236}">
                  <a16:creationId xmlns:a16="http://schemas.microsoft.com/office/drawing/2014/main" id="{6D0CD803-512C-436B-BD49-54B846194168}"/>
                </a:ext>
              </a:extLst>
            </p:cNvPr>
            <p:cNvSpPr/>
            <p:nvPr/>
          </p:nvSpPr>
          <p:spPr>
            <a:xfrm>
              <a:off x="6200098" y="4415402"/>
              <a:ext cx="96312" cy="128593"/>
            </a:xfrm>
            <a:custGeom>
              <a:avLst/>
              <a:gdLst/>
              <a:ahLst/>
              <a:cxnLst/>
              <a:rect l="l" t="t" r="r" b="b"/>
              <a:pathLst>
                <a:path w="152206" h="182880" extrusionOk="0">
                  <a:moveTo>
                    <a:pt x="90212" y="4114"/>
                  </a:moveTo>
                  <a:lnTo>
                    <a:pt x="98643" y="18927"/>
                  </a:lnTo>
                  <a:lnTo>
                    <a:pt x="100329" y="18927"/>
                  </a:lnTo>
                  <a:lnTo>
                    <a:pt x="115505" y="30448"/>
                  </a:lnTo>
                  <a:lnTo>
                    <a:pt x="117191" y="38677"/>
                  </a:lnTo>
                  <a:lnTo>
                    <a:pt x="122250" y="41969"/>
                  </a:lnTo>
                  <a:lnTo>
                    <a:pt x="125622" y="50198"/>
                  </a:lnTo>
                  <a:lnTo>
                    <a:pt x="155974" y="91345"/>
                  </a:lnTo>
                  <a:lnTo>
                    <a:pt x="144171" y="130845"/>
                  </a:lnTo>
                  <a:lnTo>
                    <a:pt x="147543" y="135783"/>
                  </a:lnTo>
                  <a:lnTo>
                    <a:pt x="102015" y="157179"/>
                  </a:lnTo>
                  <a:lnTo>
                    <a:pt x="93584" y="160471"/>
                  </a:lnTo>
                  <a:lnTo>
                    <a:pt x="85153" y="155534"/>
                  </a:lnTo>
                  <a:lnTo>
                    <a:pt x="76722" y="158825"/>
                  </a:lnTo>
                  <a:lnTo>
                    <a:pt x="75036" y="162117"/>
                  </a:lnTo>
                  <a:lnTo>
                    <a:pt x="80094" y="168700"/>
                  </a:lnTo>
                  <a:lnTo>
                    <a:pt x="75036" y="185159"/>
                  </a:lnTo>
                  <a:lnTo>
                    <a:pt x="68291" y="186805"/>
                  </a:lnTo>
                  <a:lnTo>
                    <a:pt x="68291" y="190097"/>
                  </a:lnTo>
                  <a:lnTo>
                    <a:pt x="66605" y="150596"/>
                  </a:lnTo>
                  <a:lnTo>
                    <a:pt x="61546" y="153888"/>
                  </a:lnTo>
                  <a:lnTo>
                    <a:pt x="31194" y="144013"/>
                  </a:lnTo>
                  <a:lnTo>
                    <a:pt x="14332" y="130845"/>
                  </a:lnTo>
                  <a:lnTo>
                    <a:pt x="9273" y="106158"/>
                  </a:lnTo>
                  <a:lnTo>
                    <a:pt x="5900" y="102866"/>
                  </a:lnTo>
                  <a:lnTo>
                    <a:pt x="4214" y="79824"/>
                  </a:lnTo>
                  <a:lnTo>
                    <a:pt x="7587" y="73240"/>
                  </a:lnTo>
                  <a:lnTo>
                    <a:pt x="10959" y="71595"/>
                  </a:lnTo>
                  <a:lnTo>
                    <a:pt x="10959" y="58427"/>
                  </a:lnTo>
                  <a:lnTo>
                    <a:pt x="12645" y="51844"/>
                  </a:lnTo>
                  <a:lnTo>
                    <a:pt x="29508" y="48552"/>
                  </a:lnTo>
                  <a:lnTo>
                    <a:pt x="32880" y="45261"/>
                  </a:lnTo>
                  <a:lnTo>
                    <a:pt x="16018" y="13989"/>
                  </a:lnTo>
                  <a:lnTo>
                    <a:pt x="54801" y="15635"/>
                  </a:lnTo>
                  <a:lnTo>
                    <a:pt x="90212"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4" name="Drimmelen">
              <a:extLst>
                <a:ext uri="{FF2B5EF4-FFF2-40B4-BE49-F238E27FC236}">
                  <a16:creationId xmlns:a16="http://schemas.microsoft.com/office/drawing/2014/main" id="{C6068CE8-0161-4428-BA01-5F42B6E9E22B}"/>
                </a:ext>
              </a:extLst>
            </p:cNvPr>
            <p:cNvSpPr/>
            <p:nvPr/>
          </p:nvSpPr>
          <p:spPr>
            <a:xfrm>
              <a:off x="5449802" y="4050631"/>
              <a:ext cx="235285" cy="236842"/>
            </a:xfrm>
            <a:custGeom>
              <a:avLst/>
              <a:gdLst/>
              <a:ahLst/>
              <a:cxnLst/>
              <a:rect l="l" t="t" r="r" b="b"/>
              <a:pathLst>
                <a:path w="327828" h="331470" extrusionOk="0">
                  <a:moveTo>
                    <a:pt x="216678" y="4114"/>
                  </a:moveTo>
                  <a:lnTo>
                    <a:pt x="220051" y="28802"/>
                  </a:lnTo>
                  <a:lnTo>
                    <a:pt x="247030" y="25510"/>
                  </a:lnTo>
                  <a:lnTo>
                    <a:pt x="262206" y="28802"/>
                  </a:lnTo>
                  <a:lnTo>
                    <a:pt x="277383" y="35385"/>
                  </a:lnTo>
                  <a:lnTo>
                    <a:pt x="285814" y="35385"/>
                  </a:lnTo>
                  <a:lnTo>
                    <a:pt x="294245" y="35385"/>
                  </a:lnTo>
                  <a:lnTo>
                    <a:pt x="307735" y="28802"/>
                  </a:lnTo>
                  <a:lnTo>
                    <a:pt x="314479" y="27156"/>
                  </a:lnTo>
                  <a:lnTo>
                    <a:pt x="322911" y="30448"/>
                  </a:lnTo>
                  <a:lnTo>
                    <a:pt x="324597" y="43615"/>
                  </a:lnTo>
                  <a:lnTo>
                    <a:pt x="319538" y="56782"/>
                  </a:lnTo>
                  <a:lnTo>
                    <a:pt x="319538" y="71595"/>
                  </a:lnTo>
                  <a:lnTo>
                    <a:pt x="314479" y="78178"/>
                  </a:lnTo>
                  <a:lnTo>
                    <a:pt x="314479" y="104512"/>
                  </a:lnTo>
                  <a:lnTo>
                    <a:pt x="299303" y="134137"/>
                  </a:lnTo>
                  <a:lnTo>
                    <a:pt x="279069" y="137429"/>
                  </a:lnTo>
                  <a:lnTo>
                    <a:pt x="289186" y="181867"/>
                  </a:lnTo>
                  <a:lnTo>
                    <a:pt x="307735" y="214785"/>
                  </a:lnTo>
                  <a:lnTo>
                    <a:pt x="235227" y="239472"/>
                  </a:lnTo>
                  <a:lnTo>
                    <a:pt x="211620" y="250993"/>
                  </a:lnTo>
                  <a:lnTo>
                    <a:pt x="231854" y="305307"/>
                  </a:lnTo>
                  <a:lnTo>
                    <a:pt x="235227" y="305307"/>
                  </a:lnTo>
                  <a:lnTo>
                    <a:pt x="235227" y="306953"/>
                  </a:lnTo>
                  <a:lnTo>
                    <a:pt x="191385" y="336579"/>
                  </a:lnTo>
                  <a:lnTo>
                    <a:pt x="188013" y="334932"/>
                  </a:lnTo>
                  <a:lnTo>
                    <a:pt x="186326" y="325057"/>
                  </a:lnTo>
                  <a:lnTo>
                    <a:pt x="179581" y="318474"/>
                  </a:lnTo>
                  <a:lnTo>
                    <a:pt x="144171" y="302015"/>
                  </a:lnTo>
                  <a:lnTo>
                    <a:pt x="135740" y="302015"/>
                  </a:lnTo>
                  <a:lnTo>
                    <a:pt x="85153" y="313536"/>
                  </a:lnTo>
                  <a:lnTo>
                    <a:pt x="80094" y="300369"/>
                  </a:lnTo>
                  <a:lnTo>
                    <a:pt x="81780" y="290494"/>
                  </a:lnTo>
                  <a:lnTo>
                    <a:pt x="75036" y="290494"/>
                  </a:lnTo>
                  <a:lnTo>
                    <a:pt x="69977" y="278973"/>
                  </a:lnTo>
                  <a:lnTo>
                    <a:pt x="81780" y="272390"/>
                  </a:lnTo>
                  <a:lnTo>
                    <a:pt x="80094" y="264160"/>
                  </a:lnTo>
                  <a:lnTo>
                    <a:pt x="64918" y="244410"/>
                  </a:lnTo>
                  <a:lnTo>
                    <a:pt x="103701" y="227951"/>
                  </a:lnTo>
                  <a:lnTo>
                    <a:pt x="98643" y="219722"/>
                  </a:lnTo>
                  <a:lnTo>
                    <a:pt x="95270" y="221368"/>
                  </a:lnTo>
                  <a:lnTo>
                    <a:pt x="91898" y="211493"/>
                  </a:lnTo>
                  <a:lnTo>
                    <a:pt x="95270" y="209847"/>
                  </a:lnTo>
                  <a:lnTo>
                    <a:pt x="83467" y="193388"/>
                  </a:lnTo>
                  <a:lnTo>
                    <a:pt x="76722" y="208201"/>
                  </a:lnTo>
                  <a:lnTo>
                    <a:pt x="59860" y="191742"/>
                  </a:lnTo>
                  <a:lnTo>
                    <a:pt x="56487" y="196680"/>
                  </a:lnTo>
                  <a:lnTo>
                    <a:pt x="46370" y="190096"/>
                  </a:lnTo>
                  <a:lnTo>
                    <a:pt x="37939" y="195034"/>
                  </a:lnTo>
                  <a:lnTo>
                    <a:pt x="26135" y="170346"/>
                  </a:lnTo>
                  <a:lnTo>
                    <a:pt x="21076" y="145658"/>
                  </a:lnTo>
                  <a:lnTo>
                    <a:pt x="12645" y="139075"/>
                  </a:lnTo>
                  <a:lnTo>
                    <a:pt x="4214" y="116033"/>
                  </a:lnTo>
                  <a:lnTo>
                    <a:pt x="53115" y="102866"/>
                  </a:lnTo>
                  <a:lnTo>
                    <a:pt x="54801" y="114387"/>
                  </a:lnTo>
                  <a:lnTo>
                    <a:pt x="86839" y="111095"/>
                  </a:lnTo>
                  <a:lnTo>
                    <a:pt x="122250" y="81470"/>
                  </a:lnTo>
                  <a:lnTo>
                    <a:pt x="140798" y="76532"/>
                  </a:lnTo>
                  <a:lnTo>
                    <a:pt x="147543" y="65011"/>
                  </a:lnTo>
                  <a:lnTo>
                    <a:pt x="162719" y="51844"/>
                  </a:lnTo>
                  <a:lnTo>
                    <a:pt x="167778" y="38677"/>
                  </a:lnTo>
                  <a:lnTo>
                    <a:pt x="174523" y="32094"/>
                  </a:lnTo>
                  <a:lnTo>
                    <a:pt x="188013" y="20573"/>
                  </a:lnTo>
                  <a:lnTo>
                    <a:pt x="191385" y="22218"/>
                  </a:lnTo>
                  <a:lnTo>
                    <a:pt x="199816" y="20573"/>
                  </a:lnTo>
                  <a:lnTo>
                    <a:pt x="209934" y="9052"/>
                  </a:lnTo>
                  <a:lnTo>
                    <a:pt x="213306" y="10698"/>
                  </a:lnTo>
                  <a:lnTo>
                    <a:pt x="213306" y="4114"/>
                  </a:lnTo>
                  <a:lnTo>
                    <a:pt x="216678"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5" name="Westvoorne">
              <a:extLst>
                <a:ext uri="{FF2B5EF4-FFF2-40B4-BE49-F238E27FC236}">
                  <a16:creationId xmlns:a16="http://schemas.microsoft.com/office/drawing/2014/main" id="{24AF605F-00FB-4FB4-81E6-89C2908BB7B8}"/>
                </a:ext>
              </a:extLst>
            </p:cNvPr>
            <p:cNvSpPr/>
            <p:nvPr/>
          </p:nvSpPr>
          <p:spPr>
            <a:xfrm>
              <a:off x="4761683" y="3768059"/>
              <a:ext cx="189221" cy="155518"/>
            </a:xfrm>
            <a:custGeom>
              <a:avLst/>
              <a:gdLst/>
              <a:ahLst/>
              <a:cxnLst/>
              <a:rect l="l" t="t" r="r" b="b"/>
              <a:pathLst>
                <a:path w="257579" h="217170" extrusionOk="0">
                  <a:moveTo>
                    <a:pt x="7587" y="50198"/>
                  </a:moveTo>
                  <a:lnTo>
                    <a:pt x="7587" y="51844"/>
                  </a:lnTo>
                  <a:lnTo>
                    <a:pt x="4214" y="50198"/>
                  </a:lnTo>
                  <a:lnTo>
                    <a:pt x="7587" y="50198"/>
                  </a:lnTo>
                  <a:close/>
                  <a:moveTo>
                    <a:pt x="7587" y="50198"/>
                  </a:moveTo>
                  <a:lnTo>
                    <a:pt x="5900" y="50198"/>
                  </a:lnTo>
                  <a:lnTo>
                    <a:pt x="7587" y="48552"/>
                  </a:lnTo>
                  <a:lnTo>
                    <a:pt x="7587" y="50198"/>
                  </a:lnTo>
                  <a:close/>
                  <a:moveTo>
                    <a:pt x="32880" y="46906"/>
                  </a:moveTo>
                  <a:lnTo>
                    <a:pt x="27821" y="48552"/>
                  </a:lnTo>
                  <a:lnTo>
                    <a:pt x="27821" y="46906"/>
                  </a:lnTo>
                  <a:lnTo>
                    <a:pt x="32880" y="46906"/>
                  </a:lnTo>
                  <a:close/>
                  <a:moveTo>
                    <a:pt x="36252" y="45260"/>
                  </a:moveTo>
                  <a:lnTo>
                    <a:pt x="24449" y="51844"/>
                  </a:lnTo>
                  <a:lnTo>
                    <a:pt x="24449" y="48552"/>
                  </a:lnTo>
                  <a:lnTo>
                    <a:pt x="36252" y="45260"/>
                  </a:lnTo>
                  <a:close/>
                  <a:moveTo>
                    <a:pt x="182954" y="5760"/>
                  </a:moveTo>
                  <a:lnTo>
                    <a:pt x="236913" y="17281"/>
                  </a:lnTo>
                  <a:lnTo>
                    <a:pt x="233541" y="27156"/>
                  </a:lnTo>
                  <a:lnTo>
                    <a:pt x="248717" y="38677"/>
                  </a:lnTo>
                  <a:lnTo>
                    <a:pt x="238599" y="60073"/>
                  </a:lnTo>
                  <a:lnTo>
                    <a:pt x="231854" y="56781"/>
                  </a:lnTo>
                  <a:lnTo>
                    <a:pt x="223423" y="63365"/>
                  </a:lnTo>
                  <a:lnTo>
                    <a:pt x="221737" y="76532"/>
                  </a:lnTo>
                  <a:lnTo>
                    <a:pt x="243658" y="107803"/>
                  </a:lnTo>
                  <a:lnTo>
                    <a:pt x="250403" y="124262"/>
                  </a:lnTo>
                  <a:lnTo>
                    <a:pt x="258834" y="132491"/>
                  </a:lnTo>
                  <a:lnTo>
                    <a:pt x="226796" y="144012"/>
                  </a:lnTo>
                  <a:lnTo>
                    <a:pt x="221737" y="142367"/>
                  </a:lnTo>
                  <a:lnTo>
                    <a:pt x="221737" y="145658"/>
                  </a:lnTo>
                  <a:lnTo>
                    <a:pt x="211620" y="150596"/>
                  </a:lnTo>
                  <a:lnTo>
                    <a:pt x="206561" y="163763"/>
                  </a:lnTo>
                  <a:lnTo>
                    <a:pt x="194758" y="173638"/>
                  </a:lnTo>
                  <a:lnTo>
                    <a:pt x="196444" y="186805"/>
                  </a:lnTo>
                  <a:lnTo>
                    <a:pt x="189699" y="190096"/>
                  </a:lnTo>
                  <a:lnTo>
                    <a:pt x="191385" y="193388"/>
                  </a:lnTo>
                  <a:lnTo>
                    <a:pt x="161033" y="204909"/>
                  </a:lnTo>
                  <a:lnTo>
                    <a:pt x="147543" y="204909"/>
                  </a:lnTo>
                  <a:lnTo>
                    <a:pt x="140798" y="211493"/>
                  </a:lnTo>
                  <a:lnTo>
                    <a:pt x="137426" y="218076"/>
                  </a:lnTo>
                  <a:lnTo>
                    <a:pt x="113819" y="223014"/>
                  </a:lnTo>
                  <a:lnTo>
                    <a:pt x="112133" y="206555"/>
                  </a:lnTo>
                  <a:lnTo>
                    <a:pt x="61546" y="127554"/>
                  </a:lnTo>
                  <a:lnTo>
                    <a:pt x="58173" y="120970"/>
                  </a:lnTo>
                  <a:lnTo>
                    <a:pt x="63232" y="106157"/>
                  </a:lnTo>
                  <a:lnTo>
                    <a:pt x="73349" y="86407"/>
                  </a:lnTo>
                  <a:lnTo>
                    <a:pt x="85153" y="69949"/>
                  </a:lnTo>
                  <a:lnTo>
                    <a:pt x="78408" y="84761"/>
                  </a:lnTo>
                  <a:lnTo>
                    <a:pt x="83467" y="79823"/>
                  </a:lnTo>
                  <a:lnTo>
                    <a:pt x="95270" y="56781"/>
                  </a:lnTo>
                  <a:lnTo>
                    <a:pt x="95270" y="63365"/>
                  </a:lnTo>
                  <a:lnTo>
                    <a:pt x="100329" y="60073"/>
                  </a:lnTo>
                  <a:lnTo>
                    <a:pt x="100329" y="55136"/>
                  </a:lnTo>
                  <a:lnTo>
                    <a:pt x="95270" y="46906"/>
                  </a:lnTo>
                  <a:lnTo>
                    <a:pt x="103701" y="53490"/>
                  </a:lnTo>
                  <a:lnTo>
                    <a:pt x="86839" y="37031"/>
                  </a:lnTo>
                  <a:lnTo>
                    <a:pt x="75036" y="32094"/>
                  </a:lnTo>
                  <a:lnTo>
                    <a:pt x="49742" y="38677"/>
                  </a:lnTo>
                  <a:lnTo>
                    <a:pt x="54801" y="40323"/>
                  </a:lnTo>
                  <a:lnTo>
                    <a:pt x="41311" y="40323"/>
                  </a:lnTo>
                  <a:lnTo>
                    <a:pt x="17704" y="48552"/>
                  </a:lnTo>
                  <a:lnTo>
                    <a:pt x="26135" y="56781"/>
                  </a:lnTo>
                  <a:lnTo>
                    <a:pt x="26135" y="60073"/>
                  </a:lnTo>
                  <a:lnTo>
                    <a:pt x="29507" y="56781"/>
                  </a:lnTo>
                  <a:lnTo>
                    <a:pt x="29507" y="61719"/>
                  </a:lnTo>
                  <a:lnTo>
                    <a:pt x="26135" y="60073"/>
                  </a:lnTo>
                  <a:lnTo>
                    <a:pt x="19390" y="51844"/>
                  </a:lnTo>
                  <a:lnTo>
                    <a:pt x="7587" y="48552"/>
                  </a:lnTo>
                  <a:lnTo>
                    <a:pt x="112133" y="12343"/>
                  </a:lnTo>
                  <a:lnTo>
                    <a:pt x="128995" y="9052"/>
                  </a:lnTo>
                  <a:lnTo>
                    <a:pt x="157661" y="12343"/>
                  </a:lnTo>
                  <a:lnTo>
                    <a:pt x="171150" y="35385"/>
                  </a:lnTo>
                  <a:lnTo>
                    <a:pt x="171150" y="25510"/>
                  </a:lnTo>
                  <a:lnTo>
                    <a:pt x="176209" y="10697"/>
                  </a:lnTo>
                  <a:lnTo>
                    <a:pt x="179582" y="4114"/>
                  </a:lnTo>
                  <a:lnTo>
                    <a:pt x="182954" y="5760"/>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6" name="Scherpenzeel">
              <a:extLst>
                <a:ext uri="{FF2B5EF4-FFF2-40B4-BE49-F238E27FC236}">
                  <a16:creationId xmlns:a16="http://schemas.microsoft.com/office/drawing/2014/main" id="{710CD4AD-1A1C-4DD1-944F-47DE9CBE7162}"/>
                </a:ext>
              </a:extLst>
            </p:cNvPr>
            <p:cNvSpPr/>
            <p:nvPr/>
          </p:nvSpPr>
          <p:spPr>
            <a:xfrm>
              <a:off x="6314090" y="3507421"/>
              <a:ext cx="66988" cy="77572"/>
            </a:xfrm>
            <a:custGeom>
              <a:avLst/>
              <a:gdLst/>
              <a:ahLst/>
              <a:cxnLst/>
              <a:rect l="l" t="t" r="r" b="b"/>
              <a:pathLst>
                <a:path w="128789" h="102870" extrusionOk="0">
                  <a:moveTo>
                    <a:pt x="93584" y="28802"/>
                  </a:moveTo>
                  <a:lnTo>
                    <a:pt x="96957" y="28802"/>
                  </a:lnTo>
                  <a:lnTo>
                    <a:pt x="102015" y="20573"/>
                  </a:lnTo>
                  <a:lnTo>
                    <a:pt x="105388" y="28802"/>
                  </a:lnTo>
                  <a:lnTo>
                    <a:pt x="115505" y="25510"/>
                  </a:lnTo>
                  <a:lnTo>
                    <a:pt x="117191" y="30448"/>
                  </a:lnTo>
                  <a:lnTo>
                    <a:pt x="127309" y="35385"/>
                  </a:lnTo>
                  <a:lnTo>
                    <a:pt x="120564" y="46906"/>
                  </a:lnTo>
                  <a:lnTo>
                    <a:pt x="125622" y="48552"/>
                  </a:lnTo>
                  <a:lnTo>
                    <a:pt x="123936" y="58427"/>
                  </a:lnTo>
                  <a:lnTo>
                    <a:pt x="113819" y="55136"/>
                  </a:lnTo>
                  <a:lnTo>
                    <a:pt x="107074" y="66657"/>
                  </a:lnTo>
                  <a:lnTo>
                    <a:pt x="115505" y="68303"/>
                  </a:lnTo>
                  <a:lnTo>
                    <a:pt x="115505" y="73240"/>
                  </a:lnTo>
                  <a:lnTo>
                    <a:pt x="102015" y="84761"/>
                  </a:lnTo>
                  <a:lnTo>
                    <a:pt x="96957" y="79824"/>
                  </a:lnTo>
                  <a:lnTo>
                    <a:pt x="81780" y="81470"/>
                  </a:lnTo>
                  <a:lnTo>
                    <a:pt x="81780" y="86407"/>
                  </a:lnTo>
                  <a:lnTo>
                    <a:pt x="75036" y="86407"/>
                  </a:lnTo>
                  <a:lnTo>
                    <a:pt x="73349" y="94636"/>
                  </a:lnTo>
                  <a:lnTo>
                    <a:pt x="69977" y="94636"/>
                  </a:lnTo>
                  <a:lnTo>
                    <a:pt x="66604" y="99574"/>
                  </a:lnTo>
                  <a:lnTo>
                    <a:pt x="58173" y="97928"/>
                  </a:lnTo>
                  <a:lnTo>
                    <a:pt x="42997" y="104512"/>
                  </a:lnTo>
                  <a:lnTo>
                    <a:pt x="17704" y="89699"/>
                  </a:lnTo>
                  <a:lnTo>
                    <a:pt x="14331" y="83116"/>
                  </a:lnTo>
                  <a:lnTo>
                    <a:pt x="4214" y="78178"/>
                  </a:lnTo>
                  <a:lnTo>
                    <a:pt x="5900" y="73240"/>
                  </a:lnTo>
                  <a:lnTo>
                    <a:pt x="12645" y="71594"/>
                  </a:lnTo>
                  <a:lnTo>
                    <a:pt x="24449" y="56782"/>
                  </a:lnTo>
                  <a:lnTo>
                    <a:pt x="46370" y="45261"/>
                  </a:lnTo>
                  <a:lnTo>
                    <a:pt x="42997" y="17281"/>
                  </a:lnTo>
                  <a:lnTo>
                    <a:pt x="58173" y="4114"/>
                  </a:lnTo>
                  <a:lnTo>
                    <a:pt x="68291" y="4114"/>
                  </a:lnTo>
                  <a:lnTo>
                    <a:pt x="78408" y="10698"/>
                  </a:lnTo>
                  <a:lnTo>
                    <a:pt x="83467" y="10698"/>
                  </a:lnTo>
                  <a:lnTo>
                    <a:pt x="93584" y="28802"/>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7" name="Losser">
              <a:extLst>
                <a:ext uri="{FF2B5EF4-FFF2-40B4-BE49-F238E27FC236}">
                  <a16:creationId xmlns:a16="http://schemas.microsoft.com/office/drawing/2014/main" id="{2E1B6799-CD5D-41CC-85EF-5DD31D52430C}"/>
                </a:ext>
              </a:extLst>
            </p:cNvPr>
            <p:cNvSpPr/>
            <p:nvPr/>
          </p:nvSpPr>
          <p:spPr>
            <a:xfrm>
              <a:off x="7840182" y="3040694"/>
              <a:ext cx="170577" cy="269364"/>
            </a:xfrm>
            <a:custGeom>
              <a:avLst/>
              <a:gdLst/>
              <a:ahLst/>
              <a:cxnLst/>
              <a:rect l="l" t="t" r="r" b="b"/>
              <a:pathLst>
                <a:path w="210747" h="388620" extrusionOk="0">
                  <a:moveTo>
                    <a:pt x="105388" y="37031"/>
                  </a:moveTo>
                  <a:lnTo>
                    <a:pt x="113819" y="41969"/>
                  </a:lnTo>
                  <a:lnTo>
                    <a:pt x="118878" y="40323"/>
                  </a:lnTo>
                  <a:lnTo>
                    <a:pt x="209934" y="17281"/>
                  </a:lnTo>
                  <a:lnTo>
                    <a:pt x="211620" y="68303"/>
                  </a:lnTo>
                  <a:lnTo>
                    <a:pt x="188013" y="102866"/>
                  </a:lnTo>
                  <a:lnTo>
                    <a:pt x="188013" y="116033"/>
                  </a:lnTo>
                  <a:lnTo>
                    <a:pt x="174523" y="137429"/>
                  </a:lnTo>
                  <a:lnTo>
                    <a:pt x="176209" y="145658"/>
                  </a:lnTo>
                  <a:lnTo>
                    <a:pt x="172837" y="153888"/>
                  </a:lnTo>
                  <a:lnTo>
                    <a:pt x="176209" y="157179"/>
                  </a:lnTo>
                  <a:lnTo>
                    <a:pt x="162720" y="165409"/>
                  </a:lnTo>
                  <a:lnTo>
                    <a:pt x="167778" y="167054"/>
                  </a:lnTo>
                  <a:lnTo>
                    <a:pt x="164406" y="175284"/>
                  </a:lnTo>
                  <a:lnTo>
                    <a:pt x="155974" y="188451"/>
                  </a:lnTo>
                  <a:lnTo>
                    <a:pt x="145857" y="214785"/>
                  </a:lnTo>
                  <a:lnTo>
                    <a:pt x="145857" y="226306"/>
                  </a:lnTo>
                  <a:lnTo>
                    <a:pt x="150916" y="239472"/>
                  </a:lnTo>
                  <a:lnTo>
                    <a:pt x="147543" y="247702"/>
                  </a:lnTo>
                  <a:lnTo>
                    <a:pt x="149230" y="259223"/>
                  </a:lnTo>
                  <a:lnTo>
                    <a:pt x="155974" y="262514"/>
                  </a:lnTo>
                  <a:lnTo>
                    <a:pt x="171151" y="300369"/>
                  </a:lnTo>
                  <a:lnTo>
                    <a:pt x="208247" y="334932"/>
                  </a:lnTo>
                  <a:lnTo>
                    <a:pt x="201503" y="351391"/>
                  </a:lnTo>
                  <a:lnTo>
                    <a:pt x="167778" y="369496"/>
                  </a:lnTo>
                  <a:lnTo>
                    <a:pt x="149230" y="374433"/>
                  </a:lnTo>
                  <a:lnTo>
                    <a:pt x="140799" y="374433"/>
                  </a:lnTo>
                  <a:lnTo>
                    <a:pt x="139112" y="376079"/>
                  </a:lnTo>
                  <a:lnTo>
                    <a:pt x="128995" y="371142"/>
                  </a:lnTo>
                  <a:lnTo>
                    <a:pt x="113819" y="367850"/>
                  </a:lnTo>
                  <a:lnTo>
                    <a:pt x="103701" y="372787"/>
                  </a:lnTo>
                  <a:lnTo>
                    <a:pt x="96957" y="371142"/>
                  </a:lnTo>
                  <a:lnTo>
                    <a:pt x="86839" y="376079"/>
                  </a:lnTo>
                  <a:lnTo>
                    <a:pt x="86839" y="381017"/>
                  </a:lnTo>
                  <a:lnTo>
                    <a:pt x="80094" y="387600"/>
                  </a:lnTo>
                  <a:lnTo>
                    <a:pt x="56487" y="364558"/>
                  </a:lnTo>
                  <a:lnTo>
                    <a:pt x="54801" y="349745"/>
                  </a:lnTo>
                  <a:lnTo>
                    <a:pt x="64919" y="331641"/>
                  </a:lnTo>
                  <a:lnTo>
                    <a:pt x="66605" y="321766"/>
                  </a:lnTo>
                  <a:lnTo>
                    <a:pt x="59860" y="275682"/>
                  </a:lnTo>
                  <a:lnTo>
                    <a:pt x="24449" y="242764"/>
                  </a:lnTo>
                  <a:lnTo>
                    <a:pt x="14332" y="236181"/>
                  </a:lnTo>
                  <a:lnTo>
                    <a:pt x="7587" y="219722"/>
                  </a:lnTo>
                  <a:lnTo>
                    <a:pt x="16018" y="221368"/>
                  </a:lnTo>
                  <a:lnTo>
                    <a:pt x="24449" y="214785"/>
                  </a:lnTo>
                  <a:lnTo>
                    <a:pt x="17705" y="201618"/>
                  </a:lnTo>
                  <a:lnTo>
                    <a:pt x="29508" y="176930"/>
                  </a:lnTo>
                  <a:lnTo>
                    <a:pt x="24449" y="163763"/>
                  </a:lnTo>
                  <a:lnTo>
                    <a:pt x="26136" y="158825"/>
                  </a:lnTo>
                  <a:lnTo>
                    <a:pt x="27821" y="158825"/>
                  </a:lnTo>
                  <a:lnTo>
                    <a:pt x="27821" y="150596"/>
                  </a:lnTo>
                  <a:lnTo>
                    <a:pt x="21077" y="150596"/>
                  </a:lnTo>
                  <a:lnTo>
                    <a:pt x="21077" y="147304"/>
                  </a:lnTo>
                  <a:lnTo>
                    <a:pt x="17705" y="144012"/>
                  </a:lnTo>
                  <a:lnTo>
                    <a:pt x="4214" y="142367"/>
                  </a:lnTo>
                  <a:lnTo>
                    <a:pt x="9273" y="119324"/>
                  </a:lnTo>
                  <a:lnTo>
                    <a:pt x="32880" y="116033"/>
                  </a:lnTo>
                  <a:lnTo>
                    <a:pt x="29508" y="106158"/>
                  </a:lnTo>
                  <a:lnTo>
                    <a:pt x="31194" y="99574"/>
                  </a:lnTo>
                  <a:lnTo>
                    <a:pt x="44684" y="83116"/>
                  </a:lnTo>
                  <a:lnTo>
                    <a:pt x="58174" y="79824"/>
                  </a:lnTo>
                  <a:lnTo>
                    <a:pt x="44684" y="43615"/>
                  </a:lnTo>
                  <a:lnTo>
                    <a:pt x="56487" y="4114"/>
                  </a:lnTo>
                  <a:lnTo>
                    <a:pt x="78409" y="22219"/>
                  </a:lnTo>
                  <a:lnTo>
                    <a:pt x="105388" y="37031"/>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8" name="Woerden">
              <a:extLst>
                <a:ext uri="{FF2B5EF4-FFF2-40B4-BE49-F238E27FC236}">
                  <a16:creationId xmlns:a16="http://schemas.microsoft.com/office/drawing/2014/main" id="{17ADA941-3407-4170-8B9A-DAAD057A86A3}"/>
                </a:ext>
              </a:extLst>
            </p:cNvPr>
            <p:cNvSpPr/>
            <p:nvPr/>
          </p:nvSpPr>
          <p:spPr>
            <a:xfrm>
              <a:off x="5609849" y="3403289"/>
              <a:ext cx="227665" cy="180166"/>
            </a:xfrm>
            <a:custGeom>
              <a:avLst/>
              <a:gdLst/>
              <a:ahLst/>
              <a:cxnLst/>
              <a:rect l="l" t="t" r="r" b="b"/>
              <a:pathLst>
                <a:path w="327828" h="240030" extrusionOk="0">
                  <a:moveTo>
                    <a:pt x="176209" y="4114"/>
                  </a:moveTo>
                  <a:lnTo>
                    <a:pt x="184640" y="4114"/>
                  </a:lnTo>
                  <a:lnTo>
                    <a:pt x="186326" y="7405"/>
                  </a:lnTo>
                  <a:lnTo>
                    <a:pt x="186326" y="46906"/>
                  </a:lnTo>
                  <a:lnTo>
                    <a:pt x="204875" y="38677"/>
                  </a:lnTo>
                  <a:lnTo>
                    <a:pt x="221737" y="60073"/>
                  </a:lnTo>
                  <a:lnTo>
                    <a:pt x="235227" y="86407"/>
                  </a:lnTo>
                  <a:lnTo>
                    <a:pt x="262207" y="73240"/>
                  </a:lnTo>
                  <a:lnTo>
                    <a:pt x="287500" y="122616"/>
                  </a:lnTo>
                  <a:lnTo>
                    <a:pt x="290872" y="124262"/>
                  </a:lnTo>
                  <a:lnTo>
                    <a:pt x="289186" y="132491"/>
                  </a:lnTo>
                  <a:lnTo>
                    <a:pt x="284127" y="134137"/>
                  </a:lnTo>
                  <a:lnTo>
                    <a:pt x="279069" y="150595"/>
                  </a:lnTo>
                  <a:lnTo>
                    <a:pt x="284127" y="153887"/>
                  </a:lnTo>
                  <a:lnTo>
                    <a:pt x="304362" y="152242"/>
                  </a:lnTo>
                  <a:lnTo>
                    <a:pt x="311107" y="176929"/>
                  </a:lnTo>
                  <a:lnTo>
                    <a:pt x="327969" y="181867"/>
                  </a:lnTo>
                  <a:lnTo>
                    <a:pt x="319538" y="236181"/>
                  </a:lnTo>
                  <a:lnTo>
                    <a:pt x="314480" y="232889"/>
                  </a:lnTo>
                  <a:lnTo>
                    <a:pt x="294245" y="237826"/>
                  </a:lnTo>
                  <a:lnTo>
                    <a:pt x="275696" y="232889"/>
                  </a:lnTo>
                  <a:lnTo>
                    <a:pt x="253775" y="236181"/>
                  </a:lnTo>
                  <a:lnTo>
                    <a:pt x="253775" y="224660"/>
                  </a:lnTo>
                  <a:lnTo>
                    <a:pt x="223423" y="201617"/>
                  </a:lnTo>
                  <a:lnTo>
                    <a:pt x="204875" y="208201"/>
                  </a:lnTo>
                  <a:lnTo>
                    <a:pt x="176209" y="226305"/>
                  </a:lnTo>
                  <a:lnTo>
                    <a:pt x="172837" y="224660"/>
                  </a:lnTo>
                  <a:lnTo>
                    <a:pt x="128995" y="229597"/>
                  </a:lnTo>
                  <a:lnTo>
                    <a:pt x="80094" y="227951"/>
                  </a:lnTo>
                  <a:lnTo>
                    <a:pt x="59860" y="232889"/>
                  </a:lnTo>
                  <a:lnTo>
                    <a:pt x="66604" y="218076"/>
                  </a:lnTo>
                  <a:lnTo>
                    <a:pt x="64918" y="218076"/>
                  </a:lnTo>
                  <a:lnTo>
                    <a:pt x="64918" y="213138"/>
                  </a:lnTo>
                  <a:lnTo>
                    <a:pt x="54801" y="213138"/>
                  </a:lnTo>
                  <a:lnTo>
                    <a:pt x="51428" y="168700"/>
                  </a:lnTo>
                  <a:lnTo>
                    <a:pt x="51428" y="139075"/>
                  </a:lnTo>
                  <a:lnTo>
                    <a:pt x="54801" y="135783"/>
                  </a:lnTo>
                  <a:lnTo>
                    <a:pt x="4214" y="97928"/>
                  </a:lnTo>
                  <a:lnTo>
                    <a:pt x="4214" y="96282"/>
                  </a:lnTo>
                  <a:lnTo>
                    <a:pt x="14331" y="91345"/>
                  </a:lnTo>
                  <a:lnTo>
                    <a:pt x="19390" y="91345"/>
                  </a:lnTo>
                  <a:lnTo>
                    <a:pt x="26135" y="86407"/>
                  </a:lnTo>
                  <a:lnTo>
                    <a:pt x="29507" y="74886"/>
                  </a:lnTo>
                  <a:lnTo>
                    <a:pt x="27821" y="68302"/>
                  </a:lnTo>
                  <a:lnTo>
                    <a:pt x="36252" y="55136"/>
                  </a:lnTo>
                  <a:lnTo>
                    <a:pt x="41311" y="56781"/>
                  </a:lnTo>
                  <a:lnTo>
                    <a:pt x="48056" y="50198"/>
                  </a:lnTo>
                  <a:lnTo>
                    <a:pt x="56487" y="50198"/>
                  </a:lnTo>
                  <a:lnTo>
                    <a:pt x="66604" y="43615"/>
                  </a:lnTo>
                  <a:lnTo>
                    <a:pt x="68291" y="48552"/>
                  </a:lnTo>
                  <a:lnTo>
                    <a:pt x="71663" y="48552"/>
                  </a:lnTo>
                  <a:lnTo>
                    <a:pt x="73349" y="53490"/>
                  </a:lnTo>
                  <a:lnTo>
                    <a:pt x="78408" y="51844"/>
                  </a:lnTo>
                  <a:lnTo>
                    <a:pt x="81780" y="56781"/>
                  </a:lnTo>
                  <a:lnTo>
                    <a:pt x="95270" y="56781"/>
                  </a:lnTo>
                  <a:lnTo>
                    <a:pt x="100329" y="63365"/>
                  </a:lnTo>
                  <a:lnTo>
                    <a:pt x="130681" y="58427"/>
                  </a:lnTo>
                  <a:lnTo>
                    <a:pt x="128995" y="17281"/>
                  </a:lnTo>
                  <a:lnTo>
                    <a:pt x="157661" y="4114"/>
                  </a:lnTo>
                  <a:lnTo>
                    <a:pt x="176209" y="4114"/>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69" name="Gouda">
              <a:extLst>
                <a:ext uri="{FF2B5EF4-FFF2-40B4-BE49-F238E27FC236}">
                  <a16:creationId xmlns:a16="http://schemas.microsoft.com/office/drawing/2014/main" id="{5391ABB7-305F-4A9B-AF11-A9722C697A17}"/>
                </a:ext>
              </a:extLst>
            </p:cNvPr>
            <p:cNvSpPr/>
            <p:nvPr/>
          </p:nvSpPr>
          <p:spPr>
            <a:xfrm>
              <a:off x="5457193" y="3623096"/>
              <a:ext cx="113457" cy="66575"/>
            </a:xfrm>
            <a:custGeom>
              <a:avLst/>
              <a:gdLst/>
              <a:ahLst/>
              <a:cxnLst/>
              <a:rect l="l" t="t" r="r" b="b"/>
              <a:pathLst>
                <a:path w="152206" h="102870" extrusionOk="0">
                  <a:moveTo>
                    <a:pt x="96957" y="15635"/>
                  </a:moveTo>
                  <a:lnTo>
                    <a:pt x="95270" y="37031"/>
                  </a:lnTo>
                  <a:lnTo>
                    <a:pt x="118877" y="40323"/>
                  </a:lnTo>
                  <a:lnTo>
                    <a:pt x="122250" y="46907"/>
                  </a:lnTo>
                  <a:lnTo>
                    <a:pt x="132367" y="46907"/>
                  </a:lnTo>
                  <a:lnTo>
                    <a:pt x="135740" y="60074"/>
                  </a:lnTo>
                  <a:lnTo>
                    <a:pt x="140798" y="61719"/>
                  </a:lnTo>
                  <a:lnTo>
                    <a:pt x="142485" y="68303"/>
                  </a:lnTo>
                  <a:lnTo>
                    <a:pt x="152602" y="97928"/>
                  </a:lnTo>
                  <a:lnTo>
                    <a:pt x="134053" y="94637"/>
                  </a:lnTo>
                  <a:lnTo>
                    <a:pt x="122250" y="84761"/>
                  </a:lnTo>
                  <a:lnTo>
                    <a:pt x="122250" y="86407"/>
                  </a:lnTo>
                  <a:lnTo>
                    <a:pt x="110446" y="83116"/>
                  </a:lnTo>
                  <a:lnTo>
                    <a:pt x="100329" y="88053"/>
                  </a:lnTo>
                  <a:lnTo>
                    <a:pt x="107074" y="97928"/>
                  </a:lnTo>
                  <a:lnTo>
                    <a:pt x="93584" y="104512"/>
                  </a:lnTo>
                  <a:lnTo>
                    <a:pt x="86839" y="99574"/>
                  </a:lnTo>
                  <a:lnTo>
                    <a:pt x="85153" y="102866"/>
                  </a:lnTo>
                  <a:lnTo>
                    <a:pt x="76722" y="96282"/>
                  </a:lnTo>
                  <a:lnTo>
                    <a:pt x="64918" y="107803"/>
                  </a:lnTo>
                  <a:lnTo>
                    <a:pt x="48056" y="109449"/>
                  </a:lnTo>
                  <a:lnTo>
                    <a:pt x="41311" y="106158"/>
                  </a:lnTo>
                  <a:lnTo>
                    <a:pt x="34566" y="109449"/>
                  </a:lnTo>
                  <a:lnTo>
                    <a:pt x="21076" y="94637"/>
                  </a:lnTo>
                  <a:lnTo>
                    <a:pt x="9273" y="92991"/>
                  </a:lnTo>
                  <a:lnTo>
                    <a:pt x="4214" y="88053"/>
                  </a:lnTo>
                  <a:lnTo>
                    <a:pt x="21076" y="73240"/>
                  </a:lnTo>
                  <a:lnTo>
                    <a:pt x="14332" y="68303"/>
                  </a:lnTo>
                  <a:lnTo>
                    <a:pt x="27821" y="58427"/>
                  </a:lnTo>
                  <a:lnTo>
                    <a:pt x="37939" y="53490"/>
                  </a:lnTo>
                  <a:lnTo>
                    <a:pt x="32880" y="48552"/>
                  </a:lnTo>
                  <a:lnTo>
                    <a:pt x="19390" y="45261"/>
                  </a:lnTo>
                  <a:lnTo>
                    <a:pt x="16018" y="40323"/>
                  </a:lnTo>
                  <a:lnTo>
                    <a:pt x="44684" y="27156"/>
                  </a:lnTo>
                  <a:lnTo>
                    <a:pt x="75036" y="4114"/>
                  </a:lnTo>
                  <a:lnTo>
                    <a:pt x="90212" y="9052"/>
                  </a:lnTo>
                  <a:lnTo>
                    <a:pt x="93584" y="15635"/>
                  </a:lnTo>
                  <a:lnTo>
                    <a:pt x="96957" y="15635"/>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0" name="De Fryske Marren">
              <a:extLst>
                <a:ext uri="{FF2B5EF4-FFF2-40B4-BE49-F238E27FC236}">
                  <a16:creationId xmlns:a16="http://schemas.microsoft.com/office/drawing/2014/main" id="{02129D19-BC68-4827-831C-593EA0B281C6}"/>
                </a:ext>
              </a:extLst>
            </p:cNvPr>
            <p:cNvSpPr/>
            <p:nvPr/>
          </p:nvSpPr>
          <p:spPr>
            <a:xfrm>
              <a:off x="6273832" y="1953733"/>
              <a:ext cx="534929" cy="405340"/>
            </a:xfrm>
            <a:custGeom>
              <a:avLst/>
              <a:gdLst/>
              <a:ahLst/>
              <a:cxnLst/>
              <a:rect l="l" t="t" r="r" b="b"/>
              <a:pathLst>
                <a:path w="772739" h="617220" extrusionOk="0">
                  <a:moveTo>
                    <a:pt x="557296" y="22219"/>
                  </a:moveTo>
                  <a:lnTo>
                    <a:pt x="564041" y="33739"/>
                  </a:lnTo>
                  <a:lnTo>
                    <a:pt x="597765" y="53490"/>
                  </a:lnTo>
                  <a:lnTo>
                    <a:pt x="634862" y="88053"/>
                  </a:lnTo>
                  <a:lnTo>
                    <a:pt x="648352" y="104512"/>
                  </a:lnTo>
                  <a:lnTo>
                    <a:pt x="660156" y="145658"/>
                  </a:lnTo>
                  <a:lnTo>
                    <a:pt x="688822" y="181867"/>
                  </a:lnTo>
                  <a:lnTo>
                    <a:pt x="692194" y="188451"/>
                  </a:lnTo>
                  <a:lnTo>
                    <a:pt x="661842" y="198326"/>
                  </a:lnTo>
                  <a:lnTo>
                    <a:pt x="668587" y="231243"/>
                  </a:lnTo>
                  <a:lnTo>
                    <a:pt x="692194" y="224660"/>
                  </a:lnTo>
                  <a:lnTo>
                    <a:pt x="693880" y="226306"/>
                  </a:lnTo>
                  <a:lnTo>
                    <a:pt x="690508" y="227951"/>
                  </a:lnTo>
                  <a:lnTo>
                    <a:pt x="693880" y="229597"/>
                  </a:lnTo>
                  <a:lnTo>
                    <a:pt x="698939" y="237827"/>
                  </a:lnTo>
                  <a:lnTo>
                    <a:pt x="707370" y="234535"/>
                  </a:lnTo>
                  <a:lnTo>
                    <a:pt x="715801" y="249348"/>
                  </a:lnTo>
                  <a:lnTo>
                    <a:pt x="720860" y="252639"/>
                  </a:lnTo>
                  <a:lnTo>
                    <a:pt x="719173" y="255931"/>
                  </a:lnTo>
                  <a:lnTo>
                    <a:pt x="732663" y="283911"/>
                  </a:lnTo>
                  <a:lnTo>
                    <a:pt x="730977" y="288848"/>
                  </a:lnTo>
                  <a:lnTo>
                    <a:pt x="763016" y="349745"/>
                  </a:lnTo>
                  <a:lnTo>
                    <a:pt x="769760" y="357975"/>
                  </a:lnTo>
                  <a:lnTo>
                    <a:pt x="761329" y="369496"/>
                  </a:lnTo>
                  <a:lnTo>
                    <a:pt x="729291" y="392538"/>
                  </a:lnTo>
                  <a:lnTo>
                    <a:pt x="692194" y="400767"/>
                  </a:lnTo>
                  <a:lnTo>
                    <a:pt x="690508" y="412288"/>
                  </a:lnTo>
                  <a:lnTo>
                    <a:pt x="683763" y="415580"/>
                  </a:lnTo>
                  <a:lnTo>
                    <a:pt x="666900" y="435330"/>
                  </a:lnTo>
                  <a:lnTo>
                    <a:pt x="648352" y="458372"/>
                  </a:lnTo>
                  <a:lnTo>
                    <a:pt x="646666" y="469893"/>
                  </a:lnTo>
                  <a:lnTo>
                    <a:pt x="629804" y="496227"/>
                  </a:lnTo>
                  <a:lnTo>
                    <a:pt x="624745" y="514332"/>
                  </a:lnTo>
                  <a:lnTo>
                    <a:pt x="624745" y="525853"/>
                  </a:lnTo>
                  <a:lnTo>
                    <a:pt x="618000" y="530790"/>
                  </a:lnTo>
                  <a:lnTo>
                    <a:pt x="607883" y="552187"/>
                  </a:lnTo>
                  <a:lnTo>
                    <a:pt x="602824" y="555478"/>
                  </a:lnTo>
                  <a:lnTo>
                    <a:pt x="606197" y="562062"/>
                  </a:lnTo>
                  <a:lnTo>
                    <a:pt x="592706" y="573583"/>
                  </a:lnTo>
                  <a:lnTo>
                    <a:pt x="591020" y="581812"/>
                  </a:lnTo>
                  <a:lnTo>
                    <a:pt x="594393" y="588396"/>
                  </a:lnTo>
                  <a:lnTo>
                    <a:pt x="579217" y="596625"/>
                  </a:lnTo>
                  <a:lnTo>
                    <a:pt x="548865" y="621313"/>
                  </a:lnTo>
                  <a:lnTo>
                    <a:pt x="540433" y="586750"/>
                  </a:lnTo>
                  <a:lnTo>
                    <a:pt x="488161" y="534082"/>
                  </a:lnTo>
                  <a:lnTo>
                    <a:pt x="451064" y="524207"/>
                  </a:lnTo>
                  <a:lnTo>
                    <a:pt x="457808" y="548895"/>
                  </a:lnTo>
                  <a:lnTo>
                    <a:pt x="449378" y="543957"/>
                  </a:lnTo>
                  <a:lnTo>
                    <a:pt x="435888" y="540665"/>
                  </a:lnTo>
                  <a:lnTo>
                    <a:pt x="432515" y="537374"/>
                  </a:lnTo>
                  <a:lnTo>
                    <a:pt x="432515" y="534082"/>
                  </a:lnTo>
                  <a:lnTo>
                    <a:pt x="430829" y="535728"/>
                  </a:lnTo>
                  <a:lnTo>
                    <a:pt x="432515" y="530790"/>
                  </a:lnTo>
                  <a:lnTo>
                    <a:pt x="427457" y="537374"/>
                  </a:lnTo>
                  <a:lnTo>
                    <a:pt x="429143" y="532436"/>
                  </a:lnTo>
                  <a:lnTo>
                    <a:pt x="439260" y="527499"/>
                  </a:lnTo>
                  <a:lnTo>
                    <a:pt x="437574" y="525853"/>
                  </a:lnTo>
                  <a:lnTo>
                    <a:pt x="430829" y="529144"/>
                  </a:lnTo>
                  <a:lnTo>
                    <a:pt x="430829" y="524207"/>
                  </a:lnTo>
                  <a:lnTo>
                    <a:pt x="429143" y="529144"/>
                  </a:lnTo>
                  <a:lnTo>
                    <a:pt x="427457" y="527499"/>
                  </a:lnTo>
                  <a:lnTo>
                    <a:pt x="427457" y="542311"/>
                  </a:lnTo>
                  <a:lnTo>
                    <a:pt x="425770" y="537374"/>
                  </a:lnTo>
                  <a:lnTo>
                    <a:pt x="422398" y="540665"/>
                  </a:lnTo>
                  <a:lnTo>
                    <a:pt x="425770" y="529144"/>
                  </a:lnTo>
                  <a:lnTo>
                    <a:pt x="419026" y="525853"/>
                  </a:lnTo>
                  <a:lnTo>
                    <a:pt x="424084" y="532436"/>
                  </a:lnTo>
                  <a:lnTo>
                    <a:pt x="419026" y="539020"/>
                  </a:lnTo>
                  <a:lnTo>
                    <a:pt x="413967" y="532436"/>
                  </a:lnTo>
                  <a:lnTo>
                    <a:pt x="412281" y="529144"/>
                  </a:lnTo>
                  <a:lnTo>
                    <a:pt x="413967" y="527499"/>
                  </a:lnTo>
                  <a:lnTo>
                    <a:pt x="412281" y="524207"/>
                  </a:lnTo>
                  <a:lnTo>
                    <a:pt x="407222" y="522561"/>
                  </a:lnTo>
                  <a:lnTo>
                    <a:pt x="405536" y="525853"/>
                  </a:lnTo>
                  <a:lnTo>
                    <a:pt x="405536" y="524207"/>
                  </a:lnTo>
                  <a:lnTo>
                    <a:pt x="403849" y="520915"/>
                  </a:lnTo>
                  <a:lnTo>
                    <a:pt x="392046" y="519269"/>
                  </a:lnTo>
                  <a:lnTo>
                    <a:pt x="388674" y="522561"/>
                  </a:lnTo>
                  <a:lnTo>
                    <a:pt x="383615" y="519269"/>
                  </a:lnTo>
                  <a:lnTo>
                    <a:pt x="383615" y="525853"/>
                  </a:lnTo>
                  <a:lnTo>
                    <a:pt x="380242" y="520915"/>
                  </a:lnTo>
                  <a:lnTo>
                    <a:pt x="375184" y="520915"/>
                  </a:lnTo>
                  <a:lnTo>
                    <a:pt x="380242" y="502811"/>
                  </a:lnTo>
                  <a:lnTo>
                    <a:pt x="371811" y="520915"/>
                  </a:lnTo>
                  <a:lnTo>
                    <a:pt x="366753" y="524207"/>
                  </a:lnTo>
                  <a:lnTo>
                    <a:pt x="370125" y="534082"/>
                  </a:lnTo>
                  <a:lnTo>
                    <a:pt x="361694" y="524207"/>
                  </a:lnTo>
                  <a:lnTo>
                    <a:pt x="349890" y="524207"/>
                  </a:lnTo>
                  <a:lnTo>
                    <a:pt x="349890" y="520915"/>
                  </a:lnTo>
                  <a:lnTo>
                    <a:pt x="344832" y="515978"/>
                  </a:lnTo>
                  <a:lnTo>
                    <a:pt x="349890" y="515978"/>
                  </a:lnTo>
                  <a:lnTo>
                    <a:pt x="348204" y="501165"/>
                  </a:lnTo>
                  <a:lnTo>
                    <a:pt x="349890" y="504456"/>
                  </a:lnTo>
                  <a:lnTo>
                    <a:pt x="349890" y="499519"/>
                  </a:lnTo>
                  <a:lnTo>
                    <a:pt x="348204" y="497873"/>
                  </a:lnTo>
                  <a:lnTo>
                    <a:pt x="348204" y="501165"/>
                  </a:lnTo>
                  <a:lnTo>
                    <a:pt x="346518" y="496227"/>
                  </a:lnTo>
                  <a:lnTo>
                    <a:pt x="329656" y="486352"/>
                  </a:lnTo>
                  <a:lnTo>
                    <a:pt x="329656" y="479768"/>
                  </a:lnTo>
                  <a:lnTo>
                    <a:pt x="329656" y="486352"/>
                  </a:lnTo>
                  <a:lnTo>
                    <a:pt x="316166" y="489644"/>
                  </a:lnTo>
                  <a:lnTo>
                    <a:pt x="292559" y="509394"/>
                  </a:lnTo>
                  <a:lnTo>
                    <a:pt x="267265" y="504456"/>
                  </a:lnTo>
                  <a:lnTo>
                    <a:pt x="241972" y="511040"/>
                  </a:lnTo>
                  <a:lnTo>
                    <a:pt x="238599" y="515978"/>
                  </a:lnTo>
                  <a:lnTo>
                    <a:pt x="235227" y="532436"/>
                  </a:lnTo>
                  <a:lnTo>
                    <a:pt x="231855" y="537374"/>
                  </a:lnTo>
                  <a:lnTo>
                    <a:pt x="214992" y="548895"/>
                  </a:lnTo>
                  <a:lnTo>
                    <a:pt x="193071" y="552187"/>
                  </a:lnTo>
                  <a:lnTo>
                    <a:pt x="181268" y="552187"/>
                  </a:lnTo>
                  <a:lnTo>
                    <a:pt x="86839" y="509394"/>
                  </a:lnTo>
                  <a:lnTo>
                    <a:pt x="63232" y="506102"/>
                  </a:lnTo>
                  <a:lnTo>
                    <a:pt x="44684" y="497873"/>
                  </a:lnTo>
                  <a:lnTo>
                    <a:pt x="37939" y="502811"/>
                  </a:lnTo>
                  <a:lnTo>
                    <a:pt x="39625" y="506102"/>
                  </a:lnTo>
                  <a:lnTo>
                    <a:pt x="42997" y="504456"/>
                  </a:lnTo>
                  <a:lnTo>
                    <a:pt x="42997" y="506102"/>
                  </a:lnTo>
                  <a:lnTo>
                    <a:pt x="26135" y="507748"/>
                  </a:lnTo>
                  <a:lnTo>
                    <a:pt x="14332" y="461664"/>
                  </a:lnTo>
                  <a:lnTo>
                    <a:pt x="4214" y="453435"/>
                  </a:lnTo>
                  <a:lnTo>
                    <a:pt x="14332" y="450143"/>
                  </a:lnTo>
                  <a:lnTo>
                    <a:pt x="61546" y="458372"/>
                  </a:lnTo>
                  <a:lnTo>
                    <a:pt x="73349" y="455081"/>
                  </a:lnTo>
                  <a:lnTo>
                    <a:pt x="80094" y="464956"/>
                  </a:lnTo>
                  <a:lnTo>
                    <a:pt x="95270" y="453435"/>
                  </a:lnTo>
                  <a:lnTo>
                    <a:pt x="100329" y="458372"/>
                  </a:lnTo>
                  <a:lnTo>
                    <a:pt x="108760" y="453435"/>
                  </a:lnTo>
                  <a:lnTo>
                    <a:pt x="108760" y="446851"/>
                  </a:lnTo>
                  <a:lnTo>
                    <a:pt x="117191" y="436976"/>
                  </a:lnTo>
                  <a:lnTo>
                    <a:pt x="98643" y="423809"/>
                  </a:lnTo>
                  <a:lnTo>
                    <a:pt x="105388" y="413934"/>
                  </a:lnTo>
                  <a:lnTo>
                    <a:pt x="80094" y="382663"/>
                  </a:lnTo>
                  <a:lnTo>
                    <a:pt x="132367" y="323412"/>
                  </a:lnTo>
                  <a:lnTo>
                    <a:pt x="211620" y="274036"/>
                  </a:lnTo>
                  <a:lnTo>
                    <a:pt x="216678" y="278973"/>
                  </a:lnTo>
                  <a:lnTo>
                    <a:pt x="230168" y="303661"/>
                  </a:lnTo>
                  <a:lnTo>
                    <a:pt x="235227" y="306953"/>
                  </a:lnTo>
                  <a:lnTo>
                    <a:pt x="235227" y="315182"/>
                  </a:lnTo>
                  <a:lnTo>
                    <a:pt x="255462" y="351391"/>
                  </a:lnTo>
                  <a:lnTo>
                    <a:pt x="324597" y="334932"/>
                  </a:lnTo>
                  <a:lnTo>
                    <a:pt x="327969" y="302015"/>
                  </a:lnTo>
                  <a:lnTo>
                    <a:pt x="381929" y="308599"/>
                  </a:lnTo>
                  <a:lnTo>
                    <a:pt x="388674" y="306953"/>
                  </a:lnTo>
                  <a:lnTo>
                    <a:pt x="397105" y="308599"/>
                  </a:lnTo>
                  <a:lnTo>
                    <a:pt x="395418" y="300370"/>
                  </a:lnTo>
                  <a:lnTo>
                    <a:pt x="398791" y="227951"/>
                  </a:lnTo>
                  <a:lnTo>
                    <a:pt x="393732" y="190097"/>
                  </a:lnTo>
                  <a:lnTo>
                    <a:pt x="397105" y="180221"/>
                  </a:lnTo>
                  <a:lnTo>
                    <a:pt x="400477" y="175284"/>
                  </a:lnTo>
                  <a:lnTo>
                    <a:pt x="412281" y="181867"/>
                  </a:lnTo>
                  <a:lnTo>
                    <a:pt x="422398" y="185159"/>
                  </a:lnTo>
                  <a:lnTo>
                    <a:pt x="424084" y="183513"/>
                  </a:lnTo>
                  <a:lnTo>
                    <a:pt x="424084" y="180221"/>
                  </a:lnTo>
                  <a:lnTo>
                    <a:pt x="432515" y="171992"/>
                  </a:lnTo>
                  <a:lnTo>
                    <a:pt x="437574" y="157179"/>
                  </a:lnTo>
                  <a:lnTo>
                    <a:pt x="446005" y="150596"/>
                  </a:lnTo>
                  <a:lnTo>
                    <a:pt x="459495" y="144012"/>
                  </a:lnTo>
                  <a:lnTo>
                    <a:pt x="467926" y="144012"/>
                  </a:lnTo>
                  <a:lnTo>
                    <a:pt x="476357" y="140721"/>
                  </a:lnTo>
                  <a:lnTo>
                    <a:pt x="476357" y="134137"/>
                  </a:lnTo>
                  <a:lnTo>
                    <a:pt x="484788" y="129200"/>
                  </a:lnTo>
                  <a:lnTo>
                    <a:pt x="462867" y="109449"/>
                  </a:lnTo>
                  <a:lnTo>
                    <a:pt x="467926" y="74886"/>
                  </a:lnTo>
                  <a:lnTo>
                    <a:pt x="494906" y="33739"/>
                  </a:lnTo>
                  <a:lnTo>
                    <a:pt x="513454" y="35386"/>
                  </a:lnTo>
                  <a:lnTo>
                    <a:pt x="511768" y="32094"/>
                  </a:lnTo>
                  <a:lnTo>
                    <a:pt x="515140" y="33739"/>
                  </a:lnTo>
                  <a:lnTo>
                    <a:pt x="516827" y="32094"/>
                  </a:lnTo>
                  <a:lnTo>
                    <a:pt x="516827" y="35386"/>
                  </a:lnTo>
                  <a:lnTo>
                    <a:pt x="521885" y="35386"/>
                  </a:lnTo>
                  <a:lnTo>
                    <a:pt x="555610" y="4114"/>
                  </a:lnTo>
                  <a:lnTo>
                    <a:pt x="558982" y="10697"/>
                  </a:lnTo>
                  <a:lnTo>
                    <a:pt x="553924" y="13989"/>
                  </a:lnTo>
                  <a:lnTo>
                    <a:pt x="557296" y="22219"/>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1" name="Edam-Volendam">
              <a:extLst>
                <a:ext uri="{FF2B5EF4-FFF2-40B4-BE49-F238E27FC236}">
                  <a16:creationId xmlns:a16="http://schemas.microsoft.com/office/drawing/2014/main" id="{B9FB078F-0BAF-480C-B8FE-D6E048313432}"/>
                </a:ext>
              </a:extLst>
            </p:cNvPr>
            <p:cNvSpPr/>
            <p:nvPr/>
          </p:nvSpPr>
          <p:spPr>
            <a:xfrm>
              <a:off x="5777958" y="2676198"/>
              <a:ext cx="136287" cy="219815"/>
            </a:xfrm>
            <a:custGeom>
              <a:avLst/>
              <a:gdLst/>
              <a:ahLst/>
              <a:cxnLst/>
              <a:rect l="l" t="t" r="r" b="b"/>
              <a:pathLst>
                <a:path w="210747" h="308610" extrusionOk="0">
                  <a:moveTo>
                    <a:pt x="110446" y="4114"/>
                  </a:moveTo>
                  <a:lnTo>
                    <a:pt x="110446" y="18927"/>
                  </a:lnTo>
                  <a:lnTo>
                    <a:pt x="113819" y="23865"/>
                  </a:lnTo>
                  <a:lnTo>
                    <a:pt x="110446" y="30448"/>
                  </a:lnTo>
                  <a:lnTo>
                    <a:pt x="115505" y="30448"/>
                  </a:lnTo>
                  <a:lnTo>
                    <a:pt x="117191" y="35385"/>
                  </a:lnTo>
                  <a:lnTo>
                    <a:pt x="115505" y="35385"/>
                  </a:lnTo>
                  <a:lnTo>
                    <a:pt x="117191" y="35385"/>
                  </a:lnTo>
                  <a:lnTo>
                    <a:pt x="112132" y="45261"/>
                  </a:lnTo>
                  <a:lnTo>
                    <a:pt x="123936" y="69949"/>
                  </a:lnTo>
                  <a:lnTo>
                    <a:pt x="122250" y="74886"/>
                  </a:lnTo>
                  <a:lnTo>
                    <a:pt x="128995" y="97928"/>
                  </a:lnTo>
                  <a:lnTo>
                    <a:pt x="127309" y="112741"/>
                  </a:lnTo>
                  <a:lnTo>
                    <a:pt x="144171" y="129200"/>
                  </a:lnTo>
                  <a:lnTo>
                    <a:pt x="145857" y="135783"/>
                  </a:lnTo>
                  <a:lnTo>
                    <a:pt x="162719" y="168700"/>
                  </a:lnTo>
                  <a:lnTo>
                    <a:pt x="162719" y="183513"/>
                  </a:lnTo>
                  <a:lnTo>
                    <a:pt x="167778" y="186805"/>
                  </a:lnTo>
                  <a:lnTo>
                    <a:pt x="177895" y="209847"/>
                  </a:lnTo>
                  <a:lnTo>
                    <a:pt x="179582" y="221368"/>
                  </a:lnTo>
                  <a:lnTo>
                    <a:pt x="188013" y="231243"/>
                  </a:lnTo>
                  <a:lnTo>
                    <a:pt x="194757" y="229597"/>
                  </a:lnTo>
                  <a:lnTo>
                    <a:pt x="189699" y="234535"/>
                  </a:lnTo>
                  <a:lnTo>
                    <a:pt x="194757" y="231243"/>
                  </a:lnTo>
                  <a:lnTo>
                    <a:pt x="191385" y="237827"/>
                  </a:lnTo>
                  <a:lnTo>
                    <a:pt x="201502" y="244410"/>
                  </a:lnTo>
                  <a:lnTo>
                    <a:pt x="208247" y="267452"/>
                  </a:lnTo>
                  <a:lnTo>
                    <a:pt x="201502" y="277327"/>
                  </a:lnTo>
                  <a:lnTo>
                    <a:pt x="196443" y="293786"/>
                  </a:lnTo>
                  <a:lnTo>
                    <a:pt x="194757" y="290494"/>
                  </a:lnTo>
                  <a:lnTo>
                    <a:pt x="189699" y="295432"/>
                  </a:lnTo>
                  <a:lnTo>
                    <a:pt x="194757" y="295432"/>
                  </a:lnTo>
                  <a:lnTo>
                    <a:pt x="188013" y="295432"/>
                  </a:lnTo>
                  <a:lnTo>
                    <a:pt x="184640" y="302015"/>
                  </a:lnTo>
                  <a:lnTo>
                    <a:pt x="181268" y="302015"/>
                  </a:lnTo>
                  <a:lnTo>
                    <a:pt x="176209" y="297078"/>
                  </a:lnTo>
                  <a:lnTo>
                    <a:pt x="171150" y="298724"/>
                  </a:lnTo>
                  <a:lnTo>
                    <a:pt x="176209" y="298724"/>
                  </a:lnTo>
                  <a:lnTo>
                    <a:pt x="174523" y="303661"/>
                  </a:lnTo>
                  <a:lnTo>
                    <a:pt x="171150" y="305307"/>
                  </a:lnTo>
                  <a:lnTo>
                    <a:pt x="176209" y="308599"/>
                  </a:lnTo>
                  <a:lnTo>
                    <a:pt x="181268" y="303661"/>
                  </a:lnTo>
                  <a:lnTo>
                    <a:pt x="177895" y="308599"/>
                  </a:lnTo>
                  <a:lnTo>
                    <a:pt x="171150" y="305307"/>
                  </a:lnTo>
                  <a:lnTo>
                    <a:pt x="169464" y="311891"/>
                  </a:lnTo>
                  <a:lnTo>
                    <a:pt x="169464" y="298724"/>
                  </a:lnTo>
                  <a:lnTo>
                    <a:pt x="137426" y="305307"/>
                  </a:lnTo>
                  <a:lnTo>
                    <a:pt x="127309" y="303661"/>
                  </a:lnTo>
                  <a:lnTo>
                    <a:pt x="117191" y="313536"/>
                  </a:lnTo>
                  <a:lnTo>
                    <a:pt x="76722" y="288848"/>
                  </a:lnTo>
                  <a:lnTo>
                    <a:pt x="117191" y="223014"/>
                  </a:lnTo>
                  <a:lnTo>
                    <a:pt x="93584" y="209847"/>
                  </a:lnTo>
                  <a:lnTo>
                    <a:pt x="81780" y="211493"/>
                  </a:lnTo>
                  <a:lnTo>
                    <a:pt x="76722" y="219722"/>
                  </a:lnTo>
                  <a:lnTo>
                    <a:pt x="68291" y="227951"/>
                  </a:lnTo>
                  <a:lnTo>
                    <a:pt x="31194" y="209847"/>
                  </a:lnTo>
                  <a:lnTo>
                    <a:pt x="14331" y="204909"/>
                  </a:lnTo>
                  <a:lnTo>
                    <a:pt x="22763" y="188451"/>
                  </a:lnTo>
                  <a:lnTo>
                    <a:pt x="39625" y="170346"/>
                  </a:lnTo>
                  <a:lnTo>
                    <a:pt x="44683" y="163763"/>
                  </a:lnTo>
                  <a:lnTo>
                    <a:pt x="42997" y="157179"/>
                  </a:lnTo>
                  <a:lnTo>
                    <a:pt x="46370" y="147304"/>
                  </a:lnTo>
                  <a:lnTo>
                    <a:pt x="44683" y="127554"/>
                  </a:lnTo>
                  <a:lnTo>
                    <a:pt x="76722" y="94637"/>
                  </a:lnTo>
                  <a:lnTo>
                    <a:pt x="68291" y="78178"/>
                  </a:lnTo>
                  <a:lnTo>
                    <a:pt x="49742" y="66657"/>
                  </a:lnTo>
                  <a:lnTo>
                    <a:pt x="12645" y="83116"/>
                  </a:lnTo>
                  <a:lnTo>
                    <a:pt x="10959" y="66657"/>
                  </a:lnTo>
                  <a:lnTo>
                    <a:pt x="4214" y="46907"/>
                  </a:lnTo>
                  <a:lnTo>
                    <a:pt x="88525" y="40323"/>
                  </a:lnTo>
                  <a:lnTo>
                    <a:pt x="93584" y="15635"/>
                  </a:lnTo>
                  <a:lnTo>
                    <a:pt x="90211" y="9052"/>
                  </a:lnTo>
                  <a:lnTo>
                    <a:pt x="110446"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2" name="Weesp">
              <a:extLst>
                <a:ext uri="{FF2B5EF4-FFF2-40B4-BE49-F238E27FC236}">
                  <a16:creationId xmlns:a16="http://schemas.microsoft.com/office/drawing/2014/main" id="{65E278F4-2095-4EC9-804A-E5602F34C071}"/>
                </a:ext>
              </a:extLst>
            </p:cNvPr>
            <p:cNvSpPr/>
            <p:nvPr/>
          </p:nvSpPr>
          <p:spPr>
            <a:xfrm>
              <a:off x="5838272" y="3146189"/>
              <a:ext cx="101653" cy="75549"/>
            </a:xfrm>
            <a:custGeom>
              <a:avLst/>
              <a:gdLst/>
              <a:ahLst/>
              <a:cxnLst/>
              <a:rect l="l" t="t" r="r" b="b"/>
              <a:pathLst>
                <a:path w="140498" h="125730" extrusionOk="0">
                  <a:moveTo>
                    <a:pt x="10959" y="4114"/>
                  </a:moveTo>
                  <a:lnTo>
                    <a:pt x="37938" y="9052"/>
                  </a:lnTo>
                  <a:lnTo>
                    <a:pt x="46370" y="15635"/>
                  </a:lnTo>
                  <a:lnTo>
                    <a:pt x="51428" y="13989"/>
                  </a:lnTo>
                  <a:lnTo>
                    <a:pt x="71663" y="22219"/>
                  </a:lnTo>
                  <a:lnTo>
                    <a:pt x="71663" y="27156"/>
                  </a:lnTo>
                  <a:lnTo>
                    <a:pt x="63232" y="32094"/>
                  </a:lnTo>
                  <a:lnTo>
                    <a:pt x="66604" y="40323"/>
                  </a:lnTo>
                  <a:lnTo>
                    <a:pt x="76722" y="33740"/>
                  </a:lnTo>
                  <a:lnTo>
                    <a:pt x="75036" y="27156"/>
                  </a:lnTo>
                  <a:lnTo>
                    <a:pt x="83467" y="27156"/>
                  </a:lnTo>
                  <a:lnTo>
                    <a:pt x="95270" y="35385"/>
                  </a:lnTo>
                  <a:lnTo>
                    <a:pt x="118877" y="45261"/>
                  </a:lnTo>
                  <a:lnTo>
                    <a:pt x="117191" y="48552"/>
                  </a:lnTo>
                  <a:lnTo>
                    <a:pt x="130681" y="55136"/>
                  </a:lnTo>
                  <a:lnTo>
                    <a:pt x="123936" y="63365"/>
                  </a:lnTo>
                  <a:lnTo>
                    <a:pt x="123936" y="78178"/>
                  </a:lnTo>
                  <a:lnTo>
                    <a:pt x="130681" y="84761"/>
                  </a:lnTo>
                  <a:lnTo>
                    <a:pt x="139112" y="84761"/>
                  </a:lnTo>
                  <a:lnTo>
                    <a:pt x="140798" y="86407"/>
                  </a:lnTo>
                  <a:lnTo>
                    <a:pt x="137426" y="92991"/>
                  </a:lnTo>
                  <a:lnTo>
                    <a:pt x="134053" y="92991"/>
                  </a:lnTo>
                  <a:lnTo>
                    <a:pt x="127309" y="99574"/>
                  </a:lnTo>
                  <a:lnTo>
                    <a:pt x="135740" y="114387"/>
                  </a:lnTo>
                  <a:lnTo>
                    <a:pt x="132367" y="129200"/>
                  </a:lnTo>
                  <a:lnTo>
                    <a:pt x="110446" y="124262"/>
                  </a:lnTo>
                  <a:lnTo>
                    <a:pt x="105388" y="129200"/>
                  </a:lnTo>
                  <a:lnTo>
                    <a:pt x="93584" y="132491"/>
                  </a:lnTo>
                  <a:lnTo>
                    <a:pt x="75036" y="132491"/>
                  </a:lnTo>
                  <a:lnTo>
                    <a:pt x="76722" y="116033"/>
                  </a:lnTo>
                  <a:lnTo>
                    <a:pt x="68290" y="106158"/>
                  </a:lnTo>
                  <a:lnTo>
                    <a:pt x="56487" y="112741"/>
                  </a:lnTo>
                  <a:lnTo>
                    <a:pt x="53115" y="109449"/>
                  </a:lnTo>
                  <a:lnTo>
                    <a:pt x="41311" y="122616"/>
                  </a:lnTo>
                  <a:lnTo>
                    <a:pt x="27821" y="112741"/>
                  </a:lnTo>
                  <a:lnTo>
                    <a:pt x="22763" y="107803"/>
                  </a:lnTo>
                  <a:lnTo>
                    <a:pt x="14331" y="124262"/>
                  </a:lnTo>
                  <a:lnTo>
                    <a:pt x="10959" y="120970"/>
                  </a:lnTo>
                  <a:lnTo>
                    <a:pt x="10959" y="74886"/>
                  </a:lnTo>
                  <a:lnTo>
                    <a:pt x="4214" y="5760"/>
                  </a:lnTo>
                  <a:lnTo>
                    <a:pt x="10959"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3" name="Utrechtse Heuvelrug">
              <a:extLst>
                <a:ext uri="{FF2B5EF4-FFF2-40B4-BE49-F238E27FC236}">
                  <a16:creationId xmlns:a16="http://schemas.microsoft.com/office/drawing/2014/main" id="{5BD0A229-F6D8-4D47-8C89-6C57A63BA754}"/>
                </a:ext>
              </a:extLst>
            </p:cNvPr>
            <p:cNvSpPr/>
            <p:nvPr/>
          </p:nvSpPr>
          <p:spPr>
            <a:xfrm>
              <a:off x="6092264" y="3546615"/>
              <a:ext cx="297712" cy="179928"/>
            </a:xfrm>
            <a:custGeom>
              <a:avLst/>
              <a:gdLst/>
              <a:ahLst/>
              <a:cxnLst/>
              <a:rect l="l" t="t" r="r" b="b"/>
              <a:pathLst>
                <a:path w="433202" h="285750" extrusionOk="0">
                  <a:moveTo>
                    <a:pt x="93584" y="23864"/>
                  </a:moveTo>
                  <a:lnTo>
                    <a:pt x="115505" y="43615"/>
                  </a:lnTo>
                  <a:lnTo>
                    <a:pt x="134053" y="22218"/>
                  </a:lnTo>
                  <a:lnTo>
                    <a:pt x="134053" y="9052"/>
                  </a:lnTo>
                  <a:lnTo>
                    <a:pt x="213306" y="23864"/>
                  </a:lnTo>
                  <a:lnTo>
                    <a:pt x="218365" y="32094"/>
                  </a:lnTo>
                  <a:lnTo>
                    <a:pt x="241972" y="30448"/>
                  </a:lnTo>
                  <a:lnTo>
                    <a:pt x="245344" y="30448"/>
                  </a:lnTo>
                  <a:lnTo>
                    <a:pt x="247030" y="37031"/>
                  </a:lnTo>
                  <a:lnTo>
                    <a:pt x="236913" y="45260"/>
                  </a:lnTo>
                  <a:lnTo>
                    <a:pt x="238599" y="48552"/>
                  </a:lnTo>
                  <a:lnTo>
                    <a:pt x="235227" y="51844"/>
                  </a:lnTo>
                  <a:lnTo>
                    <a:pt x="240286" y="56781"/>
                  </a:lnTo>
                  <a:lnTo>
                    <a:pt x="252089" y="45260"/>
                  </a:lnTo>
                  <a:lnTo>
                    <a:pt x="270638" y="37031"/>
                  </a:lnTo>
                  <a:lnTo>
                    <a:pt x="275696" y="38677"/>
                  </a:lnTo>
                  <a:lnTo>
                    <a:pt x="290872" y="37031"/>
                  </a:lnTo>
                  <a:lnTo>
                    <a:pt x="295931" y="41969"/>
                  </a:lnTo>
                  <a:lnTo>
                    <a:pt x="292559" y="63365"/>
                  </a:lnTo>
                  <a:lnTo>
                    <a:pt x="290872" y="68302"/>
                  </a:lnTo>
                  <a:lnTo>
                    <a:pt x="282441" y="69949"/>
                  </a:lnTo>
                  <a:lnTo>
                    <a:pt x="280755" y="79823"/>
                  </a:lnTo>
                  <a:lnTo>
                    <a:pt x="290872" y="96282"/>
                  </a:lnTo>
                  <a:lnTo>
                    <a:pt x="306048" y="102866"/>
                  </a:lnTo>
                  <a:lnTo>
                    <a:pt x="311107" y="107803"/>
                  </a:lnTo>
                  <a:lnTo>
                    <a:pt x="317852" y="91345"/>
                  </a:lnTo>
                  <a:lnTo>
                    <a:pt x="329655" y="97928"/>
                  </a:lnTo>
                  <a:lnTo>
                    <a:pt x="329655" y="94636"/>
                  </a:lnTo>
                  <a:lnTo>
                    <a:pt x="336400" y="89699"/>
                  </a:lnTo>
                  <a:lnTo>
                    <a:pt x="354949" y="84761"/>
                  </a:lnTo>
                  <a:lnTo>
                    <a:pt x="373497" y="74886"/>
                  </a:lnTo>
                  <a:lnTo>
                    <a:pt x="386987" y="74886"/>
                  </a:lnTo>
                  <a:lnTo>
                    <a:pt x="410594" y="79823"/>
                  </a:lnTo>
                  <a:lnTo>
                    <a:pt x="413967" y="81470"/>
                  </a:lnTo>
                  <a:lnTo>
                    <a:pt x="415653" y="99574"/>
                  </a:lnTo>
                  <a:lnTo>
                    <a:pt x="434201" y="116033"/>
                  </a:lnTo>
                  <a:lnTo>
                    <a:pt x="380242" y="224660"/>
                  </a:lnTo>
                  <a:lnTo>
                    <a:pt x="375184" y="221368"/>
                  </a:lnTo>
                  <a:lnTo>
                    <a:pt x="366753" y="234535"/>
                  </a:lnTo>
                  <a:lnTo>
                    <a:pt x="366753" y="242764"/>
                  </a:lnTo>
                  <a:lnTo>
                    <a:pt x="358321" y="232889"/>
                  </a:lnTo>
                  <a:lnTo>
                    <a:pt x="360008" y="239472"/>
                  </a:lnTo>
                  <a:lnTo>
                    <a:pt x="354949" y="242764"/>
                  </a:lnTo>
                  <a:lnTo>
                    <a:pt x="354949" y="252639"/>
                  </a:lnTo>
                  <a:lnTo>
                    <a:pt x="319538" y="252639"/>
                  </a:lnTo>
                  <a:lnTo>
                    <a:pt x="306048" y="247702"/>
                  </a:lnTo>
                  <a:lnTo>
                    <a:pt x="294245" y="247702"/>
                  </a:lnTo>
                  <a:lnTo>
                    <a:pt x="284128" y="252639"/>
                  </a:lnTo>
                  <a:lnTo>
                    <a:pt x="263893" y="269098"/>
                  </a:lnTo>
                  <a:lnTo>
                    <a:pt x="223423" y="283910"/>
                  </a:lnTo>
                  <a:lnTo>
                    <a:pt x="225110" y="280619"/>
                  </a:lnTo>
                  <a:lnTo>
                    <a:pt x="225110" y="277327"/>
                  </a:lnTo>
                  <a:lnTo>
                    <a:pt x="228482" y="274035"/>
                  </a:lnTo>
                  <a:lnTo>
                    <a:pt x="228482" y="270744"/>
                  </a:lnTo>
                  <a:lnTo>
                    <a:pt x="218365" y="269098"/>
                  </a:lnTo>
                  <a:lnTo>
                    <a:pt x="203189" y="246056"/>
                  </a:lnTo>
                  <a:lnTo>
                    <a:pt x="235227" y="241118"/>
                  </a:lnTo>
                  <a:lnTo>
                    <a:pt x="260520" y="221368"/>
                  </a:lnTo>
                  <a:lnTo>
                    <a:pt x="236913" y="206555"/>
                  </a:lnTo>
                  <a:lnTo>
                    <a:pt x="208247" y="208201"/>
                  </a:lnTo>
                  <a:lnTo>
                    <a:pt x="161033" y="173638"/>
                  </a:lnTo>
                  <a:lnTo>
                    <a:pt x="152602" y="163763"/>
                  </a:lnTo>
                  <a:lnTo>
                    <a:pt x="120564" y="157179"/>
                  </a:lnTo>
                  <a:lnTo>
                    <a:pt x="107074" y="147304"/>
                  </a:lnTo>
                  <a:lnTo>
                    <a:pt x="69977" y="191742"/>
                  </a:lnTo>
                  <a:lnTo>
                    <a:pt x="66604" y="188450"/>
                  </a:lnTo>
                  <a:lnTo>
                    <a:pt x="51428" y="186805"/>
                  </a:lnTo>
                  <a:lnTo>
                    <a:pt x="41311" y="176930"/>
                  </a:lnTo>
                  <a:lnTo>
                    <a:pt x="37938" y="168700"/>
                  </a:lnTo>
                  <a:lnTo>
                    <a:pt x="27821" y="153888"/>
                  </a:lnTo>
                  <a:lnTo>
                    <a:pt x="39625" y="145658"/>
                  </a:lnTo>
                  <a:lnTo>
                    <a:pt x="37938" y="142366"/>
                  </a:lnTo>
                  <a:lnTo>
                    <a:pt x="29507" y="135783"/>
                  </a:lnTo>
                  <a:lnTo>
                    <a:pt x="26135" y="135783"/>
                  </a:lnTo>
                  <a:lnTo>
                    <a:pt x="19390" y="134137"/>
                  </a:lnTo>
                  <a:lnTo>
                    <a:pt x="19390" y="119324"/>
                  </a:lnTo>
                  <a:lnTo>
                    <a:pt x="12645" y="119324"/>
                  </a:lnTo>
                  <a:lnTo>
                    <a:pt x="7586" y="112741"/>
                  </a:lnTo>
                  <a:lnTo>
                    <a:pt x="9273" y="101220"/>
                  </a:lnTo>
                  <a:lnTo>
                    <a:pt x="4214" y="97928"/>
                  </a:lnTo>
                  <a:lnTo>
                    <a:pt x="10959" y="81470"/>
                  </a:lnTo>
                  <a:lnTo>
                    <a:pt x="4214" y="71594"/>
                  </a:lnTo>
                  <a:lnTo>
                    <a:pt x="10959" y="61719"/>
                  </a:lnTo>
                  <a:lnTo>
                    <a:pt x="17704" y="60073"/>
                  </a:lnTo>
                  <a:lnTo>
                    <a:pt x="19390" y="53490"/>
                  </a:lnTo>
                  <a:lnTo>
                    <a:pt x="69977" y="4114"/>
                  </a:lnTo>
                  <a:lnTo>
                    <a:pt x="93584" y="2386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4" name="Hattem">
              <a:extLst>
                <a:ext uri="{FF2B5EF4-FFF2-40B4-BE49-F238E27FC236}">
                  <a16:creationId xmlns:a16="http://schemas.microsoft.com/office/drawing/2014/main" id="{7A5C7CD4-B8A3-4A35-A8C3-7C0E1F765679}"/>
                </a:ext>
              </a:extLst>
            </p:cNvPr>
            <p:cNvSpPr/>
            <p:nvPr/>
          </p:nvSpPr>
          <p:spPr>
            <a:xfrm>
              <a:off x="6874088" y="2860893"/>
              <a:ext cx="103932" cy="106284"/>
            </a:xfrm>
            <a:custGeom>
              <a:avLst/>
              <a:gdLst/>
              <a:ahLst/>
              <a:cxnLst/>
              <a:rect l="l" t="t" r="r" b="b"/>
              <a:pathLst>
                <a:path w="152206" h="160020" extrusionOk="0">
                  <a:moveTo>
                    <a:pt x="68291" y="13989"/>
                  </a:moveTo>
                  <a:lnTo>
                    <a:pt x="86839" y="30448"/>
                  </a:lnTo>
                  <a:lnTo>
                    <a:pt x="98643" y="55136"/>
                  </a:lnTo>
                  <a:lnTo>
                    <a:pt x="107074" y="65011"/>
                  </a:lnTo>
                  <a:lnTo>
                    <a:pt x="117191" y="73240"/>
                  </a:lnTo>
                  <a:lnTo>
                    <a:pt x="137426" y="81470"/>
                  </a:lnTo>
                  <a:lnTo>
                    <a:pt x="150916" y="94637"/>
                  </a:lnTo>
                  <a:lnTo>
                    <a:pt x="155974" y="106158"/>
                  </a:lnTo>
                  <a:lnTo>
                    <a:pt x="159347" y="137429"/>
                  </a:lnTo>
                  <a:lnTo>
                    <a:pt x="154288" y="137429"/>
                  </a:lnTo>
                  <a:lnTo>
                    <a:pt x="147543" y="142367"/>
                  </a:lnTo>
                  <a:lnTo>
                    <a:pt x="144171" y="134137"/>
                  </a:lnTo>
                  <a:lnTo>
                    <a:pt x="118878" y="142367"/>
                  </a:lnTo>
                  <a:lnTo>
                    <a:pt x="98643" y="144012"/>
                  </a:lnTo>
                  <a:lnTo>
                    <a:pt x="56487" y="162117"/>
                  </a:lnTo>
                  <a:lnTo>
                    <a:pt x="37939" y="162117"/>
                  </a:lnTo>
                  <a:lnTo>
                    <a:pt x="54801" y="122616"/>
                  </a:lnTo>
                  <a:lnTo>
                    <a:pt x="54801" y="112741"/>
                  </a:lnTo>
                  <a:lnTo>
                    <a:pt x="58173" y="97928"/>
                  </a:lnTo>
                  <a:lnTo>
                    <a:pt x="58173" y="91345"/>
                  </a:lnTo>
                  <a:lnTo>
                    <a:pt x="51428" y="76532"/>
                  </a:lnTo>
                  <a:lnTo>
                    <a:pt x="44684" y="68303"/>
                  </a:lnTo>
                  <a:lnTo>
                    <a:pt x="34566" y="66657"/>
                  </a:lnTo>
                  <a:lnTo>
                    <a:pt x="27821" y="69949"/>
                  </a:lnTo>
                  <a:lnTo>
                    <a:pt x="26135" y="68303"/>
                  </a:lnTo>
                  <a:lnTo>
                    <a:pt x="31194" y="65011"/>
                  </a:lnTo>
                  <a:lnTo>
                    <a:pt x="31194" y="51844"/>
                  </a:lnTo>
                  <a:lnTo>
                    <a:pt x="16018" y="35385"/>
                  </a:lnTo>
                  <a:lnTo>
                    <a:pt x="4214" y="27156"/>
                  </a:lnTo>
                  <a:lnTo>
                    <a:pt x="21076" y="12343"/>
                  </a:lnTo>
                  <a:lnTo>
                    <a:pt x="31194" y="15635"/>
                  </a:lnTo>
                  <a:lnTo>
                    <a:pt x="36253" y="13989"/>
                  </a:lnTo>
                  <a:lnTo>
                    <a:pt x="44684" y="4114"/>
                  </a:lnTo>
                  <a:lnTo>
                    <a:pt x="68291" y="13989"/>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5" name="Heerde">
              <a:extLst>
                <a:ext uri="{FF2B5EF4-FFF2-40B4-BE49-F238E27FC236}">
                  <a16:creationId xmlns:a16="http://schemas.microsoft.com/office/drawing/2014/main" id="{0B2548B2-1AD9-4560-B3A9-3781F8EAE2D7}"/>
                </a:ext>
              </a:extLst>
            </p:cNvPr>
            <p:cNvSpPr/>
            <p:nvPr/>
          </p:nvSpPr>
          <p:spPr>
            <a:xfrm>
              <a:off x="6817709" y="2937378"/>
              <a:ext cx="191500" cy="159210"/>
            </a:xfrm>
            <a:custGeom>
              <a:avLst/>
              <a:gdLst/>
              <a:ahLst/>
              <a:cxnLst/>
              <a:rect l="l" t="t" r="r" b="b"/>
              <a:pathLst>
                <a:path w="269287" h="240030" extrusionOk="0">
                  <a:moveTo>
                    <a:pt x="218365" y="7406"/>
                  </a:moveTo>
                  <a:lnTo>
                    <a:pt x="221737" y="12343"/>
                  </a:lnTo>
                  <a:lnTo>
                    <a:pt x="228482" y="7406"/>
                  </a:lnTo>
                  <a:lnTo>
                    <a:pt x="233541" y="7406"/>
                  </a:lnTo>
                  <a:lnTo>
                    <a:pt x="231855" y="23864"/>
                  </a:lnTo>
                  <a:lnTo>
                    <a:pt x="233541" y="30448"/>
                  </a:lnTo>
                  <a:lnTo>
                    <a:pt x="248717" y="43615"/>
                  </a:lnTo>
                  <a:lnTo>
                    <a:pt x="258834" y="56782"/>
                  </a:lnTo>
                  <a:lnTo>
                    <a:pt x="253776" y="63365"/>
                  </a:lnTo>
                  <a:lnTo>
                    <a:pt x="257148" y="71595"/>
                  </a:lnTo>
                  <a:lnTo>
                    <a:pt x="250403" y="89699"/>
                  </a:lnTo>
                  <a:lnTo>
                    <a:pt x="252089" y="102866"/>
                  </a:lnTo>
                  <a:lnTo>
                    <a:pt x="247031" y="117679"/>
                  </a:lnTo>
                  <a:lnTo>
                    <a:pt x="252089" y="119324"/>
                  </a:lnTo>
                  <a:lnTo>
                    <a:pt x="258834" y="130845"/>
                  </a:lnTo>
                  <a:lnTo>
                    <a:pt x="265579" y="132491"/>
                  </a:lnTo>
                  <a:lnTo>
                    <a:pt x="272324" y="137429"/>
                  </a:lnTo>
                  <a:lnTo>
                    <a:pt x="275697" y="135783"/>
                  </a:lnTo>
                  <a:lnTo>
                    <a:pt x="268952" y="153888"/>
                  </a:lnTo>
                  <a:lnTo>
                    <a:pt x="268952" y="176930"/>
                  </a:lnTo>
                  <a:lnTo>
                    <a:pt x="260520" y="186805"/>
                  </a:lnTo>
                  <a:lnTo>
                    <a:pt x="203189" y="206555"/>
                  </a:lnTo>
                  <a:lnTo>
                    <a:pt x="198130" y="213138"/>
                  </a:lnTo>
                  <a:lnTo>
                    <a:pt x="198130" y="223014"/>
                  </a:lnTo>
                  <a:lnTo>
                    <a:pt x="191385" y="226306"/>
                  </a:lnTo>
                  <a:lnTo>
                    <a:pt x="193072" y="229597"/>
                  </a:lnTo>
                  <a:lnTo>
                    <a:pt x="159347" y="231243"/>
                  </a:lnTo>
                  <a:lnTo>
                    <a:pt x="152602" y="239472"/>
                  </a:lnTo>
                  <a:lnTo>
                    <a:pt x="142485" y="242764"/>
                  </a:lnTo>
                  <a:lnTo>
                    <a:pt x="144171" y="226306"/>
                  </a:lnTo>
                  <a:lnTo>
                    <a:pt x="137426" y="229597"/>
                  </a:lnTo>
                  <a:lnTo>
                    <a:pt x="130681" y="223014"/>
                  </a:lnTo>
                  <a:lnTo>
                    <a:pt x="132367" y="219722"/>
                  </a:lnTo>
                  <a:lnTo>
                    <a:pt x="127309" y="216430"/>
                  </a:lnTo>
                  <a:lnTo>
                    <a:pt x="105388" y="211493"/>
                  </a:lnTo>
                  <a:lnTo>
                    <a:pt x="66605" y="190096"/>
                  </a:lnTo>
                  <a:lnTo>
                    <a:pt x="14332" y="155533"/>
                  </a:lnTo>
                  <a:lnTo>
                    <a:pt x="4214" y="142367"/>
                  </a:lnTo>
                  <a:lnTo>
                    <a:pt x="5901" y="137429"/>
                  </a:lnTo>
                  <a:lnTo>
                    <a:pt x="27822" y="125908"/>
                  </a:lnTo>
                  <a:lnTo>
                    <a:pt x="41311" y="112741"/>
                  </a:lnTo>
                  <a:lnTo>
                    <a:pt x="105388" y="32094"/>
                  </a:lnTo>
                  <a:lnTo>
                    <a:pt x="130681" y="32094"/>
                  </a:lnTo>
                  <a:lnTo>
                    <a:pt x="172837" y="13989"/>
                  </a:lnTo>
                  <a:lnTo>
                    <a:pt x="193072" y="12343"/>
                  </a:lnTo>
                  <a:lnTo>
                    <a:pt x="218365" y="4114"/>
                  </a:lnTo>
                  <a:lnTo>
                    <a:pt x="218365" y="7406"/>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6" name="Epe">
              <a:extLst>
                <a:ext uri="{FF2B5EF4-FFF2-40B4-BE49-F238E27FC236}">
                  <a16:creationId xmlns:a16="http://schemas.microsoft.com/office/drawing/2014/main" id="{5913275E-977C-4553-8899-FB163DC01CBE}"/>
                </a:ext>
              </a:extLst>
            </p:cNvPr>
            <p:cNvSpPr/>
            <p:nvPr/>
          </p:nvSpPr>
          <p:spPr>
            <a:xfrm>
              <a:off x="6704870" y="3042598"/>
              <a:ext cx="256209" cy="221544"/>
            </a:xfrm>
            <a:custGeom>
              <a:avLst/>
              <a:gdLst/>
              <a:ahLst/>
              <a:cxnLst/>
              <a:rect l="l" t="t" r="r" b="b"/>
              <a:pathLst>
                <a:path w="386369" h="342900" extrusionOk="0">
                  <a:moveTo>
                    <a:pt x="295931" y="84761"/>
                  </a:moveTo>
                  <a:lnTo>
                    <a:pt x="302676" y="91345"/>
                  </a:lnTo>
                  <a:lnTo>
                    <a:pt x="309421" y="88053"/>
                  </a:lnTo>
                  <a:lnTo>
                    <a:pt x="307735" y="104512"/>
                  </a:lnTo>
                  <a:lnTo>
                    <a:pt x="317852" y="101220"/>
                  </a:lnTo>
                  <a:lnTo>
                    <a:pt x="324597" y="92991"/>
                  </a:lnTo>
                  <a:lnTo>
                    <a:pt x="356635" y="91345"/>
                  </a:lnTo>
                  <a:lnTo>
                    <a:pt x="356635" y="88053"/>
                  </a:lnTo>
                  <a:lnTo>
                    <a:pt x="363380" y="84761"/>
                  </a:lnTo>
                  <a:lnTo>
                    <a:pt x="366753" y="91345"/>
                  </a:lnTo>
                  <a:lnTo>
                    <a:pt x="381929" y="94637"/>
                  </a:lnTo>
                  <a:lnTo>
                    <a:pt x="388674" y="102866"/>
                  </a:lnTo>
                  <a:lnTo>
                    <a:pt x="376870" y="111095"/>
                  </a:lnTo>
                  <a:lnTo>
                    <a:pt x="363380" y="114387"/>
                  </a:lnTo>
                  <a:lnTo>
                    <a:pt x="360008" y="117679"/>
                  </a:lnTo>
                  <a:lnTo>
                    <a:pt x="361694" y="147304"/>
                  </a:lnTo>
                  <a:lnTo>
                    <a:pt x="356635" y="167054"/>
                  </a:lnTo>
                  <a:lnTo>
                    <a:pt x="326283" y="167054"/>
                  </a:lnTo>
                  <a:lnTo>
                    <a:pt x="326283" y="178576"/>
                  </a:lnTo>
                  <a:lnTo>
                    <a:pt x="299304" y="254285"/>
                  </a:lnTo>
                  <a:lnTo>
                    <a:pt x="312793" y="292140"/>
                  </a:lnTo>
                  <a:lnTo>
                    <a:pt x="309421" y="308599"/>
                  </a:lnTo>
                  <a:lnTo>
                    <a:pt x="312793" y="316828"/>
                  </a:lnTo>
                  <a:lnTo>
                    <a:pt x="304362" y="318474"/>
                  </a:lnTo>
                  <a:lnTo>
                    <a:pt x="292559" y="315182"/>
                  </a:lnTo>
                  <a:lnTo>
                    <a:pt x="294245" y="311890"/>
                  </a:lnTo>
                  <a:lnTo>
                    <a:pt x="290872" y="311890"/>
                  </a:lnTo>
                  <a:lnTo>
                    <a:pt x="294245" y="300369"/>
                  </a:lnTo>
                  <a:lnTo>
                    <a:pt x="290872" y="297078"/>
                  </a:lnTo>
                  <a:lnTo>
                    <a:pt x="260520" y="298724"/>
                  </a:lnTo>
                  <a:lnTo>
                    <a:pt x="230168" y="303661"/>
                  </a:lnTo>
                  <a:lnTo>
                    <a:pt x="235227" y="277327"/>
                  </a:lnTo>
                  <a:lnTo>
                    <a:pt x="225110" y="275682"/>
                  </a:lnTo>
                  <a:lnTo>
                    <a:pt x="220051" y="280619"/>
                  </a:lnTo>
                  <a:lnTo>
                    <a:pt x="218365" y="288848"/>
                  </a:lnTo>
                  <a:lnTo>
                    <a:pt x="206561" y="306953"/>
                  </a:lnTo>
                  <a:lnTo>
                    <a:pt x="182954" y="308599"/>
                  </a:lnTo>
                  <a:lnTo>
                    <a:pt x="149230" y="303661"/>
                  </a:lnTo>
                  <a:lnTo>
                    <a:pt x="64918" y="326703"/>
                  </a:lnTo>
                  <a:lnTo>
                    <a:pt x="46370" y="339870"/>
                  </a:lnTo>
                  <a:lnTo>
                    <a:pt x="36253" y="349745"/>
                  </a:lnTo>
                  <a:lnTo>
                    <a:pt x="26135" y="339870"/>
                  </a:lnTo>
                  <a:lnTo>
                    <a:pt x="17704" y="308599"/>
                  </a:lnTo>
                  <a:lnTo>
                    <a:pt x="17704" y="300369"/>
                  </a:lnTo>
                  <a:lnTo>
                    <a:pt x="22763" y="290494"/>
                  </a:lnTo>
                  <a:lnTo>
                    <a:pt x="12645" y="275682"/>
                  </a:lnTo>
                  <a:lnTo>
                    <a:pt x="4214" y="232889"/>
                  </a:lnTo>
                  <a:lnTo>
                    <a:pt x="19390" y="223014"/>
                  </a:lnTo>
                  <a:lnTo>
                    <a:pt x="42997" y="195034"/>
                  </a:lnTo>
                  <a:lnTo>
                    <a:pt x="56487" y="171992"/>
                  </a:lnTo>
                  <a:lnTo>
                    <a:pt x="58174" y="165409"/>
                  </a:lnTo>
                  <a:lnTo>
                    <a:pt x="64918" y="157179"/>
                  </a:lnTo>
                  <a:lnTo>
                    <a:pt x="39625" y="119324"/>
                  </a:lnTo>
                  <a:lnTo>
                    <a:pt x="53115" y="107803"/>
                  </a:lnTo>
                  <a:lnTo>
                    <a:pt x="110446" y="33740"/>
                  </a:lnTo>
                  <a:lnTo>
                    <a:pt x="130681" y="20573"/>
                  </a:lnTo>
                  <a:lnTo>
                    <a:pt x="169464" y="4114"/>
                  </a:lnTo>
                  <a:lnTo>
                    <a:pt x="179582" y="17281"/>
                  </a:lnTo>
                  <a:lnTo>
                    <a:pt x="231855" y="51844"/>
                  </a:lnTo>
                  <a:lnTo>
                    <a:pt x="270638" y="73240"/>
                  </a:lnTo>
                  <a:lnTo>
                    <a:pt x="292559" y="78178"/>
                  </a:lnTo>
                  <a:lnTo>
                    <a:pt x="297617" y="81470"/>
                  </a:lnTo>
                  <a:lnTo>
                    <a:pt x="295931" y="84761"/>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7" name="Oldebroek">
              <a:extLst>
                <a:ext uri="{FF2B5EF4-FFF2-40B4-BE49-F238E27FC236}">
                  <a16:creationId xmlns:a16="http://schemas.microsoft.com/office/drawing/2014/main" id="{73343752-0311-4692-B479-0B0653988ED5}"/>
                </a:ext>
              </a:extLst>
            </p:cNvPr>
            <p:cNvSpPr/>
            <p:nvPr/>
          </p:nvSpPr>
          <p:spPr>
            <a:xfrm>
              <a:off x="6704870" y="2824152"/>
              <a:ext cx="205585" cy="215947"/>
            </a:xfrm>
            <a:custGeom>
              <a:avLst/>
              <a:gdLst/>
              <a:ahLst/>
              <a:cxnLst/>
              <a:rect l="l" t="t" r="r" b="b"/>
              <a:pathLst>
                <a:path w="292704" h="320040" extrusionOk="0">
                  <a:moveTo>
                    <a:pt x="54801" y="4114"/>
                  </a:moveTo>
                  <a:lnTo>
                    <a:pt x="58174" y="5760"/>
                  </a:lnTo>
                  <a:lnTo>
                    <a:pt x="71663" y="17281"/>
                  </a:lnTo>
                  <a:lnTo>
                    <a:pt x="102015" y="55136"/>
                  </a:lnTo>
                  <a:lnTo>
                    <a:pt x="113819" y="79824"/>
                  </a:lnTo>
                  <a:lnTo>
                    <a:pt x="130681" y="119324"/>
                  </a:lnTo>
                  <a:lnTo>
                    <a:pt x="144171" y="112741"/>
                  </a:lnTo>
                  <a:lnTo>
                    <a:pt x="147543" y="114387"/>
                  </a:lnTo>
                  <a:lnTo>
                    <a:pt x="162719" y="99574"/>
                  </a:lnTo>
                  <a:lnTo>
                    <a:pt x="171151" y="94637"/>
                  </a:lnTo>
                  <a:lnTo>
                    <a:pt x="179582" y="96282"/>
                  </a:lnTo>
                  <a:lnTo>
                    <a:pt x="189699" y="114387"/>
                  </a:lnTo>
                  <a:lnTo>
                    <a:pt x="243658" y="56782"/>
                  </a:lnTo>
                  <a:lnTo>
                    <a:pt x="255462" y="65011"/>
                  </a:lnTo>
                  <a:lnTo>
                    <a:pt x="270638" y="81470"/>
                  </a:lnTo>
                  <a:lnTo>
                    <a:pt x="270638" y="94637"/>
                  </a:lnTo>
                  <a:lnTo>
                    <a:pt x="265579" y="97928"/>
                  </a:lnTo>
                  <a:lnTo>
                    <a:pt x="267265" y="99574"/>
                  </a:lnTo>
                  <a:lnTo>
                    <a:pt x="274010" y="96282"/>
                  </a:lnTo>
                  <a:lnTo>
                    <a:pt x="284128" y="97928"/>
                  </a:lnTo>
                  <a:lnTo>
                    <a:pt x="292559" y="109449"/>
                  </a:lnTo>
                  <a:lnTo>
                    <a:pt x="297617" y="122616"/>
                  </a:lnTo>
                  <a:lnTo>
                    <a:pt x="292559" y="158825"/>
                  </a:lnTo>
                  <a:lnTo>
                    <a:pt x="277383" y="191742"/>
                  </a:lnTo>
                  <a:lnTo>
                    <a:pt x="270638" y="191742"/>
                  </a:lnTo>
                  <a:lnTo>
                    <a:pt x="211620" y="265806"/>
                  </a:lnTo>
                  <a:lnTo>
                    <a:pt x="194758" y="283911"/>
                  </a:lnTo>
                  <a:lnTo>
                    <a:pt x="171151" y="297078"/>
                  </a:lnTo>
                  <a:lnTo>
                    <a:pt x="169464" y="302015"/>
                  </a:lnTo>
                  <a:lnTo>
                    <a:pt x="128995" y="320120"/>
                  </a:lnTo>
                  <a:lnTo>
                    <a:pt x="102015" y="278973"/>
                  </a:lnTo>
                  <a:lnTo>
                    <a:pt x="117191" y="267452"/>
                  </a:lnTo>
                  <a:lnTo>
                    <a:pt x="91898" y="250994"/>
                  </a:lnTo>
                  <a:lnTo>
                    <a:pt x="44684" y="191742"/>
                  </a:lnTo>
                  <a:lnTo>
                    <a:pt x="53115" y="185159"/>
                  </a:lnTo>
                  <a:lnTo>
                    <a:pt x="48056" y="183513"/>
                  </a:lnTo>
                  <a:lnTo>
                    <a:pt x="58174" y="170346"/>
                  </a:lnTo>
                  <a:lnTo>
                    <a:pt x="53115" y="168700"/>
                  </a:lnTo>
                  <a:lnTo>
                    <a:pt x="53115" y="165409"/>
                  </a:lnTo>
                  <a:lnTo>
                    <a:pt x="49742" y="165409"/>
                  </a:lnTo>
                  <a:lnTo>
                    <a:pt x="48056" y="160471"/>
                  </a:lnTo>
                  <a:lnTo>
                    <a:pt x="36253" y="152242"/>
                  </a:lnTo>
                  <a:lnTo>
                    <a:pt x="37939" y="148950"/>
                  </a:lnTo>
                  <a:lnTo>
                    <a:pt x="34566" y="150596"/>
                  </a:lnTo>
                  <a:lnTo>
                    <a:pt x="31194" y="148950"/>
                  </a:lnTo>
                  <a:lnTo>
                    <a:pt x="4214" y="129200"/>
                  </a:lnTo>
                  <a:lnTo>
                    <a:pt x="7587" y="120971"/>
                  </a:lnTo>
                  <a:lnTo>
                    <a:pt x="12645" y="119324"/>
                  </a:lnTo>
                  <a:lnTo>
                    <a:pt x="7587" y="119324"/>
                  </a:lnTo>
                  <a:lnTo>
                    <a:pt x="12645" y="109449"/>
                  </a:lnTo>
                  <a:lnTo>
                    <a:pt x="17704" y="81470"/>
                  </a:lnTo>
                  <a:lnTo>
                    <a:pt x="19390" y="79824"/>
                  </a:lnTo>
                  <a:lnTo>
                    <a:pt x="16018" y="81470"/>
                  </a:lnTo>
                  <a:lnTo>
                    <a:pt x="19390" y="68303"/>
                  </a:lnTo>
                  <a:lnTo>
                    <a:pt x="27821" y="58428"/>
                  </a:lnTo>
                  <a:lnTo>
                    <a:pt x="36253" y="20573"/>
                  </a:lnTo>
                  <a:lnTo>
                    <a:pt x="42997" y="13989"/>
                  </a:lnTo>
                  <a:lnTo>
                    <a:pt x="39625" y="15635"/>
                  </a:lnTo>
                  <a:lnTo>
                    <a:pt x="39625" y="12343"/>
                  </a:lnTo>
                  <a:lnTo>
                    <a:pt x="54801" y="411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8" name="Nunspeet">
              <a:extLst>
                <a:ext uri="{FF2B5EF4-FFF2-40B4-BE49-F238E27FC236}">
                  <a16:creationId xmlns:a16="http://schemas.microsoft.com/office/drawing/2014/main" id="{DD0FA4A0-BF43-4345-9903-2EDF2C1AD163}"/>
                </a:ext>
              </a:extLst>
            </p:cNvPr>
            <p:cNvSpPr/>
            <p:nvPr/>
          </p:nvSpPr>
          <p:spPr>
            <a:xfrm>
              <a:off x="6533300" y="3005856"/>
              <a:ext cx="217042" cy="255834"/>
            </a:xfrm>
            <a:custGeom>
              <a:avLst/>
              <a:gdLst/>
              <a:ahLst/>
              <a:cxnLst/>
              <a:rect l="l" t="t" r="r" b="b"/>
              <a:pathLst>
                <a:path w="304412" h="342900" extrusionOk="0">
                  <a:moveTo>
                    <a:pt x="93584" y="23864"/>
                  </a:moveTo>
                  <a:lnTo>
                    <a:pt x="93584" y="25510"/>
                  </a:lnTo>
                  <a:lnTo>
                    <a:pt x="93584" y="23864"/>
                  </a:lnTo>
                  <a:lnTo>
                    <a:pt x="93584" y="23864"/>
                  </a:lnTo>
                  <a:close/>
                  <a:moveTo>
                    <a:pt x="125622" y="10698"/>
                  </a:moveTo>
                  <a:lnTo>
                    <a:pt x="134054" y="23864"/>
                  </a:lnTo>
                  <a:lnTo>
                    <a:pt x="140799" y="23864"/>
                  </a:lnTo>
                  <a:lnTo>
                    <a:pt x="144171" y="32094"/>
                  </a:lnTo>
                  <a:lnTo>
                    <a:pt x="161033" y="22219"/>
                  </a:lnTo>
                  <a:lnTo>
                    <a:pt x="169464" y="20573"/>
                  </a:lnTo>
                  <a:lnTo>
                    <a:pt x="174523" y="27156"/>
                  </a:lnTo>
                  <a:lnTo>
                    <a:pt x="204875" y="13989"/>
                  </a:lnTo>
                  <a:lnTo>
                    <a:pt x="206561" y="18927"/>
                  </a:lnTo>
                  <a:lnTo>
                    <a:pt x="213306" y="15635"/>
                  </a:lnTo>
                  <a:lnTo>
                    <a:pt x="214992" y="27156"/>
                  </a:lnTo>
                  <a:lnTo>
                    <a:pt x="218365" y="27156"/>
                  </a:lnTo>
                  <a:lnTo>
                    <a:pt x="220051" y="41969"/>
                  </a:lnTo>
                  <a:lnTo>
                    <a:pt x="285814" y="117679"/>
                  </a:lnTo>
                  <a:lnTo>
                    <a:pt x="295931" y="112741"/>
                  </a:lnTo>
                  <a:lnTo>
                    <a:pt x="302676" y="120971"/>
                  </a:lnTo>
                  <a:lnTo>
                    <a:pt x="285814" y="137429"/>
                  </a:lnTo>
                  <a:lnTo>
                    <a:pt x="311107" y="175284"/>
                  </a:lnTo>
                  <a:lnTo>
                    <a:pt x="304362" y="183513"/>
                  </a:lnTo>
                  <a:lnTo>
                    <a:pt x="302676" y="190097"/>
                  </a:lnTo>
                  <a:lnTo>
                    <a:pt x="289186" y="213139"/>
                  </a:lnTo>
                  <a:lnTo>
                    <a:pt x="265579" y="241118"/>
                  </a:lnTo>
                  <a:lnTo>
                    <a:pt x="250403" y="250994"/>
                  </a:lnTo>
                  <a:lnTo>
                    <a:pt x="258834" y="293786"/>
                  </a:lnTo>
                  <a:lnTo>
                    <a:pt x="268951" y="308599"/>
                  </a:lnTo>
                  <a:lnTo>
                    <a:pt x="262207" y="321766"/>
                  </a:lnTo>
                  <a:lnTo>
                    <a:pt x="267265" y="336579"/>
                  </a:lnTo>
                  <a:lnTo>
                    <a:pt x="253776" y="341516"/>
                  </a:lnTo>
                  <a:lnTo>
                    <a:pt x="235227" y="331641"/>
                  </a:lnTo>
                  <a:lnTo>
                    <a:pt x="221737" y="328349"/>
                  </a:lnTo>
                  <a:lnTo>
                    <a:pt x="204875" y="333287"/>
                  </a:lnTo>
                  <a:lnTo>
                    <a:pt x="184640" y="334933"/>
                  </a:lnTo>
                  <a:lnTo>
                    <a:pt x="157661" y="333287"/>
                  </a:lnTo>
                  <a:lnTo>
                    <a:pt x="115505" y="334933"/>
                  </a:lnTo>
                  <a:lnTo>
                    <a:pt x="112133" y="338224"/>
                  </a:lnTo>
                  <a:lnTo>
                    <a:pt x="108760" y="329995"/>
                  </a:lnTo>
                  <a:lnTo>
                    <a:pt x="122250" y="316828"/>
                  </a:lnTo>
                  <a:lnTo>
                    <a:pt x="120564" y="306953"/>
                  </a:lnTo>
                  <a:lnTo>
                    <a:pt x="105388" y="290494"/>
                  </a:lnTo>
                  <a:lnTo>
                    <a:pt x="103701" y="267452"/>
                  </a:lnTo>
                  <a:lnTo>
                    <a:pt x="110446" y="244410"/>
                  </a:lnTo>
                  <a:lnTo>
                    <a:pt x="113819" y="221368"/>
                  </a:lnTo>
                  <a:lnTo>
                    <a:pt x="46370" y="193389"/>
                  </a:lnTo>
                  <a:lnTo>
                    <a:pt x="56487" y="185159"/>
                  </a:lnTo>
                  <a:lnTo>
                    <a:pt x="56487" y="173638"/>
                  </a:lnTo>
                  <a:lnTo>
                    <a:pt x="53115" y="168700"/>
                  </a:lnTo>
                  <a:lnTo>
                    <a:pt x="46370" y="167055"/>
                  </a:lnTo>
                  <a:lnTo>
                    <a:pt x="44684" y="165409"/>
                  </a:lnTo>
                  <a:lnTo>
                    <a:pt x="42997" y="150596"/>
                  </a:lnTo>
                  <a:lnTo>
                    <a:pt x="34566" y="134137"/>
                  </a:lnTo>
                  <a:lnTo>
                    <a:pt x="34566" y="125908"/>
                  </a:lnTo>
                  <a:lnTo>
                    <a:pt x="37939" y="122616"/>
                  </a:lnTo>
                  <a:lnTo>
                    <a:pt x="32880" y="116033"/>
                  </a:lnTo>
                  <a:lnTo>
                    <a:pt x="29508" y="116033"/>
                  </a:lnTo>
                  <a:lnTo>
                    <a:pt x="27821" y="112741"/>
                  </a:lnTo>
                  <a:lnTo>
                    <a:pt x="5901" y="79824"/>
                  </a:lnTo>
                  <a:lnTo>
                    <a:pt x="4214" y="71595"/>
                  </a:lnTo>
                  <a:lnTo>
                    <a:pt x="21076" y="73240"/>
                  </a:lnTo>
                  <a:lnTo>
                    <a:pt x="29508" y="68303"/>
                  </a:lnTo>
                  <a:lnTo>
                    <a:pt x="27821" y="65011"/>
                  </a:lnTo>
                  <a:lnTo>
                    <a:pt x="36253" y="66657"/>
                  </a:lnTo>
                  <a:lnTo>
                    <a:pt x="39625" y="63365"/>
                  </a:lnTo>
                  <a:lnTo>
                    <a:pt x="37939" y="61719"/>
                  </a:lnTo>
                  <a:lnTo>
                    <a:pt x="41311" y="61719"/>
                  </a:lnTo>
                  <a:lnTo>
                    <a:pt x="41311" y="58427"/>
                  </a:lnTo>
                  <a:lnTo>
                    <a:pt x="42997" y="58427"/>
                  </a:lnTo>
                  <a:lnTo>
                    <a:pt x="42997" y="56782"/>
                  </a:lnTo>
                  <a:lnTo>
                    <a:pt x="46370" y="58427"/>
                  </a:lnTo>
                  <a:lnTo>
                    <a:pt x="48056" y="53490"/>
                  </a:lnTo>
                  <a:lnTo>
                    <a:pt x="49742" y="53490"/>
                  </a:lnTo>
                  <a:lnTo>
                    <a:pt x="54801" y="50198"/>
                  </a:lnTo>
                  <a:lnTo>
                    <a:pt x="64918" y="48552"/>
                  </a:lnTo>
                  <a:lnTo>
                    <a:pt x="78408" y="37031"/>
                  </a:lnTo>
                  <a:lnTo>
                    <a:pt x="81781" y="32094"/>
                  </a:lnTo>
                  <a:lnTo>
                    <a:pt x="85153" y="33740"/>
                  </a:lnTo>
                  <a:lnTo>
                    <a:pt x="91898" y="25510"/>
                  </a:lnTo>
                  <a:lnTo>
                    <a:pt x="93584" y="27156"/>
                  </a:lnTo>
                  <a:lnTo>
                    <a:pt x="91898" y="28802"/>
                  </a:lnTo>
                  <a:lnTo>
                    <a:pt x="95270" y="28802"/>
                  </a:lnTo>
                  <a:lnTo>
                    <a:pt x="93584" y="25510"/>
                  </a:lnTo>
                  <a:lnTo>
                    <a:pt x="96957" y="27156"/>
                  </a:lnTo>
                  <a:lnTo>
                    <a:pt x="108760" y="13989"/>
                  </a:lnTo>
                  <a:lnTo>
                    <a:pt x="120564" y="9052"/>
                  </a:lnTo>
                  <a:lnTo>
                    <a:pt x="122250" y="4114"/>
                  </a:lnTo>
                  <a:lnTo>
                    <a:pt x="125622" y="1069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79" name="Voerendaal">
              <a:extLst>
                <a:ext uri="{FF2B5EF4-FFF2-40B4-BE49-F238E27FC236}">
                  <a16:creationId xmlns:a16="http://schemas.microsoft.com/office/drawing/2014/main" id="{663027BF-13FA-48A8-8433-82124DCCDECE}"/>
                </a:ext>
              </a:extLst>
            </p:cNvPr>
            <p:cNvSpPr/>
            <p:nvPr/>
          </p:nvSpPr>
          <p:spPr>
            <a:xfrm>
              <a:off x="6742866" y="5473621"/>
              <a:ext cx="114208" cy="102474"/>
            </a:xfrm>
            <a:custGeom>
              <a:avLst/>
              <a:gdLst/>
              <a:ahLst/>
              <a:cxnLst/>
              <a:rect l="l" t="t" r="r" b="b"/>
              <a:pathLst>
                <a:path w="175622" h="160020" extrusionOk="0">
                  <a:moveTo>
                    <a:pt x="100329" y="4114"/>
                  </a:moveTo>
                  <a:lnTo>
                    <a:pt x="103701" y="12343"/>
                  </a:lnTo>
                  <a:lnTo>
                    <a:pt x="166092" y="96282"/>
                  </a:lnTo>
                  <a:lnTo>
                    <a:pt x="172836" y="112741"/>
                  </a:lnTo>
                  <a:lnTo>
                    <a:pt x="167778" y="119324"/>
                  </a:lnTo>
                  <a:lnTo>
                    <a:pt x="167778" y="124262"/>
                  </a:lnTo>
                  <a:lnTo>
                    <a:pt x="161033" y="127554"/>
                  </a:lnTo>
                  <a:lnTo>
                    <a:pt x="159347" y="124262"/>
                  </a:lnTo>
                  <a:lnTo>
                    <a:pt x="149230" y="130845"/>
                  </a:lnTo>
                  <a:lnTo>
                    <a:pt x="147543" y="140721"/>
                  </a:lnTo>
                  <a:lnTo>
                    <a:pt x="150916" y="145658"/>
                  </a:lnTo>
                  <a:lnTo>
                    <a:pt x="144171" y="150596"/>
                  </a:lnTo>
                  <a:lnTo>
                    <a:pt x="137426" y="148950"/>
                  </a:lnTo>
                  <a:lnTo>
                    <a:pt x="120564" y="160471"/>
                  </a:lnTo>
                  <a:lnTo>
                    <a:pt x="110446" y="160471"/>
                  </a:lnTo>
                  <a:lnTo>
                    <a:pt x="103701" y="139074"/>
                  </a:lnTo>
                  <a:lnTo>
                    <a:pt x="90211" y="140721"/>
                  </a:lnTo>
                  <a:lnTo>
                    <a:pt x="69977" y="147304"/>
                  </a:lnTo>
                  <a:lnTo>
                    <a:pt x="61546" y="153887"/>
                  </a:lnTo>
                  <a:lnTo>
                    <a:pt x="49742" y="155533"/>
                  </a:lnTo>
                  <a:lnTo>
                    <a:pt x="39625" y="135783"/>
                  </a:lnTo>
                  <a:lnTo>
                    <a:pt x="26135" y="124262"/>
                  </a:lnTo>
                  <a:lnTo>
                    <a:pt x="27821" y="120970"/>
                  </a:lnTo>
                  <a:lnTo>
                    <a:pt x="16018" y="120970"/>
                  </a:lnTo>
                  <a:lnTo>
                    <a:pt x="19390" y="106157"/>
                  </a:lnTo>
                  <a:lnTo>
                    <a:pt x="22763" y="102866"/>
                  </a:lnTo>
                  <a:lnTo>
                    <a:pt x="19390" y="94637"/>
                  </a:lnTo>
                  <a:lnTo>
                    <a:pt x="16018" y="92990"/>
                  </a:lnTo>
                  <a:lnTo>
                    <a:pt x="17704" y="88053"/>
                  </a:lnTo>
                  <a:lnTo>
                    <a:pt x="16018" y="84761"/>
                  </a:lnTo>
                  <a:lnTo>
                    <a:pt x="17704" y="81470"/>
                  </a:lnTo>
                  <a:lnTo>
                    <a:pt x="7586" y="73240"/>
                  </a:lnTo>
                  <a:lnTo>
                    <a:pt x="4214" y="60073"/>
                  </a:lnTo>
                  <a:lnTo>
                    <a:pt x="19390" y="56782"/>
                  </a:lnTo>
                  <a:lnTo>
                    <a:pt x="32880" y="58427"/>
                  </a:lnTo>
                  <a:lnTo>
                    <a:pt x="41311" y="55135"/>
                  </a:lnTo>
                  <a:lnTo>
                    <a:pt x="42997" y="55135"/>
                  </a:lnTo>
                  <a:lnTo>
                    <a:pt x="48056" y="51844"/>
                  </a:lnTo>
                  <a:lnTo>
                    <a:pt x="54801" y="51844"/>
                  </a:lnTo>
                  <a:lnTo>
                    <a:pt x="48056" y="45260"/>
                  </a:lnTo>
                  <a:lnTo>
                    <a:pt x="68291" y="30448"/>
                  </a:lnTo>
                  <a:lnTo>
                    <a:pt x="64918" y="27156"/>
                  </a:lnTo>
                  <a:lnTo>
                    <a:pt x="86839" y="12343"/>
                  </a:lnTo>
                  <a:lnTo>
                    <a:pt x="83467" y="10698"/>
                  </a:lnTo>
                  <a:lnTo>
                    <a:pt x="88525" y="5760"/>
                  </a:lnTo>
                  <a:lnTo>
                    <a:pt x="95270" y="9051"/>
                  </a:lnTo>
                  <a:lnTo>
                    <a:pt x="100329" y="4114"/>
                  </a:lnTo>
                  <a:close/>
                </a:path>
              </a:pathLst>
            </a:custGeom>
            <a:solidFill>
              <a:srgbClr val="FFBD42"/>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0" name="Heerlen">
              <a:extLst>
                <a:ext uri="{FF2B5EF4-FFF2-40B4-BE49-F238E27FC236}">
                  <a16:creationId xmlns:a16="http://schemas.microsoft.com/office/drawing/2014/main" id="{89424DEA-4437-4CA8-BB1D-D08E563A75E7}"/>
                </a:ext>
              </a:extLst>
            </p:cNvPr>
            <p:cNvSpPr/>
            <p:nvPr/>
          </p:nvSpPr>
          <p:spPr>
            <a:xfrm>
              <a:off x="6770940" y="5433065"/>
              <a:ext cx="151527" cy="183738"/>
            </a:xfrm>
            <a:custGeom>
              <a:avLst/>
              <a:gdLst/>
              <a:ahLst/>
              <a:cxnLst/>
              <a:rect l="l" t="t" r="r" b="b"/>
              <a:pathLst>
                <a:path w="210747" h="285750" extrusionOk="0">
                  <a:moveTo>
                    <a:pt x="71663" y="23864"/>
                  </a:moveTo>
                  <a:lnTo>
                    <a:pt x="78408" y="25510"/>
                  </a:lnTo>
                  <a:lnTo>
                    <a:pt x="95270" y="10698"/>
                  </a:lnTo>
                  <a:lnTo>
                    <a:pt x="105388" y="9051"/>
                  </a:lnTo>
                  <a:lnTo>
                    <a:pt x="110446" y="10698"/>
                  </a:lnTo>
                  <a:lnTo>
                    <a:pt x="127309" y="22218"/>
                  </a:lnTo>
                  <a:lnTo>
                    <a:pt x="186326" y="27156"/>
                  </a:lnTo>
                  <a:lnTo>
                    <a:pt x="176209" y="45260"/>
                  </a:lnTo>
                  <a:lnTo>
                    <a:pt x="155974" y="66657"/>
                  </a:lnTo>
                  <a:lnTo>
                    <a:pt x="152602" y="76532"/>
                  </a:lnTo>
                  <a:lnTo>
                    <a:pt x="155974" y="76532"/>
                  </a:lnTo>
                  <a:lnTo>
                    <a:pt x="154288" y="79824"/>
                  </a:lnTo>
                  <a:lnTo>
                    <a:pt x="159347" y="83115"/>
                  </a:lnTo>
                  <a:lnTo>
                    <a:pt x="159347" y="101220"/>
                  </a:lnTo>
                  <a:lnTo>
                    <a:pt x="162719" y="109449"/>
                  </a:lnTo>
                  <a:lnTo>
                    <a:pt x="166092" y="107803"/>
                  </a:lnTo>
                  <a:lnTo>
                    <a:pt x="164405" y="111095"/>
                  </a:lnTo>
                  <a:lnTo>
                    <a:pt x="181268" y="125908"/>
                  </a:lnTo>
                  <a:lnTo>
                    <a:pt x="182954" y="145658"/>
                  </a:lnTo>
                  <a:lnTo>
                    <a:pt x="191385" y="155534"/>
                  </a:lnTo>
                  <a:lnTo>
                    <a:pt x="193071" y="162116"/>
                  </a:lnTo>
                  <a:lnTo>
                    <a:pt x="199816" y="167054"/>
                  </a:lnTo>
                  <a:lnTo>
                    <a:pt x="184640" y="178576"/>
                  </a:lnTo>
                  <a:lnTo>
                    <a:pt x="179582" y="185159"/>
                  </a:lnTo>
                  <a:lnTo>
                    <a:pt x="181268" y="188451"/>
                  </a:lnTo>
                  <a:lnTo>
                    <a:pt x="169464" y="193389"/>
                  </a:lnTo>
                  <a:lnTo>
                    <a:pt x="188013" y="221368"/>
                  </a:lnTo>
                  <a:lnTo>
                    <a:pt x="193071" y="226306"/>
                  </a:lnTo>
                  <a:lnTo>
                    <a:pt x="196444" y="226306"/>
                  </a:lnTo>
                  <a:lnTo>
                    <a:pt x="193071" y="239473"/>
                  </a:lnTo>
                  <a:lnTo>
                    <a:pt x="198130" y="242764"/>
                  </a:lnTo>
                  <a:lnTo>
                    <a:pt x="194757" y="250993"/>
                  </a:lnTo>
                  <a:lnTo>
                    <a:pt x="198130" y="260868"/>
                  </a:lnTo>
                  <a:lnTo>
                    <a:pt x="208247" y="265806"/>
                  </a:lnTo>
                  <a:lnTo>
                    <a:pt x="204875" y="267452"/>
                  </a:lnTo>
                  <a:lnTo>
                    <a:pt x="209934" y="283910"/>
                  </a:lnTo>
                  <a:lnTo>
                    <a:pt x="206561" y="287203"/>
                  </a:lnTo>
                  <a:lnTo>
                    <a:pt x="203189" y="283910"/>
                  </a:lnTo>
                  <a:lnTo>
                    <a:pt x="201502" y="283910"/>
                  </a:lnTo>
                  <a:lnTo>
                    <a:pt x="196444" y="280619"/>
                  </a:lnTo>
                  <a:lnTo>
                    <a:pt x="193071" y="275681"/>
                  </a:lnTo>
                  <a:lnTo>
                    <a:pt x="196444" y="270744"/>
                  </a:lnTo>
                  <a:lnTo>
                    <a:pt x="188013" y="259223"/>
                  </a:lnTo>
                  <a:lnTo>
                    <a:pt x="172836" y="255931"/>
                  </a:lnTo>
                  <a:lnTo>
                    <a:pt x="177895" y="247702"/>
                  </a:lnTo>
                  <a:lnTo>
                    <a:pt x="174523" y="241118"/>
                  </a:lnTo>
                  <a:lnTo>
                    <a:pt x="164405" y="232889"/>
                  </a:lnTo>
                  <a:lnTo>
                    <a:pt x="150916" y="226306"/>
                  </a:lnTo>
                  <a:lnTo>
                    <a:pt x="132367" y="211493"/>
                  </a:lnTo>
                  <a:lnTo>
                    <a:pt x="113819" y="173638"/>
                  </a:lnTo>
                  <a:lnTo>
                    <a:pt x="51428" y="88053"/>
                  </a:lnTo>
                  <a:lnTo>
                    <a:pt x="49742" y="83115"/>
                  </a:lnTo>
                  <a:lnTo>
                    <a:pt x="44684" y="78178"/>
                  </a:lnTo>
                  <a:lnTo>
                    <a:pt x="48056" y="78178"/>
                  </a:lnTo>
                  <a:lnTo>
                    <a:pt x="36252" y="68302"/>
                  </a:lnTo>
                  <a:lnTo>
                    <a:pt x="17704" y="60073"/>
                  </a:lnTo>
                  <a:lnTo>
                    <a:pt x="22763" y="55136"/>
                  </a:lnTo>
                  <a:lnTo>
                    <a:pt x="17704" y="50198"/>
                  </a:lnTo>
                  <a:lnTo>
                    <a:pt x="9273" y="51844"/>
                  </a:lnTo>
                  <a:lnTo>
                    <a:pt x="4214" y="45260"/>
                  </a:lnTo>
                  <a:lnTo>
                    <a:pt x="7586" y="35385"/>
                  </a:lnTo>
                  <a:lnTo>
                    <a:pt x="10959" y="37031"/>
                  </a:lnTo>
                  <a:lnTo>
                    <a:pt x="12645" y="32093"/>
                  </a:lnTo>
                  <a:lnTo>
                    <a:pt x="19390" y="25510"/>
                  </a:lnTo>
                  <a:lnTo>
                    <a:pt x="26135" y="27156"/>
                  </a:lnTo>
                  <a:lnTo>
                    <a:pt x="31194" y="25510"/>
                  </a:lnTo>
                  <a:lnTo>
                    <a:pt x="41311" y="15635"/>
                  </a:lnTo>
                  <a:lnTo>
                    <a:pt x="39625" y="12343"/>
                  </a:lnTo>
                  <a:lnTo>
                    <a:pt x="54801" y="4114"/>
                  </a:lnTo>
                  <a:lnTo>
                    <a:pt x="58173" y="10698"/>
                  </a:lnTo>
                  <a:lnTo>
                    <a:pt x="71663" y="2386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1" name="Buren">
              <a:extLst>
                <a:ext uri="{FF2B5EF4-FFF2-40B4-BE49-F238E27FC236}">
                  <a16:creationId xmlns:a16="http://schemas.microsoft.com/office/drawing/2014/main" id="{04066194-4A84-4DB1-901E-D6B6F18FBD1C}"/>
                </a:ext>
              </a:extLst>
            </p:cNvPr>
            <p:cNvSpPr/>
            <p:nvPr/>
          </p:nvSpPr>
          <p:spPr>
            <a:xfrm>
              <a:off x="6082695" y="3707090"/>
              <a:ext cx="365482" cy="185702"/>
            </a:xfrm>
            <a:custGeom>
              <a:avLst/>
              <a:gdLst/>
              <a:ahLst/>
              <a:cxnLst/>
              <a:rect l="l" t="t" r="r" b="b"/>
              <a:pathLst>
                <a:path w="526867" h="274320" extrusionOk="0">
                  <a:moveTo>
                    <a:pt x="348204" y="10697"/>
                  </a:moveTo>
                  <a:lnTo>
                    <a:pt x="376870" y="9052"/>
                  </a:lnTo>
                  <a:lnTo>
                    <a:pt x="417339" y="35385"/>
                  </a:lnTo>
                  <a:lnTo>
                    <a:pt x="457809" y="48552"/>
                  </a:lnTo>
                  <a:lnTo>
                    <a:pt x="474671" y="68302"/>
                  </a:lnTo>
                  <a:lnTo>
                    <a:pt x="486475" y="78178"/>
                  </a:lnTo>
                  <a:lnTo>
                    <a:pt x="530316" y="89699"/>
                  </a:lnTo>
                  <a:lnTo>
                    <a:pt x="526944" y="97928"/>
                  </a:lnTo>
                  <a:lnTo>
                    <a:pt x="508395" y="111095"/>
                  </a:lnTo>
                  <a:lnTo>
                    <a:pt x="499964" y="111095"/>
                  </a:lnTo>
                  <a:lnTo>
                    <a:pt x="491533" y="106157"/>
                  </a:lnTo>
                  <a:lnTo>
                    <a:pt x="472985" y="109449"/>
                  </a:lnTo>
                  <a:lnTo>
                    <a:pt x="459495" y="106157"/>
                  </a:lnTo>
                  <a:lnTo>
                    <a:pt x="449378" y="107803"/>
                  </a:lnTo>
                  <a:lnTo>
                    <a:pt x="459495" y="122616"/>
                  </a:lnTo>
                  <a:lnTo>
                    <a:pt x="472985" y="129199"/>
                  </a:lnTo>
                  <a:lnTo>
                    <a:pt x="481416" y="129199"/>
                  </a:lnTo>
                  <a:lnTo>
                    <a:pt x="481416" y="157179"/>
                  </a:lnTo>
                  <a:lnTo>
                    <a:pt x="484788" y="165409"/>
                  </a:lnTo>
                  <a:lnTo>
                    <a:pt x="478043" y="168700"/>
                  </a:lnTo>
                  <a:lnTo>
                    <a:pt x="471299" y="158825"/>
                  </a:lnTo>
                  <a:lnTo>
                    <a:pt x="417339" y="160471"/>
                  </a:lnTo>
                  <a:lnTo>
                    <a:pt x="405536" y="153888"/>
                  </a:lnTo>
                  <a:lnTo>
                    <a:pt x="400477" y="157179"/>
                  </a:lnTo>
                  <a:lnTo>
                    <a:pt x="395418" y="155533"/>
                  </a:lnTo>
                  <a:lnTo>
                    <a:pt x="388674" y="167054"/>
                  </a:lnTo>
                  <a:lnTo>
                    <a:pt x="381929" y="168700"/>
                  </a:lnTo>
                  <a:lnTo>
                    <a:pt x="376870" y="167054"/>
                  </a:lnTo>
                  <a:lnTo>
                    <a:pt x="378556" y="160471"/>
                  </a:lnTo>
                  <a:lnTo>
                    <a:pt x="381929" y="162117"/>
                  </a:lnTo>
                  <a:lnTo>
                    <a:pt x="380243" y="157179"/>
                  </a:lnTo>
                  <a:lnTo>
                    <a:pt x="385301" y="153888"/>
                  </a:lnTo>
                  <a:lnTo>
                    <a:pt x="383615" y="152242"/>
                  </a:lnTo>
                  <a:lnTo>
                    <a:pt x="378556" y="153888"/>
                  </a:lnTo>
                  <a:lnTo>
                    <a:pt x="380243" y="157179"/>
                  </a:lnTo>
                  <a:lnTo>
                    <a:pt x="368439" y="157179"/>
                  </a:lnTo>
                  <a:lnTo>
                    <a:pt x="361694" y="162117"/>
                  </a:lnTo>
                  <a:lnTo>
                    <a:pt x="348204" y="155533"/>
                  </a:lnTo>
                  <a:lnTo>
                    <a:pt x="336401" y="153888"/>
                  </a:lnTo>
                  <a:lnTo>
                    <a:pt x="334714" y="157179"/>
                  </a:lnTo>
                  <a:lnTo>
                    <a:pt x="327970" y="157179"/>
                  </a:lnTo>
                  <a:lnTo>
                    <a:pt x="317852" y="162117"/>
                  </a:lnTo>
                  <a:lnTo>
                    <a:pt x="312793" y="160471"/>
                  </a:lnTo>
                  <a:lnTo>
                    <a:pt x="299304" y="162117"/>
                  </a:lnTo>
                  <a:lnTo>
                    <a:pt x="294245" y="167054"/>
                  </a:lnTo>
                  <a:lnTo>
                    <a:pt x="285814" y="167054"/>
                  </a:lnTo>
                  <a:lnTo>
                    <a:pt x="280755" y="170346"/>
                  </a:lnTo>
                  <a:lnTo>
                    <a:pt x="274010" y="180221"/>
                  </a:lnTo>
                  <a:lnTo>
                    <a:pt x="262207" y="183513"/>
                  </a:lnTo>
                  <a:lnTo>
                    <a:pt x="260520" y="193388"/>
                  </a:lnTo>
                  <a:lnTo>
                    <a:pt x="252089" y="199972"/>
                  </a:lnTo>
                  <a:lnTo>
                    <a:pt x="243658" y="216430"/>
                  </a:lnTo>
                  <a:lnTo>
                    <a:pt x="233541" y="219722"/>
                  </a:lnTo>
                  <a:lnTo>
                    <a:pt x="174523" y="265806"/>
                  </a:lnTo>
                  <a:lnTo>
                    <a:pt x="167778" y="267452"/>
                  </a:lnTo>
                  <a:lnTo>
                    <a:pt x="161033" y="265806"/>
                  </a:lnTo>
                  <a:lnTo>
                    <a:pt x="155974" y="275681"/>
                  </a:lnTo>
                  <a:lnTo>
                    <a:pt x="150916" y="274035"/>
                  </a:lnTo>
                  <a:lnTo>
                    <a:pt x="152602" y="265806"/>
                  </a:lnTo>
                  <a:lnTo>
                    <a:pt x="145857" y="255931"/>
                  </a:lnTo>
                  <a:lnTo>
                    <a:pt x="134054" y="254285"/>
                  </a:lnTo>
                  <a:lnTo>
                    <a:pt x="118878" y="259223"/>
                  </a:lnTo>
                  <a:lnTo>
                    <a:pt x="115505" y="259223"/>
                  </a:lnTo>
                  <a:lnTo>
                    <a:pt x="117191" y="252639"/>
                  </a:lnTo>
                  <a:lnTo>
                    <a:pt x="127309" y="244410"/>
                  </a:lnTo>
                  <a:lnTo>
                    <a:pt x="127309" y="237826"/>
                  </a:lnTo>
                  <a:lnTo>
                    <a:pt x="112133" y="223014"/>
                  </a:lnTo>
                  <a:lnTo>
                    <a:pt x="102015" y="221368"/>
                  </a:lnTo>
                  <a:lnTo>
                    <a:pt x="88526" y="208201"/>
                  </a:lnTo>
                  <a:lnTo>
                    <a:pt x="85153" y="211493"/>
                  </a:lnTo>
                  <a:lnTo>
                    <a:pt x="51429" y="163763"/>
                  </a:lnTo>
                  <a:lnTo>
                    <a:pt x="69977" y="157179"/>
                  </a:lnTo>
                  <a:lnTo>
                    <a:pt x="71663" y="144012"/>
                  </a:lnTo>
                  <a:lnTo>
                    <a:pt x="69977" y="137429"/>
                  </a:lnTo>
                  <a:lnTo>
                    <a:pt x="63232" y="132491"/>
                  </a:lnTo>
                  <a:lnTo>
                    <a:pt x="42997" y="132491"/>
                  </a:lnTo>
                  <a:lnTo>
                    <a:pt x="24449" y="125908"/>
                  </a:lnTo>
                  <a:lnTo>
                    <a:pt x="4214" y="101220"/>
                  </a:lnTo>
                  <a:lnTo>
                    <a:pt x="31194" y="86407"/>
                  </a:lnTo>
                  <a:lnTo>
                    <a:pt x="24449" y="81470"/>
                  </a:lnTo>
                  <a:lnTo>
                    <a:pt x="46370" y="53490"/>
                  </a:lnTo>
                  <a:lnTo>
                    <a:pt x="66605" y="60073"/>
                  </a:lnTo>
                  <a:lnTo>
                    <a:pt x="93584" y="63365"/>
                  </a:lnTo>
                  <a:lnTo>
                    <a:pt x="115505" y="78178"/>
                  </a:lnTo>
                  <a:lnTo>
                    <a:pt x="125622" y="79823"/>
                  </a:lnTo>
                  <a:lnTo>
                    <a:pt x="145857" y="71594"/>
                  </a:lnTo>
                  <a:lnTo>
                    <a:pt x="164406" y="50198"/>
                  </a:lnTo>
                  <a:lnTo>
                    <a:pt x="177895" y="41969"/>
                  </a:lnTo>
                  <a:lnTo>
                    <a:pt x="189699" y="40323"/>
                  </a:lnTo>
                  <a:lnTo>
                    <a:pt x="214992" y="45260"/>
                  </a:lnTo>
                  <a:lnTo>
                    <a:pt x="225110" y="43615"/>
                  </a:lnTo>
                  <a:lnTo>
                    <a:pt x="272324" y="27156"/>
                  </a:lnTo>
                  <a:lnTo>
                    <a:pt x="294245" y="9052"/>
                  </a:lnTo>
                  <a:lnTo>
                    <a:pt x="306049" y="4114"/>
                  </a:lnTo>
                  <a:lnTo>
                    <a:pt x="316166" y="5760"/>
                  </a:lnTo>
                  <a:lnTo>
                    <a:pt x="327970" y="10697"/>
                  </a:lnTo>
                  <a:lnTo>
                    <a:pt x="348204" y="10697"/>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2" name="Beekdaelen">
              <a:extLst>
                <a:ext uri="{FF2B5EF4-FFF2-40B4-BE49-F238E27FC236}">
                  <a16:creationId xmlns:a16="http://schemas.microsoft.com/office/drawing/2014/main" id="{5BF7917C-07AE-4D52-8740-E92FFC7ABF08}"/>
                </a:ext>
              </a:extLst>
            </p:cNvPr>
            <p:cNvSpPr/>
            <p:nvPr/>
          </p:nvSpPr>
          <p:spPr>
            <a:xfrm>
              <a:off x="6681570" y="5339709"/>
              <a:ext cx="233476" cy="176261"/>
            </a:xfrm>
            <a:custGeom>
              <a:avLst/>
              <a:gdLst>
                <a:gd name="connsiteX0" fmla="*/ 123441 w 245730"/>
                <a:gd name="connsiteY0" fmla="*/ 87830 h 177915"/>
                <a:gd name="connsiteX1" fmla="*/ 105409 w 245730"/>
                <a:gd name="connsiteY1" fmla="*/ 94315 h 177915"/>
                <a:gd name="connsiteX2" fmla="*/ 105410 w 245730"/>
                <a:gd name="connsiteY2" fmla="*/ 94316 h 177915"/>
                <a:gd name="connsiteX3" fmla="*/ 123442 w 245730"/>
                <a:gd name="connsiteY3" fmla="*/ 87832 h 177915"/>
                <a:gd name="connsiteX4" fmla="*/ 126904 w 245730"/>
                <a:gd name="connsiteY4" fmla="*/ 90084 h 177915"/>
                <a:gd name="connsiteX5" fmla="*/ 127792 w 245730"/>
                <a:gd name="connsiteY5" fmla="*/ 89651 h 177915"/>
                <a:gd name="connsiteX6" fmla="*/ 135156 w 245730"/>
                <a:gd name="connsiteY6" fmla="*/ 19697 h 177915"/>
                <a:gd name="connsiteX7" fmla="*/ 136131 w 245730"/>
                <a:gd name="connsiteY7" fmla="*/ 20268 h 177915"/>
                <a:gd name="connsiteX8" fmla="*/ 125749 w 245730"/>
                <a:gd name="connsiteY8" fmla="*/ 25898 h 177915"/>
                <a:gd name="connsiteX9" fmla="*/ 124594 w 245730"/>
                <a:gd name="connsiteY9" fmla="*/ 28151 h 177915"/>
                <a:gd name="connsiteX10" fmla="*/ 125735 w 245730"/>
                <a:gd name="connsiteY10" fmla="*/ 28707 h 177915"/>
                <a:gd name="connsiteX11" fmla="*/ 124595 w 245730"/>
                <a:gd name="connsiteY11" fmla="*/ 28151 h 177915"/>
                <a:gd name="connsiteX12" fmla="*/ 125749 w 245730"/>
                <a:gd name="connsiteY12" fmla="*/ 25898 h 177915"/>
                <a:gd name="connsiteX13" fmla="*/ 136132 w 245730"/>
                <a:gd name="connsiteY13" fmla="*/ 20268 h 177915"/>
                <a:gd name="connsiteX14" fmla="*/ 168434 w 245730"/>
                <a:gd name="connsiteY14" fmla="*/ 0 h 177915"/>
                <a:gd name="connsiteX15" fmla="*/ 170741 w 245730"/>
                <a:gd name="connsiteY15" fmla="*/ 5630 h 177915"/>
                <a:gd name="connsiteX16" fmla="*/ 181124 w 245730"/>
                <a:gd name="connsiteY16" fmla="*/ 13512 h 177915"/>
                <a:gd name="connsiteX17" fmla="*/ 189200 w 245730"/>
                <a:gd name="connsiteY17" fmla="*/ 12386 h 177915"/>
                <a:gd name="connsiteX18" fmla="*/ 197276 w 245730"/>
                <a:gd name="connsiteY18" fmla="*/ 7882 h 177915"/>
                <a:gd name="connsiteX19" fmla="*/ 199584 w 245730"/>
                <a:gd name="connsiteY19" fmla="*/ 10134 h 177915"/>
                <a:gd name="connsiteX20" fmla="*/ 236501 w 245730"/>
                <a:gd name="connsiteY20" fmla="*/ 6756 h 177915"/>
                <a:gd name="connsiteX21" fmla="*/ 244577 w 245730"/>
                <a:gd name="connsiteY21" fmla="*/ 7882 h 177915"/>
                <a:gd name="connsiteX22" fmla="*/ 245730 w 245730"/>
                <a:gd name="connsiteY22" fmla="*/ 10134 h 177915"/>
                <a:gd name="connsiteX23" fmla="*/ 239962 w 245730"/>
                <a:gd name="connsiteY23" fmla="*/ 28151 h 177915"/>
                <a:gd name="connsiteX24" fmla="*/ 230733 w 245730"/>
                <a:gd name="connsiteY24" fmla="*/ 45041 h 177915"/>
                <a:gd name="connsiteX25" fmla="*/ 223811 w 245730"/>
                <a:gd name="connsiteY25" fmla="*/ 49546 h 177915"/>
                <a:gd name="connsiteX26" fmla="*/ 196122 w 245730"/>
                <a:gd name="connsiteY26" fmla="*/ 45041 h 177915"/>
                <a:gd name="connsiteX27" fmla="*/ 189200 w 245730"/>
                <a:gd name="connsiteY27" fmla="*/ 49546 h 177915"/>
                <a:gd name="connsiteX28" fmla="*/ 189200 w 245730"/>
                <a:gd name="connsiteY28" fmla="*/ 47293 h 177915"/>
                <a:gd name="connsiteX29" fmla="*/ 183432 w 245730"/>
                <a:gd name="connsiteY29" fmla="*/ 45041 h 177915"/>
                <a:gd name="connsiteX30" fmla="*/ 184586 w 245730"/>
                <a:gd name="connsiteY30" fmla="*/ 41663 h 177915"/>
                <a:gd name="connsiteX31" fmla="*/ 179971 w 245730"/>
                <a:gd name="connsiteY31" fmla="*/ 42790 h 177915"/>
                <a:gd name="connsiteX32" fmla="*/ 177664 w 245730"/>
                <a:gd name="connsiteY32" fmla="*/ 48420 h 177915"/>
                <a:gd name="connsiteX33" fmla="*/ 173603 w 245730"/>
                <a:gd name="connsiteY33" fmla="*/ 51987 h 177915"/>
                <a:gd name="connsiteX34" fmla="*/ 173454 w 245730"/>
                <a:gd name="connsiteY34" fmla="*/ 52481 h 177915"/>
                <a:gd name="connsiteX35" fmla="*/ 167714 w 245730"/>
                <a:gd name="connsiteY35" fmla="*/ 63617 h 177915"/>
                <a:gd name="connsiteX36" fmla="*/ 163409 w 245730"/>
                <a:gd name="connsiteY36" fmla="*/ 66587 h 177915"/>
                <a:gd name="connsiteX37" fmla="*/ 154429 w 245730"/>
                <a:gd name="connsiteY37" fmla="*/ 65039 h 177915"/>
                <a:gd name="connsiteX38" fmla="*/ 148821 w 245730"/>
                <a:gd name="connsiteY38" fmla="*/ 68688 h 177915"/>
                <a:gd name="connsiteX39" fmla="*/ 144207 w 245730"/>
                <a:gd name="connsiteY39" fmla="*/ 76570 h 177915"/>
                <a:gd name="connsiteX40" fmla="*/ 147668 w 245730"/>
                <a:gd name="connsiteY40" fmla="*/ 82200 h 177915"/>
                <a:gd name="connsiteX41" fmla="*/ 131517 w 245730"/>
                <a:gd name="connsiteY41" fmla="*/ 91209 h 177915"/>
                <a:gd name="connsiteX42" fmla="*/ 130049 w 245730"/>
                <a:gd name="connsiteY42" fmla="*/ 90595 h 177915"/>
                <a:gd name="connsiteX43" fmla="*/ 131518 w 245730"/>
                <a:gd name="connsiteY43" fmla="*/ 93462 h 177915"/>
                <a:gd name="connsiteX44" fmla="*/ 122289 w 245730"/>
                <a:gd name="connsiteY44" fmla="*/ 101345 h 177915"/>
                <a:gd name="connsiteX45" fmla="*/ 116521 w 245730"/>
                <a:gd name="connsiteY45" fmla="*/ 100219 h 177915"/>
                <a:gd name="connsiteX46" fmla="*/ 111906 w 245730"/>
                <a:gd name="connsiteY46" fmla="*/ 104723 h 177915"/>
                <a:gd name="connsiteX47" fmla="*/ 110752 w 245730"/>
                <a:gd name="connsiteY47" fmla="*/ 108101 h 177915"/>
                <a:gd name="connsiteX48" fmla="*/ 108445 w 245730"/>
                <a:gd name="connsiteY48" fmla="*/ 106975 h 177915"/>
                <a:gd name="connsiteX49" fmla="*/ 106138 w 245730"/>
                <a:gd name="connsiteY49" fmla="*/ 113731 h 177915"/>
                <a:gd name="connsiteX50" fmla="*/ 109598 w 245730"/>
                <a:gd name="connsiteY50" fmla="*/ 118235 h 177915"/>
                <a:gd name="connsiteX51" fmla="*/ 115367 w 245730"/>
                <a:gd name="connsiteY51" fmla="*/ 117109 h 177915"/>
                <a:gd name="connsiteX52" fmla="*/ 118828 w 245730"/>
                <a:gd name="connsiteY52" fmla="*/ 120488 h 177915"/>
                <a:gd name="connsiteX53" fmla="*/ 115367 w 245730"/>
                <a:gd name="connsiteY53" fmla="*/ 123865 h 177915"/>
                <a:gd name="connsiteX54" fmla="*/ 128057 w 245730"/>
                <a:gd name="connsiteY54" fmla="*/ 129495 h 177915"/>
                <a:gd name="connsiteX55" fmla="*/ 136133 w 245730"/>
                <a:gd name="connsiteY55" fmla="*/ 138504 h 177915"/>
                <a:gd name="connsiteX56" fmla="*/ 132672 w 245730"/>
                <a:gd name="connsiteY56" fmla="*/ 140756 h 177915"/>
                <a:gd name="connsiteX57" fmla="*/ 128057 w 245730"/>
                <a:gd name="connsiteY57" fmla="*/ 138504 h 177915"/>
                <a:gd name="connsiteX58" fmla="*/ 124596 w 245730"/>
                <a:gd name="connsiteY58" fmla="*/ 141882 h 177915"/>
                <a:gd name="connsiteX59" fmla="*/ 126904 w 245730"/>
                <a:gd name="connsiteY59" fmla="*/ 143008 h 177915"/>
                <a:gd name="connsiteX60" fmla="*/ 111906 w 245730"/>
                <a:gd name="connsiteY60" fmla="*/ 153142 h 177915"/>
                <a:gd name="connsiteX61" fmla="*/ 114214 w 245730"/>
                <a:gd name="connsiteY61" fmla="*/ 155395 h 177915"/>
                <a:gd name="connsiteX62" fmla="*/ 100369 w 245730"/>
                <a:gd name="connsiteY62" fmla="*/ 165529 h 177915"/>
                <a:gd name="connsiteX63" fmla="*/ 104984 w 245730"/>
                <a:gd name="connsiteY63" fmla="*/ 170033 h 177915"/>
                <a:gd name="connsiteX64" fmla="*/ 100369 w 245730"/>
                <a:gd name="connsiteY64" fmla="*/ 170033 h 177915"/>
                <a:gd name="connsiteX65" fmla="*/ 96908 w 245730"/>
                <a:gd name="connsiteY65" fmla="*/ 172285 h 177915"/>
                <a:gd name="connsiteX66" fmla="*/ 95755 w 245730"/>
                <a:gd name="connsiteY66" fmla="*/ 172285 h 177915"/>
                <a:gd name="connsiteX67" fmla="*/ 89986 w 245730"/>
                <a:gd name="connsiteY67" fmla="*/ 174537 h 177915"/>
                <a:gd name="connsiteX68" fmla="*/ 79603 w 245730"/>
                <a:gd name="connsiteY68" fmla="*/ 173411 h 177915"/>
                <a:gd name="connsiteX69" fmla="*/ 63452 w 245730"/>
                <a:gd name="connsiteY69" fmla="*/ 175664 h 177915"/>
                <a:gd name="connsiteX70" fmla="*/ 58837 w 245730"/>
                <a:gd name="connsiteY70" fmla="*/ 175664 h 177915"/>
                <a:gd name="connsiteX71" fmla="*/ 56530 w 245730"/>
                <a:gd name="connsiteY71" fmla="*/ 173411 h 177915"/>
                <a:gd name="connsiteX72" fmla="*/ 41532 w 245730"/>
                <a:gd name="connsiteY72" fmla="*/ 177915 h 177915"/>
                <a:gd name="connsiteX73" fmla="*/ 41532 w 245730"/>
                <a:gd name="connsiteY73" fmla="*/ 175664 h 177915"/>
                <a:gd name="connsiteX74" fmla="*/ 39225 w 245730"/>
                <a:gd name="connsiteY74" fmla="*/ 174537 h 177915"/>
                <a:gd name="connsiteX75" fmla="*/ 39225 w 245730"/>
                <a:gd name="connsiteY75" fmla="*/ 170033 h 177915"/>
                <a:gd name="connsiteX76" fmla="*/ 42686 w 245730"/>
                <a:gd name="connsiteY76" fmla="*/ 159898 h 177915"/>
                <a:gd name="connsiteX77" fmla="*/ 39225 w 245730"/>
                <a:gd name="connsiteY77" fmla="*/ 158773 h 177915"/>
                <a:gd name="connsiteX78" fmla="*/ 26534 w 245730"/>
                <a:gd name="connsiteY78" fmla="*/ 168907 h 177915"/>
                <a:gd name="connsiteX79" fmla="*/ 24227 w 245730"/>
                <a:gd name="connsiteY79" fmla="*/ 173411 h 177915"/>
                <a:gd name="connsiteX80" fmla="*/ 14998 w 245730"/>
                <a:gd name="connsiteY80" fmla="*/ 166654 h 177915"/>
                <a:gd name="connsiteX81" fmla="*/ 6923 w 245730"/>
                <a:gd name="connsiteY81" fmla="*/ 167781 h 177915"/>
                <a:gd name="connsiteX82" fmla="*/ 3461 w 245730"/>
                <a:gd name="connsiteY82" fmla="*/ 170033 h 177915"/>
                <a:gd name="connsiteX83" fmla="*/ 1154 w 245730"/>
                <a:gd name="connsiteY83" fmla="*/ 163277 h 177915"/>
                <a:gd name="connsiteX84" fmla="*/ 0 w 245730"/>
                <a:gd name="connsiteY84" fmla="*/ 150890 h 177915"/>
                <a:gd name="connsiteX85" fmla="*/ 4615 w 245730"/>
                <a:gd name="connsiteY85" fmla="*/ 149765 h 177915"/>
                <a:gd name="connsiteX86" fmla="*/ 5768 w 245730"/>
                <a:gd name="connsiteY86" fmla="*/ 153142 h 177915"/>
                <a:gd name="connsiteX87" fmla="*/ 8076 w 245730"/>
                <a:gd name="connsiteY87" fmla="*/ 149765 h 177915"/>
                <a:gd name="connsiteX88" fmla="*/ 5768 w 245730"/>
                <a:gd name="connsiteY88" fmla="*/ 145260 h 177915"/>
                <a:gd name="connsiteX89" fmla="*/ 2308 w 245730"/>
                <a:gd name="connsiteY89" fmla="*/ 145260 h 177915"/>
                <a:gd name="connsiteX90" fmla="*/ 5768 w 245730"/>
                <a:gd name="connsiteY90" fmla="*/ 143008 h 177915"/>
                <a:gd name="connsiteX91" fmla="*/ 0 w 245730"/>
                <a:gd name="connsiteY91" fmla="*/ 134000 h 177915"/>
                <a:gd name="connsiteX92" fmla="*/ 4615 w 245730"/>
                <a:gd name="connsiteY92" fmla="*/ 131748 h 177915"/>
                <a:gd name="connsiteX93" fmla="*/ 5768 w 245730"/>
                <a:gd name="connsiteY93" fmla="*/ 122739 h 177915"/>
                <a:gd name="connsiteX94" fmla="*/ 27209 w 245730"/>
                <a:gd name="connsiteY94" fmla="*/ 119639 h 177915"/>
                <a:gd name="connsiteX95" fmla="*/ 27788 w 245730"/>
                <a:gd name="connsiteY95" fmla="*/ 114846 h 177915"/>
                <a:gd name="connsiteX96" fmla="*/ 38632 w 245730"/>
                <a:gd name="connsiteY96" fmla="*/ 113184 h 177915"/>
                <a:gd name="connsiteX97" fmla="*/ 39225 w 245730"/>
                <a:gd name="connsiteY97" fmla="*/ 112605 h 177915"/>
                <a:gd name="connsiteX98" fmla="*/ 40996 w 245730"/>
                <a:gd name="connsiteY98" fmla="*/ 112821 h 177915"/>
                <a:gd name="connsiteX99" fmla="*/ 47163 w 245730"/>
                <a:gd name="connsiteY99" fmla="*/ 111876 h 177915"/>
                <a:gd name="connsiteX100" fmla="*/ 47163 w 245730"/>
                <a:gd name="connsiteY100" fmla="*/ 109649 h 177915"/>
                <a:gd name="connsiteX101" fmla="*/ 48598 w 245730"/>
                <a:gd name="connsiteY101" fmla="*/ 108164 h 177915"/>
                <a:gd name="connsiteX102" fmla="*/ 51415 w 245730"/>
                <a:gd name="connsiteY102" fmla="*/ 108529 h 177915"/>
                <a:gd name="connsiteX103" fmla="*/ 54223 w 245730"/>
                <a:gd name="connsiteY103" fmla="*/ 103597 h 177915"/>
                <a:gd name="connsiteX104" fmla="*/ 55295 w 245730"/>
                <a:gd name="connsiteY104" fmla="*/ 105166 h 177915"/>
                <a:gd name="connsiteX105" fmla="*/ 55883 w 245730"/>
                <a:gd name="connsiteY105" fmla="*/ 106028 h 177915"/>
                <a:gd name="connsiteX106" fmla="*/ 55884 w 245730"/>
                <a:gd name="connsiteY106" fmla="*/ 106028 h 177915"/>
                <a:gd name="connsiteX107" fmla="*/ 55295 w 245730"/>
                <a:gd name="connsiteY107" fmla="*/ 105166 h 177915"/>
                <a:gd name="connsiteX108" fmla="*/ 54223 w 245730"/>
                <a:gd name="connsiteY108" fmla="*/ 103596 h 177915"/>
                <a:gd name="connsiteX109" fmla="*/ 54223 w 245730"/>
                <a:gd name="connsiteY109" fmla="*/ 103597 h 177915"/>
                <a:gd name="connsiteX110" fmla="*/ 54222 w 245730"/>
                <a:gd name="connsiteY110" fmla="*/ 103595 h 177915"/>
                <a:gd name="connsiteX111" fmla="*/ 56529 w 245730"/>
                <a:gd name="connsiteY111" fmla="*/ 101343 h 177915"/>
                <a:gd name="connsiteX112" fmla="*/ 62297 w 245730"/>
                <a:gd name="connsiteY112" fmla="*/ 86704 h 177915"/>
                <a:gd name="connsiteX113" fmla="*/ 63267 w 245730"/>
                <a:gd name="connsiteY113" fmla="*/ 81023 h 177915"/>
                <a:gd name="connsiteX114" fmla="*/ 62231 w 245730"/>
                <a:gd name="connsiteY114" fmla="*/ 79951 h 177915"/>
                <a:gd name="connsiteX115" fmla="*/ 59361 w 245730"/>
                <a:gd name="connsiteY115" fmla="*/ 81436 h 177915"/>
                <a:gd name="connsiteX116" fmla="*/ 57926 w 245730"/>
                <a:gd name="connsiteY116" fmla="*/ 81436 h 177915"/>
                <a:gd name="connsiteX117" fmla="*/ 52902 w 245730"/>
                <a:gd name="connsiteY117" fmla="*/ 75496 h 177915"/>
                <a:gd name="connsiteX118" fmla="*/ 52902 w 245730"/>
                <a:gd name="connsiteY118" fmla="*/ 70594 h 177915"/>
                <a:gd name="connsiteX119" fmla="*/ 46146 w 245730"/>
                <a:gd name="connsiteY119" fmla="*/ 63058 h 177915"/>
                <a:gd name="connsiteX120" fmla="*/ 46146 w 245730"/>
                <a:gd name="connsiteY120" fmla="*/ 51797 h 177915"/>
                <a:gd name="connsiteX121" fmla="*/ 49607 w 245730"/>
                <a:gd name="connsiteY121" fmla="*/ 41663 h 177915"/>
                <a:gd name="connsiteX122" fmla="*/ 58837 w 245730"/>
                <a:gd name="connsiteY122" fmla="*/ 33781 h 177915"/>
                <a:gd name="connsiteX123" fmla="*/ 63451 w 245730"/>
                <a:gd name="connsiteY123" fmla="*/ 39411 h 177915"/>
                <a:gd name="connsiteX124" fmla="*/ 65758 w 245730"/>
                <a:gd name="connsiteY124" fmla="*/ 36032 h 177915"/>
                <a:gd name="connsiteX125" fmla="*/ 73834 w 245730"/>
                <a:gd name="connsiteY125" fmla="*/ 40537 h 177915"/>
                <a:gd name="connsiteX126" fmla="*/ 77295 w 245730"/>
                <a:gd name="connsiteY126" fmla="*/ 36032 h 177915"/>
                <a:gd name="connsiteX127" fmla="*/ 81909 w 245730"/>
                <a:gd name="connsiteY127" fmla="*/ 42789 h 177915"/>
                <a:gd name="connsiteX128" fmla="*/ 85371 w 245730"/>
                <a:gd name="connsiteY128" fmla="*/ 39411 h 177915"/>
                <a:gd name="connsiteX129" fmla="*/ 87678 w 245730"/>
                <a:gd name="connsiteY129" fmla="*/ 40537 h 177915"/>
                <a:gd name="connsiteX130" fmla="*/ 95753 w 245730"/>
                <a:gd name="connsiteY130" fmla="*/ 32654 h 177915"/>
                <a:gd name="connsiteX131" fmla="*/ 100368 w 245730"/>
                <a:gd name="connsiteY131" fmla="*/ 27024 h 177915"/>
                <a:gd name="connsiteX132" fmla="*/ 100368 w 245730"/>
                <a:gd name="connsiteY132" fmla="*/ 23646 h 177915"/>
                <a:gd name="connsiteX133" fmla="*/ 104982 w 245730"/>
                <a:gd name="connsiteY133" fmla="*/ 22520 h 177915"/>
                <a:gd name="connsiteX134" fmla="*/ 115366 w 245730"/>
                <a:gd name="connsiteY134" fmla="*/ 22520 h 177915"/>
                <a:gd name="connsiteX135" fmla="*/ 130363 w 245730"/>
                <a:gd name="connsiteY135" fmla="*/ 16890 h 177915"/>
                <a:gd name="connsiteX136" fmla="*/ 130364 w 245730"/>
                <a:gd name="connsiteY136" fmla="*/ 16891 h 177915"/>
                <a:gd name="connsiteX137" fmla="*/ 146515 w 245730"/>
                <a:gd name="connsiteY137" fmla="*/ 4504 h 177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45730" h="177915">
                  <a:moveTo>
                    <a:pt x="123441" y="87830"/>
                  </a:moveTo>
                  <a:lnTo>
                    <a:pt x="105409" y="94315"/>
                  </a:lnTo>
                  <a:lnTo>
                    <a:pt x="105410" y="94316"/>
                  </a:lnTo>
                  <a:lnTo>
                    <a:pt x="123442" y="87832"/>
                  </a:lnTo>
                  <a:lnTo>
                    <a:pt x="126904" y="90084"/>
                  </a:lnTo>
                  <a:lnTo>
                    <a:pt x="127792" y="89651"/>
                  </a:lnTo>
                  <a:close/>
                  <a:moveTo>
                    <a:pt x="135156" y="19697"/>
                  </a:moveTo>
                  <a:lnTo>
                    <a:pt x="136131" y="20268"/>
                  </a:lnTo>
                  <a:lnTo>
                    <a:pt x="125749" y="25898"/>
                  </a:lnTo>
                  <a:lnTo>
                    <a:pt x="124594" y="28151"/>
                  </a:lnTo>
                  <a:lnTo>
                    <a:pt x="125735" y="28707"/>
                  </a:lnTo>
                  <a:lnTo>
                    <a:pt x="124595" y="28151"/>
                  </a:lnTo>
                  <a:lnTo>
                    <a:pt x="125749" y="25898"/>
                  </a:lnTo>
                  <a:lnTo>
                    <a:pt x="136132" y="20268"/>
                  </a:lnTo>
                  <a:close/>
                  <a:moveTo>
                    <a:pt x="168434" y="0"/>
                  </a:moveTo>
                  <a:lnTo>
                    <a:pt x="170741" y="5630"/>
                  </a:lnTo>
                  <a:lnTo>
                    <a:pt x="181124" y="13512"/>
                  </a:lnTo>
                  <a:lnTo>
                    <a:pt x="189200" y="12386"/>
                  </a:lnTo>
                  <a:lnTo>
                    <a:pt x="197276" y="7882"/>
                  </a:lnTo>
                  <a:lnTo>
                    <a:pt x="199584" y="10134"/>
                  </a:lnTo>
                  <a:lnTo>
                    <a:pt x="236501" y="6756"/>
                  </a:lnTo>
                  <a:lnTo>
                    <a:pt x="244577" y="7882"/>
                  </a:lnTo>
                  <a:lnTo>
                    <a:pt x="245730" y="10134"/>
                  </a:lnTo>
                  <a:lnTo>
                    <a:pt x="239962" y="28151"/>
                  </a:lnTo>
                  <a:lnTo>
                    <a:pt x="230733" y="45041"/>
                  </a:lnTo>
                  <a:lnTo>
                    <a:pt x="223811" y="49546"/>
                  </a:lnTo>
                  <a:lnTo>
                    <a:pt x="196122" y="45041"/>
                  </a:lnTo>
                  <a:lnTo>
                    <a:pt x="189200" y="49546"/>
                  </a:lnTo>
                  <a:lnTo>
                    <a:pt x="189200" y="47293"/>
                  </a:lnTo>
                  <a:lnTo>
                    <a:pt x="183432" y="45041"/>
                  </a:lnTo>
                  <a:lnTo>
                    <a:pt x="184586" y="41663"/>
                  </a:lnTo>
                  <a:lnTo>
                    <a:pt x="179971" y="42790"/>
                  </a:lnTo>
                  <a:lnTo>
                    <a:pt x="177664" y="48420"/>
                  </a:lnTo>
                  <a:lnTo>
                    <a:pt x="173603" y="51987"/>
                  </a:lnTo>
                  <a:lnTo>
                    <a:pt x="173454" y="52481"/>
                  </a:lnTo>
                  <a:lnTo>
                    <a:pt x="167714" y="63617"/>
                  </a:lnTo>
                  <a:lnTo>
                    <a:pt x="163409" y="66587"/>
                  </a:lnTo>
                  <a:lnTo>
                    <a:pt x="154429" y="65039"/>
                  </a:lnTo>
                  <a:lnTo>
                    <a:pt x="148821" y="68688"/>
                  </a:lnTo>
                  <a:lnTo>
                    <a:pt x="144207" y="76570"/>
                  </a:lnTo>
                  <a:lnTo>
                    <a:pt x="147668" y="82200"/>
                  </a:lnTo>
                  <a:lnTo>
                    <a:pt x="131517" y="91209"/>
                  </a:lnTo>
                  <a:lnTo>
                    <a:pt x="130049" y="90595"/>
                  </a:lnTo>
                  <a:lnTo>
                    <a:pt x="131518" y="93462"/>
                  </a:lnTo>
                  <a:lnTo>
                    <a:pt x="122289" y="101345"/>
                  </a:lnTo>
                  <a:lnTo>
                    <a:pt x="116521" y="100219"/>
                  </a:lnTo>
                  <a:lnTo>
                    <a:pt x="111906" y="104723"/>
                  </a:lnTo>
                  <a:lnTo>
                    <a:pt x="110752" y="108101"/>
                  </a:lnTo>
                  <a:lnTo>
                    <a:pt x="108445" y="106975"/>
                  </a:lnTo>
                  <a:lnTo>
                    <a:pt x="106138" y="113731"/>
                  </a:lnTo>
                  <a:lnTo>
                    <a:pt x="109598" y="118235"/>
                  </a:lnTo>
                  <a:lnTo>
                    <a:pt x="115367" y="117109"/>
                  </a:lnTo>
                  <a:lnTo>
                    <a:pt x="118828" y="120488"/>
                  </a:lnTo>
                  <a:lnTo>
                    <a:pt x="115367" y="123865"/>
                  </a:lnTo>
                  <a:lnTo>
                    <a:pt x="128057" y="129495"/>
                  </a:lnTo>
                  <a:lnTo>
                    <a:pt x="136133" y="138504"/>
                  </a:lnTo>
                  <a:lnTo>
                    <a:pt x="132672" y="140756"/>
                  </a:lnTo>
                  <a:lnTo>
                    <a:pt x="128057" y="138504"/>
                  </a:lnTo>
                  <a:lnTo>
                    <a:pt x="124596" y="141882"/>
                  </a:lnTo>
                  <a:lnTo>
                    <a:pt x="126904" y="143008"/>
                  </a:lnTo>
                  <a:lnTo>
                    <a:pt x="111906" y="153142"/>
                  </a:lnTo>
                  <a:lnTo>
                    <a:pt x="114214" y="155395"/>
                  </a:lnTo>
                  <a:lnTo>
                    <a:pt x="100369" y="165529"/>
                  </a:lnTo>
                  <a:lnTo>
                    <a:pt x="104984" y="170033"/>
                  </a:lnTo>
                  <a:lnTo>
                    <a:pt x="100369" y="170033"/>
                  </a:lnTo>
                  <a:lnTo>
                    <a:pt x="96908" y="172285"/>
                  </a:lnTo>
                  <a:lnTo>
                    <a:pt x="95755" y="172285"/>
                  </a:lnTo>
                  <a:lnTo>
                    <a:pt x="89986" y="174537"/>
                  </a:lnTo>
                  <a:lnTo>
                    <a:pt x="79603" y="173411"/>
                  </a:lnTo>
                  <a:lnTo>
                    <a:pt x="63452" y="175664"/>
                  </a:lnTo>
                  <a:lnTo>
                    <a:pt x="58837" y="175664"/>
                  </a:lnTo>
                  <a:lnTo>
                    <a:pt x="56530" y="173411"/>
                  </a:lnTo>
                  <a:lnTo>
                    <a:pt x="41532" y="177915"/>
                  </a:lnTo>
                  <a:lnTo>
                    <a:pt x="41532" y="175664"/>
                  </a:lnTo>
                  <a:lnTo>
                    <a:pt x="39225" y="174537"/>
                  </a:lnTo>
                  <a:lnTo>
                    <a:pt x="39225" y="170033"/>
                  </a:lnTo>
                  <a:lnTo>
                    <a:pt x="42686" y="159898"/>
                  </a:lnTo>
                  <a:lnTo>
                    <a:pt x="39225" y="158773"/>
                  </a:lnTo>
                  <a:lnTo>
                    <a:pt x="26534" y="168907"/>
                  </a:lnTo>
                  <a:lnTo>
                    <a:pt x="24227" y="173411"/>
                  </a:lnTo>
                  <a:lnTo>
                    <a:pt x="14998" y="166654"/>
                  </a:lnTo>
                  <a:lnTo>
                    <a:pt x="6923" y="167781"/>
                  </a:lnTo>
                  <a:lnTo>
                    <a:pt x="3461" y="170033"/>
                  </a:lnTo>
                  <a:lnTo>
                    <a:pt x="1154" y="163277"/>
                  </a:lnTo>
                  <a:lnTo>
                    <a:pt x="0" y="150890"/>
                  </a:lnTo>
                  <a:lnTo>
                    <a:pt x="4615" y="149765"/>
                  </a:lnTo>
                  <a:lnTo>
                    <a:pt x="5768" y="153142"/>
                  </a:lnTo>
                  <a:lnTo>
                    <a:pt x="8076" y="149765"/>
                  </a:lnTo>
                  <a:lnTo>
                    <a:pt x="5768" y="145260"/>
                  </a:lnTo>
                  <a:lnTo>
                    <a:pt x="2308" y="145260"/>
                  </a:lnTo>
                  <a:lnTo>
                    <a:pt x="5768" y="143008"/>
                  </a:lnTo>
                  <a:lnTo>
                    <a:pt x="0" y="134000"/>
                  </a:lnTo>
                  <a:lnTo>
                    <a:pt x="4615" y="131748"/>
                  </a:lnTo>
                  <a:lnTo>
                    <a:pt x="5768" y="122739"/>
                  </a:lnTo>
                  <a:lnTo>
                    <a:pt x="27209" y="119639"/>
                  </a:lnTo>
                  <a:lnTo>
                    <a:pt x="27788" y="114846"/>
                  </a:lnTo>
                  <a:lnTo>
                    <a:pt x="38632" y="113184"/>
                  </a:lnTo>
                  <a:lnTo>
                    <a:pt x="39225" y="112605"/>
                  </a:lnTo>
                  <a:lnTo>
                    <a:pt x="40996" y="112821"/>
                  </a:lnTo>
                  <a:lnTo>
                    <a:pt x="47163" y="111876"/>
                  </a:lnTo>
                  <a:lnTo>
                    <a:pt x="47163" y="109649"/>
                  </a:lnTo>
                  <a:lnTo>
                    <a:pt x="48598" y="108164"/>
                  </a:lnTo>
                  <a:lnTo>
                    <a:pt x="51415" y="108529"/>
                  </a:lnTo>
                  <a:lnTo>
                    <a:pt x="54223" y="103597"/>
                  </a:lnTo>
                  <a:lnTo>
                    <a:pt x="55295" y="105166"/>
                  </a:lnTo>
                  <a:lnTo>
                    <a:pt x="55883" y="106028"/>
                  </a:lnTo>
                  <a:lnTo>
                    <a:pt x="55884" y="106028"/>
                  </a:lnTo>
                  <a:lnTo>
                    <a:pt x="55295" y="105166"/>
                  </a:lnTo>
                  <a:lnTo>
                    <a:pt x="54223" y="103596"/>
                  </a:lnTo>
                  <a:lnTo>
                    <a:pt x="54223" y="103597"/>
                  </a:lnTo>
                  <a:lnTo>
                    <a:pt x="54222" y="103595"/>
                  </a:lnTo>
                  <a:lnTo>
                    <a:pt x="56529" y="101343"/>
                  </a:lnTo>
                  <a:lnTo>
                    <a:pt x="62297" y="86704"/>
                  </a:lnTo>
                  <a:lnTo>
                    <a:pt x="63267" y="81023"/>
                  </a:lnTo>
                  <a:lnTo>
                    <a:pt x="62231" y="79951"/>
                  </a:lnTo>
                  <a:lnTo>
                    <a:pt x="59361" y="81436"/>
                  </a:lnTo>
                  <a:lnTo>
                    <a:pt x="57926" y="81436"/>
                  </a:lnTo>
                  <a:lnTo>
                    <a:pt x="52902" y="75496"/>
                  </a:lnTo>
                  <a:lnTo>
                    <a:pt x="52902" y="70594"/>
                  </a:lnTo>
                  <a:lnTo>
                    <a:pt x="46146" y="63058"/>
                  </a:lnTo>
                  <a:lnTo>
                    <a:pt x="46146" y="51797"/>
                  </a:lnTo>
                  <a:lnTo>
                    <a:pt x="49607" y="41663"/>
                  </a:lnTo>
                  <a:lnTo>
                    <a:pt x="58837" y="33781"/>
                  </a:lnTo>
                  <a:lnTo>
                    <a:pt x="63451" y="39411"/>
                  </a:lnTo>
                  <a:lnTo>
                    <a:pt x="65758" y="36032"/>
                  </a:lnTo>
                  <a:lnTo>
                    <a:pt x="73834" y="40537"/>
                  </a:lnTo>
                  <a:lnTo>
                    <a:pt x="77295" y="36032"/>
                  </a:lnTo>
                  <a:lnTo>
                    <a:pt x="81909" y="42789"/>
                  </a:lnTo>
                  <a:lnTo>
                    <a:pt x="85371" y="39411"/>
                  </a:lnTo>
                  <a:lnTo>
                    <a:pt x="87678" y="40537"/>
                  </a:lnTo>
                  <a:lnTo>
                    <a:pt x="95753" y="32654"/>
                  </a:lnTo>
                  <a:lnTo>
                    <a:pt x="100368" y="27024"/>
                  </a:lnTo>
                  <a:lnTo>
                    <a:pt x="100368" y="23646"/>
                  </a:lnTo>
                  <a:lnTo>
                    <a:pt x="104982" y="22520"/>
                  </a:lnTo>
                  <a:lnTo>
                    <a:pt x="115366" y="22520"/>
                  </a:lnTo>
                  <a:lnTo>
                    <a:pt x="130363" y="16890"/>
                  </a:lnTo>
                  <a:lnTo>
                    <a:pt x="130364" y="16891"/>
                  </a:lnTo>
                  <a:lnTo>
                    <a:pt x="146515" y="4504"/>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3" name="Haarlemmermeer">
              <a:extLst>
                <a:ext uri="{FF2B5EF4-FFF2-40B4-BE49-F238E27FC236}">
                  <a16:creationId xmlns:a16="http://schemas.microsoft.com/office/drawing/2014/main" id="{3B7FE27F-BC9F-4E3B-AACD-B406CB408D58}"/>
                </a:ext>
              </a:extLst>
            </p:cNvPr>
            <p:cNvSpPr/>
            <p:nvPr/>
          </p:nvSpPr>
          <p:spPr>
            <a:xfrm>
              <a:off x="5362462" y="2967751"/>
              <a:ext cx="285164" cy="360687"/>
            </a:xfrm>
            <a:custGeom>
              <a:avLst/>
              <a:gdLst>
                <a:gd name="connsiteX0" fmla="*/ 181124 w 280339"/>
                <a:gd name="connsiteY0" fmla="*/ 0 h 360333"/>
                <a:gd name="connsiteX1" fmla="*/ 198428 w 280339"/>
                <a:gd name="connsiteY1" fmla="*/ 4504 h 360333"/>
                <a:gd name="connsiteX2" fmla="*/ 192893 w 280339"/>
                <a:gd name="connsiteY2" fmla="*/ 30921 h 360333"/>
                <a:gd name="connsiteX3" fmla="*/ 200378 w 280339"/>
                <a:gd name="connsiteY3" fmla="*/ 32869 h 360333"/>
                <a:gd name="connsiteX4" fmla="*/ 195570 w 280339"/>
                <a:gd name="connsiteY4" fmla="*/ 55812 h 360333"/>
                <a:gd name="connsiteX5" fmla="*/ 216887 w 280339"/>
                <a:gd name="connsiteY5" fmla="*/ 60806 h 360333"/>
                <a:gd name="connsiteX6" fmla="*/ 218041 w 280339"/>
                <a:gd name="connsiteY6" fmla="*/ 90083 h 360333"/>
                <a:gd name="connsiteX7" fmla="*/ 215734 w 280339"/>
                <a:gd name="connsiteY7" fmla="*/ 92335 h 360333"/>
                <a:gd name="connsiteX8" fmla="*/ 215273 w 280339"/>
                <a:gd name="connsiteY8" fmla="*/ 91886 h 360333"/>
                <a:gd name="connsiteX9" fmla="*/ 218042 w 280339"/>
                <a:gd name="connsiteY9" fmla="*/ 99091 h 360333"/>
                <a:gd name="connsiteX10" fmla="*/ 214215 w 280339"/>
                <a:gd name="connsiteY10" fmla="*/ 119636 h 360333"/>
                <a:gd name="connsiteX11" fmla="*/ 235980 w 280339"/>
                <a:gd name="connsiteY11" fmla="*/ 134028 h 360333"/>
                <a:gd name="connsiteX12" fmla="*/ 241519 w 280339"/>
                <a:gd name="connsiteY12" fmla="*/ 141750 h 360333"/>
                <a:gd name="connsiteX13" fmla="*/ 254968 w 280339"/>
                <a:gd name="connsiteY13" fmla="*/ 151016 h 360333"/>
                <a:gd name="connsiteX14" fmla="*/ 256550 w 280339"/>
                <a:gd name="connsiteY14" fmla="*/ 154105 h 360333"/>
                <a:gd name="connsiteX15" fmla="*/ 255684 w 280339"/>
                <a:gd name="connsiteY15" fmla="*/ 159461 h 360333"/>
                <a:gd name="connsiteX16" fmla="*/ 258420 w 280339"/>
                <a:gd name="connsiteY16" fmla="*/ 163276 h 360333"/>
                <a:gd name="connsiteX17" fmla="*/ 278032 w 280339"/>
                <a:gd name="connsiteY17" fmla="*/ 176788 h 360333"/>
                <a:gd name="connsiteX18" fmla="*/ 280339 w 280339"/>
                <a:gd name="connsiteY18" fmla="*/ 181293 h 360333"/>
                <a:gd name="connsiteX19" fmla="*/ 276878 w 280339"/>
                <a:gd name="connsiteY19" fmla="*/ 202687 h 360333"/>
                <a:gd name="connsiteX20" fmla="*/ 269956 w 280339"/>
                <a:gd name="connsiteY20" fmla="*/ 211696 h 360333"/>
                <a:gd name="connsiteX21" fmla="*/ 254959 w 280339"/>
                <a:gd name="connsiteY21" fmla="*/ 221830 h 360333"/>
                <a:gd name="connsiteX22" fmla="*/ 249190 w 280339"/>
                <a:gd name="connsiteY22" fmla="*/ 238721 h 360333"/>
                <a:gd name="connsiteX23" fmla="*/ 238808 w 280339"/>
                <a:gd name="connsiteY23" fmla="*/ 248855 h 360333"/>
                <a:gd name="connsiteX24" fmla="*/ 223810 w 280339"/>
                <a:gd name="connsiteY24" fmla="*/ 258989 h 360333"/>
                <a:gd name="connsiteX25" fmla="*/ 204198 w 280339"/>
                <a:gd name="connsiteY25" fmla="*/ 266872 h 360333"/>
                <a:gd name="connsiteX26" fmla="*/ 196122 w 280339"/>
                <a:gd name="connsiteY26" fmla="*/ 273628 h 360333"/>
                <a:gd name="connsiteX27" fmla="*/ 185739 w 280339"/>
                <a:gd name="connsiteY27" fmla="*/ 278132 h 360333"/>
                <a:gd name="connsiteX28" fmla="*/ 176510 w 280339"/>
                <a:gd name="connsiteY28" fmla="*/ 288267 h 360333"/>
                <a:gd name="connsiteX29" fmla="*/ 169588 w 280339"/>
                <a:gd name="connsiteY29" fmla="*/ 293897 h 360333"/>
                <a:gd name="connsiteX30" fmla="*/ 156898 w 280339"/>
                <a:gd name="connsiteY30" fmla="*/ 313040 h 360333"/>
                <a:gd name="connsiteX31" fmla="*/ 136132 w 280339"/>
                <a:gd name="connsiteY31" fmla="*/ 320922 h 360333"/>
                <a:gd name="connsiteX32" fmla="*/ 131517 w 280339"/>
                <a:gd name="connsiteY32" fmla="*/ 327678 h 360333"/>
                <a:gd name="connsiteX33" fmla="*/ 118827 w 280339"/>
                <a:gd name="connsiteY33" fmla="*/ 338938 h 360333"/>
                <a:gd name="connsiteX34" fmla="*/ 110752 w 280339"/>
                <a:gd name="connsiteY34" fmla="*/ 342317 h 360333"/>
                <a:gd name="connsiteX35" fmla="*/ 99215 w 280339"/>
                <a:gd name="connsiteY35" fmla="*/ 350199 h 360333"/>
                <a:gd name="connsiteX36" fmla="*/ 85371 w 280339"/>
                <a:gd name="connsiteY36" fmla="*/ 358081 h 360333"/>
                <a:gd name="connsiteX37" fmla="*/ 70373 w 280339"/>
                <a:gd name="connsiteY37" fmla="*/ 360333 h 360333"/>
                <a:gd name="connsiteX38" fmla="*/ 53069 w 280339"/>
                <a:gd name="connsiteY38" fmla="*/ 360333 h 360333"/>
                <a:gd name="connsiteX39" fmla="*/ 33456 w 280339"/>
                <a:gd name="connsiteY39" fmla="*/ 353577 h 360333"/>
                <a:gd name="connsiteX40" fmla="*/ 20766 w 280339"/>
                <a:gd name="connsiteY40" fmla="*/ 355829 h 360333"/>
                <a:gd name="connsiteX41" fmla="*/ 5768 w 280339"/>
                <a:gd name="connsiteY41" fmla="*/ 352451 h 360333"/>
                <a:gd name="connsiteX42" fmla="*/ 0 w 280339"/>
                <a:gd name="connsiteY42" fmla="*/ 340064 h 360333"/>
                <a:gd name="connsiteX43" fmla="*/ 3461 w 280339"/>
                <a:gd name="connsiteY43" fmla="*/ 332182 h 360333"/>
                <a:gd name="connsiteX44" fmla="*/ 10383 w 280339"/>
                <a:gd name="connsiteY44" fmla="*/ 328804 h 360333"/>
                <a:gd name="connsiteX45" fmla="*/ 12690 w 280339"/>
                <a:gd name="connsiteY45" fmla="*/ 326552 h 360333"/>
                <a:gd name="connsiteX46" fmla="*/ 19612 w 280339"/>
                <a:gd name="connsiteY46" fmla="*/ 286015 h 360333"/>
                <a:gd name="connsiteX47" fmla="*/ 18459 w 280339"/>
                <a:gd name="connsiteY47" fmla="*/ 271376 h 360333"/>
                <a:gd name="connsiteX48" fmla="*/ 40378 w 280339"/>
                <a:gd name="connsiteY48" fmla="*/ 251107 h 360333"/>
                <a:gd name="connsiteX49" fmla="*/ 48454 w 280339"/>
                <a:gd name="connsiteY49" fmla="*/ 233090 h 360333"/>
                <a:gd name="connsiteX50" fmla="*/ 49608 w 280339"/>
                <a:gd name="connsiteY50" fmla="*/ 224082 h 360333"/>
                <a:gd name="connsiteX51" fmla="*/ 56529 w 280339"/>
                <a:gd name="connsiteY51" fmla="*/ 209444 h 360333"/>
                <a:gd name="connsiteX52" fmla="*/ 64605 w 280339"/>
                <a:gd name="connsiteY52" fmla="*/ 199309 h 360333"/>
                <a:gd name="connsiteX53" fmla="*/ 64605 w 280339"/>
                <a:gd name="connsiteY53" fmla="*/ 177915 h 360333"/>
                <a:gd name="connsiteX54" fmla="*/ 70373 w 280339"/>
                <a:gd name="connsiteY54" fmla="*/ 166654 h 360333"/>
                <a:gd name="connsiteX55" fmla="*/ 84218 w 280339"/>
                <a:gd name="connsiteY55" fmla="*/ 157646 h 360333"/>
                <a:gd name="connsiteX56" fmla="*/ 103829 w 280339"/>
                <a:gd name="connsiteY56" fmla="*/ 153142 h 360333"/>
                <a:gd name="connsiteX57" fmla="*/ 110091 w 280339"/>
                <a:gd name="connsiteY57" fmla="*/ 148891 h 360333"/>
                <a:gd name="connsiteX58" fmla="*/ 112562 w 280339"/>
                <a:gd name="connsiteY58" fmla="*/ 144066 h 360333"/>
                <a:gd name="connsiteX59" fmla="*/ 122056 w 280339"/>
                <a:gd name="connsiteY59" fmla="*/ 137889 h 360333"/>
                <a:gd name="connsiteX60" fmla="*/ 128460 w 280339"/>
                <a:gd name="connsiteY60" fmla="*/ 136418 h 360333"/>
                <a:gd name="connsiteX61" fmla="*/ 130364 w 280339"/>
                <a:gd name="connsiteY61" fmla="*/ 135125 h 360333"/>
                <a:gd name="connsiteX62" fmla="*/ 132671 w 280339"/>
                <a:gd name="connsiteY62" fmla="*/ 127243 h 360333"/>
                <a:gd name="connsiteX63" fmla="*/ 128056 w 280339"/>
                <a:gd name="connsiteY63" fmla="*/ 101344 h 360333"/>
                <a:gd name="connsiteX64" fmla="*/ 130364 w 280339"/>
                <a:gd name="connsiteY64" fmla="*/ 95714 h 360333"/>
                <a:gd name="connsiteX65" fmla="*/ 134979 w 280339"/>
                <a:gd name="connsiteY65" fmla="*/ 92335 h 360333"/>
                <a:gd name="connsiteX66" fmla="*/ 152308 w 280339"/>
                <a:gd name="connsiteY66" fmla="*/ 87449 h 360333"/>
                <a:gd name="connsiteX67" fmla="*/ 133824 w 280339"/>
                <a:gd name="connsiteY67" fmla="*/ 92335 h 360333"/>
                <a:gd name="connsiteX68" fmla="*/ 143053 w 280339"/>
                <a:gd name="connsiteY68" fmla="*/ 83327 h 360333"/>
                <a:gd name="connsiteX69" fmla="*/ 144207 w 280339"/>
                <a:gd name="connsiteY69" fmla="*/ 75445 h 360333"/>
                <a:gd name="connsiteX70" fmla="*/ 139592 w 280339"/>
                <a:gd name="connsiteY70" fmla="*/ 74319 h 360333"/>
                <a:gd name="connsiteX71" fmla="*/ 138439 w 280339"/>
                <a:gd name="connsiteY71" fmla="*/ 70940 h 360333"/>
                <a:gd name="connsiteX72" fmla="*/ 134977 w 280339"/>
                <a:gd name="connsiteY72" fmla="*/ 72066 h 360333"/>
                <a:gd name="connsiteX73" fmla="*/ 131516 w 280339"/>
                <a:gd name="connsiteY73" fmla="*/ 69814 h 360333"/>
                <a:gd name="connsiteX74" fmla="*/ 130363 w 280339"/>
                <a:gd name="connsiteY74" fmla="*/ 65310 h 360333"/>
                <a:gd name="connsiteX75" fmla="*/ 136131 w 280339"/>
                <a:gd name="connsiteY75" fmla="*/ 56302 h 360333"/>
                <a:gd name="connsiteX76" fmla="*/ 125748 w 280339"/>
                <a:gd name="connsiteY76" fmla="*/ 52924 h 360333"/>
                <a:gd name="connsiteX77" fmla="*/ 125748 w 280339"/>
                <a:gd name="connsiteY77" fmla="*/ 48419 h 360333"/>
                <a:gd name="connsiteX78" fmla="*/ 131516 w 280339"/>
                <a:gd name="connsiteY78" fmla="*/ 43915 h 360333"/>
                <a:gd name="connsiteX79" fmla="*/ 129209 w 280339"/>
                <a:gd name="connsiteY79" fmla="*/ 39411 h 360333"/>
                <a:gd name="connsiteX80" fmla="*/ 132670 w 280339"/>
                <a:gd name="connsiteY80" fmla="*/ 39411 h 360333"/>
                <a:gd name="connsiteX81" fmla="*/ 138439 w 280339"/>
                <a:gd name="connsiteY81" fmla="*/ 34907 h 360333"/>
                <a:gd name="connsiteX82" fmla="*/ 159204 w 280339"/>
                <a:gd name="connsiteY82" fmla="*/ 13512 h 360333"/>
                <a:gd name="connsiteX83" fmla="*/ 169587 w 280339"/>
                <a:gd name="connsiteY83" fmla="*/ 9008 h 36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0339" h="360333">
                  <a:moveTo>
                    <a:pt x="181124" y="0"/>
                  </a:moveTo>
                  <a:lnTo>
                    <a:pt x="198428" y="4504"/>
                  </a:lnTo>
                  <a:lnTo>
                    <a:pt x="192893" y="30921"/>
                  </a:lnTo>
                  <a:lnTo>
                    <a:pt x="200378" y="32869"/>
                  </a:lnTo>
                  <a:lnTo>
                    <a:pt x="195570" y="55812"/>
                  </a:lnTo>
                  <a:lnTo>
                    <a:pt x="216887" y="60806"/>
                  </a:lnTo>
                  <a:lnTo>
                    <a:pt x="218041" y="90083"/>
                  </a:lnTo>
                  <a:lnTo>
                    <a:pt x="215734" y="92335"/>
                  </a:lnTo>
                  <a:lnTo>
                    <a:pt x="215273" y="91886"/>
                  </a:lnTo>
                  <a:lnTo>
                    <a:pt x="218042" y="99091"/>
                  </a:lnTo>
                  <a:lnTo>
                    <a:pt x="214215" y="119636"/>
                  </a:lnTo>
                  <a:lnTo>
                    <a:pt x="235980" y="134028"/>
                  </a:lnTo>
                  <a:lnTo>
                    <a:pt x="241519" y="141750"/>
                  </a:lnTo>
                  <a:lnTo>
                    <a:pt x="254968" y="151016"/>
                  </a:lnTo>
                  <a:lnTo>
                    <a:pt x="256550" y="154105"/>
                  </a:lnTo>
                  <a:lnTo>
                    <a:pt x="255684" y="159461"/>
                  </a:lnTo>
                  <a:lnTo>
                    <a:pt x="258420" y="163276"/>
                  </a:lnTo>
                  <a:lnTo>
                    <a:pt x="278032" y="176788"/>
                  </a:lnTo>
                  <a:lnTo>
                    <a:pt x="280339" y="181293"/>
                  </a:lnTo>
                  <a:lnTo>
                    <a:pt x="276878" y="202687"/>
                  </a:lnTo>
                  <a:lnTo>
                    <a:pt x="269956" y="211696"/>
                  </a:lnTo>
                  <a:lnTo>
                    <a:pt x="254959" y="221830"/>
                  </a:lnTo>
                  <a:lnTo>
                    <a:pt x="249190" y="238721"/>
                  </a:lnTo>
                  <a:lnTo>
                    <a:pt x="238808" y="248855"/>
                  </a:lnTo>
                  <a:lnTo>
                    <a:pt x="223810" y="258989"/>
                  </a:lnTo>
                  <a:lnTo>
                    <a:pt x="204198" y="266872"/>
                  </a:lnTo>
                  <a:lnTo>
                    <a:pt x="196122" y="273628"/>
                  </a:lnTo>
                  <a:lnTo>
                    <a:pt x="185739" y="278132"/>
                  </a:lnTo>
                  <a:lnTo>
                    <a:pt x="176510" y="288267"/>
                  </a:lnTo>
                  <a:lnTo>
                    <a:pt x="169588" y="293897"/>
                  </a:lnTo>
                  <a:lnTo>
                    <a:pt x="156898" y="313040"/>
                  </a:lnTo>
                  <a:lnTo>
                    <a:pt x="136132" y="320922"/>
                  </a:lnTo>
                  <a:lnTo>
                    <a:pt x="131517" y="327678"/>
                  </a:lnTo>
                  <a:lnTo>
                    <a:pt x="118827" y="338938"/>
                  </a:lnTo>
                  <a:lnTo>
                    <a:pt x="110752" y="342317"/>
                  </a:lnTo>
                  <a:lnTo>
                    <a:pt x="99215" y="350199"/>
                  </a:lnTo>
                  <a:lnTo>
                    <a:pt x="85371" y="358081"/>
                  </a:lnTo>
                  <a:lnTo>
                    <a:pt x="70373" y="360333"/>
                  </a:lnTo>
                  <a:lnTo>
                    <a:pt x="53069" y="360333"/>
                  </a:lnTo>
                  <a:lnTo>
                    <a:pt x="33456" y="353577"/>
                  </a:lnTo>
                  <a:lnTo>
                    <a:pt x="20766" y="355829"/>
                  </a:lnTo>
                  <a:lnTo>
                    <a:pt x="5768" y="352451"/>
                  </a:lnTo>
                  <a:lnTo>
                    <a:pt x="0" y="340064"/>
                  </a:lnTo>
                  <a:lnTo>
                    <a:pt x="3461" y="332182"/>
                  </a:lnTo>
                  <a:lnTo>
                    <a:pt x="10383" y="328804"/>
                  </a:lnTo>
                  <a:lnTo>
                    <a:pt x="12690" y="326552"/>
                  </a:lnTo>
                  <a:lnTo>
                    <a:pt x="19612" y="286015"/>
                  </a:lnTo>
                  <a:lnTo>
                    <a:pt x="18459" y="271376"/>
                  </a:lnTo>
                  <a:lnTo>
                    <a:pt x="40378" y="251107"/>
                  </a:lnTo>
                  <a:lnTo>
                    <a:pt x="48454" y="233090"/>
                  </a:lnTo>
                  <a:lnTo>
                    <a:pt x="49608" y="224082"/>
                  </a:lnTo>
                  <a:lnTo>
                    <a:pt x="56529" y="209444"/>
                  </a:lnTo>
                  <a:lnTo>
                    <a:pt x="64605" y="199309"/>
                  </a:lnTo>
                  <a:lnTo>
                    <a:pt x="64605" y="177915"/>
                  </a:lnTo>
                  <a:lnTo>
                    <a:pt x="70373" y="166654"/>
                  </a:lnTo>
                  <a:lnTo>
                    <a:pt x="84218" y="157646"/>
                  </a:lnTo>
                  <a:lnTo>
                    <a:pt x="103829" y="153142"/>
                  </a:lnTo>
                  <a:lnTo>
                    <a:pt x="110091" y="148891"/>
                  </a:lnTo>
                  <a:lnTo>
                    <a:pt x="112562" y="144066"/>
                  </a:lnTo>
                  <a:lnTo>
                    <a:pt x="122056" y="137889"/>
                  </a:lnTo>
                  <a:lnTo>
                    <a:pt x="128460" y="136418"/>
                  </a:lnTo>
                  <a:lnTo>
                    <a:pt x="130364" y="135125"/>
                  </a:lnTo>
                  <a:lnTo>
                    <a:pt x="132671" y="127243"/>
                  </a:lnTo>
                  <a:lnTo>
                    <a:pt x="128056" y="101344"/>
                  </a:lnTo>
                  <a:lnTo>
                    <a:pt x="130364" y="95714"/>
                  </a:lnTo>
                  <a:lnTo>
                    <a:pt x="134979" y="92335"/>
                  </a:lnTo>
                  <a:lnTo>
                    <a:pt x="152308" y="87449"/>
                  </a:lnTo>
                  <a:lnTo>
                    <a:pt x="133824" y="92335"/>
                  </a:lnTo>
                  <a:lnTo>
                    <a:pt x="143053" y="83327"/>
                  </a:lnTo>
                  <a:lnTo>
                    <a:pt x="144207" y="75445"/>
                  </a:lnTo>
                  <a:lnTo>
                    <a:pt x="139592" y="74319"/>
                  </a:lnTo>
                  <a:lnTo>
                    <a:pt x="138439" y="70940"/>
                  </a:lnTo>
                  <a:lnTo>
                    <a:pt x="134977" y="72066"/>
                  </a:lnTo>
                  <a:lnTo>
                    <a:pt x="131516" y="69814"/>
                  </a:lnTo>
                  <a:lnTo>
                    <a:pt x="130363" y="65310"/>
                  </a:lnTo>
                  <a:lnTo>
                    <a:pt x="136131" y="56302"/>
                  </a:lnTo>
                  <a:lnTo>
                    <a:pt x="125748" y="52924"/>
                  </a:lnTo>
                  <a:lnTo>
                    <a:pt x="125748" y="48419"/>
                  </a:lnTo>
                  <a:lnTo>
                    <a:pt x="131516" y="43915"/>
                  </a:lnTo>
                  <a:lnTo>
                    <a:pt x="129209" y="39411"/>
                  </a:lnTo>
                  <a:lnTo>
                    <a:pt x="132670" y="39411"/>
                  </a:lnTo>
                  <a:lnTo>
                    <a:pt x="138439" y="34907"/>
                  </a:lnTo>
                  <a:lnTo>
                    <a:pt x="159204" y="13512"/>
                  </a:lnTo>
                  <a:lnTo>
                    <a:pt x="169587" y="900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4" name="Altena">
              <a:extLst>
                <a:ext uri="{FF2B5EF4-FFF2-40B4-BE49-F238E27FC236}">
                  <a16:creationId xmlns:a16="http://schemas.microsoft.com/office/drawing/2014/main" id="{9F077E77-31AC-4685-B8EC-D3E0805132A5}"/>
                </a:ext>
              </a:extLst>
            </p:cNvPr>
            <p:cNvSpPr/>
            <p:nvPr/>
          </p:nvSpPr>
          <p:spPr>
            <a:xfrm>
              <a:off x="5484164" y="3964456"/>
              <a:ext cx="498880" cy="202119"/>
            </a:xfrm>
            <a:custGeom>
              <a:avLst/>
              <a:gdLst>
                <a:gd name="connsiteX0" fmla="*/ 422238 w 490304"/>
                <a:gd name="connsiteY0" fmla="*/ 100219 h 194808"/>
                <a:gd name="connsiteX1" fmla="*/ 417549 w 490304"/>
                <a:gd name="connsiteY1" fmla="*/ 102049 h 194808"/>
                <a:gd name="connsiteX2" fmla="*/ 422238 w 490304"/>
                <a:gd name="connsiteY2" fmla="*/ 101346 h 194808"/>
                <a:gd name="connsiteX3" fmla="*/ 425700 w 490304"/>
                <a:gd name="connsiteY3" fmla="*/ 97966 h 194808"/>
                <a:gd name="connsiteX4" fmla="*/ 422238 w 490304"/>
                <a:gd name="connsiteY4" fmla="*/ 97967 h 194808"/>
                <a:gd name="connsiteX5" fmla="*/ 422238 w 490304"/>
                <a:gd name="connsiteY5" fmla="*/ 97968 h 194808"/>
                <a:gd name="connsiteX6" fmla="*/ 425699 w 490304"/>
                <a:gd name="connsiteY6" fmla="*/ 97967 h 194808"/>
                <a:gd name="connsiteX7" fmla="*/ 431468 w 490304"/>
                <a:gd name="connsiteY7" fmla="*/ 83329 h 194808"/>
                <a:gd name="connsiteX8" fmla="*/ 430314 w 490304"/>
                <a:gd name="connsiteY8" fmla="*/ 88959 h 194808"/>
                <a:gd name="connsiteX9" fmla="*/ 425699 w 490304"/>
                <a:gd name="connsiteY9" fmla="*/ 87833 h 194808"/>
                <a:gd name="connsiteX10" fmla="*/ 425699 w 490304"/>
                <a:gd name="connsiteY10" fmla="*/ 87834 h 194808"/>
                <a:gd name="connsiteX11" fmla="*/ 430314 w 490304"/>
                <a:gd name="connsiteY11" fmla="*/ 88960 h 194808"/>
                <a:gd name="connsiteX12" fmla="*/ 430314 w 490304"/>
                <a:gd name="connsiteY12" fmla="*/ 88959 h 194808"/>
                <a:gd name="connsiteX13" fmla="*/ 430315 w 490304"/>
                <a:gd name="connsiteY13" fmla="*/ 88959 h 194808"/>
                <a:gd name="connsiteX14" fmla="*/ 273416 w 490304"/>
                <a:gd name="connsiteY14" fmla="*/ 0 h 194808"/>
                <a:gd name="connsiteX15" fmla="*/ 309179 w 490304"/>
                <a:gd name="connsiteY15" fmla="*/ 7883 h 194808"/>
                <a:gd name="connsiteX16" fmla="*/ 309179 w 490304"/>
                <a:gd name="connsiteY16" fmla="*/ 7882 h 194808"/>
                <a:gd name="connsiteX17" fmla="*/ 333406 w 490304"/>
                <a:gd name="connsiteY17" fmla="*/ 13513 h 194808"/>
                <a:gd name="connsiteX18" fmla="*/ 341482 w 490304"/>
                <a:gd name="connsiteY18" fmla="*/ 12387 h 194808"/>
                <a:gd name="connsiteX19" fmla="*/ 349558 w 490304"/>
                <a:gd name="connsiteY19" fmla="*/ 18017 h 194808"/>
                <a:gd name="connsiteX20" fmla="*/ 351865 w 490304"/>
                <a:gd name="connsiteY20" fmla="*/ 27025 h 194808"/>
                <a:gd name="connsiteX21" fmla="*/ 357634 w 490304"/>
                <a:gd name="connsiteY21" fmla="*/ 33781 h 194808"/>
                <a:gd name="connsiteX22" fmla="*/ 369170 w 490304"/>
                <a:gd name="connsiteY22" fmla="*/ 41665 h 194808"/>
                <a:gd name="connsiteX23" fmla="*/ 391089 w 490304"/>
                <a:gd name="connsiteY23" fmla="*/ 50672 h 194808"/>
                <a:gd name="connsiteX24" fmla="*/ 395705 w 490304"/>
                <a:gd name="connsiteY24" fmla="*/ 55177 h 194808"/>
                <a:gd name="connsiteX25" fmla="*/ 404933 w 490304"/>
                <a:gd name="connsiteY25" fmla="*/ 73193 h 194808"/>
                <a:gd name="connsiteX26" fmla="*/ 410702 w 490304"/>
                <a:gd name="connsiteY26" fmla="*/ 79949 h 194808"/>
                <a:gd name="connsiteX27" fmla="*/ 418778 w 490304"/>
                <a:gd name="connsiteY27" fmla="*/ 82202 h 194808"/>
                <a:gd name="connsiteX28" fmla="*/ 426853 w 490304"/>
                <a:gd name="connsiteY28" fmla="*/ 79950 h 194808"/>
                <a:gd name="connsiteX29" fmla="*/ 426854 w 490304"/>
                <a:gd name="connsiteY29" fmla="*/ 79950 h 194808"/>
                <a:gd name="connsiteX30" fmla="*/ 431467 w 490304"/>
                <a:gd name="connsiteY30" fmla="*/ 72068 h 194808"/>
                <a:gd name="connsiteX31" fmla="*/ 439543 w 490304"/>
                <a:gd name="connsiteY31" fmla="*/ 68690 h 194808"/>
                <a:gd name="connsiteX32" fmla="*/ 448773 w 490304"/>
                <a:gd name="connsiteY32" fmla="*/ 70942 h 194808"/>
                <a:gd name="connsiteX33" fmla="*/ 462616 w 490304"/>
                <a:gd name="connsiteY33" fmla="*/ 83329 h 194808"/>
                <a:gd name="connsiteX34" fmla="*/ 471846 w 490304"/>
                <a:gd name="connsiteY34" fmla="*/ 87833 h 194808"/>
                <a:gd name="connsiteX35" fmla="*/ 485690 w 490304"/>
                <a:gd name="connsiteY35" fmla="*/ 94589 h 194808"/>
                <a:gd name="connsiteX36" fmla="*/ 486844 w 490304"/>
                <a:gd name="connsiteY36" fmla="*/ 99093 h 194808"/>
                <a:gd name="connsiteX37" fmla="*/ 483382 w 490304"/>
                <a:gd name="connsiteY37" fmla="*/ 113733 h 194808"/>
                <a:gd name="connsiteX38" fmla="*/ 484536 w 490304"/>
                <a:gd name="connsiteY38" fmla="*/ 118236 h 194808"/>
                <a:gd name="connsiteX39" fmla="*/ 490304 w 490304"/>
                <a:gd name="connsiteY39" fmla="*/ 121615 h 194808"/>
                <a:gd name="connsiteX40" fmla="*/ 485690 w 490304"/>
                <a:gd name="connsiteY40" fmla="*/ 129496 h 194808"/>
                <a:gd name="connsiteX41" fmla="*/ 472999 w 490304"/>
                <a:gd name="connsiteY41" fmla="*/ 138505 h 194808"/>
                <a:gd name="connsiteX42" fmla="*/ 471846 w 490304"/>
                <a:gd name="connsiteY42" fmla="*/ 147514 h 194808"/>
                <a:gd name="connsiteX43" fmla="*/ 474154 w 490304"/>
                <a:gd name="connsiteY43" fmla="*/ 150891 h 194808"/>
                <a:gd name="connsiteX44" fmla="*/ 458001 w 490304"/>
                <a:gd name="connsiteY44" fmla="*/ 156522 h 194808"/>
                <a:gd name="connsiteX45" fmla="*/ 445312 w 490304"/>
                <a:gd name="connsiteY45" fmla="*/ 162153 h 194808"/>
                <a:gd name="connsiteX46" fmla="*/ 410702 w 490304"/>
                <a:gd name="connsiteY46" fmla="*/ 186924 h 194808"/>
                <a:gd name="connsiteX47" fmla="*/ 396858 w 490304"/>
                <a:gd name="connsiteY47" fmla="*/ 193682 h 194808"/>
                <a:gd name="connsiteX48" fmla="*/ 384167 w 490304"/>
                <a:gd name="connsiteY48" fmla="*/ 194808 h 194808"/>
                <a:gd name="connsiteX49" fmla="*/ 365709 w 490304"/>
                <a:gd name="connsiteY49" fmla="*/ 193682 h 194808"/>
                <a:gd name="connsiteX50" fmla="*/ 346097 w 490304"/>
                <a:gd name="connsiteY50" fmla="*/ 190303 h 194808"/>
                <a:gd name="connsiteX51" fmla="*/ 327638 w 490304"/>
                <a:gd name="connsiteY51" fmla="*/ 184673 h 194808"/>
                <a:gd name="connsiteX52" fmla="*/ 328792 w 490304"/>
                <a:gd name="connsiteY52" fmla="*/ 181295 h 194808"/>
                <a:gd name="connsiteX53" fmla="*/ 333398 w 490304"/>
                <a:gd name="connsiteY53" fmla="*/ 177441 h 194808"/>
                <a:gd name="connsiteX54" fmla="*/ 333396 w 490304"/>
                <a:gd name="connsiteY54" fmla="*/ 177442 h 194808"/>
                <a:gd name="connsiteX55" fmla="*/ 328791 w 490304"/>
                <a:gd name="connsiteY55" fmla="*/ 181295 h 194808"/>
                <a:gd name="connsiteX56" fmla="*/ 327638 w 490304"/>
                <a:gd name="connsiteY56" fmla="*/ 184673 h 194808"/>
                <a:gd name="connsiteX57" fmla="*/ 303411 w 490304"/>
                <a:gd name="connsiteY57" fmla="*/ 176790 h 194808"/>
                <a:gd name="connsiteX58" fmla="*/ 282645 w 490304"/>
                <a:gd name="connsiteY58" fmla="*/ 174537 h 194808"/>
                <a:gd name="connsiteX59" fmla="*/ 242268 w 490304"/>
                <a:gd name="connsiteY59" fmla="*/ 181295 h 194808"/>
                <a:gd name="connsiteX60" fmla="*/ 206505 w 490304"/>
                <a:gd name="connsiteY60" fmla="*/ 179043 h 194808"/>
                <a:gd name="connsiteX61" fmla="*/ 168434 w 490304"/>
                <a:gd name="connsiteY61" fmla="*/ 190303 h 194808"/>
                <a:gd name="connsiteX62" fmla="*/ 178817 w 490304"/>
                <a:gd name="connsiteY62" fmla="*/ 170034 h 194808"/>
                <a:gd name="connsiteX63" fmla="*/ 178817 w 490304"/>
                <a:gd name="connsiteY63" fmla="*/ 152018 h 194808"/>
                <a:gd name="connsiteX64" fmla="*/ 182278 w 490304"/>
                <a:gd name="connsiteY64" fmla="*/ 147513 h 194808"/>
                <a:gd name="connsiteX65" fmla="*/ 182278 w 490304"/>
                <a:gd name="connsiteY65" fmla="*/ 137378 h 194808"/>
                <a:gd name="connsiteX66" fmla="*/ 185738 w 490304"/>
                <a:gd name="connsiteY66" fmla="*/ 128370 h 194808"/>
                <a:gd name="connsiteX67" fmla="*/ 184585 w 490304"/>
                <a:gd name="connsiteY67" fmla="*/ 119363 h 194808"/>
                <a:gd name="connsiteX68" fmla="*/ 178817 w 490304"/>
                <a:gd name="connsiteY68" fmla="*/ 117110 h 194808"/>
                <a:gd name="connsiteX69" fmla="*/ 174202 w 490304"/>
                <a:gd name="connsiteY69" fmla="*/ 118236 h 194808"/>
                <a:gd name="connsiteX70" fmla="*/ 164973 w 490304"/>
                <a:gd name="connsiteY70" fmla="*/ 122740 h 194808"/>
                <a:gd name="connsiteX71" fmla="*/ 159204 w 490304"/>
                <a:gd name="connsiteY71" fmla="*/ 122740 h 194808"/>
                <a:gd name="connsiteX72" fmla="*/ 153436 w 490304"/>
                <a:gd name="connsiteY72" fmla="*/ 122740 h 194808"/>
                <a:gd name="connsiteX73" fmla="*/ 143053 w 490304"/>
                <a:gd name="connsiteY73" fmla="*/ 118235 h 194808"/>
                <a:gd name="connsiteX74" fmla="*/ 132671 w 490304"/>
                <a:gd name="connsiteY74" fmla="*/ 115983 h 194808"/>
                <a:gd name="connsiteX75" fmla="*/ 114213 w 490304"/>
                <a:gd name="connsiteY75" fmla="*/ 118235 h 194808"/>
                <a:gd name="connsiteX76" fmla="*/ 111906 w 490304"/>
                <a:gd name="connsiteY76" fmla="*/ 101345 h 194808"/>
                <a:gd name="connsiteX77" fmla="*/ 109598 w 490304"/>
                <a:gd name="connsiteY77" fmla="*/ 101346 h 194808"/>
                <a:gd name="connsiteX78" fmla="*/ 109598 w 490304"/>
                <a:gd name="connsiteY78" fmla="*/ 105850 h 194808"/>
                <a:gd name="connsiteX79" fmla="*/ 107290 w 490304"/>
                <a:gd name="connsiteY79" fmla="*/ 104724 h 194808"/>
                <a:gd name="connsiteX80" fmla="*/ 100368 w 490304"/>
                <a:gd name="connsiteY80" fmla="*/ 112605 h 194808"/>
                <a:gd name="connsiteX81" fmla="*/ 94600 w 490304"/>
                <a:gd name="connsiteY81" fmla="*/ 113732 h 194808"/>
                <a:gd name="connsiteX82" fmla="*/ 92293 w 490304"/>
                <a:gd name="connsiteY82" fmla="*/ 112605 h 194808"/>
                <a:gd name="connsiteX83" fmla="*/ 83063 w 490304"/>
                <a:gd name="connsiteY83" fmla="*/ 120488 h 194808"/>
                <a:gd name="connsiteX84" fmla="*/ 78449 w 490304"/>
                <a:gd name="connsiteY84" fmla="*/ 124992 h 194808"/>
                <a:gd name="connsiteX85" fmla="*/ 74988 w 490304"/>
                <a:gd name="connsiteY85" fmla="*/ 134000 h 194808"/>
                <a:gd name="connsiteX86" fmla="*/ 64605 w 490304"/>
                <a:gd name="connsiteY86" fmla="*/ 143009 h 194808"/>
                <a:gd name="connsiteX87" fmla="*/ 59990 w 490304"/>
                <a:gd name="connsiteY87" fmla="*/ 150891 h 194808"/>
                <a:gd name="connsiteX88" fmla="*/ 47301 w 490304"/>
                <a:gd name="connsiteY88" fmla="*/ 154269 h 194808"/>
                <a:gd name="connsiteX89" fmla="*/ 23073 w 490304"/>
                <a:gd name="connsiteY89" fmla="*/ 174538 h 194808"/>
                <a:gd name="connsiteX90" fmla="*/ 1154 w 490304"/>
                <a:gd name="connsiteY90" fmla="*/ 176791 h 194808"/>
                <a:gd name="connsiteX91" fmla="*/ 0 w 490304"/>
                <a:gd name="connsiteY91" fmla="*/ 168908 h 194808"/>
                <a:gd name="connsiteX92" fmla="*/ 5768 w 490304"/>
                <a:gd name="connsiteY92" fmla="*/ 163278 h 194808"/>
                <a:gd name="connsiteX93" fmla="*/ 28842 w 490304"/>
                <a:gd name="connsiteY93" fmla="*/ 149765 h 194808"/>
                <a:gd name="connsiteX94" fmla="*/ 63451 w 490304"/>
                <a:gd name="connsiteY94" fmla="*/ 119363 h 194808"/>
                <a:gd name="connsiteX95" fmla="*/ 72680 w 490304"/>
                <a:gd name="connsiteY95" fmla="*/ 105850 h 194808"/>
                <a:gd name="connsiteX96" fmla="*/ 78449 w 490304"/>
                <a:gd name="connsiteY96" fmla="*/ 85581 h 194808"/>
                <a:gd name="connsiteX97" fmla="*/ 83063 w 490304"/>
                <a:gd name="connsiteY97" fmla="*/ 76573 h 194808"/>
                <a:gd name="connsiteX98" fmla="*/ 94600 w 490304"/>
                <a:gd name="connsiteY98" fmla="*/ 63059 h 194808"/>
                <a:gd name="connsiteX99" fmla="*/ 102675 w 490304"/>
                <a:gd name="connsiteY99" fmla="*/ 57429 h 194808"/>
                <a:gd name="connsiteX100" fmla="*/ 128056 w 490304"/>
                <a:gd name="connsiteY100" fmla="*/ 46170 h 194808"/>
                <a:gd name="connsiteX101" fmla="*/ 138439 w 490304"/>
                <a:gd name="connsiteY101" fmla="*/ 45042 h 194808"/>
                <a:gd name="connsiteX102" fmla="*/ 168434 w 490304"/>
                <a:gd name="connsiteY102" fmla="*/ 49547 h 194808"/>
                <a:gd name="connsiteX103" fmla="*/ 188046 w 490304"/>
                <a:gd name="connsiteY103" fmla="*/ 45042 h 194808"/>
                <a:gd name="connsiteX104" fmla="*/ 199582 w 490304"/>
                <a:gd name="connsiteY104" fmla="*/ 37160 h 194808"/>
                <a:gd name="connsiteX105" fmla="*/ 224963 w 490304"/>
                <a:gd name="connsiteY105" fmla="*/ 15765 h 194808"/>
                <a:gd name="connsiteX106" fmla="*/ 254958 w 490304"/>
                <a:gd name="connsiteY106" fmla="*/ 1127 h 19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490304" h="194808">
                  <a:moveTo>
                    <a:pt x="422238" y="100219"/>
                  </a:moveTo>
                  <a:lnTo>
                    <a:pt x="417549" y="102049"/>
                  </a:lnTo>
                  <a:lnTo>
                    <a:pt x="422238" y="101346"/>
                  </a:lnTo>
                  <a:close/>
                  <a:moveTo>
                    <a:pt x="425700" y="97966"/>
                  </a:moveTo>
                  <a:lnTo>
                    <a:pt x="422238" y="97967"/>
                  </a:lnTo>
                  <a:lnTo>
                    <a:pt x="422238" y="97968"/>
                  </a:lnTo>
                  <a:lnTo>
                    <a:pt x="425699" y="97967"/>
                  </a:lnTo>
                  <a:close/>
                  <a:moveTo>
                    <a:pt x="431468" y="83329"/>
                  </a:moveTo>
                  <a:lnTo>
                    <a:pt x="430314" y="88959"/>
                  </a:lnTo>
                  <a:lnTo>
                    <a:pt x="425699" y="87833"/>
                  </a:lnTo>
                  <a:lnTo>
                    <a:pt x="425699" y="87834"/>
                  </a:lnTo>
                  <a:lnTo>
                    <a:pt x="430314" y="88960"/>
                  </a:lnTo>
                  <a:lnTo>
                    <a:pt x="430314" y="88959"/>
                  </a:lnTo>
                  <a:lnTo>
                    <a:pt x="430315" y="88959"/>
                  </a:lnTo>
                  <a:close/>
                  <a:moveTo>
                    <a:pt x="273416" y="0"/>
                  </a:moveTo>
                  <a:lnTo>
                    <a:pt x="309179" y="7883"/>
                  </a:lnTo>
                  <a:lnTo>
                    <a:pt x="309179" y="7882"/>
                  </a:lnTo>
                  <a:lnTo>
                    <a:pt x="333406" y="13513"/>
                  </a:lnTo>
                  <a:lnTo>
                    <a:pt x="341482" y="12387"/>
                  </a:lnTo>
                  <a:lnTo>
                    <a:pt x="349558" y="18017"/>
                  </a:lnTo>
                  <a:lnTo>
                    <a:pt x="351865" y="27025"/>
                  </a:lnTo>
                  <a:lnTo>
                    <a:pt x="357634" y="33781"/>
                  </a:lnTo>
                  <a:lnTo>
                    <a:pt x="369170" y="41665"/>
                  </a:lnTo>
                  <a:lnTo>
                    <a:pt x="391089" y="50672"/>
                  </a:lnTo>
                  <a:lnTo>
                    <a:pt x="395705" y="55177"/>
                  </a:lnTo>
                  <a:lnTo>
                    <a:pt x="404933" y="73193"/>
                  </a:lnTo>
                  <a:lnTo>
                    <a:pt x="410702" y="79949"/>
                  </a:lnTo>
                  <a:lnTo>
                    <a:pt x="418778" y="82202"/>
                  </a:lnTo>
                  <a:lnTo>
                    <a:pt x="426853" y="79950"/>
                  </a:lnTo>
                  <a:lnTo>
                    <a:pt x="426854" y="79950"/>
                  </a:lnTo>
                  <a:lnTo>
                    <a:pt x="431467" y="72068"/>
                  </a:lnTo>
                  <a:lnTo>
                    <a:pt x="439543" y="68690"/>
                  </a:lnTo>
                  <a:lnTo>
                    <a:pt x="448773" y="70942"/>
                  </a:lnTo>
                  <a:lnTo>
                    <a:pt x="462616" y="83329"/>
                  </a:lnTo>
                  <a:lnTo>
                    <a:pt x="471846" y="87833"/>
                  </a:lnTo>
                  <a:lnTo>
                    <a:pt x="485690" y="94589"/>
                  </a:lnTo>
                  <a:lnTo>
                    <a:pt x="486844" y="99093"/>
                  </a:lnTo>
                  <a:lnTo>
                    <a:pt x="483382" y="113733"/>
                  </a:lnTo>
                  <a:lnTo>
                    <a:pt x="484536" y="118236"/>
                  </a:lnTo>
                  <a:lnTo>
                    <a:pt x="490304" y="121615"/>
                  </a:lnTo>
                  <a:lnTo>
                    <a:pt x="485690" y="129496"/>
                  </a:lnTo>
                  <a:lnTo>
                    <a:pt x="472999" y="138505"/>
                  </a:lnTo>
                  <a:lnTo>
                    <a:pt x="471846" y="147514"/>
                  </a:lnTo>
                  <a:lnTo>
                    <a:pt x="474154" y="150891"/>
                  </a:lnTo>
                  <a:lnTo>
                    <a:pt x="458001" y="156522"/>
                  </a:lnTo>
                  <a:lnTo>
                    <a:pt x="445312" y="162153"/>
                  </a:lnTo>
                  <a:lnTo>
                    <a:pt x="410702" y="186924"/>
                  </a:lnTo>
                  <a:lnTo>
                    <a:pt x="396858" y="193682"/>
                  </a:lnTo>
                  <a:lnTo>
                    <a:pt x="384167" y="194808"/>
                  </a:lnTo>
                  <a:lnTo>
                    <a:pt x="365709" y="193682"/>
                  </a:lnTo>
                  <a:lnTo>
                    <a:pt x="346097" y="190303"/>
                  </a:lnTo>
                  <a:lnTo>
                    <a:pt x="327638" y="184673"/>
                  </a:lnTo>
                  <a:lnTo>
                    <a:pt x="328792" y="181295"/>
                  </a:lnTo>
                  <a:lnTo>
                    <a:pt x="333398" y="177441"/>
                  </a:lnTo>
                  <a:lnTo>
                    <a:pt x="333396" y="177442"/>
                  </a:lnTo>
                  <a:lnTo>
                    <a:pt x="328791" y="181295"/>
                  </a:lnTo>
                  <a:lnTo>
                    <a:pt x="327638" y="184673"/>
                  </a:lnTo>
                  <a:lnTo>
                    <a:pt x="303411" y="176790"/>
                  </a:lnTo>
                  <a:lnTo>
                    <a:pt x="282645" y="174537"/>
                  </a:lnTo>
                  <a:lnTo>
                    <a:pt x="242268" y="181295"/>
                  </a:lnTo>
                  <a:lnTo>
                    <a:pt x="206505" y="179043"/>
                  </a:lnTo>
                  <a:lnTo>
                    <a:pt x="168434" y="190303"/>
                  </a:lnTo>
                  <a:lnTo>
                    <a:pt x="178817" y="170034"/>
                  </a:lnTo>
                  <a:lnTo>
                    <a:pt x="178817" y="152018"/>
                  </a:lnTo>
                  <a:lnTo>
                    <a:pt x="182278" y="147513"/>
                  </a:lnTo>
                  <a:lnTo>
                    <a:pt x="182278" y="137378"/>
                  </a:lnTo>
                  <a:lnTo>
                    <a:pt x="185738" y="128370"/>
                  </a:lnTo>
                  <a:lnTo>
                    <a:pt x="184585" y="119363"/>
                  </a:lnTo>
                  <a:lnTo>
                    <a:pt x="178817" y="117110"/>
                  </a:lnTo>
                  <a:lnTo>
                    <a:pt x="174202" y="118236"/>
                  </a:lnTo>
                  <a:lnTo>
                    <a:pt x="164973" y="122740"/>
                  </a:lnTo>
                  <a:lnTo>
                    <a:pt x="159204" y="122740"/>
                  </a:lnTo>
                  <a:lnTo>
                    <a:pt x="153436" y="122740"/>
                  </a:lnTo>
                  <a:lnTo>
                    <a:pt x="143053" y="118235"/>
                  </a:lnTo>
                  <a:lnTo>
                    <a:pt x="132671" y="115983"/>
                  </a:lnTo>
                  <a:lnTo>
                    <a:pt x="114213" y="118235"/>
                  </a:lnTo>
                  <a:lnTo>
                    <a:pt x="111906" y="101345"/>
                  </a:lnTo>
                  <a:lnTo>
                    <a:pt x="109598" y="101346"/>
                  </a:lnTo>
                  <a:lnTo>
                    <a:pt x="109598" y="105850"/>
                  </a:lnTo>
                  <a:lnTo>
                    <a:pt x="107290" y="104724"/>
                  </a:lnTo>
                  <a:lnTo>
                    <a:pt x="100368" y="112605"/>
                  </a:lnTo>
                  <a:lnTo>
                    <a:pt x="94600" y="113732"/>
                  </a:lnTo>
                  <a:lnTo>
                    <a:pt x="92293" y="112605"/>
                  </a:lnTo>
                  <a:lnTo>
                    <a:pt x="83063" y="120488"/>
                  </a:lnTo>
                  <a:lnTo>
                    <a:pt x="78449" y="124992"/>
                  </a:lnTo>
                  <a:lnTo>
                    <a:pt x="74988" y="134000"/>
                  </a:lnTo>
                  <a:lnTo>
                    <a:pt x="64605" y="143009"/>
                  </a:lnTo>
                  <a:lnTo>
                    <a:pt x="59990" y="150891"/>
                  </a:lnTo>
                  <a:lnTo>
                    <a:pt x="47301" y="154269"/>
                  </a:lnTo>
                  <a:lnTo>
                    <a:pt x="23073" y="174538"/>
                  </a:lnTo>
                  <a:lnTo>
                    <a:pt x="1154" y="176791"/>
                  </a:lnTo>
                  <a:lnTo>
                    <a:pt x="0" y="168908"/>
                  </a:lnTo>
                  <a:lnTo>
                    <a:pt x="5768" y="163278"/>
                  </a:lnTo>
                  <a:lnTo>
                    <a:pt x="28842" y="149765"/>
                  </a:lnTo>
                  <a:lnTo>
                    <a:pt x="63451" y="119363"/>
                  </a:lnTo>
                  <a:lnTo>
                    <a:pt x="72680" y="105850"/>
                  </a:lnTo>
                  <a:lnTo>
                    <a:pt x="78449" y="85581"/>
                  </a:lnTo>
                  <a:lnTo>
                    <a:pt x="83063" y="76573"/>
                  </a:lnTo>
                  <a:lnTo>
                    <a:pt x="94600" y="63059"/>
                  </a:lnTo>
                  <a:lnTo>
                    <a:pt x="102675" y="57429"/>
                  </a:lnTo>
                  <a:lnTo>
                    <a:pt x="128056" y="46170"/>
                  </a:lnTo>
                  <a:lnTo>
                    <a:pt x="138439" y="45042"/>
                  </a:lnTo>
                  <a:lnTo>
                    <a:pt x="168434" y="49547"/>
                  </a:lnTo>
                  <a:lnTo>
                    <a:pt x="188046" y="45042"/>
                  </a:lnTo>
                  <a:lnTo>
                    <a:pt x="199582" y="37160"/>
                  </a:lnTo>
                  <a:lnTo>
                    <a:pt x="224963" y="15765"/>
                  </a:lnTo>
                  <a:lnTo>
                    <a:pt x="254958" y="1127"/>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85" name="Groningen">
              <a:extLst>
                <a:ext uri="{FF2B5EF4-FFF2-40B4-BE49-F238E27FC236}">
                  <a16:creationId xmlns:a16="http://schemas.microsoft.com/office/drawing/2014/main" id="{2DF208D2-78E0-4EF1-98DA-438F8EC76123}"/>
                </a:ext>
              </a:extLst>
            </p:cNvPr>
            <p:cNvSpPr/>
            <p:nvPr/>
          </p:nvSpPr>
          <p:spPr>
            <a:xfrm>
              <a:off x="7339040" y="1519559"/>
              <a:ext cx="317404" cy="361502"/>
            </a:xfrm>
            <a:custGeom>
              <a:avLst/>
              <a:gdLst>
                <a:gd name="connsiteX0" fmla="*/ 275724 w 312641"/>
                <a:gd name="connsiteY0" fmla="*/ 0 h 343443"/>
                <a:gd name="connsiteX1" fmla="*/ 279185 w 312641"/>
                <a:gd name="connsiteY1" fmla="*/ 2252 h 343443"/>
                <a:gd name="connsiteX2" fmla="*/ 281492 w 312641"/>
                <a:gd name="connsiteY2" fmla="*/ 3378 h 343443"/>
                <a:gd name="connsiteX3" fmla="*/ 282646 w 312641"/>
                <a:gd name="connsiteY3" fmla="*/ 2252 h 343443"/>
                <a:gd name="connsiteX4" fmla="*/ 286107 w 312641"/>
                <a:gd name="connsiteY4" fmla="*/ 2252 h 343443"/>
                <a:gd name="connsiteX5" fmla="*/ 287260 w 312641"/>
                <a:gd name="connsiteY5" fmla="*/ 5630 h 343443"/>
                <a:gd name="connsiteX6" fmla="*/ 283800 w 312641"/>
                <a:gd name="connsiteY6" fmla="*/ 10134 h 343443"/>
                <a:gd name="connsiteX7" fmla="*/ 291875 w 312641"/>
                <a:gd name="connsiteY7" fmla="*/ 23647 h 343443"/>
                <a:gd name="connsiteX8" fmla="*/ 294183 w 312641"/>
                <a:gd name="connsiteY8" fmla="*/ 21394 h 343443"/>
                <a:gd name="connsiteX9" fmla="*/ 299951 w 312641"/>
                <a:gd name="connsiteY9" fmla="*/ 29277 h 343443"/>
                <a:gd name="connsiteX10" fmla="*/ 303411 w 312641"/>
                <a:gd name="connsiteY10" fmla="*/ 24773 h 343443"/>
                <a:gd name="connsiteX11" fmla="*/ 311487 w 312641"/>
                <a:gd name="connsiteY11" fmla="*/ 34907 h 343443"/>
                <a:gd name="connsiteX12" fmla="*/ 309180 w 312641"/>
                <a:gd name="connsiteY12" fmla="*/ 36034 h 343443"/>
                <a:gd name="connsiteX13" fmla="*/ 311487 w 312641"/>
                <a:gd name="connsiteY13" fmla="*/ 41664 h 343443"/>
                <a:gd name="connsiteX14" fmla="*/ 309180 w 312641"/>
                <a:gd name="connsiteY14" fmla="*/ 42790 h 343443"/>
                <a:gd name="connsiteX15" fmla="*/ 312641 w 312641"/>
                <a:gd name="connsiteY15" fmla="*/ 48420 h 343443"/>
                <a:gd name="connsiteX16" fmla="*/ 262620 w 312641"/>
                <a:gd name="connsiteY16" fmla="*/ 79539 h 343443"/>
                <a:gd name="connsiteX17" fmla="*/ 263181 w 312641"/>
                <a:gd name="connsiteY17" fmla="*/ 80908 h 343443"/>
                <a:gd name="connsiteX18" fmla="*/ 261623 w 312641"/>
                <a:gd name="connsiteY18" fmla="*/ 81668 h 343443"/>
                <a:gd name="connsiteX19" fmla="*/ 263960 w 312641"/>
                <a:gd name="connsiteY19" fmla="*/ 85469 h 343443"/>
                <a:gd name="connsiteX20" fmla="*/ 193081 w 312641"/>
                <a:gd name="connsiteY20" fmla="*/ 129563 h 343443"/>
                <a:gd name="connsiteX21" fmla="*/ 183219 w 312641"/>
                <a:gd name="connsiteY21" fmla="*/ 136127 h 343443"/>
                <a:gd name="connsiteX22" fmla="*/ 183432 w 312641"/>
                <a:gd name="connsiteY22" fmla="*/ 137377 h 343443"/>
                <a:gd name="connsiteX23" fmla="*/ 179971 w 312641"/>
                <a:gd name="connsiteY23" fmla="*/ 140755 h 343443"/>
                <a:gd name="connsiteX24" fmla="*/ 183432 w 312641"/>
                <a:gd name="connsiteY24" fmla="*/ 144134 h 343443"/>
                <a:gd name="connsiteX25" fmla="*/ 188047 w 312641"/>
                <a:gd name="connsiteY25" fmla="*/ 159898 h 343443"/>
                <a:gd name="connsiteX26" fmla="*/ 207659 w 312641"/>
                <a:gd name="connsiteY26" fmla="*/ 184671 h 343443"/>
                <a:gd name="connsiteX27" fmla="*/ 190354 w 312641"/>
                <a:gd name="connsiteY27" fmla="*/ 199310 h 343443"/>
                <a:gd name="connsiteX28" fmla="*/ 186008 w 312641"/>
                <a:gd name="connsiteY28" fmla="*/ 200724 h 343443"/>
                <a:gd name="connsiteX29" fmla="*/ 186850 w 312641"/>
                <a:gd name="connsiteY29" fmla="*/ 201027 h 343443"/>
                <a:gd name="connsiteX30" fmla="*/ 190745 w 312641"/>
                <a:gd name="connsiteY30" fmla="*/ 212430 h 343443"/>
                <a:gd name="connsiteX31" fmla="*/ 201649 w 312641"/>
                <a:gd name="connsiteY31" fmla="*/ 219272 h 343443"/>
                <a:gd name="connsiteX32" fmla="*/ 205543 w 312641"/>
                <a:gd name="connsiteY32" fmla="*/ 223834 h 343443"/>
                <a:gd name="connsiteX33" fmla="*/ 210217 w 312641"/>
                <a:gd name="connsiteY33" fmla="*/ 233717 h 343443"/>
                <a:gd name="connsiteX34" fmla="*/ 207102 w 312641"/>
                <a:gd name="connsiteY34" fmla="*/ 237518 h 343443"/>
                <a:gd name="connsiteX35" fmla="*/ 207570 w 312641"/>
                <a:gd name="connsiteY35" fmla="*/ 238585 h 343443"/>
                <a:gd name="connsiteX36" fmla="*/ 220349 w 312641"/>
                <a:gd name="connsiteY36" fmla="*/ 246604 h 343443"/>
                <a:gd name="connsiteX37" fmla="*/ 226117 w 312641"/>
                <a:gd name="connsiteY37" fmla="*/ 253360 h 343443"/>
                <a:gd name="connsiteX38" fmla="*/ 233039 w 312641"/>
                <a:gd name="connsiteY38" fmla="*/ 267998 h 343443"/>
                <a:gd name="connsiteX39" fmla="*/ 228425 w 312641"/>
                <a:gd name="connsiteY39" fmla="*/ 273629 h 343443"/>
                <a:gd name="connsiteX40" fmla="*/ 231885 w 312641"/>
                <a:gd name="connsiteY40" fmla="*/ 281511 h 343443"/>
                <a:gd name="connsiteX41" fmla="*/ 238807 w 312641"/>
                <a:gd name="connsiteY41" fmla="*/ 317544 h 343443"/>
                <a:gd name="connsiteX42" fmla="*/ 213427 w 312641"/>
                <a:gd name="connsiteY42" fmla="*/ 326553 h 343443"/>
                <a:gd name="connsiteX43" fmla="*/ 177664 w 312641"/>
                <a:gd name="connsiteY43" fmla="*/ 343443 h 343443"/>
                <a:gd name="connsiteX44" fmla="*/ 179971 w 312641"/>
                <a:gd name="connsiteY44" fmla="*/ 340065 h 343443"/>
                <a:gd name="connsiteX45" fmla="*/ 177664 w 312641"/>
                <a:gd name="connsiteY45" fmla="*/ 335561 h 343443"/>
                <a:gd name="connsiteX46" fmla="*/ 178817 w 312641"/>
                <a:gd name="connsiteY46" fmla="*/ 332183 h 343443"/>
                <a:gd name="connsiteX47" fmla="*/ 170741 w 312641"/>
                <a:gd name="connsiteY47" fmla="*/ 327679 h 343443"/>
                <a:gd name="connsiteX48" fmla="*/ 169588 w 312641"/>
                <a:gd name="connsiteY48" fmla="*/ 325426 h 343443"/>
                <a:gd name="connsiteX49" fmla="*/ 173049 w 312641"/>
                <a:gd name="connsiteY49" fmla="*/ 322049 h 343443"/>
                <a:gd name="connsiteX50" fmla="*/ 170741 w 312641"/>
                <a:gd name="connsiteY50" fmla="*/ 322049 h 343443"/>
                <a:gd name="connsiteX51" fmla="*/ 169588 w 312641"/>
                <a:gd name="connsiteY51" fmla="*/ 316418 h 343443"/>
                <a:gd name="connsiteX52" fmla="*/ 163820 w 312641"/>
                <a:gd name="connsiteY52" fmla="*/ 310788 h 343443"/>
                <a:gd name="connsiteX53" fmla="*/ 160358 w 312641"/>
                <a:gd name="connsiteY53" fmla="*/ 301780 h 343443"/>
                <a:gd name="connsiteX54" fmla="*/ 158051 w 312641"/>
                <a:gd name="connsiteY54" fmla="*/ 299527 h 343443"/>
                <a:gd name="connsiteX55" fmla="*/ 155744 w 312641"/>
                <a:gd name="connsiteY55" fmla="*/ 300654 h 343443"/>
                <a:gd name="connsiteX56" fmla="*/ 155744 w 312641"/>
                <a:gd name="connsiteY56" fmla="*/ 295024 h 343443"/>
                <a:gd name="connsiteX57" fmla="*/ 147668 w 312641"/>
                <a:gd name="connsiteY57" fmla="*/ 289394 h 343443"/>
                <a:gd name="connsiteX58" fmla="*/ 140747 w 312641"/>
                <a:gd name="connsiteY58" fmla="*/ 280385 h 343443"/>
                <a:gd name="connsiteX59" fmla="*/ 138439 w 312641"/>
                <a:gd name="connsiteY59" fmla="*/ 281511 h 343443"/>
                <a:gd name="connsiteX60" fmla="*/ 136132 w 312641"/>
                <a:gd name="connsiteY60" fmla="*/ 279259 h 343443"/>
                <a:gd name="connsiteX61" fmla="*/ 129210 w 312641"/>
                <a:gd name="connsiteY61" fmla="*/ 279259 h 343443"/>
                <a:gd name="connsiteX62" fmla="*/ 124595 w 312641"/>
                <a:gd name="connsiteY62" fmla="*/ 266872 h 343443"/>
                <a:gd name="connsiteX63" fmla="*/ 128056 w 312641"/>
                <a:gd name="connsiteY63" fmla="*/ 262368 h 343443"/>
                <a:gd name="connsiteX64" fmla="*/ 124595 w 312641"/>
                <a:gd name="connsiteY64" fmla="*/ 258990 h 343443"/>
                <a:gd name="connsiteX65" fmla="*/ 121134 w 312641"/>
                <a:gd name="connsiteY65" fmla="*/ 252234 h 343443"/>
                <a:gd name="connsiteX66" fmla="*/ 122288 w 312641"/>
                <a:gd name="connsiteY66" fmla="*/ 249982 h 343443"/>
                <a:gd name="connsiteX67" fmla="*/ 103829 w 312641"/>
                <a:gd name="connsiteY67" fmla="*/ 260116 h 343443"/>
                <a:gd name="connsiteX68" fmla="*/ 99214 w 312641"/>
                <a:gd name="connsiteY68" fmla="*/ 240973 h 343443"/>
                <a:gd name="connsiteX69" fmla="*/ 87825 w 312641"/>
                <a:gd name="connsiteY69" fmla="*/ 220964 h 343443"/>
                <a:gd name="connsiteX70" fmla="*/ 80757 w 312641"/>
                <a:gd name="connsiteY70" fmla="*/ 225209 h 343443"/>
                <a:gd name="connsiteX71" fmla="*/ 72681 w 312641"/>
                <a:gd name="connsiteY71" fmla="*/ 216201 h 343443"/>
                <a:gd name="connsiteX72" fmla="*/ 69220 w 312641"/>
                <a:gd name="connsiteY72" fmla="*/ 198184 h 343443"/>
                <a:gd name="connsiteX73" fmla="*/ 44993 w 312641"/>
                <a:gd name="connsiteY73" fmla="*/ 190301 h 343443"/>
                <a:gd name="connsiteX74" fmla="*/ 32303 w 312641"/>
                <a:gd name="connsiteY74" fmla="*/ 193680 h 343443"/>
                <a:gd name="connsiteX75" fmla="*/ 29995 w 312641"/>
                <a:gd name="connsiteY75" fmla="*/ 189175 h 343443"/>
                <a:gd name="connsiteX76" fmla="*/ 23074 w 312641"/>
                <a:gd name="connsiteY76" fmla="*/ 184671 h 343443"/>
                <a:gd name="connsiteX77" fmla="*/ 1154 w 312641"/>
                <a:gd name="connsiteY77" fmla="*/ 191428 h 343443"/>
                <a:gd name="connsiteX78" fmla="*/ 0 w 312641"/>
                <a:gd name="connsiteY78" fmla="*/ 188049 h 343443"/>
                <a:gd name="connsiteX79" fmla="*/ 4615 w 312641"/>
                <a:gd name="connsiteY79" fmla="*/ 184671 h 343443"/>
                <a:gd name="connsiteX80" fmla="*/ 4615 w 312641"/>
                <a:gd name="connsiteY80" fmla="*/ 181293 h 343443"/>
                <a:gd name="connsiteX81" fmla="*/ 1154 w 312641"/>
                <a:gd name="connsiteY81" fmla="*/ 179041 h 343443"/>
                <a:gd name="connsiteX82" fmla="*/ 16152 w 312641"/>
                <a:gd name="connsiteY82" fmla="*/ 118234 h 343443"/>
                <a:gd name="connsiteX83" fmla="*/ 17305 w 312641"/>
                <a:gd name="connsiteY83" fmla="*/ 108100 h 343443"/>
                <a:gd name="connsiteX84" fmla="*/ 25381 w 312641"/>
                <a:gd name="connsiteY84" fmla="*/ 110352 h 343443"/>
                <a:gd name="connsiteX85" fmla="*/ 25381 w 312641"/>
                <a:gd name="connsiteY85" fmla="*/ 112604 h 343443"/>
                <a:gd name="connsiteX86" fmla="*/ 28842 w 312641"/>
                <a:gd name="connsiteY86" fmla="*/ 113730 h 343443"/>
                <a:gd name="connsiteX87" fmla="*/ 28842 w 312641"/>
                <a:gd name="connsiteY87" fmla="*/ 115982 h 343443"/>
                <a:gd name="connsiteX88" fmla="*/ 32303 w 312641"/>
                <a:gd name="connsiteY88" fmla="*/ 115982 h 343443"/>
                <a:gd name="connsiteX89" fmla="*/ 35764 w 312641"/>
                <a:gd name="connsiteY89" fmla="*/ 111478 h 343443"/>
                <a:gd name="connsiteX90" fmla="*/ 39225 w 312641"/>
                <a:gd name="connsiteY90" fmla="*/ 112604 h 343443"/>
                <a:gd name="connsiteX91" fmla="*/ 48454 w 312641"/>
                <a:gd name="connsiteY91" fmla="*/ 101344 h 343443"/>
                <a:gd name="connsiteX92" fmla="*/ 44993 w 312641"/>
                <a:gd name="connsiteY92" fmla="*/ 95713 h 343443"/>
                <a:gd name="connsiteX93" fmla="*/ 47300 w 312641"/>
                <a:gd name="connsiteY93" fmla="*/ 96839 h 343443"/>
                <a:gd name="connsiteX94" fmla="*/ 55376 w 312641"/>
                <a:gd name="connsiteY94" fmla="*/ 93461 h 343443"/>
                <a:gd name="connsiteX95" fmla="*/ 61144 w 312641"/>
                <a:gd name="connsiteY95" fmla="*/ 96839 h 343443"/>
                <a:gd name="connsiteX96" fmla="*/ 63452 w 312641"/>
                <a:gd name="connsiteY96" fmla="*/ 94588 h 343443"/>
                <a:gd name="connsiteX97" fmla="*/ 76142 w 312641"/>
                <a:gd name="connsiteY97" fmla="*/ 90083 h 343443"/>
                <a:gd name="connsiteX98" fmla="*/ 74988 w 312641"/>
                <a:gd name="connsiteY98" fmla="*/ 84453 h 343443"/>
                <a:gd name="connsiteX99" fmla="*/ 86525 w 312641"/>
                <a:gd name="connsiteY99" fmla="*/ 83327 h 343443"/>
                <a:gd name="connsiteX100" fmla="*/ 89986 w 312641"/>
                <a:gd name="connsiteY100" fmla="*/ 87831 h 343443"/>
                <a:gd name="connsiteX101" fmla="*/ 103829 w 312641"/>
                <a:gd name="connsiteY101" fmla="*/ 84453 h 343443"/>
                <a:gd name="connsiteX102" fmla="*/ 104984 w 312641"/>
                <a:gd name="connsiteY102" fmla="*/ 87831 h 343443"/>
                <a:gd name="connsiteX103" fmla="*/ 123442 w 312641"/>
                <a:gd name="connsiteY103" fmla="*/ 87831 h 343443"/>
                <a:gd name="connsiteX104" fmla="*/ 123442 w 312641"/>
                <a:gd name="connsiteY104" fmla="*/ 86705 h 343443"/>
                <a:gd name="connsiteX105" fmla="*/ 125750 w 312641"/>
                <a:gd name="connsiteY105" fmla="*/ 86705 h 343443"/>
                <a:gd name="connsiteX106" fmla="*/ 124595 w 312641"/>
                <a:gd name="connsiteY106" fmla="*/ 96839 h 343443"/>
                <a:gd name="connsiteX107" fmla="*/ 144208 w 312641"/>
                <a:gd name="connsiteY107" fmla="*/ 100218 h 343443"/>
                <a:gd name="connsiteX108" fmla="*/ 144208 w 312641"/>
                <a:gd name="connsiteY108" fmla="*/ 104721 h 343443"/>
                <a:gd name="connsiteX109" fmla="*/ 156898 w 312641"/>
                <a:gd name="connsiteY109" fmla="*/ 103596 h 343443"/>
                <a:gd name="connsiteX110" fmla="*/ 158052 w 312641"/>
                <a:gd name="connsiteY110" fmla="*/ 106974 h 343443"/>
                <a:gd name="connsiteX111" fmla="*/ 163855 w 312641"/>
                <a:gd name="connsiteY111" fmla="*/ 105760 h 343443"/>
                <a:gd name="connsiteX112" fmla="*/ 170414 w 312641"/>
                <a:gd name="connsiteY112" fmla="*/ 88225 h 343443"/>
                <a:gd name="connsiteX113" fmla="*/ 163819 w 312641"/>
                <a:gd name="connsiteY113" fmla="*/ 79949 h 343443"/>
                <a:gd name="connsiteX114" fmla="*/ 190353 w 312641"/>
                <a:gd name="connsiteY114" fmla="*/ 9008 h 343443"/>
                <a:gd name="connsiteX115" fmla="*/ 214580 w 312641"/>
                <a:gd name="connsiteY115" fmla="*/ 16891 h 343443"/>
                <a:gd name="connsiteX116" fmla="*/ 227271 w 312641"/>
                <a:gd name="connsiteY116" fmla="*/ 27025 h 343443"/>
                <a:gd name="connsiteX117" fmla="*/ 243422 w 312641"/>
                <a:gd name="connsiteY117" fmla="*/ 10134 h 343443"/>
                <a:gd name="connsiteX118" fmla="*/ 244575 w 312641"/>
                <a:gd name="connsiteY118" fmla="*/ 10134 h 343443"/>
                <a:gd name="connsiteX119" fmla="*/ 246882 w 312641"/>
                <a:gd name="connsiteY119" fmla="*/ 5630 h 343443"/>
                <a:gd name="connsiteX120" fmla="*/ 265341 w 312641"/>
                <a:gd name="connsiteY120" fmla="*/ 13512 h 343443"/>
                <a:gd name="connsiteX121" fmla="*/ 267648 w 312641"/>
                <a:gd name="connsiteY121" fmla="*/ 13512 h 343443"/>
                <a:gd name="connsiteX122" fmla="*/ 271109 w 312641"/>
                <a:gd name="connsiteY122" fmla="*/ 3378 h 3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312641" h="343443">
                  <a:moveTo>
                    <a:pt x="275724" y="0"/>
                  </a:moveTo>
                  <a:lnTo>
                    <a:pt x="279185" y="2252"/>
                  </a:lnTo>
                  <a:lnTo>
                    <a:pt x="281492" y="3378"/>
                  </a:lnTo>
                  <a:lnTo>
                    <a:pt x="282646" y="2252"/>
                  </a:lnTo>
                  <a:lnTo>
                    <a:pt x="286107" y="2252"/>
                  </a:lnTo>
                  <a:lnTo>
                    <a:pt x="287260" y="5630"/>
                  </a:lnTo>
                  <a:lnTo>
                    <a:pt x="283800" y="10134"/>
                  </a:lnTo>
                  <a:lnTo>
                    <a:pt x="291875" y="23647"/>
                  </a:lnTo>
                  <a:lnTo>
                    <a:pt x="294183" y="21394"/>
                  </a:lnTo>
                  <a:lnTo>
                    <a:pt x="299951" y="29277"/>
                  </a:lnTo>
                  <a:lnTo>
                    <a:pt x="303411" y="24773"/>
                  </a:lnTo>
                  <a:lnTo>
                    <a:pt x="311487" y="34907"/>
                  </a:lnTo>
                  <a:lnTo>
                    <a:pt x="309180" y="36034"/>
                  </a:lnTo>
                  <a:lnTo>
                    <a:pt x="311487" y="41664"/>
                  </a:lnTo>
                  <a:lnTo>
                    <a:pt x="309180" y="42790"/>
                  </a:lnTo>
                  <a:lnTo>
                    <a:pt x="312641" y="48420"/>
                  </a:lnTo>
                  <a:lnTo>
                    <a:pt x="262620" y="79539"/>
                  </a:lnTo>
                  <a:lnTo>
                    <a:pt x="263181" y="80908"/>
                  </a:lnTo>
                  <a:lnTo>
                    <a:pt x="261623" y="81668"/>
                  </a:lnTo>
                  <a:lnTo>
                    <a:pt x="263960" y="85469"/>
                  </a:lnTo>
                  <a:lnTo>
                    <a:pt x="193081" y="129563"/>
                  </a:lnTo>
                  <a:lnTo>
                    <a:pt x="183219" y="136127"/>
                  </a:lnTo>
                  <a:lnTo>
                    <a:pt x="183432" y="137377"/>
                  </a:lnTo>
                  <a:lnTo>
                    <a:pt x="179971" y="140755"/>
                  </a:lnTo>
                  <a:lnTo>
                    <a:pt x="183432" y="144134"/>
                  </a:lnTo>
                  <a:lnTo>
                    <a:pt x="188047" y="159898"/>
                  </a:lnTo>
                  <a:lnTo>
                    <a:pt x="207659" y="184671"/>
                  </a:lnTo>
                  <a:lnTo>
                    <a:pt x="190354" y="199310"/>
                  </a:lnTo>
                  <a:lnTo>
                    <a:pt x="186008" y="200724"/>
                  </a:lnTo>
                  <a:lnTo>
                    <a:pt x="186850" y="201027"/>
                  </a:lnTo>
                  <a:lnTo>
                    <a:pt x="190745" y="212430"/>
                  </a:lnTo>
                  <a:lnTo>
                    <a:pt x="201649" y="219272"/>
                  </a:lnTo>
                  <a:lnTo>
                    <a:pt x="205543" y="223834"/>
                  </a:lnTo>
                  <a:lnTo>
                    <a:pt x="210217" y="233717"/>
                  </a:lnTo>
                  <a:lnTo>
                    <a:pt x="207102" y="237518"/>
                  </a:lnTo>
                  <a:lnTo>
                    <a:pt x="207570" y="238585"/>
                  </a:lnTo>
                  <a:lnTo>
                    <a:pt x="220349" y="246604"/>
                  </a:lnTo>
                  <a:lnTo>
                    <a:pt x="226117" y="253360"/>
                  </a:lnTo>
                  <a:lnTo>
                    <a:pt x="233039" y="267998"/>
                  </a:lnTo>
                  <a:lnTo>
                    <a:pt x="228425" y="273629"/>
                  </a:lnTo>
                  <a:lnTo>
                    <a:pt x="231885" y="281511"/>
                  </a:lnTo>
                  <a:lnTo>
                    <a:pt x="238807" y="317544"/>
                  </a:lnTo>
                  <a:lnTo>
                    <a:pt x="213427" y="326553"/>
                  </a:lnTo>
                  <a:lnTo>
                    <a:pt x="177664" y="343443"/>
                  </a:lnTo>
                  <a:lnTo>
                    <a:pt x="179971" y="340065"/>
                  </a:lnTo>
                  <a:lnTo>
                    <a:pt x="177664" y="335561"/>
                  </a:lnTo>
                  <a:lnTo>
                    <a:pt x="178817" y="332183"/>
                  </a:lnTo>
                  <a:lnTo>
                    <a:pt x="170741" y="327679"/>
                  </a:lnTo>
                  <a:lnTo>
                    <a:pt x="169588" y="325426"/>
                  </a:lnTo>
                  <a:lnTo>
                    <a:pt x="173049" y="322049"/>
                  </a:lnTo>
                  <a:lnTo>
                    <a:pt x="170741" y="322049"/>
                  </a:lnTo>
                  <a:lnTo>
                    <a:pt x="169588" y="316418"/>
                  </a:lnTo>
                  <a:lnTo>
                    <a:pt x="163820" y="310788"/>
                  </a:lnTo>
                  <a:lnTo>
                    <a:pt x="160358" y="301780"/>
                  </a:lnTo>
                  <a:lnTo>
                    <a:pt x="158051" y="299527"/>
                  </a:lnTo>
                  <a:lnTo>
                    <a:pt x="155744" y="300654"/>
                  </a:lnTo>
                  <a:lnTo>
                    <a:pt x="155744" y="295024"/>
                  </a:lnTo>
                  <a:lnTo>
                    <a:pt x="147668" y="289394"/>
                  </a:lnTo>
                  <a:lnTo>
                    <a:pt x="140747" y="280385"/>
                  </a:lnTo>
                  <a:lnTo>
                    <a:pt x="138439" y="281511"/>
                  </a:lnTo>
                  <a:lnTo>
                    <a:pt x="136132" y="279259"/>
                  </a:lnTo>
                  <a:lnTo>
                    <a:pt x="129210" y="279259"/>
                  </a:lnTo>
                  <a:lnTo>
                    <a:pt x="124595" y="266872"/>
                  </a:lnTo>
                  <a:lnTo>
                    <a:pt x="128056" y="262368"/>
                  </a:lnTo>
                  <a:lnTo>
                    <a:pt x="124595" y="258990"/>
                  </a:lnTo>
                  <a:lnTo>
                    <a:pt x="121134" y="252234"/>
                  </a:lnTo>
                  <a:lnTo>
                    <a:pt x="122288" y="249982"/>
                  </a:lnTo>
                  <a:lnTo>
                    <a:pt x="103829" y="260116"/>
                  </a:lnTo>
                  <a:lnTo>
                    <a:pt x="99214" y="240973"/>
                  </a:lnTo>
                  <a:lnTo>
                    <a:pt x="87825" y="220964"/>
                  </a:lnTo>
                  <a:lnTo>
                    <a:pt x="80757" y="225209"/>
                  </a:lnTo>
                  <a:lnTo>
                    <a:pt x="72681" y="216201"/>
                  </a:lnTo>
                  <a:lnTo>
                    <a:pt x="69220" y="198184"/>
                  </a:lnTo>
                  <a:lnTo>
                    <a:pt x="44993" y="190301"/>
                  </a:lnTo>
                  <a:lnTo>
                    <a:pt x="32303" y="193680"/>
                  </a:lnTo>
                  <a:lnTo>
                    <a:pt x="29995" y="189175"/>
                  </a:lnTo>
                  <a:lnTo>
                    <a:pt x="23074" y="184671"/>
                  </a:lnTo>
                  <a:lnTo>
                    <a:pt x="1154" y="191428"/>
                  </a:lnTo>
                  <a:lnTo>
                    <a:pt x="0" y="188049"/>
                  </a:lnTo>
                  <a:lnTo>
                    <a:pt x="4615" y="184671"/>
                  </a:lnTo>
                  <a:lnTo>
                    <a:pt x="4615" y="181293"/>
                  </a:lnTo>
                  <a:lnTo>
                    <a:pt x="1154" y="179041"/>
                  </a:lnTo>
                  <a:lnTo>
                    <a:pt x="16152" y="118234"/>
                  </a:lnTo>
                  <a:lnTo>
                    <a:pt x="17305" y="108100"/>
                  </a:lnTo>
                  <a:lnTo>
                    <a:pt x="25381" y="110352"/>
                  </a:lnTo>
                  <a:lnTo>
                    <a:pt x="25381" y="112604"/>
                  </a:lnTo>
                  <a:lnTo>
                    <a:pt x="28842" y="113730"/>
                  </a:lnTo>
                  <a:lnTo>
                    <a:pt x="28842" y="115982"/>
                  </a:lnTo>
                  <a:lnTo>
                    <a:pt x="32303" y="115982"/>
                  </a:lnTo>
                  <a:lnTo>
                    <a:pt x="35764" y="111478"/>
                  </a:lnTo>
                  <a:lnTo>
                    <a:pt x="39225" y="112604"/>
                  </a:lnTo>
                  <a:lnTo>
                    <a:pt x="48454" y="101344"/>
                  </a:lnTo>
                  <a:lnTo>
                    <a:pt x="44993" y="95713"/>
                  </a:lnTo>
                  <a:lnTo>
                    <a:pt x="47300" y="96839"/>
                  </a:lnTo>
                  <a:lnTo>
                    <a:pt x="55376" y="93461"/>
                  </a:lnTo>
                  <a:lnTo>
                    <a:pt x="61144" y="96839"/>
                  </a:lnTo>
                  <a:lnTo>
                    <a:pt x="63452" y="94588"/>
                  </a:lnTo>
                  <a:lnTo>
                    <a:pt x="76142" y="90083"/>
                  </a:lnTo>
                  <a:lnTo>
                    <a:pt x="74988" y="84453"/>
                  </a:lnTo>
                  <a:lnTo>
                    <a:pt x="86525" y="83327"/>
                  </a:lnTo>
                  <a:lnTo>
                    <a:pt x="89986" y="87831"/>
                  </a:lnTo>
                  <a:lnTo>
                    <a:pt x="103829" y="84453"/>
                  </a:lnTo>
                  <a:lnTo>
                    <a:pt x="104984" y="87831"/>
                  </a:lnTo>
                  <a:lnTo>
                    <a:pt x="123442" y="87831"/>
                  </a:lnTo>
                  <a:lnTo>
                    <a:pt x="123442" y="86705"/>
                  </a:lnTo>
                  <a:lnTo>
                    <a:pt x="125750" y="86705"/>
                  </a:lnTo>
                  <a:lnTo>
                    <a:pt x="124595" y="96839"/>
                  </a:lnTo>
                  <a:lnTo>
                    <a:pt x="144208" y="100218"/>
                  </a:lnTo>
                  <a:lnTo>
                    <a:pt x="144208" y="104721"/>
                  </a:lnTo>
                  <a:lnTo>
                    <a:pt x="156898" y="103596"/>
                  </a:lnTo>
                  <a:lnTo>
                    <a:pt x="158052" y="106974"/>
                  </a:lnTo>
                  <a:lnTo>
                    <a:pt x="163855" y="105760"/>
                  </a:lnTo>
                  <a:lnTo>
                    <a:pt x="170414" y="88225"/>
                  </a:lnTo>
                  <a:lnTo>
                    <a:pt x="163819" y="79949"/>
                  </a:lnTo>
                  <a:lnTo>
                    <a:pt x="190353" y="9008"/>
                  </a:lnTo>
                  <a:lnTo>
                    <a:pt x="214580" y="16891"/>
                  </a:lnTo>
                  <a:lnTo>
                    <a:pt x="227271" y="27025"/>
                  </a:lnTo>
                  <a:lnTo>
                    <a:pt x="243422" y="10134"/>
                  </a:lnTo>
                  <a:lnTo>
                    <a:pt x="244575" y="10134"/>
                  </a:lnTo>
                  <a:lnTo>
                    <a:pt x="246882" y="5630"/>
                  </a:lnTo>
                  <a:lnTo>
                    <a:pt x="265341" y="13512"/>
                  </a:lnTo>
                  <a:lnTo>
                    <a:pt x="267648" y="13512"/>
                  </a:lnTo>
                  <a:lnTo>
                    <a:pt x="271109" y="3378"/>
                  </a:lnTo>
                  <a:close/>
                </a:path>
              </a:pathLst>
            </a:custGeom>
            <a:solidFill>
              <a:srgbClr val="EC6224"/>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86" name="Midden-Groningen">
              <a:extLst>
                <a:ext uri="{FF2B5EF4-FFF2-40B4-BE49-F238E27FC236}">
                  <a16:creationId xmlns:a16="http://schemas.microsoft.com/office/drawing/2014/main" id="{C235CD3B-1C7D-45D4-B0AA-AA1291218466}"/>
                </a:ext>
              </a:extLst>
            </p:cNvPr>
            <p:cNvSpPr/>
            <p:nvPr/>
          </p:nvSpPr>
          <p:spPr>
            <a:xfrm>
              <a:off x="7504980" y="1552759"/>
              <a:ext cx="341532" cy="364501"/>
            </a:xfrm>
            <a:custGeom>
              <a:avLst/>
              <a:gdLst>
                <a:gd name="connsiteX0" fmla="*/ 271030 w 334560"/>
                <a:gd name="connsiteY0" fmla="*/ 121437 h 376100"/>
                <a:gd name="connsiteX1" fmla="*/ 264511 w 334560"/>
                <a:gd name="connsiteY1" fmla="*/ 123750 h 376100"/>
                <a:gd name="connsiteX2" fmla="*/ 265341 w 334560"/>
                <a:gd name="connsiteY2" fmla="*/ 123866 h 376100"/>
                <a:gd name="connsiteX3" fmla="*/ 251939 w 334560"/>
                <a:gd name="connsiteY3" fmla="*/ 120412 h 376100"/>
                <a:gd name="connsiteX4" fmla="*/ 251939 w 334560"/>
                <a:gd name="connsiteY4" fmla="*/ 121007 h 376100"/>
                <a:gd name="connsiteX5" fmla="*/ 254502 w 334560"/>
                <a:gd name="connsiteY5" fmla="*/ 121841 h 376100"/>
                <a:gd name="connsiteX6" fmla="*/ 239961 w 334560"/>
                <a:gd name="connsiteY6" fmla="*/ 0 h 376100"/>
                <a:gd name="connsiteX7" fmla="*/ 248037 w 334560"/>
                <a:gd name="connsiteY7" fmla="*/ 0 h 376100"/>
                <a:gd name="connsiteX8" fmla="*/ 251497 w 334560"/>
                <a:gd name="connsiteY8" fmla="*/ 11260 h 376100"/>
                <a:gd name="connsiteX9" fmla="*/ 250344 w 334560"/>
                <a:gd name="connsiteY9" fmla="*/ 13512 h 376100"/>
                <a:gd name="connsiteX10" fmla="*/ 252652 w 334560"/>
                <a:gd name="connsiteY10" fmla="*/ 18016 h 376100"/>
                <a:gd name="connsiteX11" fmla="*/ 253805 w 334560"/>
                <a:gd name="connsiteY11" fmla="*/ 15764 h 376100"/>
                <a:gd name="connsiteX12" fmla="*/ 257266 w 334560"/>
                <a:gd name="connsiteY12" fmla="*/ 19143 h 376100"/>
                <a:gd name="connsiteX13" fmla="*/ 249190 w 334560"/>
                <a:gd name="connsiteY13" fmla="*/ 25899 h 376100"/>
                <a:gd name="connsiteX14" fmla="*/ 248037 w 334560"/>
                <a:gd name="connsiteY14" fmla="*/ 29277 h 376100"/>
                <a:gd name="connsiteX15" fmla="*/ 249190 w 334560"/>
                <a:gd name="connsiteY15" fmla="*/ 30403 h 376100"/>
                <a:gd name="connsiteX16" fmla="*/ 271110 w 334560"/>
                <a:gd name="connsiteY16" fmla="*/ 30403 h 376100"/>
                <a:gd name="connsiteX17" fmla="*/ 269956 w 334560"/>
                <a:gd name="connsiteY17" fmla="*/ 47293 h 376100"/>
                <a:gd name="connsiteX18" fmla="*/ 272264 w 334560"/>
                <a:gd name="connsiteY18" fmla="*/ 48419 h 376100"/>
                <a:gd name="connsiteX19" fmla="*/ 271110 w 334560"/>
                <a:gd name="connsiteY19" fmla="*/ 56302 h 376100"/>
                <a:gd name="connsiteX20" fmla="*/ 274571 w 334560"/>
                <a:gd name="connsiteY20" fmla="*/ 56302 h 376100"/>
                <a:gd name="connsiteX21" fmla="*/ 272264 w 334560"/>
                <a:gd name="connsiteY21" fmla="*/ 88957 h 376100"/>
                <a:gd name="connsiteX22" fmla="*/ 274571 w 334560"/>
                <a:gd name="connsiteY22" fmla="*/ 90083 h 376100"/>
                <a:gd name="connsiteX23" fmla="*/ 272264 w 334560"/>
                <a:gd name="connsiteY23" fmla="*/ 104722 h 376100"/>
                <a:gd name="connsiteX24" fmla="*/ 276761 w 334560"/>
                <a:gd name="connsiteY24" fmla="*/ 118989 h 376100"/>
                <a:gd name="connsiteX25" fmla="*/ 283799 w 334560"/>
                <a:gd name="connsiteY25" fmla="*/ 115984 h 376100"/>
                <a:gd name="connsiteX26" fmla="*/ 289567 w 334560"/>
                <a:gd name="connsiteY26" fmla="*/ 124992 h 376100"/>
                <a:gd name="connsiteX27" fmla="*/ 287260 w 334560"/>
                <a:gd name="connsiteY27" fmla="*/ 126118 h 376100"/>
                <a:gd name="connsiteX28" fmla="*/ 294183 w 334560"/>
                <a:gd name="connsiteY28" fmla="*/ 139631 h 376100"/>
                <a:gd name="connsiteX29" fmla="*/ 284953 w 334560"/>
                <a:gd name="connsiteY29" fmla="*/ 148639 h 376100"/>
                <a:gd name="connsiteX30" fmla="*/ 289567 w 334560"/>
                <a:gd name="connsiteY30" fmla="*/ 152017 h 376100"/>
                <a:gd name="connsiteX31" fmla="*/ 281492 w 334560"/>
                <a:gd name="connsiteY31" fmla="*/ 167782 h 376100"/>
                <a:gd name="connsiteX32" fmla="*/ 290721 w 334560"/>
                <a:gd name="connsiteY32" fmla="*/ 170033 h 376100"/>
                <a:gd name="connsiteX33" fmla="*/ 288414 w 334560"/>
                <a:gd name="connsiteY33" fmla="*/ 175664 h 376100"/>
                <a:gd name="connsiteX34" fmla="*/ 283799 w 334560"/>
                <a:gd name="connsiteY34" fmla="*/ 174538 h 376100"/>
                <a:gd name="connsiteX35" fmla="*/ 281492 w 334560"/>
                <a:gd name="connsiteY35" fmla="*/ 180168 h 376100"/>
                <a:gd name="connsiteX36" fmla="*/ 279184 w 334560"/>
                <a:gd name="connsiteY36" fmla="*/ 189176 h 376100"/>
                <a:gd name="connsiteX37" fmla="*/ 276877 w 334560"/>
                <a:gd name="connsiteY37" fmla="*/ 191429 h 376100"/>
                <a:gd name="connsiteX38" fmla="*/ 278031 w 334560"/>
                <a:gd name="connsiteY38" fmla="*/ 201563 h 376100"/>
                <a:gd name="connsiteX39" fmla="*/ 273416 w 334560"/>
                <a:gd name="connsiteY39" fmla="*/ 203815 h 376100"/>
                <a:gd name="connsiteX40" fmla="*/ 273416 w 334560"/>
                <a:gd name="connsiteY40" fmla="*/ 206067 h 376100"/>
                <a:gd name="connsiteX41" fmla="*/ 278031 w 334560"/>
                <a:gd name="connsiteY41" fmla="*/ 207193 h 376100"/>
                <a:gd name="connsiteX42" fmla="*/ 268802 w 334560"/>
                <a:gd name="connsiteY42" fmla="*/ 216202 h 376100"/>
                <a:gd name="connsiteX43" fmla="*/ 295335 w 334560"/>
                <a:gd name="connsiteY43" fmla="*/ 211697 h 376100"/>
                <a:gd name="connsiteX44" fmla="*/ 296490 w 334560"/>
                <a:gd name="connsiteY44" fmla="*/ 217328 h 376100"/>
                <a:gd name="connsiteX45" fmla="*/ 309180 w 334560"/>
                <a:gd name="connsiteY45" fmla="*/ 215075 h 376100"/>
                <a:gd name="connsiteX46" fmla="*/ 310334 w 334560"/>
                <a:gd name="connsiteY46" fmla="*/ 227462 h 376100"/>
                <a:gd name="connsiteX47" fmla="*/ 317256 w 334560"/>
                <a:gd name="connsiteY47" fmla="*/ 227462 h 376100"/>
                <a:gd name="connsiteX48" fmla="*/ 321870 w 334560"/>
                <a:gd name="connsiteY48" fmla="*/ 254487 h 376100"/>
                <a:gd name="connsiteX49" fmla="*/ 321870 w 334560"/>
                <a:gd name="connsiteY49" fmla="*/ 264621 h 376100"/>
                <a:gd name="connsiteX50" fmla="*/ 328792 w 334560"/>
                <a:gd name="connsiteY50" fmla="*/ 283764 h 376100"/>
                <a:gd name="connsiteX51" fmla="*/ 334560 w 334560"/>
                <a:gd name="connsiteY51" fmla="*/ 307411 h 376100"/>
                <a:gd name="connsiteX52" fmla="*/ 331099 w 334560"/>
                <a:gd name="connsiteY52" fmla="*/ 308537 h 376100"/>
                <a:gd name="connsiteX53" fmla="*/ 327638 w 334560"/>
                <a:gd name="connsiteY53" fmla="*/ 291646 h 376100"/>
                <a:gd name="connsiteX54" fmla="*/ 283494 w 334560"/>
                <a:gd name="connsiteY54" fmla="*/ 283029 h 376100"/>
                <a:gd name="connsiteX55" fmla="*/ 285342 w 334560"/>
                <a:gd name="connsiteY55" fmla="*/ 290603 h 376100"/>
                <a:gd name="connsiteX56" fmla="*/ 282664 w 334560"/>
                <a:gd name="connsiteY56" fmla="*/ 291474 h 376100"/>
                <a:gd name="connsiteX57" fmla="*/ 280827 w 334560"/>
                <a:gd name="connsiteY57" fmla="*/ 282508 h 376100"/>
                <a:gd name="connsiteX58" fmla="*/ 264187 w 334560"/>
                <a:gd name="connsiteY58" fmla="*/ 279260 h 376100"/>
                <a:gd name="connsiteX59" fmla="*/ 264187 w 334560"/>
                <a:gd name="connsiteY59" fmla="*/ 280386 h 376100"/>
                <a:gd name="connsiteX60" fmla="*/ 252651 w 334560"/>
                <a:gd name="connsiteY60" fmla="*/ 279260 h 376100"/>
                <a:gd name="connsiteX61" fmla="*/ 251497 w 334560"/>
                <a:gd name="connsiteY61" fmla="*/ 284890 h 376100"/>
                <a:gd name="connsiteX62" fmla="*/ 241114 w 334560"/>
                <a:gd name="connsiteY62" fmla="*/ 284890 h 376100"/>
                <a:gd name="connsiteX63" fmla="*/ 241114 w 334560"/>
                <a:gd name="connsiteY63" fmla="*/ 288268 h 376100"/>
                <a:gd name="connsiteX64" fmla="*/ 189199 w 334560"/>
                <a:gd name="connsiteY64" fmla="*/ 284890 h 376100"/>
                <a:gd name="connsiteX65" fmla="*/ 186892 w 334560"/>
                <a:gd name="connsiteY65" fmla="*/ 280386 h 376100"/>
                <a:gd name="connsiteX66" fmla="*/ 168675 w 334560"/>
                <a:gd name="connsiteY66" fmla="*/ 288165 h 376100"/>
                <a:gd name="connsiteX67" fmla="*/ 171896 w 334560"/>
                <a:gd name="connsiteY67" fmla="*/ 295024 h 376100"/>
                <a:gd name="connsiteX68" fmla="*/ 167281 w 334560"/>
                <a:gd name="connsiteY68" fmla="*/ 296150 h 376100"/>
                <a:gd name="connsiteX69" fmla="*/ 181124 w 334560"/>
                <a:gd name="connsiteY69" fmla="*/ 376100 h 376100"/>
                <a:gd name="connsiteX70" fmla="*/ 101522 w 334560"/>
                <a:gd name="connsiteY70" fmla="*/ 297277 h 376100"/>
                <a:gd name="connsiteX71" fmla="*/ 58837 w 334560"/>
                <a:gd name="connsiteY71" fmla="*/ 295024 h 376100"/>
                <a:gd name="connsiteX72" fmla="*/ 51915 w 334560"/>
                <a:gd name="connsiteY72" fmla="*/ 258991 h 376100"/>
                <a:gd name="connsiteX73" fmla="*/ 48454 w 334560"/>
                <a:gd name="connsiteY73" fmla="*/ 251108 h 376100"/>
                <a:gd name="connsiteX74" fmla="*/ 53069 w 334560"/>
                <a:gd name="connsiteY74" fmla="*/ 245478 h 376100"/>
                <a:gd name="connsiteX75" fmla="*/ 46146 w 334560"/>
                <a:gd name="connsiteY75" fmla="*/ 231966 h 376100"/>
                <a:gd name="connsiteX76" fmla="*/ 40378 w 334560"/>
                <a:gd name="connsiteY76" fmla="*/ 224084 h 376100"/>
                <a:gd name="connsiteX77" fmla="*/ 24227 w 334560"/>
                <a:gd name="connsiteY77" fmla="*/ 213949 h 376100"/>
                <a:gd name="connsiteX78" fmla="*/ 18459 w 334560"/>
                <a:gd name="connsiteY78" fmla="*/ 197058 h 376100"/>
                <a:gd name="connsiteX79" fmla="*/ 0 w 334560"/>
                <a:gd name="connsiteY79" fmla="*/ 189176 h 376100"/>
                <a:gd name="connsiteX80" fmla="*/ 8076 w 334560"/>
                <a:gd name="connsiteY80" fmla="*/ 185798 h 376100"/>
                <a:gd name="connsiteX81" fmla="*/ 0 w 334560"/>
                <a:gd name="connsiteY81" fmla="*/ 182420 h 376100"/>
                <a:gd name="connsiteX82" fmla="*/ 3461 w 334560"/>
                <a:gd name="connsiteY82" fmla="*/ 179042 h 376100"/>
                <a:gd name="connsiteX83" fmla="*/ 10383 w 334560"/>
                <a:gd name="connsiteY83" fmla="*/ 176789 h 376100"/>
                <a:gd name="connsiteX84" fmla="*/ 27688 w 334560"/>
                <a:gd name="connsiteY84" fmla="*/ 162151 h 376100"/>
                <a:gd name="connsiteX85" fmla="*/ 27710 w 334560"/>
                <a:gd name="connsiteY85" fmla="*/ 162156 h 376100"/>
                <a:gd name="connsiteX86" fmla="*/ 27688 w 334560"/>
                <a:gd name="connsiteY86" fmla="*/ 162150 h 376100"/>
                <a:gd name="connsiteX87" fmla="*/ 8076 w 334560"/>
                <a:gd name="connsiteY87" fmla="*/ 137377 h 376100"/>
                <a:gd name="connsiteX88" fmla="*/ 3461 w 334560"/>
                <a:gd name="connsiteY88" fmla="*/ 121612 h 376100"/>
                <a:gd name="connsiteX89" fmla="*/ 0 w 334560"/>
                <a:gd name="connsiteY89" fmla="*/ 118235 h 376100"/>
                <a:gd name="connsiteX90" fmla="*/ 3461 w 334560"/>
                <a:gd name="connsiteY90" fmla="*/ 114856 h 376100"/>
                <a:gd name="connsiteX91" fmla="*/ 2308 w 334560"/>
                <a:gd name="connsiteY91" fmla="*/ 108100 h 376100"/>
                <a:gd name="connsiteX92" fmla="*/ 27688 w 334560"/>
                <a:gd name="connsiteY92" fmla="*/ 91209 h 376100"/>
                <a:gd name="connsiteX93" fmla="*/ 92293 w 334560"/>
                <a:gd name="connsiteY93" fmla="*/ 50672 h 376100"/>
                <a:gd name="connsiteX94" fmla="*/ 174202 w 334560"/>
                <a:gd name="connsiteY94" fmla="*/ 1126 h 376100"/>
                <a:gd name="connsiteX95" fmla="*/ 176510 w 334560"/>
                <a:gd name="connsiteY95" fmla="*/ 5630 h 376100"/>
                <a:gd name="connsiteX96" fmla="*/ 184585 w 334560"/>
                <a:gd name="connsiteY96" fmla="*/ 1126 h 376100"/>
                <a:gd name="connsiteX97" fmla="*/ 188047 w 334560"/>
                <a:gd name="connsiteY97" fmla="*/ 12386 h 376100"/>
                <a:gd name="connsiteX98" fmla="*/ 206505 w 334560"/>
                <a:gd name="connsiteY98" fmla="*/ 13512 h 376100"/>
                <a:gd name="connsiteX99" fmla="*/ 211119 w 334560"/>
                <a:gd name="connsiteY99" fmla="*/ 2252 h 376100"/>
                <a:gd name="connsiteX100" fmla="*/ 220349 w 334560"/>
                <a:gd name="connsiteY100" fmla="*/ 3378 h 376100"/>
                <a:gd name="connsiteX101" fmla="*/ 221502 w 334560"/>
                <a:gd name="connsiteY101" fmla="*/ 4503 h 376100"/>
                <a:gd name="connsiteX102" fmla="*/ 234193 w 334560"/>
                <a:gd name="connsiteY102" fmla="*/ 2252 h 376100"/>
                <a:gd name="connsiteX103" fmla="*/ 235346 w 334560"/>
                <a:gd name="connsiteY103" fmla="*/ 3378 h 376100"/>
                <a:gd name="connsiteX104" fmla="*/ 239961 w 334560"/>
                <a:gd name="connsiteY104" fmla="*/ 2252 h 37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34560" h="376100">
                  <a:moveTo>
                    <a:pt x="271030" y="121437"/>
                  </a:moveTo>
                  <a:lnTo>
                    <a:pt x="264511" y="123750"/>
                  </a:lnTo>
                  <a:lnTo>
                    <a:pt x="265341" y="123866"/>
                  </a:lnTo>
                  <a:close/>
                  <a:moveTo>
                    <a:pt x="251939" y="120412"/>
                  </a:moveTo>
                  <a:lnTo>
                    <a:pt x="251939" y="121007"/>
                  </a:lnTo>
                  <a:lnTo>
                    <a:pt x="254502" y="121841"/>
                  </a:lnTo>
                  <a:close/>
                  <a:moveTo>
                    <a:pt x="239961" y="0"/>
                  </a:moveTo>
                  <a:lnTo>
                    <a:pt x="248037" y="0"/>
                  </a:lnTo>
                  <a:lnTo>
                    <a:pt x="251497" y="11260"/>
                  </a:lnTo>
                  <a:lnTo>
                    <a:pt x="250344" y="13512"/>
                  </a:lnTo>
                  <a:lnTo>
                    <a:pt x="252652" y="18016"/>
                  </a:lnTo>
                  <a:lnTo>
                    <a:pt x="253805" y="15764"/>
                  </a:lnTo>
                  <a:lnTo>
                    <a:pt x="257266" y="19143"/>
                  </a:lnTo>
                  <a:lnTo>
                    <a:pt x="249190" y="25899"/>
                  </a:lnTo>
                  <a:lnTo>
                    <a:pt x="248037" y="29277"/>
                  </a:lnTo>
                  <a:lnTo>
                    <a:pt x="249190" y="30403"/>
                  </a:lnTo>
                  <a:lnTo>
                    <a:pt x="271110" y="30403"/>
                  </a:lnTo>
                  <a:lnTo>
                    <a:pt x="269956" y="47293"/>
                  </a:lnTo>
                  <a:lnTo>
                    <a:pt x="272264" y="48419"/>
                  </a:lnTo>
                  <a:lnTo>
                    <a:pt x="271110" y="56302"/>
                  </a:lnTo>
                  <a:lnTo>
                    <a:pt x="274571" y="56302"/>
                  </a:lnTo>
                  <a:lnTo>
                    <a:pt x="272264" y="88957"/>
                  </a:lnTo>
                  <a:lnTo>
                    <a:pt x="274571" y="90083"/>
                  </a:lnTo>
                  <a:lnTo>
                    <a:pt x="272264" y="104722"/>
                  </a:lnTo>
                  <a:lnTo>
                    <a:pt x="276761" y="118989"/>
                  </a:lnTo>
                  <a:lnTo>
                    <a:pt x="283799" y="115984"/>
                  </a:lnTo>
                  <a:lnTo>
                    <a:pt x="289567" y="124992"/>
                  </a:lnTo>
                  <a:lnTo>
                    <a:pt x="287260" y="126118"/>
                  </a:lnTo>
                  <a:lnTo>
                    <a:pt x="294183" y="139631"/>
                  </a:lnTo>
                  <a:lnTo>
                    <a:pt x="284953" y="148639"/>
                  </a:lnTo>
                  <a:lnTo>
                    <a:pt x="289567" y="152017"/>
                  </a:lnTo>
                  <a:lnTo>
                    <a:pt x="281492" y="167782"/>
                  </a:lnTo>
                  <a:lnTo>
                    <a:pt x="290721" y="170033"/>
                  </a:lnTo>
                  <a:lnTo>
                    <a:pt x="288414" y="175664"/>
                  </a:lnTo>
                  <a:lnTo>
                    <a:pt x="283799" y="174538"/>
                  </a:lnTo>
                  <a:lnTo>
                    <a:pt x="281492" y="180168"/>
                  </a:lnTo>
                  <a:lnTo>
                    <a:pt x="279184" y="189176"/>
                  </a:lnTo>
                  <a:lnTo>
                    <a:pt x="276877" y="191429"/>
                  </a:lnTo>
                  <a:lnTo>
                    <a:pt x="278031" y="201563"/>
                  </a:lnTo>
                  <a:lnTo>
                    <a:pt x="273416" y="203815"/>
                  </a:lnTo>
                  <a:lnTo>
                    <a:pt x="273416" y="206067"/>
                  </a:lnTo>
                  <a:lnTo>
                    <a:pt x="278031" y="207193"/>
                  </a:lnTo>
                  <a:lnTo>
                    <a:pt x="268802" y="216202"/>
                  </a:lnTo>
                  <a:lnTo>
                    <a:pt x="295335" y="211697"/>
                  </a:lnTo>
                  <a:lnTo>
                    <a:pt x="296490" y="217328"/>
                  </a:lnTo>
                  <a:lnTo>
                    <a:pt x="309180" y="215075"/>
                  </a:lnTo>
                  <a:lnTo>
                    <a:pt x="310334" y="227462"/>
                  </a:lnTo>
                  <a:lnTo>
                    <a:pt x="317256" y="227462"/>
                  </a:lnTo>
                  <a:lnTo>
                    <a:pt x="321870" y="254487"/>
                  </a:lnTo>
                  <a:lnTo>
                    <a:pt x="321870" y="264621"/>
                  </a:lnTo>
                  <a:lnTo>
                    <a:pt x="328792" y="283764"/>
                  </a:lnTo>
                  <a:lnTo>
                    <a:pt x="334560" y="307411"/>
                  </a:lnTo>
                  <a:lnTo>
                    <a:pt x="331099" y="308537"/>
                  </a:lnTo>
                  <a:lnTo>
                    <a:pt x="327638" y="291646"/>
                  </a:lnTo>
                  <a:lnTo>
                    <a:pt x="283494" y="283029"/>
                  </a:lnTo>
                  <a:lnTo>
                    <a:pt x="285342" y="290603"/>
                  </a:lnTo>
                  <a:lnTo>
                    <a:pt x="282664" y="291474"/>
                  </a:lnTo>
                  <a:lnTo>
                    <a:pt x="280827" y="282508"/>
                  </a:lnTo>
                  <a:lnTo>
                    <a:pt x="264187" y="279260"/>
                  </a:lnTo>
                  <a:lnTo>
                    <a:pt x="264187" y="280386"/>
                  </a:lnTo>
                  <a:lnTo>
                    <a:pt x="252651" y="279260"/>
                  </a:lnTo>
                  <a:lnTo>
                    <a:pt x="251497" y="284890"/>
                  </a:lnTo>
                  <a:lnTo>
                    <a:pt x="241114" y="284890"/>
                  </a:lnTo>
                  <a:lnTo>
                    <a:pt x="241114" y="288268"/>
                  </a:lnTo>
                  <a:lnTo>
                    <a:pt x="189199" y="284890"/>
                  </a:lnTo>
                  <a:lnTo>
                    <a:pt x="186892" y="280386"/>
                  </a:lnTo>
                  <a:lnTo>
                    <a:pt x="168675" y="288165"/>
                  </a:lnTo>
                  <a:lnTo>
                    <a:pt x="171896" y="295024"/>
                  </a:lnTo>
                  <a:lnTo>
                    <a:pt x="167281" y="296150"/>
                  </a:lnTo>
                  <a:lnTo>
                    <a:pt x="181124" y="376100"/>
                  </a:lnTo>
                  <a:lnTo>
                    <a:pt x="101522" y="297277"/>
                  </a:lnTo>
                  <a:lnTo>
                    <a:pt x="58837" y="295024"/>
                  </a:lnTo>
                  <a:lnTo>
                    <a:pt x="51915" y="258991"/>
                  </a:lnTo>
                  <a:lnTo>
                    <a:pt x="48454" y="251108"/>
                  </a:lnTo>
                  <a:lnTo>
                    <a:pt x="53069" y="245478"/>
                  </a:lnTo>
                  <a:lnTo>
                    <a:pt x="46146" y="231966"/>
                  </a:lnTo>
                  <a:lnTo>
                    <a:pt x="40378" y="224084"/>
                  </a:lnTo>
                  <a:lnTo>
                    <a:pt x="24227" y="213949"/>
                  </a:lnTo>
                  <a:lnTo>
                    <a:pt x="18459" y="197058"/>
                  </a:lnTo>
                  <a:lnTo>
                    <a:pt x="0" y="189176"/>
                  </a:lnTo>
                  <a:lnTo>
                    <a:pt x="8076" y="185798"/>
                  </a:lnTo>
                  <a:lnTo>
                    <a:pt x="0" y="182420"/>
                  </a:lnTo>
                  <a:lnTo>
                    <a:pt x="3461" y="179042"/>
                  </a:lnTo>
                  <a:lnTo>
                    <a:pt x="10383" y="176789"/>
                  </a:lnTo>
                  <a:lnTo>
                    <a:pt x="27688" y="162151"/>
                  </a:lnTo>
                  <a:lnTo>
                    <a:pt x="27710" y="162156"/>
                  </a:lnTo>
                  <a:lnTo>
                    <a:pt x="27688" y="162150"/>
                  </a:lnTo>
                  <a:lnTo>
                    <a:pt x="8076" y="137377"/>
                  </a:lnTo>
                  <a:lnTo>
                    <a:pt x="3461" y="121612"/>
                  </a:lnTo>
                  <a:lnTo>
                    <a:pt x="0" y="118235"/>
                  </a:lnTo>
                  <a:lnTo>
                    <a:pt x="3461" y="114856"/>
                  </a:lnTo>
                  <a:lnTo>
                    <a:pt x="2308" y="108100"/>
                  </a:lnTo>
                  <a:lnTo>
                    <a:pt x="27688" y="91209"/>
                  </a:lnTo>
                  <a:lnTo>
                    <a:pt x="92293" y="50672"/>
                  </a:lnTo>
                  <a:lnTo>
                    <a:pt x="174202" y="1126"/>
                  </a:lnTo>
                  <a:lnTo>
                    <a:pt x="176510" y="5630"/>
                  </a:lnTo>
                  <a:lnTo>
                    <a:pt x="184585" y="1126"/>
                  </a:lnTo>
                  <a:lnTo>
                    <a:pt x="188047" y="12386"/>
                  </a:lnTo>
                  <a:lnTo>
                    <a:pt x="206505" y="13512"/>
                  </a:lnTo>
                  <a:lnTo>
                    <a:pt x="211119" y="2252"/>
                  </a:lnTo>
                  <a:lnTo>
                    <a:pt x="220349" y="3378"/>
                  </a:lnTo>
                  <a:lnTo>
                    <a:pt x="221502" y="4503"/>
                  </a:lnTo>
                  <a:lnTo>
                    <a:pt x="234193" y="2252"/>
                  </a:lnTo>
                  <a:lnTo>
                    <a:pt x="235346" y="3378"/>
                  </a:lnTo>
                  <a:lnTo>
                    <a:pt x="239961" y="2252"/>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87" name="Molenlanden">
              <a:extLst>
                <a:ext uri="{FF2B5EF4-FFF2-40B4-BE49-F238E27FC236}">
                  <a16:creationId xmlns:a16="http://schemas.microsoft.com/office/drawing/2014/main" id="{36074D14-4B44-4B0A-B96D-3FE7D89178B0}"/>
                </a:ext>
              </a:extLst>
            </p:cNvPr>
            <p:cNvSpPr/>
            <p:nvPr/>
          </p:nvSpPr>
          <p:spPr>
            <a:xfrm>
              <a:off x="5428498" y="3768057"/>
              <a:ext cx="427177" cy="176535"/>
            </a:xfrm>
            <a:custGeom>
              <a:avLst/>
              <a:gdLst>
                <a:gd name="connsiteX0" fmla="*/ 323023 w 428006"/>
                <a:gd name="connsiteY0" fmla="*/ 0 h 195931"/>
                <a:gd name="connsiteX1" fmla="*/ 326485 w 428006"/>
                <a:gd name="connsiteY1" fmla="*/ 2252 h 195931"/>
                <a:gd name="connsiteX2" fmla="*/ 328792 w 428006"/>
                <a:gd name="connsiteY2" fmla="*/ 9008 h 195931"/>
                <a:gd name="connsiteX3" fmla="*/ 335562 w 428006"/>
                <a:gd name="connsiteY3" fmla="*/ 36543 h 195931"/>
                <a:gd name="connsiteX4" fmla="*/ 336867 w 428006"/>
                <a:gd name="connsiteY4" fmla="*/ 36033 h 195931"/>
                <a:gd name="connsiteX5" fmla="*/ 344943 w 428006"/>
                <a:gd name="connsiteY5" fmla="*/ 29277 h 195931"/>
                <a:gd name="connsiteX6" fmla="*/ 353018 w 428006"/>
                <a:gd name="connsiteY6" fmla="*/ 58554 h 195931"/>
                <a:gd name="connsiteX7" fmla="*/ 362248 w 428006"/>
                <a:gd name="connsiteY7" fmla="*/ 61932 h 195931"/>
                <a:gd name="connsiteX8" fmla="*/ 361094 w 428006"/>
                <a:gd name="connsiteY8" fmla="*/ 63058 h 195931"/>
                <a:gd name="connsiteX9" fmla="*/ 362248 w 428006"/>
                <a:gd name="connsiteY9" fmla="*/ 67563 h 195931"/>
                <a:gd name="connsiteX10" fmla="*/ 371477 w 428006"/>
                <a:gd name="connsiteY10" fmla="*/ 72067 h 195931"/>
                <a:gd name="connsiteX11" fmla="*/ 371477 w 428006"/>
                <a:gd name="connsiteY11" fmla="*/ 88957 h 195931"/>
                <a:gd name="connsiteX12" fmla="*/ 393396 w 428006"/>
                <a:gd name="connsiteY12" fmla="*/ 81075 h 195931"/>
                <a:gd name="connsiteX13" fmla="*/ 394550 w 428006"/>
                <a:gd name="connsiteY13" fmla="*/ 97966 h 195931"/>
                <a:gd name="connsiteX14" fmla="*/ 398011 w 428006"/>
                <a:gd name="connsiteY14" fmla="*/ 111478 h 195931"/>
                <a:gd name="connsiteX15" fmla="*/ 393396 w 428006"/>
                <a:gd name="connsiteY15" fmla="*/ 121612 h 195931"/>
                <a:gd name="connsiteX16" fmla="*/ 394550 w 428006"/>
                <a:gd name="connsiteY16" fmla="*/ 129495 h 195931"/>
                <a:gd name="connsiteX17" fmla="*/ 426853 w 428006"/>
                <a:gd name="connsiteY17" fmla="*/ 114856 h 195931"/>
                <a:gd name="connsiteX18" fmla="*/ 423392 w 428006"/>
                <a:gd name="connsiteY18" fmla="*/ 124991 h 195931"/>
                <a:gd name="connsiteX19" fmla="*/ 421085 w 428006"/>
                <a:gd name="connsiteY19" fmla="*/ 136251 h 195931"/>
                <a:gd name="connsiteX20" fmla="*/ 428006 w 428006"/>
                <a:gd name="connsiteY20" fmla="*/ 145259 h 195931"/>
                <a:gd name="connsiteX21" fmla="*/ 426853 w 428006"/>
                <a:gd name="connsiteY21" fmla="*/ 153141 h 195931"/>
                <a:gd name="connsiteX22" fmla="*/ 415316 w 428006"/>
                <a:gd name="connsiteY22" fmla="*/ 152015 h 195931"/>
                <a:gd name="connsiteX23" fmla="*/ 403779 w 428006"/>
                <a:gd name="connsiteY23" fmla="*/ 154268 h 195931"/>
                <a:gd name="connsiteX24" fmla="*/ 393396 w 428006"/>
                <a:gd name="connsiteY24" fmla="*/ 148638 h 195931"/>
                <a:gd name="connsiteX25" fmla="*/ 392243 w 428006"/>
                <a:gd name="connsiteY25" fmla="*/ 149763 h 195931"/>
                <a:gd name="connsiteX26" fmla="*/ 396858 w 428006"/>
                <a:gd name="connsiteY26" fmla="*/ 161024 h 195931"/>
                <a:gd name="connsiteX27" fmla="*/ 394550 w 428006"/>
                <a:gd name="connsiteY27" fmla="*/ 168906 h 195931"/>
                <a:gd name="connsiteX28" fmla="*/ 379552 w 428006"/>
                <a:gd name="connsiteY28" fmla="*/ 164402 h 195931"/>
                <a:gd name="connsiteX29" fmla="*/ 380706 w 428006"/>
                <a:gd name="connsiteY29" fmla="*/ 155394 h 195931"/>
                <a:gd name="connsiteX30" fmla="*/ 373784 w 428006"/>
                <a:gd name="connsiteY30" fmla="*/ 152015 h 195931"/>
                <a:gd name="connsiteX31" fmla="*/ 356480 w 428006"/>
                <a:gd name="connsiteY31" fmla="*/ 146385 h 195931"/>
                <a:gd name="connsiteX32" fmla="*/ 354172 w 428006"/>
                <a:gd name="connsiteY32" fmla="*/ 152015 h 195931"/>
                <a:gd name="connsiteX33" fmla="*/ 334560 w 428006"/>
                <a:gd name="connsiteY33" fmla="*/ 144133 h 195931"/>
                <a:gd name="connsiteX34" fmla="*/ 339174 w 428006"/>
                <a:gd name="connsiteY34" fmla="*/ 175662 h 195931"/>
                <a:gd name="connsiteX35" fmla="*/ 332253 w 428006"/>
                <a:gd name="connsiteY35" fmla="*/ 176788 h 195931"/>
                <a:gd name="connsiteX36" fmla="*/ 332253 w 428006"/>
                <a:gd name="connsiteY36" fmla="*/ 179040 h 195931"/>
                <a:gd name="connsiteX37" fmla="*/ 327638 w 428006"/>
                <a:gd name="connsiteY37" fmla="*/ 182419 h 195931"/>
                <a:gd name="connsiteX38" fmla="*/ 321870 w 428006"/>
                <a:gd name="connsiteY38" fmla="*/ 183544 h 195931"/>
                <a:gd name="connsiteX39" fmla="*/ 316101 w 428006"/>
                <a:gd name="connsiteY39" fmla="*/ 182419 h 195931"/>
                <a:gd name="connsiteX40" fmla="*/ 319563 w 428006"/>
                <a:gd name="connsiteY40" fmla="*/ 183544 h 195931"/>
                <a:gd name="connsiteX41" fmla="*/ 301104 w 428006"/>
                <a:gd name="connsiteY41" fmla="*/ 185797 h 195931"/>
                <a:gd name="connsiteX42" fmla="*/ 269955 w 428006"/>
                <a:gd name="connsiteY42" fmla="*/ 195931 h 195931"/>
                <a:gd name="connsiteX43" fmla="*/ 259572 w 428006"/>
                <a:gd name="connsiteY43" fmla="*/ 195931 h 195931"/>
                <a:gd name="connsiteX44" fmla="*/ 258419 w 428006"/>
                <a:gd name="connsiteY44" fmla="*/ 191427 h 195931"/>
                <a:gd name="connsiteX45" fmla="*/ 254958 w 428006"/>
                <a:gd name="connsiteY45" fmla="*/ 194805 h 195931"/>
                <a:gd name="connsiteX46" fmla="*/ 238806 w 428006"/>
                <a:gd name="connsiteY46" fmla="*/ 194805 h 195931"/>
                <a:gd name="connsiteX47" fmla="*/ 229577 w 428006"/>
                <a:gd name="connsiteY47" fmla="*/ 148638 h 195931"/>
                <a:gd name="connsiteX48" fmla="*/ 246882 w 428006"/>
                <a:gd name="connsiteY48" fmla="*/ 137377 h 195931"/>
                <a:gd name="connsiteX49" fmla="*/ 192661 w 428006"/>
                <a:gd name="connsiteY49" fmla="*/ 172284 h 195931"/>
                <a:gd name="connsiteX50" fmla="*/ 177663 w 428006"/>
                <a:gd name="connsiteY50" fmla="*/ 174536 h 195931"/>
                <a:gd name="connsiteX51" fmla="*/ 168434 w 428006"/>
                <a:gd name="connsiteY51" fmla="*/ 171158 h 195931"/>
                <a:gd name="connsiteX52" fmla="*/ 155744 w 428006"/>
                <a:gd name="connsiteY52" fmla="*/ 175663 h 195931"/>
                <a:gd name="connsiteX53" fmla="*/ 148822 w 428006"/>
                <a:gd name="connsiteY53" fmla="*/ 175663 h 195931"/>
                <a:gd name="connsiteX54" fmla="*/ 143053 w 428006"/>
                <a:gd name="connsiteY54" fmla="*/ 174536 h 195931"/>
                <a:gd name="connsiteX55" fmla="*/ 129209 w 428006"/>
                <a:gd name="connsiteY55" fmla="*/ 180166 h 195931"/>
                <a:gd name="connsiteX56" fmla="*/ 129209 w 428006"/>
                <a:gd name="connsiteY56" fmla="*/ 177914 h 195931"/>
                <a:gd name="connsiteX57" fmla="*/ 124595 w 428006"/>
                <a:gd name="connsiteY57" fmla="*/ 176788 h 195931"/>
                <a:gd name="connsiteX58" fmla="*/ 123441 w 428006"/>
                <a:gd name="connsiteY58" fmla="*/ 171158 h 195931"/>
                <a:gd name="connsiteX59" fmla="*/ 100368 w 428006"/>
                <a:gd name="connsiteY59" fmla="*/ 180166 h 195931"/>
                <a:gd name="connsiteX60" fmla="*/ 89985 w 428006"/>
                <a:gd name="connsiteY60" fmla="*/ 180166 h 195931"/>
                <a:gd name="connsiteX61" fmla="*/ 66912 w 428006"/>
                <a:gd name="connsiteY61" fmla="*/ 167780 h 195931"/>
                <a:gd name="connsiteX62" fmla="*/ 64605 w 428006"/>
                <a:gd name="connsiteY62" fmla="*/ 148637 h 195931"/>
                <a:gd name="connsiteX63" fmla="*/ 70373 w 428006"/>
                <a:gd name="connsiteY63" fmla="*/ 138503 h 195931"/>
                <a:gd name="connsiteX64" fmla="*/ 74988 w 428006"/>
                <a:gd name="connsiteY64" fmla="*/ 137377 h 195931"/>
                <a:gd name="connsiteX65" fmla="*/ 85371 w 428006"/>
                <a:gd name="connsiteY65" fmla="*/ 115982 h 195931"/>
                <a:gd name="connsiteX66" fmla="*/ 71527 w 428006"/>
                <a:gd name="connsiteY66" fmla="*/ 118234 h 195931"/>
                <a:gd name="connsiteX67" fmla="*/ 61144 w 428006"/>
                <a:gd name="connsiteY67" fmla="*/ 122738 h 195931"/>
                <a:gd name="connsiteX68" fmla="*/ 56529 w 428006"/>
                <a:gd name="connsiteY68" fmla="*/ 123864 h 195931"/>
                <a:gd name="connsiteX69" fmla="*/ 47300 w 428006"/>
                <a:gd name="connsiteY69" fmla="*/ 123864 h 195931"/>
                <a:gd name="connsiteX70" fmla="*/ 24227 w 428006"/>
                <a:gd name="connsiteY70" fmla="*/ 114856 h 195931"/>
                <a:gd name="connsiteX71" fmla="*/ 18459 w 428006"/>
                <a:gd name="connsiteY71" fmla="*/ 121612 h 195931"/>
                <a:gd name="connsiteX72" fmla="*/ 10383 w 428006"/>
                <a:gd name="connsiteY72" fmla="*/ 112604 h 195931"/>
                <a:gd name="connsiteX73" fmla="*/ 8076 w 428006"/>
                <a:gd name="connsiteY73" fmla="*/ 113730 h 195931"/>
                <a:gd name="connsiteX74" fmla="*/ 0 w 428006"/>
                <a:gd name="connsiteY74" fmla="*/ 101344 h 195931"/>
                <a:gd name="connsiteX75" fmla="*/ 1154 w 428006"/>
                <a:gd name="connsiteY75" fmla="*/ 99092 h 195931"/>
                <a:gd name="connsiteX76" fmla="*/ 18459 w 428006"/>
                <a:gd name="connsiteY76" fmla="*/ 96839 h 195931"/>
                <a:gd name="connsiteX77" fmla="*/ 51914 w 428006"/>
                <a:gd name="connsiteY77" fmla="*/ 99092 h 195931"/>
                <a:gd name="connsiteX78" fmla="*/ 79232 w 428006"/>
                <a:gd name="connsiteY78" fmla="*/ 89897 h 195931"/>
                <a:gd name="connsiteX79" fmla="*/ 78403 w 428006"/>
                <a:gd name="connsiteY79" fmla="*/ 88626 h 195931"/>
                <a:gd name="connsiteX80" fmla="*/ 79249 w 428006"/>
                <a:gd name="connsiteY80" fmla="*/ 86976 h 195931"/>
                <a:gd name="connsiteX81" fmla="*/ 91929 w 428006"/>
                <a:gd name="connsiteY81" fmla="*/ 85325 h 195931"/>
                <a:gd name="connsiteX82" fmla="*/ 108926 w 428006"/>
                <a:gd name="connsiteY82" fmla="*/ 86470 h 195931"/>
                <a:gd name="connsiteX83" fmla="*/ 124595 w 428006"/>
                <a:gd name="connsiteY83" fmla="*/ 78822 h 195931"/>
                <a:gd name="connsiteX84" fmla="*/ 152283 w 428006"/>
                <a:gd name="connsiteY84" fmla="*/ 58554 h 195931"/>
                <a:gd name="connsiteX85" fmla="*/ 170741 w 428006"/>
                <a:gd name="connsiteY85" fmla="*/ 54050 h 195931"/>
                <a:gd name="connsiteX86" fmla="*/ 200736 w 428006"/>
                <a:gd name="connsiteY86" fmla="*/ 43916 h 195931"/>
                <a:gd name="connsiteX87" fmla="*/ 227271 w 428006"/>
                <a:gd name="connsiteY87" fmla="*/ 18017 h 195931"/>
                <a:gd name="connsiteX88" fmla="*/ 245729 w 428006"/>
                <a:gd name="connsiteY88" fmla="*/ 15764 h 195931"/>
                <a:gd name="connsiteX89" fmla="*/ 268802 w 428006"/>
                <a:gd name="connsiteY89" fmla="*/ 21394 h 195931"/>
                <a:gd name="connsiteX90" fmla="*/ 279185 w 428006"/>
                <a:gd name="connsiteY90" fmla="*/ 20269 h 195931"/>
                <a:gd name="connsiteX91" fmla="*/ 310334 w 428006"/>
                <a:gd name="connsiteY91" fmla="*/ 14638 h 195931"/>
                <a:gd name="connsiteX92" fmla="*/ 316102 w 428006"/>
                <a:gd name="connsiteY92" fmla="*/ 9008 h 19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28006" h="195931">
                  <a:moveTo>
                    <a:pt x="323023" y="0"/>
                  </a:moveTo>
                  <a:lnTo>
                    <a:pt x="326485" y="2252"/>
                  </a:lnTo>
                  <a:lnTo>
                    <a:pt x="328792" y="9008"/>
                  </a:lnTo>
                  <a:lnTo>
                    <a:pt x="335562" y="36543"/>
                  </a:lnTo>
                  <a:lnTo>
                    <a:pt x="336867" y="36033"/>
                  </a:lnTo>
                  <a:lnTo>
                    <a:pt x="344943" y="29277"/>
                  </a:lnTo>
                  <a:lnTo>
                    <a:pt x="353018" y="58554"/>
                  </a:lnTo>
                  <a:lnTo>
                    <a:pt x="362248" y="61932"/>
                  </a:lnTo>
                  <a:lnTo>
                    <a:pt x="361094" y="63058"/>
                  </a:lnTo>
                  <a:lnTo>
                    <a:pt x="362248" y="67563"/>
                  </a:lnTo>
                  <a:lnTo>
                    <a:pt x="371477" y="72067"/>
                  </a:lnTo>
                  <a:lnTo>
                    <a:pt x="371477" y="88957"/>
                  </a:lnTo>
                  <a:lnTo>
                    <a:pt x="393396" y="81075"/>
                  </a:lnTo>
                  <a:lnTo>
                    <a:pt x="394550" y="97966"/>
                  </a:lnTo>
                  <a:lnTo>
                    <a:pt x="398011" y="111478"/>
                  </a:lnTo>
                  <a:lnTo>
                    <a:pt x="393396" y="121612"/>
                  </a:lnTo>
                  <a:lnTo>
                    <a:pt x="394550" y="129495"/>
                  </a:lnTo>
                  <a:lnTo>
                    <a:pt x="426853" y="114856"/>
                  </a:lnTo>
                  <a:lnTo>
                    <a:pt x="423392" y="124991"/>
                  </a:lnTo>
                  <a:lnTo>
                    <a:pt x="421085" y="136251"/>
                  </a:lnTo>
                  <a:lnTo>
                    <a:pt x="428006" y="145259"/>
                  </a:lnTo>
                  <a:lnTo>
                    <a:pt x="426853" y="153141"/>
                  </a:lnTo>
                  <a:lnTo>
                    <a:pt x="415316" y="152015"/>
                  </a:lnTo>
                  <a:lnTo>
                    <a:pt x="403779" y="154268"/>
                  </a:lnTo>
                  <a:lnTo>
                    <a:pt x="393396" y="148638"/>
                  </a:lnTo>
                  <a:lnTo>
                    <a:pt x="392243" y="149763"/>
                  </a:lnTo>
                  <a:lnTo>
                    <a:pt x="396858" y="161024"/>
                  </a:lnTo>
                  <a:lnTo>
                    <a:pt x="394550" y="168906"/>
                  </a:lnTo>
                  <a:lnTo>
                    <a:pt x="379552" y="164402"/>
                  </a:lnTo>
                  <a:lnTo>
                    <a:pt x="380706" y="155394"/>
                  </a:lnTo>
                  <a:lnTo>
                    <a:pt x="373784" y="152015"/>
                  </a:lnTo>
                  <a:lnTo>
                    <a:pt x="356480" y="146385"/>
                  </a:lnTo>
                  <a:lnTo>
                    <a:pt x="354172" y="152015"/>
                  </a:lnTo>
                  <a:lnTo>
                    <a:pt x="334560" y="144133"/>
                  </a:lnTo>
                  <a:lnTo>
                    <a:pt x="339174" y="175662"/>
                  </a:lnTo>
                  <a:lnTo>
                    <a:pt x="332253" y="176788"/>
                  </a:lnTo>
                  <a:lnTo>
                    <a:pt x="332253" y="179040"/>
                  </a:lnTo>
                  <a:lnTo>
                    <a:pt x="327638" y="182419"/>
                  </a:lnTo>
                  <a:lnTo>
                    <a:pt x="321870" y="183544"/>
                  </a:lnTo>
                  <a:lnTo>
                    <a:pt x="316101" y="182419"/>
                  </a:lnTo>
                  <a:lnTo>
                    <a:pt x="319563" y="183544"/>
                  </a:lnTo>
                  <a:lnTo>
                    <a:pt x="301104" y="185797"/>
                  </a:lnTo>
                  <a:lnTo>
                    <a:pt x="269955" y="195931"/>
                  </a:lnTo>
                  <a:lnTo>
                    <a:pt x="259572" y="195931"/>
                  </a:lnTo>
                  <a:lnTo>
                    <a:pt x="258419" y="191427"/>
                  </a:lnTo>
                  <a:lnTo>
                    <a:pt x="254958" y="194805"/>
                  </a:lnTo>
                  <a:lnTo>
                    <a:pt x="238806" y="194805"/>
                  </a:lnTo>
                  <a:lnTo>
                    <a:pt x="229577" y="148638"/>
                  </a:lnTo>
                  <a:lnTo>
                    <a:pt x="246882" y="137377"/>
                  </a:lnTo>
                  <a:lnTo>
                    <a:pt x="192661" y="172284"/>
                  </a:lnTo>
                  <a:lnTo>
                    <a:pt x="177663" y="174536"/>
                  </a:lnTo>
                  <a:lnTo>
                    <a:pt x="168434" y="171158"/>
                  </a:lnTo>
                  <a:lnTo>
                    <a:pt x="155744" y="175663"/>
                  </a:lnTo>
                  <a:lnTo>
                    <a:pt x="148822" y="175663"/>
                  </a:lnTo>
                  <a:lnTo>
                    <a:pt x="143053" y="174536"/>
                  </a:lnTo>
                  <a:lnTo>
                    <a:pt x="129209" y="180166"/>
                  </a:lnTo>
                  <a:lnTo>
                    <a:pt x="129209" y="177914"/>
                  </a:lnTo>
                  <a:lnTo>
                    <a:pt x="124595" y="176788"/>
                  </a:lnTo>
                  <a:lnTo>
                    <a:pt x="123441" y="171158"/>
                  </a:lnTo>
                  <a:lnTo>
                    <a:pt x="100368" y="180166"/>
                  </a:lnTo>
                  <a:lnTo>
                    <a:pt x="89985" y="180166"/>
                  </a:lnTo>
                  <a:lnTo>
                    <a:pt x="66912" y="167780"/>
                  </a:lnTo>
                  <a:lnTo>
                    <a:pt x="64605" y="148637"/>
                  </a:lnTo>
                  <a:lnTo>
                    <a:pt x="70373" y="138503"/>
                  </a:lnTo>
                  <a:lnTo>
                    <a:pt x="74988" y="137377"/>
                  </a:lnTo>
                  <a:lnTo>
                    <a:pt x="85371" y="115982"/>
                  </a:lnTo>
                  <a:lnTo>
                    <a:pt x="71527" y="118234"/>
                  </a:lnTo>
                  <a:lnTo>
                    <a:pt x="61144" y="122738"/>
                  </a:lnTo>
                  <a:lnTo>
                    <a:pt x="56529" y="123864"/>
                  </a:lnTo>
                  <a:lnTo>
                    <a:pt x="47300" y="123864"/>
                  </a:lnTo>
                  <a:lnTo>
                    <a:pt x="24227" y="114856"/>
                  </a:lnTo>
                  <a:lnTo>
                    <a:pt x="18459" y="121612"/>
                  </a:lnTo>
                  <a:lnTo>
                    <a:pt x="10383" y="112604"/>
                  </a:lnTo>
                  <a:lnTo>
                    <a:pt x="8076" y="113730"/>
                  </a:lnTo>
                  <a:lnTo>
                    <a:pt x="0" y="101344"/>
                  </a:lnTo>
                  <a:lnTo>
                    <a:pt x="1154" y="99092"/>
                  </a:lnTo>
                  <a:lnTo>
                    <a:pt x="18459" y="96839"/>
                  </a:lnTo>
                  <a:lnTo>
                    <a:pt x="51914" y="99092"/>
                  </a:lnTo>
                  <a:lnTo>
                    <a:pt x="79232" y="89897"/>
                  </a:lnTo>
                  <a:lnTo>
                    <a:pt x="78403" y="88626"/>
                  </a:lnTo>
                  <a:lnTo>
                    <a:pt x="79249" y="86976"/>
                  </a:lnTo>
                  <a:lnTo>
                    <a:pt x="91929" y="85325"/>
                  </a:lnTo>
                  <a:lnTo>
                    <a:pt x="108926" y="86470"/>
                  </a:lnTo>
                  <a:lnTo>
                    <a:pt x="124595" y="78822"/>
                  </a:lnTo>
                  <a:lnTo>
                    <a:pt x="152283" y="58554"/>
                  </a:lnTo>
                  <a:lnTo>
                    <a:pt x="170741" y="54050"/>
                  </a:lnTo>
                  <a:lnTo>
                    <a:pt x="200736" y="43916"/>
                  </a:lnTo>
                  <a:lnTo>
                    <a:pt x="227271" y="18017"/>
                  </a:lnTo>
                  <a:lnTo>
                    <a:pt x="245729" y="15764"/>
                  </a:lnTo>
                  <a:lnTo>
                    <a:pt x="268802" y="21394"/>
                  </a:lnTo>
                  <a:lnTo>
                    <a:pt x="279185" y="20269"/>
                  </a:lnTo>
                  <a:lnTo>
                    <a:pt x="310334" y="14638"/>
                  </a:lnTo>
                  <a:lnTo>
                    <a:pt x="316102" y="9008"/>
                  </a:lnTo>
                  <a:close/>
                </a:path>
              </a:pathLst>
            </a:custGeom>
            <a:solidFill>
              <a:srgbClr val="FFE8BA"/>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91" name="Zevenaar">
              <a:extLst>
                <a:ext uri="{FF2B5EF4-FFF2-40B4-BE49-F238E27FC236}">
                  <a16:creationId xmlns:a16="http://schemas.microsoft.com/office/drawing/2014/main" id="{55F58067-9B46-459C-A146-57041BC9A034}"/>
                </a:ext>
              </a:extLst>
            </p:cNvPr>
            <p:cNvSpPr/>
            <p:nvPr/>
          </p:nvSpPr>
          <p:spPr>
            <a:xfrm>
              <a:off x="6865491" y="3660386"/>
              <a:ext cx="197885" cy="286110"/>
            </a:xfrm>
            <a:custGeom>
              <a:avLst/>
              <a:gdLst>
                <a:gd name="connsiteX0" fmla="*/ 62498 w 192543"/>
                <a:gd name="connsiteY0" fmla="*/ 168809 h 287141"/>
                <a:gd name="connsiteX1" fmla="*/ 62219 w 192543"/>
                <a:gd name="connsiteY1" fmla="*/ 168945 h 287141"/>
                <a:gd name="connsiteX2" fmla="*/ 62219 w 192543"/>
                <a:gd name="connsiteY2" fmla="*/ 168945 h 287141"/>
                <a:gd name="connsiteX3" fmla="*/ 62498 w 192543"/>
                <a:gd name="connsiteY3" fmla="*/ 168809 h 287141"/>
                <a:gd name="connsiteX4" fmla="*/ 76142 w 192543"/>
                <a:gd name="connsiteY4" fmla="*/ 0 h 287141"/>
                <a:gd name="connsiteX5" fmla="*/ 78816 w 192543"/>
                <a:gd name="connsiteY5" fmla="*/ 435 h 287141"/>
                <a:gd name="connsiteX6" fmla="*/ 79485 w 192543"/>
                <a:gd name="connsiteY6" fmla="*/ 0 h 287141"/>
                <a:gd name="connsiteX7" fmla="*/ 86407 w 192543"/>
                <a:gd name="connsiteY7" fmla="*/ 1126 h 287141"/>
                <a:gd name="connsiteX8" fmla="*/ 94482 w 192543"/>
                <a:gd name="connsiteY8" fmla="*/ 6756 h 287141"/>
                <a:gd name="connsiteX9" fmla="*/ 96790 w 192543"/>
                <a:gd name="connsiteY9" fmla="*/ 12387 h 287141"/>
                <a:gd name="connsiteX10" fmla="*/ 96790 w 192543"/>
                <a:gd name="connsiteY10" fmla="*/ 22521 h 287141"/>
                <a:gd name="connsiteX11" fmla="*/ 102558 w 192543"/>
                <a:gd name="connsiteY11" fmla="*/ 31529 h 287141"/>
                <a:gd name="connsiteX12" fmla="*/ 107173 w 192543"/>
                <a:gd name="connsiteY12" fmla="*/ 34907 h 287141"/>
                <a:gd name="connsiteX13" fmla="*/ 109878 w 192543"/>
                <a:gd name="connsiteY13" fmla="*/ 35567 h 287141"/>
                <a:gd name="connsiteX14" fmla="*/ 125749 w 192543"/>
                <a:gd name="connsiteY14" fmla="*/ 30403 h 287141"/>
                <a:gd name="connsiteX15" fmla="*/ 126585 w 192543"/>
                <a:gd name="connsiteY15" fmla="*/ 31219 h 287141"/>
                <a:gd name="connsiteX16" fmla="*/ 129092 w 192543"/>
                <a:gd name="connsiteY16" fmla="*/ 30403 h 287141"/>
                <a:gd name="connsiteX17" fmla="*/ 129291 w 192543"/>
                <a:gd name="connsiteY17" fmla="*/ 30597 h 287141"/>
                <a:gd name="connsiteX18" fmla="*/ 132671 w 192543"/>
                <a:gd name="connsiteY18" fmla="*/ 29277 h 287141"/>
                <a:gd name="connsiteX19" fmla="*/ 136014 w 192543"/>
                <a:gd name="connsiteY19" fmla="*/ 29277 h 287141"/>
                <a:gd name="connsiteX20" fmla="*/ 158051 w 192543"/>
                <a:gd name="connsiteY20" fmla="*/ 29277 h 287141"/>
                <a:gd name="connsiteX21" fmla="*/ 168434 w 192543"/>
                <a:gd name="connsiteY21" fmla="*/ 20269 h 287141"/>
                <a:gd name="connsiteX22" fmla="*/ 170917 w 192543"/>
                <a:gd name="connsiteY22" fmla="*/ 21015 h 287141"/>
                <a:gd name="connsiteX23" fmla="*/ 171777 w 192543"/>
                <a:gd name="connsiteY23" fmla="*/ 20269 h 287141"/>
                <a:gd name="connsiteX24" fmla="*/ 186775 w 192543"/>
                <a:gd name="connsiteY24" fmla="*/ 24773 h 287141"/>
                <a:gd name="connsiteX25" fmla="*/ 182160 w 192543"/>
                <a:gd name="connsiteY25" fmla="*/ 27025 h 287141"/>
                <a:gd name="connsiteX26" fmla="*/ 184468 w 192543"/>
                <a:gd name="connsiteY26" fmla="*/ 36033 h 287141"/>
                <a:gd name="connsiteX27" fmla="*/ 183314 w 192543"/>
                <a:gd name="connsiteY27" fmla="*/ 55176 h 287141"/>
                <a:gd name="connsiteX28" fmla="*/ 167163 w 192543"/>
                <a:gd name="connsiteY28" fmla="*/ 56302 h 287141"/>
                <a:gd name="connsiteX29" fmla="*/ 151011 w 192543"/>
                <a:gd name="connsiteY29" fmla="*/ 59680 h 287141"/>
                <a:gd name="connsiteX30" fmla="*/ 141782 w 192543"/>
                <a:gd name="connsiteY30" fmla="*/ 67563 h 287141"/>
                <a:gd name="connsiteX31" fmla="*/ 142936 w 192543"/>
                <a:gd name="connsiteY31" fmla="*/ 70940 h 287141"/>
                <a:gd name="connsiteX32" fmla="*/ 125631 w 192543"/>
                <a:gd name="connsiteY32" fmla="*/ 78822 h 287141"/>
                <a:gd name="connsiteX33" fmla="*/ 122761 w 192543"/>
                <a:gd name="connsiteY33" fmla="*/ 78607 h 287141"/>
                <a:gd name="connsiteX34" fmla="*/ 122288 w 192543"/>
                <a:gd name="connsiteY34" fmla="*/ 78822 h 287141"/>
                <a:gd name="connsiteX35" fmla="*/ 110591 w 192543"/>
                <a:gd name="connsiteY35" fmla="*/ 77945 h 287141"/>
                <a:gd name="connsiteX36" fmla="*/ 109480 w 192543"/>
                <a:gd name="connsiteY36" fmla="*/ 84453 h 287141"/>
                <a:gd name="connsiteX37" fmla="*/ 111788 w 192543"/>
                <a:gd name="connsiteY37" fmla="*/ 85579 h 287141"/>
                <a:gd name="connsiteX38" fmla="*/ 111788 w 192543"/>
                <a:gd name="connsiteY38" fmla="*/ 124991 h 287141"/>
                <a:gd name="connsiteX39" fmla="*/ 114095 w 192543"/>
                <a:gd name="connsiteY39" fmla="*/ 124991 h 287141"/>
                <a:gd name="connsiteX40" fmla="*/ 115248 w 192543"/>
                <a:gd name="connsiteY40" fmla="*/ 128368 h 287141"/>
                <a:gd name="connsiteX41" fmla="*/ 160648 w 192543"/>
                <a:gd name="connsiteY41" fmla="*/ 162712 h 287141"/>
                <a:gd name="connsiteX42" fmla="*/ 162666 w 192543"/>
                <a:gd name="connsiteY42" fmla="*/ 158772 h 287141"/>
                <a:gd name="connsiteX43" fmla="*/ 162666 w 192543"/>
                <a:gd name="connsiteY43" fmla="*/ 163276 h 287141"/>
                <a:gd name="connsiteX44" fmla="*/ 163702 w 192543"/>
                <a:gd name="connsiteY44" fmla="*/ 163276 h 287141"/>
                <a:gd name="connsiteX45" fmla="*/ 166009 w 192543"/>
                <a:gd name="connsiteY45" fmla="*/ 158772 h 287141"/>
                <a:gd name="connsiteX46" fmla="*/ 166009 w 192543"/>
                <a:gd name="connsiteY46" fmla="*/ 166654 h 287141"/>
                <a:gd name="connsiteX47" fmla="*/ 173985 w 192543"/>
                <a:gd name="connsiteY47" fmla="*/ 172709 h 287141"/>
                <a:gd name="connsiteX48" fmla="*/ 175357 w 192543"/>
                <a:gd name="connsiteY48" fmla="*/ 170032 h 287141"/>
                <a:gd name="connsiteX49" fmla="*/ 176510 w 192543"/>
                <a:gd name="connsiteY49" fmla="*/ 170032 h 287141"/>
                <a:gd name="connsiteX50" fmla="*/ 176997 w 192543"/>
                <a:gd name="connsiteY50" fmla="*/ 173356 h 287141"/>
                <a:gd name="connsiteX51" fmla="*/ 178700 w 192543"/>
                <a:gd name="connsiteY51" fmla="*/ 170032 h 287141"/>
                <a:gd name="connsiteX52" fmla="*/ 179853 w 192543"/>
                <a:gd name="connsiteY52" fmla="*/ 170032 h 287141"/>
                <a:gd name="connsiteX53" fmla="*/ 181007 w 192543"/>
                <a:gd name="connsiteY53" fmla="*/ 177914 h 287141"/>
                <a:gd name="connsiteX54" fmla="*/ 192543 w 192543"/>
                <a:gd name="connsiteY54" fmla="*/ 186923 h 287141"/>
                <a:gd name="connsiteX55" fmla="*/ 190236 w 192543"/>
                <a:gd name="connsiteY55" fmla="*/ 191427 h 287141"/>
                <a:gd name="connsiteX56" fmla="*/ 188087 w 192543"/>
                <a:gd name="connsiteY56" fmla="*/ 189096 h 287141"/>
                <a:gd name="connsiteX57" fmla="*/ 186893 w 192543"/>
                <a:gd name="connsiteY57" fmla="*/ 191427 h 287141"/>
                <a:gd name="connsiteX58" fmla="*/ 177407 w 192543"/>
                <a:gd name="connsiteY58" fmla="*/ 181139 h 287141"/>
                <a:gd name="connsiteX59" fmla="*/ 148704 w 192543"/>
                <a:gd name="connsiteY59" fmla="*/ 192553 h 287141"/>
                <a:gd name="connsiteX60" fmla="*/ 147385 w 192543"/>
                <a:gd name="connsiteY60" fmla="*/ 191748 h 287141"/>
                <a:gd name="connsiteX61" fmla="*/ 145361 w 192543"/>
                <a:gd name="connsiteY61" fmla="*/ 192553 h 287141"/>
                <a:gd name="connsiteX62" fmla="*/ 138806 w 192543"/>
                <a:gd name="connsiteY62" fmla="*/ 188555 h 287141"/>
                <a:gd name="connsiteX63" fmla="*/ 137168 w 192543"/>
                <a:gd name="connsiteY63" fmla="*/ 192553 h 287141"/>
                <a:gd name="connsiteX64" fmla="*/ 134218 w 192543"/>
                <a:gd name="connsiteY64" fmla="*/ 191594 h 287141"/>
                <a:gd name="connsiteX65" fmla="*/ 133825 w 192543"/>
                <a:gd name="connsiteY65" fmla="*/ 192553 h 287141"/>
                <a:gd name="connsiteX66" fmla="*/ 133229 w 192543"/>
                <a:gd name="connsiteY66" fmla="*/ 192359 h 287141"/>
                <a:gd name="connsiteX67" fmla="*/ 131399 w 192543"/>
                <a:gd name="connsiteY67" fmla="*/ 195931 h 287141"/>
                <a:gd name="connsiteX68" fmla="*/ 132553 w 192543"/>
                <a:gd name="connsiteY68" fmla="*/ 198183 h 287141"/>
                <a:gd name="connsiteX69" fmla="*/ 124478 w 192543"/>
                <a:gd name="connsiteY69" fmla="*/ 201561 h 287141"/>
                <a:gd name="connsiteX70" fmla="*/ 126824 w 192543"/>
                <a:gd name="connsiteY70" fmla="*/ 202325 h 287141"/>
                <a:gd name="connsiteX71" fmla="*/ 131517 w 192543"/>
                <a:gd name="connsiteY71" fmla="*/ 201561 h 287141"/>
                <a:gd name="connsiteX72" fmla="*/ 133037 w 192543"/>
                <a:gd name="connsiteY72" fmla="*/ 201858 h 287141"/>
                <a:gd name="connsiteX73" fmla="*/ 134860 w 192543"/>
                <a:gd name="connsiteY73" fmla="*/ 201561 h 287141"/>
                <a:gd name="connsiteX74" fmla="*/ 140629 w 192543"/>
                <a:gd name="connsiteY74" fmla="*/ 202687 h 287141"/>
                <a:gd name="connsiteX75" fmla="*/ 160241 w 192543"/>
                <a:gd name="connsiteY75" fmla="*/ 212822 h 287141"/>
                <a:gd name="connsiteX76" fmla="*/ 167163 w 192543"/>
                <a:gd name="connsiteY76" fmla="*/ 228586 h 287141"/>
                <a:gd name="connsiteX77" fmla="*/ 168316 w 192543"/>
                <a:gd name="connsiteY77" fmla="*/ 238721 h 287141"/>
                <a:gd name="connsiteX78" fmla="*/ 174084 w 192543"/>
                <a:gd name="connsiteY78" fmla="*/ 244351 h 287141"/>
                <a:gd name="connsiteX79" fmla="*/ 179853 w 192543"/>
                <a:gd name="connsiteY79" fmla="*/ 245477 h 287141"/>
                <a:gd name="connsiteX80" fmla="*/ 192543 w 192543"/>
                <a:gd name="connsiteY80" fmla="*/ 252233 h 287141"/>
                <a:gd name="connsiteX81" fmla="*/ 189082 w 192543"/>
                <a:gd name="connsiteY81" fmla="*/ 256738 h 287141"/>
                <a:gd name="connsiteX82" fmla="*/ 189082 w 192543"/>
                <a:gd name="connsiteY82" fmla="*/ 265746 h 287141"/>
                <a:gd name="connsiteX83" fmla="*/ 191390 w 192543"/>
                <a:gd name="connsiteY83" fmla="*/ 271376 h 287141"/>
                <a:gd name="connsiteX84" fmla="*/ 192543 w 192543"/>
                <a:gd name="connsiteY84" fmla="*/ 287141 h 287141"/>
                <a:gd name="connsiteX85" fmla="*/ 189116 w 192543"/>
                <a:gd name="connsiteY85" fmla="*/ 285988 h 287141"/>
                <a:gd name="connsiteX86" fmla="*/ 189200 w 192543"/>
                <a:gd name="connsiteY86" fmla="*/ 287141 h 287141"/>
                <a:gd name="connsiteX87" fmla="*/ 155744 w 192543"/>
                <a:gd name="connsiteY87" fmla="*/ 275880 h 287141"/>
                <a:gd name="connsiteX88" fmla="*/ 131399 w 192543"/>
                <a:gd name="connsiteY88" fmla="*/ 275880 h 287141"/>
                <a:gd name="connsiteX89" fmla="*/ 128056 w 192543"/>
                <a:gd name="connsiteY89" fmla="*/ 275880 h 287141"/>
                <a:gd name="connsiteX90" fmla="*/ 117673 w 192543"/>
                <a:gd name="connsiteY90" fmla="*/ 272502 h 287141"/>
                <a:gd name="connsiteX91" fmla="*/ 107290 w 192543"/>
                <a:gd name="connsiteY91" fmla="*/ 267998 h 287141"/>
                <a:gd name="connsiteX92" fmla="*/ 74988 w 192543"/>
                <a:gd name="connsiteY92" fmla="*/ 243225 h 287141"/>
                <a:gd name="connsiteX93" fmla="*/ 57683 w 192543"/>
                <a:gd name="connsiteY93" fmla="*/ 234216 h 287141"/>
                <a:gd name="connsiteX94" fmla="*/ 43839 w 192543"/>
                <a:gd name="connsiteY94" fmla="*/ 220704 h 287141"/>
                <a:gd name="connsiteX95" fmla="*/ 38071 w 192543"/>
                <a:gd name="connsiteY95" fmla="*/ 200436 h 287141"/>
                <a:gd name="connsiteX96" fmla="*/ 34610 w 192543"/>
                <a:gd name="connsiteY96" fmla="*/ 193679 h 287141"/>
                <a:gd name="connsiteX97" fmla="*/ 27688 w 192543"/>
                <a:gd name="connsiteY97" fmla="*/ 188049 h 287141"/>
                <a:gd name="connsiteX98" fmla="*/ 10383 w 192543"/>
                <a:gd name="connsiteY98" fmla="*/ 177914 h 287141"/>
                <a:gd name="connsiteX99" fmla="*/ 0 w 192543"/>
                <a:gd name="connsiteY99" fmla="*/ 168906 h 287141"/>
                <a:gd name="connsiteX100" fmla="*/ 1154 w 192543"/>
                <a:gd name="connsiteY100" fmla="*/ 167780 h 287141"/>
                <a:gd name="connsiteX101" fmla="*/ 3382 w 192543"/>
                <a:gd name="connsiteY101" fmla="*/ 168868 h 287141"/>
                <a:gd name="connsiteX102" fmla="*/ 4497 w 192543"/>
                <a:gd name="connsiteY102" fmla="*/ 167780 h 287141"/>
                <a:gd name="connsiteX103" fmla="*/ 7735 w 192543"/>
                <a:gd name="connsiteY103" fmla="*/ 169360 h 287141"/>
                <a:gd name="connsiteX104" fmla="*/ 28842 w 192543"/>
                <a:gd name="connsiteY104" fmla="*/ 162150 h 287141"/>
                <a:gd name="connsiteX105" fmla="*/ 30218 w 192543"/>
                <a:gd name="connsiteY105" fmla="*/ 162822 h 287141"/>
                <a:gd name="connsiteX106" fmla="*/ 32185 w 192543"/>
                <a:gd name="connsiteY106" fmla="*/ 162150 h 287141"/>
                <a:gd name="connsiteX107" fmla="*/ 34492 w 192543"/>
                <a:gd name="connsiteY107" fmla="*/ 163276 h 287141"/>
                <a:gd name="connsiteX108" fmla="*/ 41532 w 192543"/>
                <a:gd name="connsiteY108" fmla="*/ 163276 h 287141"/>
                <a:gd name="connsiteX109" fmla="*/ 44875 w 192543"/>
                <a:gd name="connsiteY109" fmla="*/ 163276 h 287141"/>
                <a:gd name="connsiteX110" fmla="*/ 51488 w 192543"/>
                <a:gd name="connsiteY110" fmla="*/ 166042 h 287141"/>
                <a:gd name="connsiteX111" fmla="*/ 53068 w 192543"/>
                <a:gd name="connsiteY111" fmla="*/ 165528 h 287141"/>
                <a:gd name="connsiteX112" fmla="*/ 54740 w 192543"/>
                <a:gd name="connsiteY112" fmla="*/ 166072 h 287141"/>
                <a:gd name="connsiteX113" fmla="*/ 54979 w 192543"/>
                <a:gd name="connsiteY113" fmla="*/ 165994 h 287141"/>
                <a:gd name="connsiteX114" fmla="*/ 53069 w 192543"/>
                <a:gd name="connsiteY114" fmla="*/ 165528 h 287141"/>
                <a:gd name="connsiteX115" fmla="*/ 53069 w 192543"/>
                <a:gd name="connsiteY115" fmla="*/ 163276 h 287141"/>
                <a:gd name="connsiteX116" fmla="*/ 56412 w 192543"/>
                <a:gd name="connsiteY116" fmla="*/ 164364 h 287141"/>
                <a:gd name="connsiteX117" fmla="*/ 56412 w 192543"/>
                <a:gd name="connsiteY117" fmla="*/ 163276 h 287141"/>
                <a:gd name="connsiteX118" fmla="*/ 57007 w 192543"/>
                <a:gd name="connsiteY118" fmla="*/ 163470 h 287141"/>
                <a:gd name="connsiteX119" fmla="*/ 57683 w 192543"/>
                <a:gd name="connsiteY119" fmla="*/ 162150 h 287141"/>
                <a:gd name="connsiteX120" fmla="*/ 59990 w 192543"/>
                <a:gd name="connsiteY120" fmla="*/ 156520 h 287141"/>
                <a:gd name="connsiteX121" fmla="*/ 58837 w 192543"/>
                <a:gd name="connsiteY121" fmla="*/ 155393 h 287141"/>
                <a:gd name="connsiteX122" fmla="*/ 62298 w 192543"/>
                <a:gd name="connsiteY122" fmla="*/ 148637 h 287141"/>
                <a:gd name="connsiteX123" fmla="*/ 61144 w 192543"/>
                <a:gd name="connsiteY123" fmla="*/ 145260 h 287141"/>
                <a:gd name="connsiteX124" fmla="*/ 57683 w 192543"/>
                <a:gd name="connsiteY124" fmla="*/ 144134 h 287141"/>
                <a:gd name="connsiteX125" fmla="*/ 63452 w 192543"/>
                <a:gd name="connsiteY125" fmla="*/ 137377 h 287141"/>
                <a:gd name="connsiteX126" fmla="*/ 66068 w 192543"/>
                <a:gd name="connsiteY126" fmla="*/ 138229 h 287141"/>
                <a:gd name="connsiteX127" fmla="*/ 66795 w 192543"/>
                <a:gd name="connsiteY127" fmla="*/ 137377 h 287141"/>
                <a:gd name="connsiteX128" fmla="*/ 66990 w 192543"/>
                <a:gd name="connsiteY128" fmla="*/ 137441 h 287141"/>
                <a:gd name="connsiteX129" fmla="*/ 68066 w 192543"/>
                <a:gd name="connsiteY129" fmla="*/ 122738 h 287141"/>
                <a:gd name="connsiteX130" fmla="*/ 70373 w 192543"/>
                <a:gd name="connsiteY130" fmla="*/ 123864 h 287141"/>
                <a:gd name="connsiteX131" fmla="*/ 78449 w 192543"/>
                <a:gd name="connsiteY131" fmla="*/ 108100 h 287141"/>
                <a:gd name="connsiteX132" fmla="*/ 68066 w 192543"/>
                <a:gd name="connsiteY132" fmla="*/ 102470 h 287141"/>
                <a:gd name="connsiteX133" fmla="*/ 73835 w 192543"/>
                <a:gd name="connsiteY133" fmla="*/ 93462 h 287141"/>
                <a:gd name="connsiteX134" fmla="*/ 76142 w 192543"/>
                <a:gd name="connsiteY134" fmla="*/ 66436 h 287141"/>
                <a:gd name="connsiteX135" fmla="*/ 79485 w 192543"/>
                <a:gd name="connsiteY135" fmla="*/ 66436 h 287141"/>
                <a:gd name="connsiteX136" fmla="*/ 83064 w 192543"/>
                <a:gd name="connsiteY136" fmla="*/ 66436 h 287141"/>
                <a:gd name="connsiteX137" fmla="*/ 84217 w 192543"/>
                <a:gd name="connsiteY137" fmla="*/ 57428 h 287141"/>
                <a:gd name="connsiteX138" fmla="*/ 77296 w 192543"/>
                <a:gd name="connsiteY138" fmla="*/ 56302 h 287141"/>
                <a:gd name="connsiteX139" fmla="*/ 75615 w 192543"/>
                <a:gd name="connsiteY139" fmla="*/ 54662 h 287141"/>
                <a:gd name="connsiteX140" fmla="*/ 63333 w 192543"/>
                <a:gd name="connsiteY140" fmla="*/ 57428 h 287141"/>
                <a:gd name="connsiteX141" fmla="*/ 59873 w 192543"/>
                <a:gd name="connsiteY141" fmla="*/ 59680 h 287141"/>
                <a:gd name="connsiteX142" fmla="*/ 51797 w 192543"/>
                <a:gd name="connsiteY142" fmla="*/ 72066 h 287141"/>
                <a:gd name="connsiteX143" fmla="*/ 43721 w 192543"/>
                <a:gd name="connsiteY143" fmla="*/ 73192 h 287141"/>
                <a:gd name="connsiteX144" fmla="*/ 43517 w 192543"/>
                <a:gd name="connsiteY144" fmla="*/ 72755 h 287141"/>
                <a:gd name="connsiteX145" fmla="*/ 40378 w 192543"/>
                <a:gd name="connsiteY145" fmla="*/ 73192 h 287141"/>
                <a:gd name="connsiteX146" fmla="*/ 34610 w 192543"/>
                <a:gd name="connsiteY146" fmla="*/ 60806 h 287141"/>
                <a:gd name="connsiteX147" fmla="*/ 21384 w 192543"/>
                <a:gd name="connsiteY147" fmla="*/ 59884 h 287141"/>
                <a:gd name="connsiteX148" fmla="*/ 17187 w 192543"/>
                <a:gd name="connsiteY148" fmla="*/ 61933 h 287141"/>
                <a:gd name="connsiteX149" fmla="*/ 17605 w 192543"/>
                <a:gd name="connsiteY149" fmla="*/ 60097 h 287141"/>
                <a:gd name="connsiteX150" fmla="*/ 13844 w 192543"/>
                <a:gd name="connsiteY150" fmla="*/ 61933 h 287141"/>
                <a:gd name="connsiteX151" fmla="*/ 18459 w 192543"/>
                <a:gd name="connsiteY151" fmla="*/ 41663 h 287141"/>
                <a:gd name="connsiteX152" fmla="*/ 21920 w 192543"/>
                <a:gd name="connsiteY152" fmla="*/ 34907 h 287141"/>
                <a:gd name="connsiteX153" fmla="*/ 27688 w 192543"/>
                <a:gd name="connsiteY153" fmla="*/ 30403 h 287141"/>
                <a:gd name="connsiteX154" fmla="*/ 30660 w 192543"/>
                <a:gd name="connsiteY154" fmla="*/ 30693 h 287141"/>
                <a:gd name="connsiteX155" fmla="*/ 31031 w 192543"/>
                <a:gd name="connsiteY155" fmla="*/ 30403 h 287141"/>
                <a:gd name="connsiteX156" fmla="*/ 40478 w 192543"/>
                <a:gd name="connsiteY156" fmla="*/ 31325 h 287141"/>
                <a:gd name="connsiteX157" fmla="*/ 46146 w 192543"/>
                <a:gd name="connsiteY157" fmla="*/ 30403 h 287141"/>
                <a:gd name="connsiteX158" fmla="*/ 56530 w 192543"/>
                <a:gd name="connsiteY158" fmla="*/ 21394 h 287141"/>
                <a:gd name="connsiteX159" fmla="*/ 62298 w 192543"/>
                <a:gd name="connsiteY159" fmla="*/ 9008 h 28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92543" h="287141">
                  <a:moveTo>
                    <a:pt x="62498" y="168809"/>
                  </a:moveTo>
                  <a:lnTo>
                    <a:pt x="62219" y="168945"/>
                  </a:lnTo>
                  <a:lnTo>
                    <a:pt x="62219" y="168945"/>
                  </a:lnTo>
                  <a:lnTo>
                    <a:pt x="62498" y="168809"/>
                  </a:lnTo>
                  <a:close/>
                  <a:moveTo>
                    <a:pt x="76142" y="0"/>
                  </a:moveTo>
                  <a:lnTo>
                    <a:pt x="78816" y="435"/>
                  </a:lnTo>
                  <a:lnTo>
                    <a:pt x="79485" y="0"/>
                  </a:lnTo>
                  <a:lnTo>
                    <a:pt x="86407" y="1126"/>
                  </a:lnTo>
                  <a:lnTo>
                    <a:pt x="94482" y="6756"/>
                  </a:lnTo>
                  <a:lnTo>
                    <a:pt x="96790" y="12387"/>
                  </a:lnTo>
                  <a:lnTo>
                    <a:pt x="96790" y="22521"/>
                  </a:lnTo>
                  <a:lnTo>
                    <a:pt x="102558" y="31529"/>
                  </a:lnTo>
                  <a:lnTo>
                    <a:pt x="107173" y="34907"/>
                  </a:lnTo>
                  <a:lnTo>
                    <a:pt x="109878" y="35567"/>
                  </a:lnTo>
                  <a:lnTo>
                    <a:pt x="125749" y="30403"/>
                  </a:lnTo>
                  <a:lnTo>
                    <a:pt x="126585" y="31219"/>
                  </a:lnTo>
                  <a:lnTo>
                    <a:pt x="129092" y="30403"/>
                  </a:lnTo>
                  <a:lnTo>
                    <a:pt x="129291" y="30597"/>
                  </a:lnTo>
                  <a:lnTo>
                    <a:pt x="132671" y="29277"/>
                  </a:lnTo>
                  <a:lnTo>
                    <a:pt x="136014" y="29277"/>
                  </a:lnTo>
                  <a:lnTo>
                    <a:pt x="158051" y="29277"/>
                  </a:lnTo>
                  <a:lnTo>
                    <a:pt x="168434" y="20269"/>
                  </a:lnTo>
                  <a:lnTo>
                    <a:pt x="170917" y="21015"/>
                  </a:lnTo>
                  <a:lnTo>
                    <a:pt x="171777" y="20269"/>
                  </a:lnTo>
                  <a:lnTo>
                    <a:pt x="186775" y="24773"/>
                  </a:lnTo>
                  <a:lnTo>
                    <a:pt x="182160" y="27025"/>
                  </a:lnTo>
                  <a:lnTo>
                    <a:pt x="184468" y="36033"/>
                  </a:lnTo>
                  <a:lnTo>
                    <a:pt x="183314" y="55176"/>
                  </a:lnTo>
                  <a:lnTo>
                    <a:pt x="167163" y="56302"/>
                  </a:lnTo>
                  <a:lnTo>
                    <a:pt x="151011" y="59680"/>
                  </a:lnTo>
                  <a:lnTo>
                    <a:pt x="141782" y="67563"/>
                  </a:lnTo>
                  <a:lnTo>
                    <a:pt x="142936" y="70940"/>
                  </a:lnTo>
                  <a:lnTo>
                    <a:pt x="125631" y="78822"/>
                  </a:lnTo>
                  <a:lnTo>
                    <a:pt x="122761" y="78607"/>
                  </a:lnTo>
                  <a:lnTo>
                    <a:pt x="122288" y="78822"/>
                  </a:lnTo>
                  <a:lnTo>
                    <a:pt x="110591" y="77945"/>
                  </a:lnTo>
                  <a:lnTo>
                    <a:pt x="109480" y="84453"/>
                  </a:lnTo>
                  <a:lnTo>
                    <a:pt x="111788" y="85579"/>
                  </a:lnTo>
                  <a:lnTo>
                    <a:pt x="111788" y="124991"/>
                  </a:lnTo>
                  <a:lnTo>
                    <a:pt x="114095" y="124991"/>
                  </a:lnTo>
                  <a:lnTo>
                    <a:pt x="115248" y="128368"/>
                  </a:lnTo>
                  <a:lnTo>
                    <a:pt x="160648" y="162712"/>
                  </a:lnTo>
                  <a:lnTo>
                    <a:pt x="162666" y="158772"/>
                  </a:lnTo>
                  <a:lnTo>
                    <a:pt x="162666" y="163276"/>
                  </a:lnTo>
                  <a:lnTo>
                    <a:pt x="163702" y="163276"/>
                  </a:lnTo>
                  <a:lnTo>
                    <a:pt x="166009" y="158772"/>
                  </a:lnTo>
                  <a:lnTo>
                    <a:pt x="166009" y="166654"/>
                  </a:lnTo>
                  <a:lnTo>
                    <a:pt x="173985" y="172709"/>
                  </a:lnTo>
                  <a:lnTo>
                    <a:pt x="175357" y="170032"/>
                  </a:lnTo>
                  <a:lnTo>
                    <a:pt x="176510" y="170032"/>
                  </a:lnTo>
                  <a:lnTo>
                    <a:pt x="176997" y="173356"/>
                  </a:lnTo>
                  <a:lnTo>
                    <a:pt x="178700" y="170032"/>
                  </a:lnTo>
                  <a:lnTo>
                    <a:pt x="179853" y="170032"/>
                  </a:lnTo>
                  <a:lnTo>
                    <a:pt x="181007" y="177914"/>
                  </a:lnTo>
                  <a:lnTo>
                    <a:pt x="192543" y="186923"/>
                  </a:lnTo>
                  <a:lnTo>
                    <a:pt x="190236" y="191427"/>
                  </a:lnTo>
                  <a:lnTo>
                    <a:pt x="188087" y="189096"/>
                  </a:lnTo>
                  <a:lnTo>
                    <a:pt x="186893" y="191427"/>
                  </a:lnTo>
                  <a:lnTo>
                    <a:pt x="177407" y="181139"/>
                  </a:lnTo>
                  <a:lnTo>
                    <a:pt x="148704" y="192553"/>
                  </a:lnTo>
                  <a:lnTo>
                    <a:pt x="147385" y="191748"/>
                  </a:lnTo>
                  <a:lnTo>
                    <a:pt x="145361" y="192553"/>
                  </a:lnTo>
                  <a:lnTo>
                    <a:pt x="138806" y="188555"/>
                  </a:lnTo>
                  <a:lnTo>
                    <a:pt x="137168" y="192553"/>
                  </a:lnTo>
                  <a:lnTo>
                    <a:pt x="134218" y="191594"/>
                  </a:lnTo>
                  <a:lnTo>
                    <a:pt x="133825" y="192553"/>
                  </a:lnTo>
                  <a:lnTo>
                    <a:pt x="133229" y="192359"/>
                  </a:lnTo>
                  <a:lnTo>
                    <a:pt x="131399" y="195931"/>
                  </a:lnTo>
                  <a:lnTo>
                    <a:pt x="132553" y="198183"/>
                  </a:lnTo>
                  <a:lnTo>
                    <a:pt x="124478" y="201561"/>
                  </a:lnTo>
                  <a:lnTo>
                    <a:pt x="126824" y="202325"/>
                  </a:lnTo>
                  <a:lnTo>
                    <a:pt x="131517" y="201561"/>
                  </a:lnTo>
                  <a:lnTo>
                    <a:pt x="133037" y="201858"/>
                  </a:lnTo>
                  <a:lnTo>
                    <a:pt x="134860" y="201561"/>
                  </a:lnTo>
                  <a:lnTo>
                    <a:pt x="140629" y="202687"/>
                  </a:lnTo>
                  <a:lnTo>
                    <a:pt x="160241" y="212822"/>
                  </a:lnTo>
                  <a:lnTo>
                    <a:pt x="167163" y="228586"/>
                  </a:lnTo>
                  <a:lnTo>
                    <a:pt x="168316" y="238721"/>
                  </a:lnTo>
                  <a:lnTo>
                    <a:pt x="174084" y="244351"/>
                  </a:lnTo>
                  <a:lnTo>
                    <a:pt x="179853" y="245477"/>
                  </a:lnTo>
                  <a:lnTo>
                    <a:pt x="192543" y="252233"/>
                  </a:lnTo>
                  <a:lnTo>
                    <a:pt x="189082" y="256738"/>
                  </a:lnTo>
                  <a:lnTo>
                    <a:pt x="189082" y="265746"/>
                  </a:lnTo>
                  <a:lnTo>
                    <a:pt x="191390" y="271376"/>
                  </a:lnTo>
                  <a:lnTo>
                    <a:pt x="192543" y="287141"/>
                  </a:lnTo>
                  <a:lnTo>
                    <a:pt x="189116" y="285988"/>
                  </a:lnTo>
                  <a:lnTo>
                    <a:pt x="189200" y="287141"/>
                  </a:lnTo>
                  <a:lnTo>
                    <a:pt x="155744" y="275880"/>
                  </a:lnTo>
                  <a:lnTo>
                    <a:pt x="131399" y="275880"/>
                  </a:lnTo>
                  <a:lnTo>
                    <a:pt x="128056" y="275880"/>
                  </a:lnTo>
                  <a:lnTo>
                    <a:pt x="117673" y="272502"/>
                  </a:lnTo>
                  <a:lnTo>
                    <a:pt x="107290" y="267998"/>
                  </a:lnTo>
                  <a:lnTo>
                    <a:pt x="74988" y="243225"/>
                  </a:lnTo>
                  <a:lnTo>
                    <a:pt x="57683" y="234216"/>
                  </a:lnTo>
                  <a:lnTo>
                    <a:pt x="43839" y="220704"/>
                  </a:lnTo>
                  <a:lnTo>
                    <a:pt x="38071" y="200436"/>
                  </a:lnTo>
                  <a:lnTo>
                    <a:pt x="34610" y="193679"/>
                  </a:lnTo>
                  <a:lnTo>
                    <a:pt x="27688" y="188049"/>
                  </a:lnTo>
                  <a:lnTo>
                    <a:pt x="10383" y="177914"/>
                  </a:lnTo>
                  <a:lnTo>
                    <a:pt x="0" y="168906"/>
                  </a:lnTo>
                  <a:lnTo>
                    <a:pt x="1154" y="167780"/>
                  </a:lnTo>
                  <a:lnTo>
                    <a:pt x="3382" y="168868"/>
                  </a:lnTo>
                  <a:lnTo>
                    <a:pt x="4497" y="167780"/>
                  </a:lnTo>
                  <a:lnTo>
                    <a:pt x="7735" y="169360"/>
                  </a:lnTo>
                  <a:lnTo>
                    <a:pt x="28842" y="162150"/>
                  </a:lnTo>
                  <a:lnTo>
                    <a:pt x="30218" y="162822"/>
                  </a:lnTo>
                  <a:lnTo>
                    <a:pt x="32185" y="162150"/>
                  </a:lnTo>
                  <a:lnTo>
                    <a:pt x="34492" y="163276"/>
                  </a:lnTo>
                  <a:lnTo>
                    <a:pt x="41532" y="163276"/>
                  </a:lnTo>
                  <a:lnTo>
                    <a:pt x="44875" y="163276"/>
                  </a:lnTo>
                  <a:lnTo>
                    <a:pt x="51488" y="166042"/>
                  </a:lnTo>
                  <a:lnTo>
                    <a:pt x="53068" y="165528"/>
                  </a:lnTo>
                  <a:lnTo>
                    <a:pt x="54740" y="166072"/>
                  </a:lnTo>
                  <a:lnTo>
                    <a:pt x="54979" y="165994"/>
                  </a:lnTo>
                  <a:lnTo>
                    <a:pt x="53069" y="165528"/>
                  </a:lnTo>
                  <a:lnTo>
                    <a:pt x="53069" y="163276"/>
                  </a:lnTo>
                  <a:lnTo>
                    <a:pt x="56412" y="164364"/>
                  </a:lnTo>
                  <a:lnTo>
                    <a:pt x="56412" y="163276"/>
                  </a:lnTo>
                  <a:lnTo>
                    <a:pt x="57007" y="163470"/>
                  </a:lnTo>
                  <a:lnTo>
                    <a:pt x="57683" y="162150"/>
                  </a:lnTo>
                  <a:lnTo>
                    <a:pt x="59990" y="156520"/>
                  </a:lnTo>
                  <a:lnTo>
                    <a:pt x="58837" y="155393"/>
                  </a:lnTo>
                  <a:lnTo>
                    <a:pt x="62298" y="148637"/>
                  </a:lnTo>
                  <a:lnTo>
                    <a:pt x="61144" y="145260"/>
                  </a:lnTo>
                  <a:lnTo>
                    <a:pt x="57683" y="144134"/>
                  </a:lnTo>
                  <a:lnTo>
                    <a:pt x="63452" y="137377"/>
                  </a:lnTo>
                  <a:lnTo>
                    <a:pt x="66068" y="138229"/>
                  </a:lnTo>
                  <a:lnTo>
                    <a:pt x="66795" y="137377"/>
                  </a:lnTo>
                  <a:lnTo>
                    <a:pt x="66990" y="137441"/>
                  </a:lnTo>
                  <a:lnTo>
                    <a:pt x="68066" y="122738"/>
                  </a:lnTo>
                  <a:lnTo>
                    <a:pt x="70373" y="123864"/>
                  </a:lnTo>
                  <a:lnTo>
                    <a:pt x="78449" y="108100"/>
                  </a:lnTo>
                  <a:lnTo>
                    <a:pt x="68066" y="102470"/>
                  </a:lnTo>
                  <a:lnTo>
                    <a:pt x="73835" y="93462"/>
                  </a:lnTo>
                  <a:lnTo>
                    <a:pt x="76142" y="66436"/>
                  </a:lnTo>
                  <a:lnTo>
                    <a:pt x="79485" y="66436"/>
                  </a:lnTo>
                  <a:lnTo>
                    <a:pt x="83064" y="66436"/>
                  </a:lnTo>
                  <a:lnTo>
                    <a:pt x="84217" y="57428"/>
                  </a:lnTo>
                  <a:lnTo>
                    <a:pt x="77296" y="56302"/>
                  </a:lnTo>
                  <a:lnTo>
                    <a:pt x="75615" y="54662"/>
                  </a:lnTo>
                  <a:lnTo>
                    <a:pt x="63333" y="57428"/>
                  </a:lnTo>
                  <a:lnTo>
                    <a:pt x="59873" y="59680"/>
                  </a:lnTo>
                  <a:lnTo>
                    <a:pt x="51797" y="72066"/>
                  </a:lnTo>
                  <a:lnTo>
                    <a:pt x="43721" y="73192"/>
                  </a:lnTo>
                  <a:lnTo>
                    <a:pt x="43517" y="72755"/>
                  </a:lnTo>
                  <a:lnTo>
                    <a:pt x="40378" y="73192"/>
                  </a:lnTo>
                  <a:lnTo>
                    <a:pt x="34610" y="60806"/>
                  </a:lnTo>
                  <a:lnTo>
                    <a:pt x="21384" y="59884"/>
                  </a:lnTo>
                  <a:lnTo>
                    <a:pt x="17187" y="61933"/>
                  </a:lnTo>
                  <a:lnTo>
                    <a:pt x="17605" y="60097"/>
                  </a:lnTo>
                  <a:lnTo>
                    <a:pt x="13844" y="61933"/>
                  </a:lnTo>
                  <a:lnTo>
                    <a:pt x="18459" y="41663"/>
                  </a:lnTo>
                  <a:lnTo>
                    <a:pt x="21920" y="34907"/>
                  </a:lnTo>
                  <a:lnTo>
                    <a:pt x="27688" y="30403"/>
                  </a:lnTo>
                  <a:lnTo>
                    <a:pt x="30660" y="30693"/>
                  </a:lnTo>
                  <a:lnTo>
                    <a:pt x="31031" y="30403"/>
                  </a:lnTo>
                  <a:lnTo>
                    <a:pt x="40478" y="31325"/>
                  </a:lnTo>
                  <a:lnTo>
                    <a:pt x="46146" y="30403"/>
                  </a:lnTo>
                  <a:lnTo>
                    <a:pt x="56530" y="21394"/>
                  </a:lnTo>
                  <a:lnTo>
                    <a:pt x="62298" y="9008"/>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92" name="West Betuwe">
              <a:extLst>
                <a:ext uri="{FF2B5EF4-FFF2-40B4-BE49-F238E27FC236}">
                  <a16:creationId xmlns:a16="http://schemas.microsoft.com/office/drawing/2014/main" id="{C5A0B6F6-2A90-403A-9364-456CB9F05847}"/>
                </a:ext>
              </a:extLst>
            </p:cNvPr>
            <p:cNvSpPr/>
            <p:nvPr/>
          </p:nvSpPr>
          <p:spPr>
            <a:xfrm>
              <a:off x="5825697" y="3803713"/>
              <a:ext cx="433028" cy="201030"/>
            </a:xfrm>
            <a:custGeom>
              <a:avLst/>
              <a:gdLst>
                <a:gd name="connsiteX0" fmla="*/ 131937 w 441850"/>
                <a:gd name="connsiteY0" fmla="*/ 93408 h 217325"/>
                <a:gd name="connsiteX1" fmla="*/ 130363 w 441850"/>
                <a:gd name="connsiteY1" fmla="*/ 95713 h 217325"/>
                <a:gd name="connsiteX2" fmla="*/ 130363 w 441850"/>
                <a:gd name="connsiteY2" fmla="*/ 95714 h 217325"/>
                <a:gd name="connsiteX3" fmla="*/ 126903 w 441850"/>
                <a:gd name="connsiteY3" fmla="*/ 76572 h 217325"/>
                <a:gd name="connsiteX4" fmla="*/ 126903 w 441850"/>
                <a:gd name="connsiteY4" fmla="*/ 77696 h 217325"/>
                <a:gd name="connsiteX5" fmla="*/ 133821 w 441850"/>
                <a:gd name="connsiteY5" fmla="*/ 86700 h 217325"/>
                <a:gd name="connsiteX6" fmla="*/ 274570 w 441850"/>
                <a:gd name="connsiteY6" fmla="*/ 0 h 217325"/>
                <a:gd name="connsiteX7" fmla="*/ 287260 w 441850"/>
                <a:gd name="connsiteY7" fmla="*/ 4504 h 217325"/>
                <a:gd name="connsiteX8" fmla="*/ 301104 w 441850"/>
                <a:gd name="connsiteY8" fmla="*/ 4504 h 217325"/>
                <a:gd name="connsiteX9" fmla="*/ 305718 w 441850"/>
                <a:gd name="connsiteY9" fmla="*/ 7882 h 217325"/>
                <a:gd name="connsiteX10" fmla="*/ 306872 w 441850"/>
                <a:gd name="connsiteY10" fmla="*/ 12387 h 217325"/>
                <a:gd name="connsiteX11" fmla="*/ 305718 w 441850"/>
                <a:gd name="connsiteY11" fmla="*/ 21395 h 217325"/>
                <a:gd name="connsiteX12" fmla="*/ 293029 w 441850"/>
                <a:gd name="connsiteY12" fmla="*/ 25899 h 217325"/>
                <a:gd name="connsiteX13" fmla="*/ 316101 w 441850"/>
                <a:gd name="connsiteY13" fmla="*/ 58554 h 217325"/>
                <a:gd name="connsiteX14" fmla="*/ 318409 w 441850"/>
                <a:gd name="connsiteY14" fmla="*/ 56302 h 217325"/>
                <a:gd name="connsiteX15" fmla="*/ 327638 w 441850"/>
                <a:gd name="connsiteY15" fmla="*/ 65310 h 217325"/>
                <a:gd name="connsiteX16" fmla="*/ 334560 w 441850"/>
                <a:gd name="connsiteY16" fmla="*/ 66436 h 217325"/>
                <a:gd name="connsiteX17" fmla="*/ 344943 w 441850"/>
                <a:gd name="connsiteY17" fmla="*/ 76571 h 217325"/>
                <a:gd name="connsiteX18" fmla="*/ 344943 w 441850"/>
                <a:gd name="connsiteY18" fmla="*/ 81075 h 217325"/>
                <a:gd name="connsiteX19" fmla="*/ 338021 w 441850"/>
                <a:gd name="connsiteY19" fmla="*/ 86705 h 217325"/>
                <a:gd name="connsiteX20" fmla="*/ 336867 w 441850"/>
                <a:gd name="connsiteY20" fmla="*/ 90083 h 217325"/>
                <a:gd name="connsiteX21" fmla="*/ 339175 w 441850"/>
                <a:gd name="connsiteY21" fmla="*/ 91209 h 217325"/>
                <a:gd name="connsiteX22" fmla="*/ 349558 w 441850"/>
                <a:gd name="connsiteY22" fmla="*/ 87832 h 217325"/>
                <a:gd name="connsiteX23" fmla="*/ 357633 w 441850"/>
                <a:gd name="connsiteY23" fmla="*/ 88957 h 217325"/>
                <a:gd name="connsiteX24" fmla="*/ 361094 w 441850"/>
                <a:gd name="connsiteY24" fmla="*/ 91209 h 217325"/>
                <a:gd name="connsiteX25" fmla="*/ 362247 w 441850"/>
                <a:gd name="connsiteY25" fmla="*/ 101344 h 217325"/>
                <a:gd name="connsiteX26" fmla="*/ 358786 w 441850"/>
                <a:gd name="connsiteY26" fmla="*/ 108100 h 217325"/>
                <a:gd name="connsiteX27" fmla="*/ 350711 w 441850"/>
                <a:gd name="connsiteY27" fmla="*/ 117108 h 217325"/>
                <a:gd name="connsiteX28" fmla="*/ 350711 w 441850"/>
                <a:gd name="connsiteY28" fmla="*/ 126116 h 217325"/>
                <a:gd name="connsiteX29" fmla="*/ 350711 w 441850"/>
                <a:gd name="connsiteY29" fmla="*/ 126117 h 217325"/>
                <a:gd name="connsiteX30" fmla="*/ 350711 w 441850"/>
                <a:gd name="connsiteY30" fmla="*/ 129494 h 217325"/>
                <a:gd name="connsiteX31" fmla="*/ 361094 w 441850"/>
                <a:gd name="connsiteY31" fmla="*/ 127242 h 217325"/>
                <a:gd name="connsiteX32" fmla="*/ 361094 w 441850"/>
                <a:gd name="connsiteY32" fmla="*/ 129494 h 217325"/>
                <a:gd name="connsiteX33" fmla="*/ 365709 w 441850"/>
                <a:gd name="connsiteY33" fmla="*/ 130621 h 217325"/>
                <a:gd name="connsiteX34" fmla="*/ 371477 w 441850"/>
                <a:gd name="connsiteY34" fmla="*/ 127242 h 217325"/>
                <a:gd name="connsiteX35" fmla="*/ 384168 w 441850"/>
                <a:gd name="connsiteY35" fmla="*/ 127242 h 217325"/>
                <a:gd name="connsiteX36" fmla="*/ 402626 w 441850"/>
                <a:gd name="connsiteY36" fmla="*/ 119360 h 217325"/>
                <a:gd name="connsiteX37" fmla="*/ 403779 w 441850"/>
                <a:gd name="connsiteY37" fmla="*/ 122738 h 217325"/>
                <a:gd name="connsiteX38" fmla="*/ 416470 w 441850"/>
                <a:gd name="connsiteY38" fmla="*/ 135124 h 217325"/>
                <a:gd name="connsiteX39" fmla="*/ 421085 w 441850"/>
                <a:gd name="connsiteY39" fmla="*/ 136251 h 217325"/>
                <a:gd name="connsiteX40" fmla="*/ 425699 w 441850"/>
                <a:gd name="connsiteY40" fmla="*/ 133998 h 217325"/>
                <a:gd name="connsiteX41" fmla="*/ 433775 w 441850"/>
                <a:gd name="connsiteY41" fmla="*/ 133998 h 217325"/>
                <a:gd name="connsiteX42" fmla="*/ 441850 w 441850"/>
                <a:gd name="connsiteY42" fmla="*/ 138503 h 217325"/>
                <a:gd name="connsiteX43" fmla="*/ 431468 w 441850"/>
                <a:gd name="connsiteY43" fmla="*/ 156519 h 217325"/>
                <a:gd name="connsiteX44" fmla="*/ 410702 w 441850"/>
                <a:gd name="connsiteY44" fmla="*/ 177914 h 217325"/>
                <a:gd name="connsiteX45" fmla="*/ 391089 w 441850"/>
                <a:gd name="connsiteY45" fmla="*/ 209443 h 217325"/>
                <a:gd name="connsiteX46" fmla="*/ 385321 w 441850"/>
                <a:gd name="connsiteY46" fmla="*/ 215073 h 217325"/>
                <a:gd name="connsiteX47" fmla="*/ 379553 w 441850"/>
                <a:gd name="connsiteY47" fmla="*/ 217325 h 217325"/>
                <a:gd name="connsiteX48" fmla="*/ 370324 w 441850"/>
                <a:gd name="connsiteY48" fmla="*/ 217325 h 217325"/>
                <a:gd name="connsiteX49" fmla="*/ 364555 w 441850"/>
                <a:gd name="connsiteY49" fmla="*/ 215073 h 217325"/>
                <a:gd name="connsiteX50" fmla="*/ 341482 w 441850"/>
                <a:gd name="connsiteY50" fmla="*/ 190300 h 217325"/>
                <a:gd name="connsiteX51" fmla="*/ 325331 w 441850"/>
                <a:gd name="connsiteY51" fmla="*/ 184670 h 217325"/>
                <a:gd name="connsiteX52" fmla="*/ 312641 w 441850"/>
                <a:gd name="connsiteY52" fmla="*/ 184670 h 217325"/>
                <a:gd name="connsiteX53" fmla="*/ 293029 w 441850"/>
                <a:gd name="connsiteY53" fmla="*/ 191426 h 217325"/>
                <a:gd name="connsiteX54" fmla="*/ 269955 w 441850"/>
                <a:gd name="connsiteY54" fmla="*/ 194805 h 217325"/>
                <a:gd name="connsiteX55" fmla="*/ 234192 w 441850"/>
                <a:gd name="connsiteY55" fmla="*/ 207191 h 217325"/>
                <a:gd name="connsiteX56" fmla="*/ 214580 w 441850"/>
                <a:gd name="connsiteY56" fmla="*/ 206065 h 217325"/>
                <a:gd name="connsiteX57" fmla="*/ 190353 w 441850"/>
                <a:gd name="connsiteY57" fmla="*/ 197056 h 217325"/>
                <a:gd name="connsiteX58" fmla="*/ 173049 w 441850"/>
                <a:gd name="connsiteY58" fmla="*/ 197056 h 217325"/>
                <a:gd name="connsiteX59" fmla="*/ 153437 w 441850"/>
                <a:gd name="connsiteY59" fmla="*/ 200434 h 217325"/>
                <a:gd name="connsiteX60" fmla="*/ 143054 w 441850"/>
                <a:gd name="connsiteY60" fmla="*/ 199308 h 217325"/>
                <a:gd name="connsiteX61" fmla="*/ 133824 w 441850"/>
                <a:gd name="connsiteY61" fmla="*/ 197056 h 217325"/>
                <a:gd name="connsiteX62" fmla="*/ 111905 w 441850"/>
                <a:gd name="connsiteY62" fmla="*/ 183544 h 217325"/>
                <a:gd name="connsiteX63" fmla="*/ 98061 w 441850"/>
                <a:gd name="connsiteY63" fmla="*/ 179040 h 217325"/>
                <a:gd name="connsiteX64" fmla="*/ 84218 w 441850"/>
                <a:gd name="connsiteY64" fmla="*/ 181292 h 217325"/>
                <a:gd name="connsiteX65" fmla="*/ 55376 w 441850"/>
                <a:gd name="connsiteY65" fmla="*/ 193678 h 217325"/>
                <a:gd name="connsiteX66" fmla="*/ 47300 w 441850"/>
                <a:gd name="connsiteY66" fmla="*/ 194804 h 217325"/>
                <a:gd name="connsiteX67" fmla="*/ 33457 w 441850"/>
                <a:gd name="connsiteY67" fmla="*/ 192552 h 217325"/>
                <a:gd name="connsiteX68" fmla="*/ 39225 w 441850"/>
                <a:gd name="connsiteY68" fmla="*/ 155393 h 217325"/>
                <a:gd name="connsiteX69" fmla="*/ 18459 w 441850"/>
                <a:gd name="connsiteY69" fmla="*/ 153141 h 217325"/>
                <a:gd name="connsiteX70" fmla="*/ 10383 w 441850"/>
                <a:gd name="connsiteY70" fmla="*/ 148636 h 217325"/>
                <a:gd name="connsiteX71" fmla="*/ 9229 w 441850"/>
                <a:gd name="connsiteY71" fmla="*/ 150889 h 217325"/>
                <a:gd name="connsiteX72" fmla="*/ 5768 w 441850"/>
                <a:gd name="connsiteY72" fmla="*/ 149762 h 217325"/>
                <a:gd name="connsiteX73" fmla="*/ 4615 w 441850"/>
                <a:gd name="connsiteY73" fmla="*/ 132872 h 217325"/>
                <a:gd name="connsiteX74" fmla="*/ 0 w 441850"/>
                <a:gd name="connsiteY74" fmla="*/ 121612 h 217325"/>
                <a:gd name="connsiteX75" fmla="*/ 2307 w 441850"/>
                <a:gd name="connsiteY75" fmla="*/ 120486 h 217325"/>
                <a:gd name="connsiteX76" fmla="*/ 12691 w 441850"/>
                <a:gd name="connsiteY76" fmla="*/ 127242 h 217325"/>
                <a:gd name="connsiteX77" fmla="*/ 24227 w 441850"/>
                <a:gd name="connsiteY77" fmla="*/ 124990 h 217325"/>
                <a:gd name="connsiteX78" fmla="*/ 51915 w 441850"/>
                <a:gd name="connsiteY78" fmla="*/ 124990 h 217325"/>
                <a:gd name="connsiteX79" fmla="*/ 62298 w 441850"/>
                <a:gd name="connsiteY79" fmla="*/ 128368 h 217325"/>
                <a:gd name="connsiteX80" fmla="*/ 68066 w 441850"/>
                <a:gd name="connsiteY80" fmla="*/ 127242 h 217325"/>
                <a:gd name="connsiteX81" fmla="*/ 72680 w 441850"/>
                <a:gd name="connsiteY81" fmla="*/ 124990 h 217325"/>
                <a:gd name="connsiteX82" fmla="*/ 72680 w 441850"/>
                <a:gd name="connsiteY82" fmla="*/ 122738 h 217325"/>
                <a:gd name="connsiteX83" fmla="*/ 61144 w 441850"/>
                <a:gd name="connsiteY83" fmla="*/ 113730 h 217325"/>
                <a:gd name="connsiteX84" fmla="*/ 61144 w 441850"/>
                <a:gd name="connsiteY84" fmla="*/ 108099 h 217325"/>
                <a:gd name="connsiteX85" fmla="*/ 64605 w 441850"/>
                <a:gd name="connsiteY85" fmla="*/ 103595 h 217325"/>
                <a:gd name="connsiteX86" fmla="*/ 71527 w 441850"/>
                <a:gd name="connsiteY86" fmla="*/ 100217 h 217325"/>
                <a:gd name="connsiteX87" fmla="*/ 84218 w 441850"/>
                <a:gd name="connsiteY87" fmla="*/ 101343 h 217325"/>
                <a:gd name="connsiteX88" fmla="*/ 91139 w 441850"/>
                <a:gd name="connsiteY88" fmla="*/ 99091 h 217325"/>
                <a:gd name="connsiteX89" fmla="*/ 96908 w 441850"/>
                <a:gd name="connsiteY89" fmla="*/ 90083 h 217325"/>
                <a:gd name="connsiteX90" fmla="*/ 99215 w 441850"/>
                <a:gd name="connsiteY90" fmla="*/ 79948 h 217325"/>
                <a:gd name="connsiteX91" fmla="*/ 101522 w 441850"/>
                <a:gd name="connsiteY91" fmla="*/ 76570 h 217325"/>
                <a:gd name="connsiteX92" fmla="*/ 109597 w 441850"/>
                <a:gd name="connsiteY92" fmla="*/ 78822 h 217325"/>
                <a:gd name="connsiteX93" fmla="*/ 117673 w 441850"/>
                <a:gd name="connsiteY93" fmla="*/ 76570 h 217325"/>
                <a:gd name="connsiteX94" fmla="*/ 124595 w 441850"/>
                <a:gd name="connsiteY94" fmla="*/ 78822 h 217325"/>
                <a:gd name="connsiteX95" fmla="*/ 126902 w 441850"/>
                <a:gd name="connsiteY95" fmla="*/ 76571 h 217325"/>
                <a:gd name="connsiteX96" fmla="*/ 130363 w 441850"/>
                <a:gd name="connsiteY96" fmla="*/ 70940 h 217325"/>
                <a:gd name="connsiteX97" fmla="*/ 130363 w 441850"/>
                <a:gd name="connsiteY97" fmla="*/ 64184 h 217325"/>
                <a:gd name="connsiteX98" fmla="*/ 129210 w 441850"/>
                <a:gd name="connsiteY98" fmla="*/ 61933 h 217325"/>
                <a:gd name="connsiteX99" fmla="*/ 131517 w 441850"/>
                <a:gd name="connsiteY99" fmla="*/ 60806 h 217325"/>
                <a:gd name="connsiteX100" fmla="*/ 145361 w 441850"/>
                <a:gd name="connsiteY100" fmla="*/ 33781 h 217325"/>
                <a:gd name="connsiteX101" fmla="*/ 149975 w 441850"/>
                <a:gd name="connsiteY101" fmla="*/ 34907 h 217325"/>
                <a:gd name="connsiteX102" fmla="*/ 148821 w 441850"/>
                <a:gd name="connsiteY102" fmla="*/ 28151 h 217325"/>
                <a:gd name="connsiteX103" fmla="*/ 155744 w 441850"/>
                <a:gd name="connsiteY103" fmla="*/ 16891 h 217325"/>
                <a:gd name="connsiteX104" fmla="*/ 164973 w 441850"/>
                <a:gd name="connsiteY104" fmla="*/ 12387 h 217325"/>
                <a:gd name="connsiteX105" fmla="*/ 171895 w 441850"/>
                <a:gd name="connsiteY105" fmla="*/ 11261 h 217325"/>
                <a:gd name="connsiteX106" fmla="*/ 181124 w 441850"/>
                <a:gd name="connsiteY106" fmla="*/ 15764 h 217325"/>
                <a:gd name="connsiteX107" fmla="*/ 173048 w 441850"/>
                <a:gd name="connsiteY107" fmla="*/ 25899 h 217325"/>
                <a:gd name="connsiteX108" fmla="*/ 191507 w 441850"/>
                <a:gd name="connsiteY108" fmla="*/ 23647 h 217325"/>
                <a:gd name="connsiteX109" fmla="*/ 203043 w 441850"/>
                <a:gd name="connsiteY109" fmla="*/ 19143 h 217325"/>
                <a:gd name="connsiteX110" fmla="*/ 219194 w 441850"/>
                <a:gd name="connsiteY110" fmla="*/ 18017 h 217325"/>
                <a:gd name="connsiteX111" fmla="*/ 224963 w 441850"/>
                <a:gd name="connsiteY111" fmla="*/ 15764 h 217325"/>
                <a:gd name="connsiteX112" fmla="*/ 228424 w 441850"/>
                <a:gd name="connsiteY112" fmla="*/ 25899 h 217325"/>
                <a:gd name="connsiteX113" fmla="*/ 251496 w 441850"/>
                <a:gd name="connsiteY113" fmla="*/ 20269 h 217325"/>
                <a:gd name="connsiteX114" fmla="*/ 261880 w 441850"/>
                <a:gd name="connsiteY114" fmla="*/ 13512 h 21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41850" h="217325">
                  <a:moveTo>
                    <a:pt x="131937" y="93408"/>
                  </a:moveTo>
                  <a:lnTo>
                    <a:pt x="130363" y="95713"/>
                  </a:lnTo>
                  <a:lnTo>
                    <a:pt x="130363" y="95714"/>
                  </a:lnTo>
                  <a:close/>
                  <a:moveTo>
                    <a:pt x="126903" y="76572"/>
                  </a:moveTo>
                  <a:lnTo>
                    <a:pt x="126903" y="77696"/>
                  </a:lnTo>
                  <a:lnTo>
                    <a:pt x="133821" y="86700"/>
                  </a:lnTo>
                  <a:close/>
                  <a:moveTo>
                    <a:pt x="274570" y="0"/>
                  </a:moveTo>
                  <a:lnTo>
                    <a:pt x="287260" y="4504"/>
                  </a:lnTo>
                  <a:lnTo>
                    <a:pt x="301104" y="4504"/>
                  </a:lnTo>
                  <a:lnTo>
                    <a:pt x="305718" y="7882"/>
                  </a:lnTo>
                  <a:lnTo>
                    <a:pt x="306872" y="12387"/>
                  </a:lnTo>
                  <a:lnTo>
                    <a:pt x="305718" y="21395"/>
                  </a:lnTo>
                  <a:lnTo>
                    <a:pt x="293029" y="25899"/>
                  </a:lnTo>
                  <a:lnTo>
                    <a:pt x="316101" y="58554"/>
                  </a:lnTo>
                  <a:lnTo>
                    <a:pt x="318409" y="56302"/>
                  </a:lnTo>
                  <a:lnTo>
                    <a:pt x="327638" y="65310"/>
                  </a:lnTo>
                  <a:lnTo>
                    <a:pt x="334560" y="66436"/>
                  </a:lnTo>
                  <a:lnTo>
                    <a:pt x="344943" y="76571"/>
                  </a:lnTo>
                  <a:lnTo>
                    <a:pt x="344943" y="81075"/>
                  </a:lnTo>
                  <a:lnTo>
                    <a:pt x="338021" y="86705"/>
                  </a:lnTo>
                  <a:lnTo>
                    <a:pt x="336867" y="90083"/>
                  </a:lnTo>
                  <a:lnTo>
                    <a:pt x="339175" y="91209"/>
                  </a:lnTo>
                  <a:lnTo>
                    <a:pt x="349558" y="87832"/>
                  </a:lnTo>
                  <a:lnTo>
                    <a:pt x="357633" y="88957"/>
                  </a:lnTo>
                  <a:lnTo>
                    <a:pt x="361094" y="91209"/>
                  </a:lnTo>
                  <a:lnTo>
                    <a:pt x="362247" y="101344"/>
                  </a:lnTo>
                  <a:lnTo>
                    <a:pt x="358786" y="108100"/>
                  </a:lnTo>
                  <a:lnTo>
                    <a:pt x="350711" y="117108"/>
                  </a:lnTo>
                  <a:lnTo>
                    <a:pt x="350711" y="126116"/>
                  </a:lnTo>
                  <a:lnTo>
                    <a:pt x="350711" y="126117"/>
                  </a:lnTo>
                  <a:lnTo>
                    <a:pt x="350711" y="129494"/>
                  </a:lnTo>
                  <a:lnTo>
                    <a:pt x="361094" y="127242"/>
                  </a:lnTo>
                  <a:lnTo>
                    <a:pt x="361094" y="129494"/>
                  </a:lnTo>
                  <a:lnTo>
                    <a:pt x="365709" y="130621"/>
                  </a:lnTo>
                  <a:lnTo>
                    <a:pt x="371477" y="127242"/>
                  </a:lnTo>
                  <a:lnTo>
                    <a:pt x="384168" y="127242"/>
                  </a:lnTo>
                  <a:lnTo>
                    <a:pt x="402626" y="119360"/>
                  </a:lnTo>
                  <a:lnTo>
                    <a:pt x="403779" y="122738"/>
                  </a:lnTo>
                  <a:lnTo>
                    <a:pt x="416470" y="135124"/>
                  </a:lnTo>
                  <a:lnTo>
                    <a:pt x="421085" y="136251"/>
                  </a:lnTo>
                  <a:lnTo>
                    <a:pt x="425699" y="133998"/>
                  </a:lnTo>
                  <a:lnTo>
                    <a:pt x="433775" y="133998"/>
                  </a:lnTo>
                  <a:lnTo>
                    <a:pt x="441850" y="138503"/>
                  </a:lnTo>
                  <a:lnTo>
                    <a:pt x="431468" y="156519"/>
                  </a:lnTo>
                  <a:lnTo>
                    <a:pt x="410702" y="177914"/>
                  </a:lnTo>
                  <a:lnTo>
                    <a:pt x="391089" y="209443"/>
                  </a:lnTo>
                  <a:lnTo>
                    <a:pt x="385321" y="215073"/>
                  </a:lnTo>
                  <a:lnTo>
                    <a:pt x="379553" y="217325"/>
                  </a:lnTo>
                  <a:lnTo>
                    <a:pt x="370324" y="217325"/>
                  </a:lnTo>
                  <a:lnTo>
                    <a:pt x="364555" y="215073"/>
                  </a:lnTo>
                  <a:lnTo>
                    <a:pt x="341482" y="190300"/>
                  </a:lnTo>
                  <a:lnTo>
                    <a:pt x="325331" y="184670"/>
                  </a:lnTo>
                  <a:lnTo>
                    <a:pt x="312641" y="184670"/>
                  </a:lnTo>
                  <a:lnTo>
                    <a:pt x="293029" y="191426"/>
                  </a:lnTo>
                  <a:lnTo>
                    <a:pt x="269955" y="194805"/>
                  </a:lnTo>
                  <a:lnTo>
                    <a:pt x="234192" y="207191"/>
                  </a:lnTo>
                  <a:lnTo>
                    <a:pt x="214580" y="206065"/>
                  </a:lnTo>
                  <a:lnTo>
                    <a:pt x="190353" y="197056"/>
                  </a:lnTo>
                  <a:lnTo>
                    <a:pt x="173049" y="197056"/>
                  </a:lnTo>
                  <a:lnTo>
                    <a:pt x="153437" y="200434"/>
                  </a:lnTo>
                  <a:lnTo>
                    <a:pt x="143054" y="199308"/>
                  </a:lnTo>
                  <a:lnTo>
                    <a:pt x="133824" y="197056"/>
                  </a:lnTo>
                  <a:lnTo>
                    <a:pt x="111905" y="183544"/>
                  </a:lnTo>
                  <a:lnTo>
                    <a:pt x="98061" y="179040"/>
                  </a:lnTo>
                  <a:lnTo>
                    <a:pt x="84218" y="181292"/>
                  </a:lnTo>
                  <a:lnTo>
                    <a:pt x="55376" y="193678"/>
                  </a:lnTo>
                  <a:lnTo>
                    <a:pt x="47300" y="194804"/>
                  </a:lnTo>
                  <a:lnTo>
                    <a:pt x="33457" y="192552"/>
                  </a:lnTo>
                  <a:lnTo>
                    <a:pt x="39225" y="155393"/>
                  </a:lnTo>
                  <a:lnTo>
                    <a:pt x="18459" y="153141"/>
                  </a:lnTo>
                  <a:lnTo>
                    <a:pt x="10383" y="148636"/>
                  </a:lnTo>
                  <a:lnTo>
                    <a:pt x="9229" y="150889"/>
                  </a:lnTo>
                  <a:lnTo>
                    <a:pt x="5768" y="149762"/>
                  </a:lnTo>
                  <a:lnTo>
                    <a:pt x="4615" y="132872"/>
                  </a:lnTo>
                  <a:lnTo>
                    <a:pt x="0" y="121612"/>
                  </a:lnTo>
                  <a:lnTo>
                    <a:pt x="2307" y="120486"/>
                  </a:lnTo>
                  <a:lnTo>
                    <a:pt x="12691" y="127242"/>
                  </a:lnTo>
                  <a:lnTo>
                    <a:pt x="24227" y="124990"/>
                  </a:lnTo>
                  <a:lnTo>
                    <a:pt x="51915" y="124990"/>
                  </a:lnTo>
                  <a:lnTo>
                    <a:pt x="62298" y="128368"/>
                  </a:lnTo>
                  <a:lnTo>
                    <a:pt x="68066" y="127242"/>
                  </a:lnTo>
                  <a:lnTo>
                    <a:pt x="72680" y="124990"/>
                  </a:lnTo>
                  <a:lnTo>
                    <a:pt x="72680" y="122738"/>
                  </a:lnTo>
                  <a:lnTo>
                    <a:pt x="61144" y="113730"/>
                  </a:lnTo>
                  <a:lnTo>
                    <a:pt x="61144" y="108099"/>
                  </a:lnTo>
                  <a:lnTo>
                    <a:pt x="64605" y="103595"/>
                  </a:lnTo>
                  <a:lnTo>
                    <a:pt x="71527" y="100217"/>
                  </a:lnTo>
                  <a:lnTo>
                    <a:pt x="84218" y="101343"/>
                  </a:lnTo>
                  <a:lnTo>
                    <a:pt x="91139" y="99091"/>
                  </a:lnTo>
                  <a:lnTo>
                    <a:pt x="96908" y="90083"/>
                  </a:lnTo>
                  <a:lnTo>
                    <a:pt x="99215" y="79948"/>
                  </a:lnTo>
                  <a:lnTo>
                    <a:pt x="101522" y="76570"/>
                  </a:lnTo>
                  <a:lnTo>
                    <a:pt x="109597" y="78822"/>
                  </a:lnTo>
                  <a:lnTo>
                    <a:pt x="117673" y="76570"/>
                  </a:lnTo>
                  <a:lnTo>
                    <a:pt x="124595" y="78822"/>
                  </a:lnTo>
                  <a:lnTo>
                    <a:pt x="126902" y="76571"/>
                  </a:lnTo>
                  <a:lnTo>
                    <a:pt x="130363" y="70940"/>
                  </a:lnTo>
                  <a:lnTo>
                    <a:pt x="130363" y="64184"/>
                  </a:lnTo>
                  <a:lnTo>
                    <a:pt x="129210" y="61933"/>
                  </a:lnTo>
                  <a:lnTo>
                    <a:pt x="131517" y="60806"/>
                  </a:lnTo>
                  <a:lnTo>
                    <a:pt x="145361" y="33781"/>
                  </a:lnTo>
                  <a:lnTo>
                    <a:pt x="149975" y="34907"/>
                  </a:lnTo>
                  <a:lnTo>
                    <a:pt x="148821" y="28151"/>
                  </a:lnTo>
                  <a:lnTo>
                    <a:pt x="155744" y="16891"/>
                  </a:lnTo>
                  <a:lnTo>
                    <a:pt x="164973" y="12387"/>
                  </a:lnTo>
                  <a:lnTo>
                    <a:pt x="171895" y="11261"/>
                  </a:lnTo>
                  <a:lnTo>
                    <a:pt x="181124" y="15764"/>
                  </a:lnTo>
                  <a:lnTo>
                    <a:pt x="173048" y="25899"/>
                  </a:lnTo>
                  <a:lnTo>
                    <a:pt x="191507" y="23647"/>
                  </a:lnTo>
                  <a:lnTo>
                    <a:pt x="203043" y="19143"/>
                  </a:lnTo>
                  <a:lnTo>
                    <a:pt x="219194" y="18017"/>
                  </a:lnTo>
                  <a:lnTo>
                    <a:pt x="224963" y="15764"/>
                  </a:lnTo>
                  <a:lnTo>
                    <a:pt x="228424" y="25899"/>
                  </a:lnTo>
                  <a:lnTo>
                    <a:pt x="251496" y="20269"/>
                  </a:lnTo>
                  <a:lnTo>
                    <a:pt x="261880" y="13512"/>
                  </a:lnTo>
                  <a:close/>
                </a:path>
              </a:pathLst>
            </a:custGeom>
            <a:solidFill>
              <a:srgbClr val="BF211E"/>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rtl="0">
                <a:spcBef>
                  <a:spcPts val="0"/>
                </a:spcBef>
                <a:spcAft>
                  <a:spcPts val="0"/>
                </a:spcAft>
                <a:buNone/>
              </a:pPr>
              <a:endParaRPr sz="1600">
                <a:solidFill>
                  <a:srgbClr val="002060"/>
                </a:solidFill>
                <a:latin typeface="Corbel" panose="020B0503020204020204" pitchFamily="34" charset="0"/>
                <a:ea typeface="Arial"/>
                <a:cs typeface="Arial"/>
                <a:sym typeface="Arial"/>
              </a:endParaRPr>
            </a:p>
          </p:txBody>
        </p:sp>
        <p:sp>
          <p:nvSpPr>
            <p:cNvPr id="1093" name="Vijfheerenlanden">
              <a:extLst>
                <a:ext uri="{FF2B5EF4-FFF2-40B4-BE49-F238E27FC236}">
                  <a16:creationId xmlns:a16="http://schemas.microsoft.com/office/drawing/2014/main" id="{6FC2002C-F06E-4AD6-818E-7A037CF2ACAD}"/>
                </a:ext>
              </a:extLst>
            </p:cNvPr>
            <p:cNvSpPr/>
            <p:nvPr/>
          </p:nvSpPr>
          <p:spPr>
            <a:xfrm>
              <a:off x="5748992" y="3686404"/>
              <a:ext cx="276258" cy="224709"/>
            </a:xfrm>
            <a:custGeom>
              <a:avLst/>
              <a:gdLst>
                <a:gd name="connsiteX0" fmla="*/ 215734 w 265342"/>
                <a:gd name="connsiteY0" fmla="*/ 108100 h 239846"/>
                <a:gd name="connsiteX1" fmla="*/ 212274 w 265342"/>
                <a:gd name="connsiteY1" fmla="*/ 112603 h 239846"/>
                <a:gd name="connsiteX2" fmla="*/ 212275 w 265342"/>
                <a:gd name="connsiteY2" fmla="*/ 112604 h 239846"/>
                <a:gd name="connsiteX3" fmla="*/ 215735 w 265342"/>
                <a:gd name="connsiteY3" fmla="*/ 108100 h 239846"/>
                <a:gd name="connsiteX4" fmla="*/ 133824 w 265342"/>
                <a:gd name="connsiteY4" fmla="*/ 42790 h 239846"/>
                <a:gd name="connsiteX5" fmla="*/ 136289 w 265342"/>
                <a:gd name="connsiteY5" fmla="*/ 47601 h 239846"/>
                <a:gd name="connsiteX6" fmla="*/ 133825 w 265342"/>
                <a:gd name="connsiteY6" fmla="*/ 42790 h 239846"/>
                <a:gd name="connsiteX7" fmla="*/ 181124 w 265342"/>
                <a:gd name="connsiteY7" fmla="*/ 0 h 239846"/>
                <a:gd name="connsiteX8" fmla="*/ 194969 w 265342"/>
                <a:gd name="connsiteY8" fmla="*/ 1126 h 239846"/>
                <a:gd name="connsiteX9" fmla="*/ 220349 w 265342"/>
                <a:gd name="connsiteY9" fmla="*/ 12387 h 239846"/>
                <a:gd name="connsiteX10" fmla="*/ 224964 w 265342"/>
                <a:gd name="connsiteY10" fmla="*/ 18017 h 239846"/>
                <a:gd name="connsiteX11" fmla="*/ 228424 w 265342"/>
                <a:gd name="connsiteY11" fmla="*/ 40537 h 239846"/>
                <a:gd name="connsiteX12" fmla="*/ 231885 w 265342"/>
                <a:gd name="connsiteY12" fmla="*/ 46167 h 239846"/>
                <a:gd name="connsiteX13" fmla="*/ 238808 w 265342"/>
                <a:gd name="connsiteY13" fmla="*/ 51797 h 239846"/>
                <a:gd name="connsiteX14" fmla="*/ 257266 w 265342"/>
                <a:gd name="connsiteY14" fmla="*/ 55176 h 239846"/>
                <a:gd name="connsiteX15" fmla="*/ 265342 w 265342"/>
                <a:gd name="connsiteY15" fmla="*/ 58554 h 239846"/>
                <a:gd name="connsiteX16" fmla="*/ 234193 w 265342"/>
                <a:gd name="connsiteY16" fmla="*/ 114856 h 239846"/>
                <a:gd name="connsiteX17" fmla="*/ 215786 w 265342"/>
                <a:gd name="connsiteY17" fmla="*/ 108119 h 239846"/>
                <a:gd name="connsiteX18" fmla="*/ 233041 w 265342"/>
                <a:gd name="connsiteY18" fmla="*/ 114856 h 239846"/>
                <a:gd name="connsiteX19" fmla="*/ 230734 w 265342"/>
                <a:gd name="connsiteY19" fmla="*/ 117108 h 239846"/>
                <a:gd name="connsiteX20" fmla="*/ 231887 w 265342"/>
                <a:gd name="connsiteY20" fmla="*/ 121612 h 239846"/>
                <a:gd name="connsiteX21" fmla="*/ 218043 w 265342"/>
                <a:gd name="connsiteY21" fmla="*/ 139629 h 239846"/>
                <a:gd name="connsiteX22" fmla="*/ 219197 w 265342"/>
                <a:gd name="connsiteY22" fmla="*/ 146385 h 239846"/>
                <a:gd name="connsiteX23" fmla="*/ 214583 w 265342"/>
                <a:gd name="connsiteY23" fmla="*/ 145259 h 239846"/>
                <a:gd name="connsiteX24" fmla="*/ 200738 w 265342"/>
                <a:gd name="connsiteY24" fmla="*/ 172283 h 239846"/>
                <a:gd name="connsiteX25" fmla="*/ 198431 w 265342"/>
                <a:gd name="connsiteY25" fmla="*/ 173410 h 239846"/>
                <a:gd name="connsiteX26" fmla="*/ 199585 w 265342"/>
                <a:gd name="connsiteY26" fmla="*/ 175662 h 239846"/>
                <a:gd name="connsiteX27" fmla="*/ 199585 w 265342"/>
                <a:gd name="connsiteY27" fmla="*/ 182418 h 239846"/>
                <a:gd name="connsiteX28" fmla="*/ 193817 w 265342"/>
                <a:gd name="connsiteY28" fmla="*/ 190300 h 239846"/>
                <a:gd name="connsiteX29" fmla="*/ 186894 w 265342"/>
                <a:gd name="connsiteY29" fmla="*/ 188049 h 239846"/>
                <a:gd name="connsiteX30" fmla="*/ 178819 w 265342"/>
                <a:gd name="connsiteY30" fmla="*/ 190300 h 239846"/>
                <a:gd name="connsiteX31" fmla="*/ 170743 w 265342"/>
                <a:gd name="connsiteY31" fmla="*/ 188049 h 239846"/>
                <a:gd name="connsiteX32" fmla="*/ 168436 w 265342"/>
                <a:gd name="connsiteY32" fmla="*/ 191426 h 239846"/>
                <a:gd name="connsiteX33" fmla="*/ 166128 w 265342"/>
                <a:gd name="connsiteY33" fmla="*/ 201561 h 239846"/>
                <a:gd name="connsiteX34" fmla="*/ 160360 w 265342"/>
                <a:gd name="connsiteY34" fmla="*/ 210569 h 239846"/>
                <a:gd name="connsiteX35" fmla="*/ 153438 w 265342"/>
                <a:gd name="connsiteY35" fmla="*/ 212822 h 239846"/>
                <a:gd name="connsiteX36" fmla="*/ 140748 w 265342"/>
                <a:gd name="connsiteY36" fmla="*/ 211695 h 239846"/>
                <a:gd name="connsiteX37" fmla="*/ 133826 w 265342"/>
                <a:gd name="connsiteY37" fmla="*/ 215073 h 239846"/>
                <a:gd name="connsiteX38" fmla="*/ 130365 w 265342"/>
                <a:gd name="connsiteY38" fmla="*/ 224082 h 239846"/>
                <a:gd name="connsiteX39" fmla="*/ 132672 w 265342"/>
                <a:gd name="connsiteY39" fmla="*/ 227460 h 239846"/>
                <a:gd name="connsiteX40" fmla="*/ 141901 w 265342"/>
                <a:gd name="connsiteY40" fmla="*/ 233090 h 239846"/>
                <a:gd name="connsiteX41" fmla="*/ 141901 w 265342"/>
                <a:gd name="connsiteY41" fmla="*/ 236468 h 239846"/>
                <a:gd name="connsiteX42" fmla="*/ 139594 w 265342"/>
                <a:gd name="connsiteY42" fmla="*/ 237595 h 239846"/>
                <a:gd name="connsiteX43" fmla="*/ 131519 w 265342"/>
                <a:gd name="connsiteY43" fmla="*/ 239846 h 239846"/>
                <a:gd name="connsiteX44" fmla="*/ 121135 w 265342"/>
                <a:gd name="connsiteY44" fmla="*/ 236468 h 239846"/>
                <a:gd name="connsiteX45" fmla="*/ 103830 w 265342"/>
                <a:gd name="connsiteY45" fmla="*/ 237595 h 239846"/>
                <a:gd name="connsiteX46" fmla="*/ 104984 w 265342"/>
                <a:gd name="connsiteY46" fmla="*/ 229712 h 239846"/>
                <a:gd name="connsiteX47" fmla="*/ 98062 w 265342"/>
                <a:gd name="connsiteY47" fmla="*/ 220704 h 239846"/>
                <a:gd name="connsiteX48" fmla="*/ 102677 w 265342"/>
                <a:gd name="connsiteY48" fmla="*/ 201561 h 239846"/>
                <a:gd name="connsiteX49" fmla="*/ 103565 w 265342"/>
                <a:gd name="connsiteY49" fmla="*/ 199826 h 239846"/>
                <a:gd name="connsiteX50" fmla="*/ 71527 w 265342"/>
                <a:gd name="connsiteY50" fmla="*/ 213948 h 239846"/>
                <a:gd name="connsiteX51" fmla="*/ 70373 w 265342"/>
                <a:gd name="connsiteY51" fmla="*/ 206066 h 239846"/>
                <a:gd name="connsiteX52" fmla="*/ 74988 w 265342"/>
                <a:gd name="connsiteY52" fmla="*/ 195931 h 239846"/>
                <a:gd name="connsiteX53" fmla="*/ 71527 w 265342"/>
                <a:gd name="connsiteY53" fmla="*/ 182419 h 239846"/>
                <a:gd name="connsiteX54" fmla="*/ 70373 w 265342"/>
                <a:gd name="connsiteY54" fmla="*/ 165529 h 239846"/>
                <a:gd name="connsiteX55" fmla="*/ 48454 w 265342"/>
                <a:gd name="connsiteY55" fmla="*/ 173411 h 239846"/>
                <a:gd name="connsiteX56" fmla="*/ 48454 w 265342"/>
                <a:gd name="connsiteY56" fmla="*/ 156520 h 239846"/>
                <a:gd name="connsiteX57" fmla="*/ 39225 w 265342"/>
                <a:gd name="connsiteY57" fmla="*/ 152016 h 239846"/>
                <a:gd name="connsiteX58" fmla="*/ 38071 w 265342"/>
                <a:gd name="connsiteY58" fmla="*/ 147512 h 239846"/>
                <a:gd name="connsiteX59" fmla="*/ 39225 w 265342"/>
                <a:gd name="connsiteY59" fmla="*/ 146386 h 239846"/>
                <a:gd name="connsiteX60" fmla="*/ 29995 w 265342"/>
                <a:gd name="connsiteY60" fmla="*/ 143008 h 239846"/>
                <a:gd name="connsiteX61" fmla="*/ 21920 w 265342"/>
                <a:gd name="connsiteY61" fmla="*/ 113730 h 239846"/>
                <a:gd name="connsiteX62" fmla="*/ 12691 w 265342"/>
                <a:gd name="connsiteY62" fmla="*/ 121613 h 239846"/>
                <a:gd name="connsiteX63" fmla="*/ 5768 w 265342"/>
                <a:gd name="connsiteY63" fmla="*/ 90084 h 239846"/>
                <a:gd name="connsiteX64" fmla="*/ 2308 w 265342"/>
                <a:gd name="connsiteY64" fmla="*/ 85580 h 239846"/>
                <a:gd name="connsiteX65" fmla="*/ 0 w 265342"/>
                <a:gd name="connsiteY65" fmla="*/ 84454 h 239846"/>
                <a:gd name="connsiteX66" fmla="*/ 6922 w 265342"/>
                <a:gd name="connsiteY66" fmla="*/ 70941 h 239846"/>
                <a:gd name="connsiteX67" fmla="*/ 13844 w 265342"/>
                <a:gd name="connsiteY67" fmla="*/ 64185 h 239846"/>
                <a:gd name="connsiteX68" fmla="*/ 23074 w 265342"/>
                <a:gd name="connsiteY68" fmla="*/ 64185 h 239846"/>
                <a:gd name="connsiteX69" fmla="*/ 36917 w 265342"/>
                <a:gd name="connsiteY69" fmla="*/ 70941 h 239846"/>
                <a:gd name="connsiteX70" fmla="*/ 43839 w 265342"/>
                <a:gd name="connsiteY70" fmla="*/ 70941 h 239846"/>
                <a:gd name="connsiteX71" fmla="*/ 50761 w 265342"/>
                <a:gd name="connsiteY71" fmla="*/ 65311 h 239846"/>
                <a:gd name="connsiteX72" fmla="*/ 64605 w 265342"/>
                <a:gd name="connsiteY72" fmla="*/ 47294 h 239846"/>
                <a:gd name="connsiteX73" fmla="*/ 74988 w 265342"/>
                <a:gd name="connsiteY73" fmla="*/ 40538 h 239846"/>
                <a:gd name="connsiteX74" fmla="*/ 79603 w 265342"/>
                <a:gd name="connsiteY74" fmla="*/ 40538 h 239846"/>
                <a:gd name="connsiteX75" fmla="*/ 102676 w 265342"/>
                <a:gd name="connsiteY75" fmla="*/ 55176 h 239846"/>
                <a:gd name="connsiteX76" fmla="*/ 111905 w 265342"/>
                <a:gd name="connsiteY76" fmla="*/ 54050 h 239846"/>
                <a:gd name="connsiteX77" fmla="*/ 116520 w 265342"/>
                <a:gd name="connsiteY77" fmla="*/ 49546 h 239846"/>
                <a:gd name="connsiteX78" fmla="*/ 118827 w 265342"/>
                <a:gd name="connsiteY78" fmla="*/ 41664 h 239846"/>
                <a:gd name="connsiteX79" fmla="*/ 126903 w 265342"/>
                <a:gd name="connsiteY79" fmla="*/ 42790 h 239846"/>
                <a:gd name="connsiteX80" fmla="*/ 128056 w 265342"/>
                <a:gd name="connsiteY80" fmla="*/ 47294 h 239846"/>
                <a:gd name="connsiteX81" fmla="*/ 132572 w 265342"/>
                <a:gd name="connsiteY81" fmla="*/ 43768 h 239846"/>
                <a:gd name="connsiteX82" fmla="*/ 128056 w 265342"/>
                <a:gd name="connsiteY82" fmla="*/ 47293 h 239846"/>
                <a:gd name="connsiteX83" fmla="*/ 126903 w 265342"/>
                <a:gd name="connsiteY83" fmla="*/ 42790 h 239846"/>
                <a:gd name="connsiteX84" fmla="*/ 118827 w 265342"/>
                <a:gd name="connsiteY84" fmla="*/ 41663 h 239846"/>
                <a:gd name="connsiteX85" fmla="*/ 123442 w 265342"/>
                <a:gd name="connsiteY85" fmla="*/ 33781 h 239846"/>
                <a:gd name="connsiteX86" fmla="*/ 138439 w 265342"/>
                <a:gd name="connsiteY86" fmla="*/ 22521 h 239846"/>
                <a:gd name="connsiteX87" fmla="*/ 146515 w 265342"/>
                <a:gd name="connsiteY87" fmla="*/ 14638 h 239846"/>
                <a:gd name="connsiteX88" fmla="*/ 169588 w 265342"/>
                <a:gd name="connsiteY88" fmla="*/ 2252 h 23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65342" h="239846">
                  <a:moveTo>
                    <a:pt x="215734" y="108100"/>
                  </a:moveTo>
                  <a:lnTo>
                    <a:pt x="212274" y="112603"/>
                  </a:lnTo>
                  <a:lnTo>
                    <a:pt x="212275" y="112604"/>
                  </a:lnTo>
                  <a:lnTo>
                    <a:pt x="215735" y="108100"/>
                  </a:lnTo>
                  <a:close/>
                  <a:moveTo>
                    <a:pt x="133824" y="42790"/>
                  </a:moveTo>
                  <a:lnTo>
                    <a:pt x="136289" y="47601"/>
                  </a:lnTo>
                  <a:lnTo>
                    <a:pt x="133825" y="42790"/>
                  </a:lnTo>
                  <a:close/>
                  <a:moveTo>
                    <a:pt x="181124" y="0"/>
                  </a:moveTo>
                  <a:lnTo>
                    <a:pt x="194969" y="1126"/>
                  </a:lnTo>
                  <a:lnTo>
                    <a:pt x="220349" y="12387"/>
                  </a:lnTo>
                  <a:lnTo>
                    <a:pt x="224964" y="18017"/>
                  </a:lnTo>
                  <a:lnTo>
                    <a:pt x="228424" y="40537"/>
                  </a:lnTo>
                  <a:lnTo>
                    <a:pt x="231885" y="46167"/>
                  </a:lnTo>
                  <a:lnTo>
                    <a:pt x="238808" y="51797"/>
                  </a:lnTo>
                  <a:lnTo>
                    <a:pt x="257266" y="55176"/>
                  </a:lnTo>
                  <a:lnTo>
                    <a:pt x="265342" y="58554"/>
                  </a:lnTo>
                  <a:lnTo>
                    <a:pt x="234193" y="114856"/>
                  </a:lnTo>
                  <a:lnTo>
                    <a:pt x="215786" y="108119"/>
                  </a:lnTo>
                  <a:lnTo>
                    <a:pt x="233041" y="114856"/>
                  </a:lnTo>
                  <a:lnTo>
                    <a:pt x="230734" y="117108"/>
                  </a:lnTo>
                  <a:lnTo>
                    <a:pt x="231887" y="121612"/>
                  </a:lnTo>
                  <a:lnTo>
                    <a:pt x="218043" y="139629"/>
                  </a:lnTo>
                  <a:lnTo>
                    <a:pt x="219197" y="146385"/>
                  </a:lnTo>
                  <a:lnTo>
                    <a:pt x="214583" y="145259"/>
                  </a:lnTo>
                  <a:lnTo>
                    <a:pt x="200738" y="172283"/>
                  </a:lnTo>
                  <a:lnTo>
                    <a:pt x="198431" y="173410"/>
                  </a:lnTo>
                  <a:lnTo>
                    <a:pt x="199585" y="175662"/>
                  </a:lnTo>
                  <a:lnTo>
                    <a:pt x="199585" y="182418"/>
                  </a:lnTo>
                  <a:lnTo>
                    <a:pt x="193817" y="190300"/>
                  </a:lnTo>
                  <a:lnTo>
                    <a:pt x="186894" y="188049"/>
                  </a:lnTo>
                  <a:lnTo>
                    <a:pt x="178819" y="190300"/>
                  </a:lnTo>
                  <a:lnTo>
                    <a:pt x="170743" y="188049"/>
                  </a:lnTo>
                  <a:lnTo>
                    <a:pt x="168436" y="191426"/>
                  </a:lnTo>
                  <a:lnTo>
                    <a:pt x="166128" y="201561"/>
                  </a:lnTo>
                  <a:lnTo>
                    <a:pt x="160360" y="210569"/>
                  </a:lnTo>
                  <a:lnTo>
                    <a:pt x="153438" y="212822"/>
                  </a:lnTo>
                  <a:lnTo>
                    <a:pt x="140748" y="211695"/>
                  </a:lnTo>
                  <a:lnTo>
                    <a:pt x="133826" y="215073"/>
                  </a:lnTo>
                  <a:lnTo>
                    <a:pt x="130365" y="224082"/>
                  </a:lnTo>
                  <a:lnTo>
                    <a:pt x="132672" y="227460"/>
                  </a:lnTo>
                  <a:lnTo>
                    <a:pt x="141901" y="233090"/>
                  </a:lnTo>
                  <a:lnTo>
                    <a:pt x="141901" y="236468"/>
                  </a:lnTo>
                  <a:lnTo>
                    <a:pt x="139594" y="237595"/>
                  </a:lnTo>
                  <a:lnTo>
                    <a:pt x="131519" y="239846"/>
                  </a:lnTo>
                  <a:lnTo>
                    <a:pt x="121135" y="236468"/>
                  </a:lnTo>
                  <a:lnTo>
                    <a:pt x="103830" y="237595"/>
                  </a:lnTo>
                  <a:lnTo>
                    <a:pt x="104984" y="229712"/>
                  </a:lnTo>
                  <a:lnTo>
                    <a:pt x="98062" y="220704"/>
                  </a:lnTo>
                  <a:lnTo>
                    <a:pt x="102677" y="201561"/>
                  </a:lnTo>
                  <a:lnTo>
                    <a:pt x="103565" y="199826"/>
                  </a:lnTo>
                  <a:lnTo>
                    <a:pt x="71527" y="213948"/>
                  </a:lnTo>
                  <a:lnTo>
                    <a:pt x="70373" y="206066"/>
                  </a:lnTo>
                  <a:lnTo>
                    <a:pt x="74988" y="195931"/>
                  </a:lnTo>
                  <a:lnTo>
                    <a:pt x="71527" y="182419"/>
                  </a:lnTo>
                  <a:lnTo>
                    <a:pt x="70373" y="165529"/>
                  </a:lnTo>
                  <a:lnTo>
                    <a:pt x="48454" y="173411"/>
                  </a:lnTo>
                  <a:lnTo>
                    <a:pt x="48454" y="156520"/>
                  </a:lnTo>
                  <a:lnTo>
                    <a:pt x="39225" y="152016"/>
                  </a:lnTo>
                  <a:lnTo>
                    <a:pt x="38071" y="147512"/>
                  </a:lnTo>
                  <a:lnTo>
                    <a:pt x="39225" y="146386"/>
                  </a:lnTo>
                  <a:lnTo>
                    <a:pt x="29995" y="143008"/>
                  </a:lnTo>
                  <a:lnTo>
                    <a:pt x="21920" y="113730"/>
                  </a:lnTo>
                  <a:lnTo>
                    <a:pt x="12691" y="121613"/>
                  </a:lnTo>
                  <a:lnTo>
                    <a:pt x="5768" y="90084"/>
                  </a:lnTo>
                  <a:lnTo>
                    <a:pt x="2308" y="85580"/>
                  </a:lnTo>
                  <a:lnTo>
                    <a:pt x="0" y="84454"/>
                  </a:lnTo>
                  <a:lnTo>
                    <a:pt x="6922" y="70941"/>
                  </a:lnTo>
                  <a:lnTo>
                    <a:pt x="13844" y="64185"/>
                  </a:lnTo>
                  <a:lnTo>
                    <a:pt x="23074" y="64185"/>
                  </a:lnTo>
                  <a:lnTo>
                    <a:pt x="36917" y="70941"/>
                  </a:lnTo>
                  <a:lnTo>
                    <a:pt x="43839" y="70941"/>
                  </a:lnTo>
                  <a:lnTo>
                    <a:pt x="50761" y="65311"/>
                  </a:lnTo>
                  <a:lnTo>
                    <a:pt x="64605" y="47294"/>
                  </a:lnTo>
                  <a:lnTo>
                    <a:pt x="74988" y="40538"/>
                  </a:lnTo>
                  <a:lnTo>
                    <a:pt x="79603" y="40538"/>
                  </a:lnTo>
                  <a:lnTo>
                    <a:pt x="102676" y="55176"/>
                  </a:lnTo>
                  <a:lnTo>
                    <a:pt x="111905" y="54050"/>
                  </a:lnTo>
                  <a:lnTo>
                    <a:pt x="116520" y="49546"/>
                  </a:lnTo>
                  <a:lnTo>
                    <a:pt x="118827" y="41664"/>
                  </a:lnTo>
                  <a:lnTo>
                    <a:pt x="126903" y="42790"/>
                  </a:lnTo>
                  <a:lnTo>
                    <a:pt x="128056" y="47294"/>
                  </a:lnTo>
                  <a:lnTo>
                    <a:pt x="132572" y="43768"/>
                  </a:lnTo>
                  <a:lnTo>
                    <a:pt x="128056" y="47293"/>
                  </a:lnTo>
                  <a:lnTo>
                    <a:pt x="126903" y="42790"/>
                  </a:lnTo>
                  <a:lnTo>
                    <a:pt x="118827" y="41663"/>
                  </a:lnTo>
                  <a:lnTo>
                    <a:pt x="123442" y="33781"/>
                  </a:lnTo>
                  <a:lnTo>
                    <a:pt x="138439" y="22521"/>
                  </a:lnTo>
                  <a:lnTo>
                    <a:pt x="146515" y="14638"/>
                  </a:lnTo>
                  <a:lnTo>
                    <a:pt x="169588" y="2252"/>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4" name="Meierijstad">
              <a:extLst>
                <a:ext uri="{FF2B5EF4-FFF2-40B4-BE49-F238E27FC236}">
                  <a16:creationId xmlns:a16="http://schemas.microsoft.com/office/drawing/2014/main" id="{20023F87-C020-4D95-90F1-71F16F614C5D}"/>
                </a:ext>
              </a:extLst>
            </p:cNvPr>
            <p:cNvSpPr/>
            <p:nvPr/>
          </p:nvSpPr>
          <p:spPr>
            <a:xfrm>
              <a:off x="6216479" y="4250570"/>
              <a:ext cx="315761" cy="218722"/>
            </a:xfrm>
            <a:custGeom>
              <a:avLst/>
              <a:gdLst>
                <a:gd name="connsiteX0" fmla="*/ 19613 w 301104"/>
                <a:gd name="connsiteY0" fmla="*/ 90080 h 221831"/>
                <a:gd name="connsiteX1" fmla="*/ 19612 w 301104"/>
                <a:gd name="connsiteY1" fmla="*/ 90083 h 221831"/>
                <a:gd name="connsiteX2" fmla="*/ 19613 w 301104"/>
                <a:gd name="connsiteY2" fmla="*/ 90083 h 221831"/>
                <a:gd name="connsiteX3" fmla="*/ 23074 w 301104"/>
                <a:gd name="connsiteY3" fmla="*/ 88957 h 221831"/>
                <a:gd name="connsiteX4" fmla="*/ 21869 w 301104"/>
                <a:gd name="connsiteY4" fmla="*/ 89349 h 221831"/>
                <a:gd name="connsiteX5" fmla="*/ 23073 w 301104"/>
                <a:gd name="connsiteY5" fmla="*/ 88958 h 221831"/>
                <a:gd name="connsiteX6" fmla="*/ 25380 w 301104"/>
                <a:gd name="connsiteY6" fmla="*/ 93462 h 221831"/>
                <a:gd name="connsiteX7" fmla="*/ 33456 w 301104"/>
                <a:gd name="connsiteY7" fmla="*/ 93462 h 221831"/>
                <a:gd name="connsiteX8" fmla="*/ 35763 w 301104"/>
                <a:gd name="connsiteY8" fmla="*/ 95714 h 221831"/>
                <a:gd name="connsiteX9" fmla="*/ 40378 w 301104"/>
                <a:gd name="connsiteY9" fmla="*/ 94588 h 221831"/>
                <a:gd name="connsiteX10" fmla="*/ 35764 w 301104"/>
                <a:gd name="connsiteY10" fmla="*/ 95713 h 221831"/>
                <a:gd name="connsiteX11" fmla="*/ 33457 w 301104"/>
                <a:gd name="connsiteY11" fmla="*/ 93461 h 221831"/>
                <a:gd name="connsiteX12" fmla="*/ 25381 w 301104"/>
                <a:gd name="connsiteY12" fmla="*/ 93461 h 221831"/>
                <a:gd name="connsiteX13" fmla="*/ 44993 w 301104"/>
                <a:gd name="connsiteY13" fmla="*/ 0 h 221831"/>
                <a:gd name="connsiteX14" fmla="*/ 101523 w 301104"/>
                <a:gd name="connsiteY14" fmla="*/ 21394 h 221831"/>
                <a:gd name="connsiteX15" fmla="*/ 137282 w 301104"/>
                <a:gd name="connsiteY15" fmla="*/ 52921 h 221831"/>
                <a:gd name="connsiteX16" fmla="*/ 132671 w 301104"/>
                <a:gd name="connsiteY16" fmla="*/ 47293 h 221831"/>
                <a:gd name="connsiteX17" fmla="*/ 140746 w 301104"/>
                <a:gd name="connsiteY17" fmla="*/ 37159 h 221831"/>
                <a:gd name="connsiteX18" fmla="*/ 140746 w 301104"/>
                <a:gd name="connsiteY18" fmla="*/ 31529 h 221831"/>
                <a:gd name="connsiteX19" fmla="*/ 153436 w 301104"/>
                <a:gd name="connsiteY19" fmla="*/ 39411 h 221831"/>
                <a:gd name="connsiteX20" fmla="*/ 161512 w 301104"/>
                <a:gd name="connsiteY20" fmla="*/ 41663 h 221831"/>
                <a:gd name="connsiteX21" fmla="*/ 162666 w 301104"/>
                <a:gd name="connsiteY21" fmla="*/ 37159 h 221831"/>
                <a:gd name="connsiteX22" fmla="*/ 168434 w 301104"/>
                <a:gd name="connsiteY22" fmla="*/ 37159 h 221831"/>
                <a:gd name="connsiteX23" fmla="*/ 170741 w 301104"/>
                <a:gd name="connsiteY23" fmla="*/ 32655 h 221831"/>
                <a:gd name="connsiteX24" fmla="*/ 178817 w 301104"/>
                <a:gd name="connsiteY24" fmla="*/ 34907 h 221831"/>
                <a:gd name="connsiteX25" fmla="*/ 181124 w 301104"/>
                <a:gd name="connsiteY25" fmla="*/ 27025 h 221831"/>
                <a:gd name="connsiteX26" fmla="*/ 178817 w 301104"/>
                <a:gd name="connsiteY26" fmla="*/ 27025 h 221831"/>
                <a:gd name="connsiteX27" fmla="*/ 179970 w 301104"/>
                <a:gd name="connsiteY27" fmla="*/ 24773 h 221831"/>
                <a:gd name="connsiteX28" fmla="*/ 204197 w 301104"/>
                <a:gd name="connsiteY28" fmla="*/ 11260 h 221831"/>
                <a:gd name="connsiteX29" fmla="*/ 208812 w 301104"/>
                <a:gd name="connsiteY29" fmla="*/ 6756 h 221831"/>
                <a:gd name="connsiteX30" fmla="*/ 219195 w 301104"/>
                <a:gd name="connsiteY30" fmla="*/ 15764 h 221831"/>
                <a:gd name="connsiteX31" fmla="*/ 228424 w 301104"/>
                <a:gd name="connsiteY31" fmla="*/ 21394 h 221831"/>
                <a:gd name="connsiteX32" fmla="*/ 227270 w 301104"/>
                <a:gd name="connsiteY32" fmla="*/ 23647 h 221831"/>
                <a:gd name="connsiteX33" fmla="*/ 226117 w 301104"/>
                <a:gd name="connsiteY33" fmla="*/ 25899 h 221831"/>
                <a:gd name="connsiteX34" fmla="*/ 227270 w 301104"/>
                <a:gd name="connsiteY34" fmla="*/ 28151 h 221831"/>
                <a:gd name="connsiteX35" fmla="*/ 234192 w 301104"/>
                <a:gd name="connsiteY35" fmla="*/ 37159 h 221831"/>
                <a:gd name="connsiteX36" fmla="*/ 235346 w 301104"/>
                <a:gd name="connsiteY36" fmla="*/ 34907 h 221831"/>
                <a:gd name="connsiteX37" fmla="*/ 243421 w 301104"/>
                <a:gd name="connsiteY37" fmla="*/ 42789 h 221831"/>
                <a:gd name="connsiteX38" fmla="*/ 248036 w 301104"/>
                <a:gd name="connsiteY38" fmla="*/ 36033 h 221831"/>
                <a:gd name="connsiteX39" fmla="*/ 265341 w 301104"/>
                <a:gd name="connsiteY39" fmla="*/ 48419 h 221831"/>
                <a:gd name="connsiteX40" fmla="*/ 286107 w 301104"/>
                <a:gd name="connsiteY40" fmla="*/ 81075 h 221831"/>
                <a:gd name="connsiteX41" fmla="*/ 291875 w 301104"/>
                <a:gd name="connsiteY41" fmla="*/ 101344 h 221831"/>
                <a:gd name="connsiteX42" fmla="*/ 295336 w 301104"/>
                <a:gd name="connsiteY42" fmla="*/ 123864 h 221831"/>
                <a:gd name="connsiteX43" fmla="*/ 301104 w 301104"/>
                <a:gd name="connsiteY43" fmla="*/ 132873 h 221831"/>
                <a:gd name="connsiteX44" fmla="*/ 297644 w 301104"/>
                <a:gd name="connsiteY44" fmla="*/ 140755 h 221831"/>
                <a:gd name="connsiteX45" fmla="*/ 283800 w 301104"/>
                <a:gd name="connsiteY45" fmla="*/ 149763 h 221831"/>
                <a:gd name="connsiteX46" fmla="*/ 269955 w 301104"/>
                <a:gd name="connsiteY46" fmla="*/ 165528 h 221831"/>
                <a:gd name="connsiteX47" fmla="*/ 264187 w 301104"/>
                <a:gd name="connsiteY47" fmla="*/ 168906 h 221831"/>
                <a:gd name="connsiteX48" fmla="*/ 261880 w 301104"/>
                <a:gd name="connsiteY48" fmla="*/ 167780 h 221831"/>
                <a:gd name="connsiteX49" fmla="*/ 260727 w 301104"/>
                <a:gd name="connsiteY49" fmla="*/ 164402 h 221831"/>
                <a:gd name="connsiteX50" fmla="*/ 256112 w 301104"/>
                <a:gd name="connsiteY50" fmla="*/ 166654 h 221831"/>
                <a:gd name="connsiteX51" fmla="*/ 250343 w 301104"/>
                <a:gd name="connsiteY51" fmla="*/ 157646 h 221831"/>
                <a:gd name="connsiteX52" fmla="*/ 240415 w 301104"/>
                <a:gd name="connsiteY52" fmla="*/ 155884 h 221831"/>
                <a:gd name="connsiteX53" fmla="*/ 235697 w 301104"/>
                <a:gd name="connsiteY53" fmla="*/ 161256 h 221831"/>
                <a:gd name="connsiteX54" fmla="*/ 231193 w 301104"/>
                <a:gd name="connsiteY54" fmla="*/ 163894 h 221831"/>
                <a:gd name="connsiteX55" fmla="*/ 229391 w 301104"/>
                <a:gd name="connsiteY55" fmla="*/ 163014 h 221831"/>
                <a:gd name="connsiteX56" fmla="*/ 228491 w 301104"/>
                <a:gd name="connsiteY56" fmla="*/ 160376 h 221831"/>
                <a:gd name="connsiteX57" fmla="*/ 224887 w 301104"/>
                <a:gd name="connsiteY57" fmla="*/ 162135 h 221831"/>
                <a:gd name="connsiteX58" fmla="*/ 220381 w 301104"/>
                <a:gd name="connsiteY58" fmla="*/ 155100 h 221831"/>
                <a:gd name="connsiteX59" fmla="*/ 217934 w 301104"/>
                <a:gd name="connsiteY59" fmla="*/ 154666 h 221831"/>
                <a:gd name="connsiteX60" fmla="*/ 193814 w 301104"/>
                <a:gd name="connsiteY60" fmla="*/ 159898 h 221831"/>
                <a:gd name="connsiteX61" fmla="*/ 183432 w 301104"/>
                <a:gd name="connsiteY61" fmla="*/ 161023 h 221831"/>
                <a:gd name="connsiteX62" fmla="*/ 184100 w 301104"/>
                <a:gd name="connsiteY62" fmla="*/ 155153 h 221831"/>
                <a:gd name="connsiteX63" fmla="*/ 183431 w 301104"/>
                <a:gd name="connsiteY63" fmla="*/ 161025 h 221831"/>
                <a:gd name="connsiteX64" fmla="*/ 170742 w 301104"/>
                <a:gd name="connsiteY64" fmla="*/ 161025 h 221831"/>
                <a:gd name="connsiteX65" fmla="*/ 183431 w 301104"/>
                <a:gd name="connsiteY65" fmla="*/ 188049 h 221831"/>
                <a:gd name="connsiteX66" fmla="*/ 181124 w 301104"/>
                <a:gd name="connsiteY66" fmla="*/ 190302 h 221831"/>
                <a:gd name="connsiteX67" fmla="*/ 185739 w 301104"/>
                <a:gd name="connsiteY67" fmla="*/ 194806 h 221831"/>
                <a:gd name="connsiteX68" fmla="*/ 162666 w 301104"/>
                <a:gd name="connsiteY68" fmla="*/ 220705 h 221831"/>
                <a:gd name="connsiteX69" fmla="*/ 159205 w 301104"/>
                <a:gd name="connsiteY69" fmla="*/ 218453 h 221831"/>
                <a:gd name="connsiteX70" fmla="*/ 155744 w 301104"/>
                <a:gd name="connsiteY70" fmla="*/ 219579 h 221831"/>
                <a:gd name="connsiteX71" fmla="*/ 148822 w 301104"/>
                <a:gd name="connsiteY71" fmla="*/ 216201 h 221831"/>
                <a:gd name="connsiteX72" fmla="*/ 145361 w 301104"/>
                <a:gd name="connsiteY72" fmla="*/ 219579 h 221831"/>
                <a:gd name="connsiteX73" fmla="*/ 144208 w 301104"/>
                <a:gd name="connsiteY73" fmla="*/ 217327 h 221831"/>
                <a:gd name="connsiteX74" fmla="*/ 141900 w 301104"/>
                <a:gd name="connsiteY74" fmla="*/ 220705 h 221831"/>
                <a:gd name="connsiteX75" fmla="*/ 136132 w 301104"/>
                <a:gd name="connsiteY75" fmla="*/ 221831 h 221831"/>
                <a:gd name="connsiteX76" fmla="*/ 136132 w 301104"/>
                <a:gd name="connsiteY76" fmla="*/ 215075 h 221831"/>
                <a:gd name="connsiteX77" fmla="*/ 139593 w 301104"/>
                <a:gd name="connsiteY77" fmla="*/ 212823 h 221831"/>
                <a:gd name="connsiteX78" fmla="*/ 133824 w 301104"/>
                <a:gd name="connsiteY78" fmla="*/ 209445 h 221831"/>
                <a:gd name="connsiteX79" fmla="*/ 129210 w 301104"/>
                <a:gd name="connsiteY79" fmla="*/ 212823 h 221831"/>
                <a:gd name="connsiteX80" fmla="*/ 123442 w 301104"/>
                <a:gd name="connsiteY80" fmla="*/ 201562 h 221831"/>
                <a:gd name="connsiteX81" fmla="*/ 122628 w 301104"/>
                <a:gd name="connsiteY81" fmla="*/ 192025 h 221831"/>
                <a:gd name="connsiteX82" fmla="*/ 121281 w 301104"/>
                <a:gd name="connsiteY82" fmla="*/ 189396 h 221831"/>
                <a:gd name="connsiteX83" fmla="*/ 121172 w 301104"/>
                <a:gd name="connsiteY83" fmla="*/ 188113 h 221831"/>
                <a:gd name="connsiteX84" fmla="*/ 102675 w 301104"/>
                <a:gd name="connsiteY84" fmla="*/ 189175 h 221831"/>
                <a:gd name="connsiteX85" fmla="*/ 69219 w 301104"/>
                <a:gd name="connsiteY85" fmla="*/ 200436 h 221831"/>
                <a:gd name="connsiteX86" fmla="*/ 66912 w 301104"/>
                <a:gd name="connsiteY86" fmla="*/ 200436 h 221831"/>
                <a:gd name="connsiteX87" fmla="*/ 63451 w 301104"/>
                <a:gd name="connsiteY87" fmla="*/ 201562 h 221831"/>
                <a:gd name="connsiteX88" fmla="*/ 61144 w 301104"/>
                <a:gd name="connsiteY88" fmla="*/ 199310 h 221831"/>
                <a:gd name="connsiteX89" fmla="*/ 54222 w 301104"/>
                <a:gd name="connsiteY89" fmla="*/ 200436 h 221831"/>
                <a:gd name="connsiteX90" fmla="*/ 53068 w 301104"/>
                <a:gd name="connsiteY90" fmla="*/ 194806 h 221831"/>
                <a:gd name="connsiteX91" fmla="*/ 42685 w 301104"/>
                <a:gd name="connsiteY91" fmla="*/ 186924 h 221831"/>
                <a:gd name="connsiteX92" fmla="*/ 41531 w 301104"/>
                <a:gd name="connsiteY92" fmla="*/ 186924 h 221831"/>
                <a:gd name="connsiteX93" fmla="*/ 34610 w 301104"/>
                <a:gd name="connsiteY93" fmla="*/ 176789 h 221831"/>
                <a:gd name="connsiteX94" fmla="*/ 33456 w 301104"/>
                <a:gd name="connsiteY94" fmla="*/ 161025 h 221831"/>
                <a:gd name="connsiteX95" fmla="*/ 35763 w 301104"/>
                <a:gd name="connsiteY95" fmla="*/ 154268 h 221831"/>
                <a:gd name="connsiteX96" fmla="*/ 29995 w 301104"/>
                <a:gd name="connsiteY96" fmla="*/ 154268 h 221831"/>
                <a:gd name="connsiteX97" fmla="*/ 27688 w 301104"/>
                <a:gd name="connsiteY97" fmla="*/ 147512 h 221831"/>
                <a:gd name="connsiteX98" fmla="*/ 29995 w 301104"/>
                <a:gd name="connsiteY98" fmla="*/ 147512 h 221831"/>
                <a:gd name="connsiteX99" fmla="*/ 28841 w 301104"/>
                <a:gd name="connsiteY99" fmla="*/ 137378 h 221831"/>
                <a:gd name="connsiteX100" fmla="*/ 32303 w 301104"/>
                <a:gd name="connsiteY100" fmla="*/ 138504 h 221831"/>
                <a:gd name="connsiteX101" fmla="*/ 32303 w 301104"/>
                <a:gd name="connsiteY101" fmla="*/ 135125 h 221831"/>
                <a:gd name="connsiteX102" fmla="*/ 34610 w 301104"/>
                <a:gd name="connsiteY102" fmla="*/ 131747 h 221831"/>
                <a:gd name="connsiteX103" fmla="*/ 26534 w 301104"/>
                <a:gd name="connsiteY103" fmla="*/ 130621 h 221831"/>
                <a:gd name="connsiteX104" fmla="*/ 20765 w 301104"/>
                <a:gd name="connsiteY104" fmla="*/ 131747 h 221831"/>
                <a:gd name="connsiteX105" fmla="*/ 23073 w 301104"/>
                <a:gd name="connsiteY105" fmla="*/ 124991 h 221831"/>
                <a:gd name="connsiteX106" fmla="*/ 19612 w 301104"/>
                <a:gd name="connsiteY106" fmla="*/ 121613 h 221831"/>
                <a:gd name="connsiteX107" fmla="*/ 18458 w 301104"/>
                <a:gd name="connsiteY107" fmla="*/ 123865 h 221831"/>
                <a:gd name="connsiteX108" fmla="*/ 17305 w 301104"/>
                <a:gd name="connsiteY108" fmla="*/ 120487 h 221831"/>
                <a:gd name="connsiteX109" fmla="*/ 19612 w 301104"/>
                <a:gd name="connsiteY109" fmla="*/ 119361 h 221831"/>
                <a:gd name="connsiteX110" fmla="*/ 10383 w 301104"/>
                <a:gd name="connsiteY110" fmla="*/ 112605 h 221831"/>
                <a:gd name="connsiteX111" fmla="*/ 14997 w 301104"/>
                <a:gd name="connsiteY111" fmla="*/ 109226 h 221831"/>
                <a:gd name="connsiteX112" fmla="*/ 19612 w 301104"/>
                <a:gd name="connsiteY112" fmla="*/ 109226 h 221831"/>
                <a:gd name="connsiteX113" fmla="*/ 16151 w 301104"/>
                <a:gd name="connsiteY113" fmla="*/ 105848 h 221831"/>
                <a:gd name="connsiteX114" fmla="*/ 14997 w 301104"/>
                <a:gd name="connsiteY114" fmla="*/ 106975 h 221831"/>
                <a:gd name="connsiteX115" fmla="*/ 10383 w 301104"/>
                <a:gd name="connsiteY115" fmla="*/ 97965 h 221831"/>
                <a:gd name="connsiteX116" fmla="*/ 12690 w 301104"/>
                <a:gd name="connsiteY116" fmla="*/ 96840 h 221831"/>
                <a:gd name="connsiteX117" fmla="*/ 14997 w 301104"/>
                <a:gd name="connsiteY117" fmla="*/ 90083 h 221831"/>
                <a:gd name="connsiteX118" fmla="*/ 9229 w 301104"/>
                <a:gd name="connsiteY118" fmla="*/ 86705 h 221831"/>
                <a:gd name="connsiteX119" fmla="*/ 19612 w 301104"/>
                <a:gd name="connsiteY119" fmla="*/ 83327 h 221831"/>
                <a:gd name="connsiteX120" fmla="*/ 19613 w 301104"/>
                <a:gd name="connsiteY120" fmla="*/ 83330 h 221831"/>
                <a:gd name="connsiteX121" fmla="*/ 19613 w 301104"/>
                <a:gd name="connsiteY121" fmla="*/ 82201 h 221831"/>
                <a:gd name="connsiteX122" fmla="*/ 24227 w 301104"/>
                <a:gd name="connsiteY122" fmla="*/ 82201 h 221831"/>
                <a:gd name="connsiteX123" fmla="*/ 20766 w 301104"/>
                <a:gd name="connsiteY123" fmla="*/ 72066 h 221831"/>
                <a:gd name="connsiteX124" fmla="*/ 21920 w 301104"/>
                <a:gd name="connsiteY124" fmla="*/ 70940 h 221831"/>
                <a:gd name="connsiteX125" fmla="*/ 19613 w 301104"/>
                <a:gd name="connsiteY125" fmla="*/ 67563 h 221831"/>
                <a:gd name="connsiteX126" fmla="*/ 20766 w 301104"/>
                <a:gd name="connsiteY126" fmla="*/ 64184 h 221831"/>
                <a:gd name="connsiteX127" fmla="*/ 17305 w 301104"/>
                <a:gd name="connsiteY127" fmla="*/ 61932 h 221831"/>
                <a:gd name="connsiteX128" fmla="*/ 18459 w 301104"/>
                <a:gd name="connsiteY128" fmla="*/ 56302 h 221831"/>
                <a:gd name="connsiteX129" fmla="*/ 14998 w 301104"/>
                <a:gd name="connsiteY129" fmla="*/ 57428 h 221831"/>
                <a:gd name="connsiteX130" fmla="*/ 13844 w 301104"/>
                <a:gd name="connsiteY130" fmla="*/ 52924 h 221831"/>
                <a:gd name="connsiteX131" fmla="*/ 14998 w 301104"/>
                <a:gd name="connsiteY131" fmla="*/ 52924 h 221831"/>
                <a:gd name="connsiteX132" fmla="*/ 12691 w 301104"/>
                <a:gd name="connsiteY132" fmla="*/ 51797 h 221831"/>
                <a:gd name="connsiteX133" fmla="*/ 13844 w 301104"/>
                <a:gd name="connsiteY133" fmla="*/ 49546 h 221831"/>
                <a:gd name="connsiteX134" fmla="*/ 17305 w 301104"/>
                <a:gd name="connsiteY134" fmla="*/ 49546 h 221831"/>
                <a:gd name="connsiteX135" fmla="*/ 12691 w 301104"/>
                <a:gd name="connsiteY135" fmla="*/ 46167 h 221831"/>
                <a:gd name="connsiteX136" fmla="*/ 12691 w 301104"/>
                <a:gd name="connsiteY136" fmla="*/ 39411 h 221831"/>
                <a:gd name="connsiteX137" fmla="*/ 3461 w 301104"/>
                <a:gd name="connsiteY137" fmla="*/ 36033 h 221831"/>
                <a:gd name="connsiteX138" fmla="*/ 0 w 301104"/>
                <a:gd name="connsiteY138" fmla="*/ 37159 h 221831"/>
                <a:gd name="connsiteX139" fmla="*/ 0 w 301104"/>
                <a:gd name="connsiteY139" fmla="*/ 30403 h 221831"/>
                <a:gd name="connsiteX140" fmla="*/ 12691 w 301104"/>
                <a:gd name="connsiteY140" fmla="*/ 28151 h 221831"/>
                <a:gd name="connsiteX141" fmla="*/ 3461 w 301104"/>
                <a:gd name="connsiteY141" fmla="*/ 25899 h 221831"/>
                <a:gd name="connsiteX142" fmla="*/ 0 w 301104"/>
                <a:gd name="connsiteY142" fmla="*/ 22521 h 221831"/>
                <a:gd name="connsiteX143" fmla="*/ 4615 w 301104"/>
                <a:gd name="connsiteY143" fmla="*/ 20268 h 221831"/>
                <a:gd name="connsiteX144" fmla="*/ 4615 w 301104"/>
                <a:gd name="connsiteY144" fmla="*/ 18017 h 221831"/>
                <a:gd name="connsiteX145" fmla="*/ 5768 w 301104"/>
                <a:gd name="connsiteY145" fmla="*/ 20268 h 221831"/>
                <a:gd name="connsiteX146" fmla="*/ 8076 w 301104"/>
                <a:gd name="connsiteY146" fmla="*/ 19143 h 221831"/>
                <a:gd name="connsiteX147" fmla="*/ 9230 w 301104"/>
                <a:gd name="connsiteY147" fmla="*/ 15764 h 221831"/>
                <a:gd name="connsiteX148" fmla="*/ 6923 w 301104"/>
                <a:gd name="connsiteY148" fmla="*/ 14638 h 221831"/>
                <a:gd name="connsiteX149" fmla="*/ 8076 w 301104"/>
                <a:gd name="connsiteY149" fmla="*/ 13512 h 221831"/>
                <a:gd name="connsiteX150" fmla="*/ 10383 w 301104"/>
                <a:gd name="connsiteY150" fmla="*/ 15764 h 221831"/>
                <a:gd name="connsiteX151" fmla="*/ 25381 w 301104"/>
                <a:gd name="connsiteY151" fmla="*/ 15764 h 221831"/>
                <a:gd name="connsiteX152" fmla="*/ 26534 w 301104"/>
                <a:gd name="connsiteY152" fmla="*/ 16891 h 221831"/>
                <a:gd name="connsiteX153" fmla="*/ 32303 w 301104"/>
                <a:gd name="connsiteY153" fmla="*/ 12386 h 221831"/>
                <a:gd name="connsiteX154" fmla="*/ 35764 w 301104"/>
                <a:gd name="connsiteY154" fmla="*/ 12386 h 221831"/>
                <a:gd name="connsiteX155" fmla="*/ 35764 w 301104"/>
                <a:gd name="connsiteY155" fmla="*/ 9008 h 221831"/>
                <a:gd name="connsiteX156" fmla="*/ 42686 w 301104"/>
                <a:gd name="connsiteY156" fmla="*/ 9008 h 221831"/>
                <a:gd name="connsiteX157" fmla="*/ 41532 w 301104"/>
                <a:gd name="connsiteY157" fmla="*/ 4504 h 221831"/>
                <a:gd name="connsiteX158" fmla="*/ 43840 w 301104"/>
                <a:gd name="connsiteY158" fmla="*/ 3378 h 221831"/>
                <a:gd name="connsiteX159" fmla="*/ 41532 w 301104"/>
                <a:gd name="connsiteY159" fmla="*/ 2252 h 221831"/>
                <a:gd name="connsiteX160" fmla="*/ 46147 w 301104"/>
                <a:gd name="connsiteY160" fmla="*/ 2252 h 2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01104" h="221831">
                  <a:moveTo>
                    <a:pt x="19613" y="90080"/>
                  </a:moveTo>
                  <a:lnTo>
                    <a:pt x="19612" y="90083"/>
                  </a:lnTo>
                  <a:lnTo>
                    <a:pt x="19613" y="90083"/>
                  </a:lnTo>
                  <a:close/>
                  <a:moveTo>
                    <a:pt x="23074" y="88957"/>
                  </a:moveTo>
                  <a:lnTo>
                    <a:pt x="21869" y="89349"/>
                  </a:lnTo>
                  <a:lnTo>
                    <a:pt x="23073" y="88958"/>
                  </a:lnTo>
                  <a:lnTo>
                    <a:pt x="25380" y="93462"/>
                  </a:lnTo>
                  <a:lnTo>
                    <a:pt x="33456" y="93462"/>
                  </a:lnTo>
                  <a:lnTo>
                    <a:pt x="35763" y="95714"/>
                  </a:lnTo>
                  <a:lnTo>
                    <a:pt x="40378" y="94588"/>
                  </a:lnTo>
                  <a:lnTo>
                    <a:pt x="35764" y="95713"/>
                  </a:lnTo>
                  <a:lnTo>
                    <a:pt x="33457" y="93461"/>
                  </a:lnTo>
                  <a:lnTo>
                    <a:pt x="25381" y="93461"/>
                  </a:lnTo>
                  <a:close/>
                  <a:moveTo>
                    <a:pt x="44993" y="0"/>
                  </a:moveTo>
                  <a:lnTo>
                    <a:pt x="101523" y="21394"/>
                  </a:lnTo>
                  <a:lnTo>
                    <a:pt x="137282" y="52921"/>
                  </a:lnTo>
                  <a:lnTo>
                    <a:pt x="132671" y="47293"/>
                  </a:lnTo>
                  <a:lnTo>
                    <a:pt x="140746" y="37159"/>
                  </a:lnTo>
                  <a:lnTo>
                    <a:pt x="140746" y="31529"/>
                  </a:lnTo>
                  <a:lnTo>
                    <a:pt x="153436" y="39411"/>
                  </a:lnTo>
                  <a:lnTo>
                    <a:pt x="161512" y="41663"/>
                  </a:lnTo>
                  <a:lnTo>
                    <a:pt x="162666" y="37159"/>
                  </a:lnTo>
                  <a:lnTo>
                    <a:pt x="168434" y="37159"/>
                  </a:lnTo>
                  <a:lnTo>
                    <a:pt x="170741" y="32655"/>
                  </a:lnTo>
                  <a:lnTo>
                    <a:pt x="178817" y="34907"/>
                  </a:lnTo>
                  <a:lnTo>
                    <a:pt x="181124" y="27025"/>
                  </a:lnTo>
                  <a:lnTo>
                    <a:pt x="178817" y="27025"/>
                  </a:lnTo>
                  <a:lnTo>
                    <a:pt x="179970" y="24773"/>
                  </a:lnTo>
                  <a:lnTo>
                    <a:pt x="204197" y="11260"/>
                  </a:lnTo>
                  <a:lnTo>
                    <a:pt x="208812" y="6756"/>
                  </a:lnTo>
                  <a:lnTo>
                    <a:pt x="219195" y="15764"/>
                  </a:lnTo>
                  <a:lnTo>
                    <a:pt x="228424" y="21394"/>
                  </a:lnTo>
                  <a:lnTo>
                    <a:pt x="227270" y="23647"/>
                  </a:lnTo>
                  <a:lnTo>
                    <a:pt x="226117" y="25899"/>
                  </a:lnTo>
                  <a:lnTo>
                    <a:pt x="227270" y="28151"/>
                  </a:lnTo>
                  <a:lnTo>
                    <a:pt x="234192" y="37159"/>
                  </a:lnTo>
                  <a:lnTo>
                    <a:pt x="235346" y="34907"/>
                  </a:lnTo>
                  <a:lnTo>
                    <a:pt x="243421" y="42789"/>
                  </a:lnTo>
                  <a:lnTo>
                    <a:pt x="248036" y="36033"/>
                  </a:lnTo>
                  <a:lnTo>
                    <a:pt x="265341" y="48419"/>
                  </a:lnTo>
                  <a:lnTo>
                    <a:pt x="286107" y="81075"/>
                  </a:lnTo>
                  <a:lnTo>
                    <a:pt x="291875" y="101344"/>
                  </a:lnTo>
                  <a:lnTo>
                    <a:pt x="295336" y="123864"/>
                  </a:lnTo>
                  <a:lnTo>
                    <a:pt x="301104" y="132873"/>
                  </a:lnTo>
                  <a:lnTo>
                    <a:pt x="297644" y="140755"/>
                  </a:lnTo>
                  <a:lnTo>
                    <a:pt x="283800" y="149763"/>
                  </a:lnTo>
                  <a:lnTo>
                    <a:pt x="269955" y="165528"/>
                  </a:lnTo>
                  <a:lnTo>
                    <a:pt x="264187" y="168906"/>
                  </a:lnTo>
                  <a:lnTo>
                    <a:pt x="261880" y="167780"/>
                  </a:lnTo>
                  <a:lnTo>
                    <a:pt x="260727" y="164402"/>
                  </a:lnTo>
                  <a:lnTo>
                    <a:pt x="256112" y="166654"/>
                  </a:lnTo>
                  <a:lnTo>
                    <a:pt x="250343" y="157646"/>
                  </a:lnTo>
                  <a:lnTo>
                    <a:pt x="240415" y="155884"/>
                  </a:lnTo>
                  <a:lnTo>
                    <a:pt x="235697" y="161256"/>
                  </a:lnTo>
                  <a:lnTo>
                    <a:pt x="231193" y="163894"/>
                  </a:lnTo>
                  <a:lnTo>
                    <a:pt x="229391" y="163014"/>
                  </a:lnTo>
                  <a:lnTo>
                    <a:pt x="228491" y="160376"/>
                  </a:lnTo>
                  <a:lnTo>
                    <a:pt x="224887" y="162135"/>
                  </a:lnTo>
                  <a:lnTo>
                    <a:pt x="220381" y="155100"/>
                  </a:lnTo>
                  <a:lnTo>
                    <a:pt x="217934" y="154666"/>
                  </a:lnTo>
                  <a:lnTo>
                    <a:pt x="193814" y="159898"/>
                  </a:lnTo>
                  <a:lnTo>
                    <a:pt x="183432" y="161023"/>
                  </a:lnTo>
                  <a:lnTo>
                    <a:pt x="184100" y="155153"/>
                  </a:lnTo>
                  <a:lnTo>
                    <a:pt x="183431" y="161025"/>
                  </a:lnTo>
                  <a:lnTo>
                    <a:pt x="170742" y="161025"/>
                  </a:lnTo>
                  <a:lnTo>
                    <a:pt x="183431" y="188049"/>
                  </a:lnTo>
                  <a:lnTo>
                    <a:pt x="181124" y="190302"/>
                  </a:lnTo>
                  <a:lnTo>
                    <a:pt x="185739" y="194806"/>
                  </a:lnTo>
                  <a:lnTo>
                    <a:pt x="162666" y="220705"/>
                  </a:lnTo>
                  <a:lnTo>
                    <a:pt x="159205" y="218453"/>
                  </a:lnTo>
                  <a:lnTo>
                    <a:pt x="155744" y="219579"/>
                  </a:lnTo>
                  <a:lnTo>
                    <a:pt x="148822" y="216201"/>
                  </a:lnTo>
                  <a:lnTo>
                    <a:pt x="145361" y="219579"/>
                  </a:lnTo>
                  <a:lnTo>
                    <a:pt x="144208" y="217327"/>
                  </a:lnTo>
                  <a:lnTo>
                    <a:pt x="141900" y="220705"/>
                  </a:lnTo>
                  <a:lnTo>
                    <a:pt x="136132" y="221831"/>
                  </a:lnTo>
                  <a:lnTo>
                    <a:pt x="136132" y="215075"/>
                  </a:lnTo>
                  <a:lnTo>
                    <a:pt x="139593" y="212823"/>
                  </a:lnTo>
                  <a:lnTo>
                    <a:pt x="133824" y="209445"/>
                  </a:lnTo>
                  <a:lnTo>
                    <a:pt x="129210" y="212823"/>
                  </a:lnTo>
                  <a:lnTo>
                    <a:pt x="123442" y="201562"/>
                  </a:lnTo>
                  <a:lnTo>
                    <a:pt x="122628" y="192025"/>
                  </a:lnTo>
                  <a:lnTo>
                    <a:pt x="121281" y="189396"/>
                  </a:lnTo>
                  <a:lnTo>
                    <a:pt x="121172" y="188113"/>
                  </a:lnTo>
                  <a:lnTo>
                    <a:pt x="102675" y="189175"/>
                  </a:lnTo>
                  <a:lnTo>
                    <a:pt x="69219" y="200436"/>
                  </a:lnTo>
                  <a:lnTo>
                    <a:pt x="66912" y="200436"/>
                  </a:lnTo>
                  <a:lnTo>
                    <a:pt x="63451" y="201562"/>
                  </a:lnTo>
                  <a:lnTo>
                    <a:pt x="61144" y="199310"/>
                  </a:lnTo>
                  <a:lnTo>
                    <a:pt x="54222" y="200436"/>
                  </a:lnTo>
                  <a:lnTo>
                    <a:pt x="53068" y="194806"/>
                  </a:lnTo>
                  <a:lnTo>
                    <a:pt x="42685" y="186924"/>
                  </a:lnTo>
                  <a:lnTo>
                    <a:pt x="41531" y="186924"/>
                  </a:lnTo>
                  <a:lnTo>
                    <a:pt x="34610" y="176789"/>
                  </a:lnTo>
                  <a:lnTo>
                    <a:pt x="33456" y="161025"/>
                  </a:lnTo>
                  <a:lnTo>
                    <a:pt x="35763" y="154268"/>
                  </a:lnTo>
                  <a:lnTo>
                    <a:pt x="29995" y="154268"/>
                  </a:lnTo>
                  <a:lnTo>
                    <a:pt x="27688" y="147512"/>
                  </a:lnTo>
                  <a:lnTo>
                    <a:pt x="29995" y="147512"/>
                  </a:lnTo>
                  <a:lnTo>
                    <a:pt x="28841" y="137378"/>
                  </a:lnTo>
                  <a:lnTo>
                    <a:pt x="32303" y="138504"/>
                  </a:lnTo>
                  <a:lnTo>
                    <a:pt x="32303" y="135125"/>
                  </a:lnTo>
                  <a:lnTo>
                    <a:pt x="34610" y="131747"/>
                  </a:lnTo>
                  <a:lnTo>
                    <a:pt x="26534" y="130621"/>
                  </a:lnTo>
                  <a:lnTo>
                    <a:pt x="20765" y="131747"/>
                  </a:lnTo>
                  <a:lnTo>
                    <a:pt x="23073" y="124991"/>
                  </a:lnTo>
                  <a:lnTo>
                    <a:pt x="19612" y="121613"/>
                  </a:lnTo>
                  <a:lnTo>
                    <a:pt x="18458" y="123865"/>
                  </a:lnTo>
                  <a:lnTo>
                    <a:pt x="17305" y="120487"/>
                  </a:lnTo>
                  <a:lnTo>
                    <a:pt x="19612" y="119361"/>
                  </a:lnTo>
                  <a:lnTo>
                    <a:pt x="10383" y="112605"/>
                  </a:lnTo>
                  <a:lnTo>
                    <a:pt x="14997" y="109226"/>
                  </a:lnTo>
                  <a:lnTo>
                    <a:pt x="19612" y="109226"/>
                  </a:lnTo>
                  <a:lnTo>
                    <a:pt x="16151" y="105848"/>
                  </a:lnTo>
                  <a:lnTo>
                    <a:pt x="14997" y="106975"/>
                  </a:lnTo>
                  <a:lnTo>
                    <a:pt x="10383" y="97965"/>
                  </a:lnTo>
                  <a:lnTo>
                    <a:pt x="12690" y="96840"/>
                  </a:lnTo>
                  <a:lnTo>
                    <a:pt x="14997" y="90083"/>
                  </a:lnTo>
                  <a:lnTo>
                    <a:pt x="9229" y="86705"/>
                  </a:lnTo>
                  <a:lnTo>
                    <a:pt x="19612" y="83327"/>
                  </a:lnTo>
                  <a:lnTo>
                    <a:pt x="19613" y="83330"/>
                  </a:lnTo>
                  <a:lnTo>
                    <a:pt x="19613" y="82201"/>
                  </a:lnTo>
                  <a:lnTo>
                    <a:pt x="24227" y="82201"/>
                  </a:lnTo>
                  <a:lnTo>
                    <a:pt x="20766" y="72066"/>
                  </a:lnTo>
                  <a:lnTo>
                    <a:pt x="21920" y="70940"/>
                  </a:lnTo>
                  <a:lnTo>
                    <a:pt x="19613" y="67563"/>
                  </a:lnTo>
                  <a:lnTo>
                    <a:pt x="20766" y="64184"/>
                  </a:lnTo>
                  <a:lnTo>
                    <a:pt x="17305" y="61932"/>
                  </a:lnTo>
                  <a:lnTo>
                    <a:pt x="18459" y="56302"/>
                  </a:lnTo>
                  <a:lnTo>
                    <a:pt x="14998" y="57428"/>
                  </a:lnTo>
                  <a:lnTo>
                    <a:pt x="13844" y="52924"/>
                  </a:lnTo>
                  <a:lnTo>
                    <a:pt x="14998" y="52924"/>
                  </a:lnTo>
                  <a:lnTo>
                    <a:pt x="12691" y="51797"/>
                  </a:lnTo>
                  <a:lnTo>
                    <a:pt x="13844" y="49546"/>
                  </a:lnTo>
                  <a:lnTo>
                    <a:pt x="17305" y="49546"/>
                  </a:lnTo>
                  <a:lnTo>
                    <a:pt x="12691" y="46167"/>
                  </a:lnTo>
                  <a:lnTo>
                    <a:pt x="12691" y="39411"/>
                  </a:lnTo>
                  <a:lnTo>
                    <a:pt x="3461" y="36033"/>
                  </a:lnTo>
                  <a:lnTo>
                    <a:pt x="0" y="37159"/>
                  </a:lnTo>
                  <a:lnTo>
                    <a:pt x="0" y="30403"/>
                  </a:lnTo>
                  <a:lnTo>
                    <a:pt x="12691" y="28151"/>
                  </a:lnTo>
                  <a:lnTo>
                    <a:pt x="3461" y="25899"/>
                  </a:lnTo>
                  <a:lnTo>
                    <a:pt x="0" y="22521"/>
                  </a:lnTo>
                  <a:lnTo>
                    <a:pt x="4615" y="20268"/>
                  </a:lnTo>
                  <a:lnTo>
                    <a:pt x="4615" y="18017"/>
                  </a:lnTo>
                  <a:lnTo>
                    <a:pt x="5768" y="20268"/>
                  </a:lnTo>
                  <a:lnTo>
                    <a:pt x="8076" y="19143"/>
                  </a:lnTo>
                  <a:lnTo>
                    <a:pt x="9230" y="15764"/>
                  </a:lnTo>
                  <a:lnTo>
                    <a:pt x="6923" y="14638"/>
                  </a:lnTo>
                  <a:lnTo>
                    <a:pt x="8076" y="13512"/>
                  </a:lnTo>
                  <a:lnTo>
                    <a:pt x="10383" y="15764"/>
                  </a:lnTo>
                  <a:lnTo>
                    <a:pt x="25381" y="15764"/>
                  </a:lnTo>
                  <a:lnTo>
                    <a:pt x="26534" y="16891"/>
                  </a:lnTo>
                  <a:lnTo>
                    <a:pt x="32303" y="12386"/>
                  </a:lnTo>
                  <a:lnTo>
                    <a:pt x="35764" y="12386"/>
                  </a:lnTo>
                  <a:lnTo>
                    <a:pt x="35764" y="9008"/>
                  </a:lnTo>
                  <a:lnTo>
                    <a:pt x="42686" y="9008"/>
                  </a:lnTo>
                  <a:lnTo>
                    <a:pt x="41532" y="4504"/>
                  </a:lnTo>
                  <a:lnTo>
                    <a:pt x="43840" y="3378"/>
                  </a:lnTo>
                  <a:lnTo>
                    <a:pt x="41532" y="2252"/>
                  </a:lnTo>
                  <a:lnTo>
                    <a:pt x="46147" y="2252"/>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5" name="Noordwijk">
              <a:extLst>
                <a:ext uri="{FF2B5EF4-FFF2-40B4-BE49-F238E27FC236}">
                  <a16:creationId xmlns:a16="http://schemas.microsoft.com/office/drawing/2014/main" id="{5672ABB7-CD59-47E0-870F-56EC33E2BB68}"/>
                </a:ext>
              </a:extLst>
            </p:cNvPr>
            <p:cNvSpPr/>
            <p:nvPr/>
          </p:nvSpPr>
          <p:spPr>
            <a:xfrm>
              <a:off x="5207815" y="3148911"/>
              <a:ext cx="165806" cy="181706"/>
            </a:xfrm>
            <a:custGeom>
              <a:avLst/>
              <a:gdLst>
                <a:gd name="connsiteX0" fmla="*/ 93446 w 166128"/>
                <a:gd name="connsiteY0" fmla="*/ 0 h 199309"/>
                <a:gd name="connsiteX1" fmla="*/ 145362 w 166128"/>
                <a:gd name="connsiteY1" fmla="*/ 22520 h 199309"/>
                <a:gd name="connsiteX2" fmla="*/ 144444 w 166128"/>
                <a:gd name="connsiteY2" fmla="*/ 23736 h 199309"/>
                <a:gd name="connsiteX3" fmla="*/ 144445 w 166128"/>
                <a:gd name="connsiteY3" fmla="*/ 23737 h 199309"/>
                <a:gd name="connsiteX4" fmla="*/ 145362 w 166128"/>
                <a:gd name="connsiteY4" fmla="*/ 22522 h 199309"/>
                <a:gd name="connsiteX5" fmla="*/ 153438 w 166128"/>
                <a:gd name="connsiteY5" fmla="*/ 25900 h 199309"/>
                <a:gd name="connsiteX6" fmla="*/ 166128 w 166128"/>
                <a:gd name="connsiteY6" fmla="*/ 32656 h 199309"/>
                <a:gd name="connsiteX7" fmla="*/ 156899 w 166128"/>
                <a:gd name="connsiteY7" fmla="*/ 49547 h 199309"/>
                <a:gd name="connsiteX8" fmla="*/ 146516 w 166128"/>
                <a:gd name="connsiteY8" fmla="*/ 63060 h 199309"/>
                <a:gd name="connsiteX9" fmla="*/ 137286 w 166128"/>
                <a:gd name="connsiteY9" fmla="*/ 83329 h 199309"/>
                <a:gd name="connsiteX10" fmla="*/ 136133 w 166128"/>
                <a:gd name="connsiteY10" fmla="*/ 82203 h 199309"/>
                <a:gd name="connsiteX11" fmla="*/ 130365 w 166128"/>
                <a:gd name="connsiteY11" fmla="*/ 90085 h 199309"/>
                <a:gd name="connsiteX12" fmla="*/ 133826 w 166128"/>
                <a:gd name="connsiteY12" fmla="*/ 92336 h 199309"/>
                <a:gd name="connsiteX13" fmla="*/ 119981 w 166128"/>
                <a:gd name="connsiteY13" fmla="*/ 112606 h 199309"/>
                <a:gd name="connsiteX14" fmla="*/ 113059 w 166128"/>
                <a:gd name="connsiteY14" fmla="*/ 121614 h 199309"/>
                <a:gd name="connsiteX15" fmla="*/ 101522 w 166128"/>
                <a:gd name="connsiteY15" fmla="*/ 130623 h 199309"/>
                <a:gd name="connsiteX16" fmla="*/ 74988 w 166128"/>
                <a:gd name="connsiteY16" fmla="*/ 158774 h 199309"/>
                <a:gd name="connsiteX17" fmla="*/ 74987 w 166128"/>
                <a:gd name="connsiteY17" fmla="*/ 158773 h 199309"/>
                <a:gd name="connsiteX18" fmla="*/ 63452 w 166128"/>
                <a:gd name="connsiteY18" fmla="*/ 170032 h 199309"/>
                <a:gd name="connsiteX19" fmla="*/ 68066 w 166128"/>
                <a:gd name="connsiteY19" fmla="*/ 175662 h 199309"/>
                <a:gd name="connsiteX20" fmla="*/ 65759 w 166128"/>
                <a:gd name="connsiteY20" fmla="*/ 177914 h 199309"/>
                <a:gd name="connsiteX21" fmla="*/ 66912 w 166128"/>
                <a:gd name="connsiteY21" fmla="*/ 179040 h 199309"/>
                <a:gd name="connsiteX22" fmla="*/ 61144 w 166128"/>
                <a:gd name="connsiteY22" fmla="*/ 182419 h 199309"/>
                <a:gd name="connsiteX23" fmla="*/ 62298 w 166128"/>
                <a:gd name="connsiteY23" fmla="*/ 183545 h 199309"/>
                <a:gd name="connsiteX24" fmla="*/ 61144 w 166128"/>
                <a:gd name="connsiteY24" fmla="*/ 185797 h 199309"/>
                <a:gd name="connsiteX25" fmla="*/ 51915 w 166128"/>
                <a:gd name="connsiteY25" fmla="*/ 188049 h 199309"/>
                <a:gd name="connsiteX26" fmla="*/ 47300 w 166128"/>
                <a:gd name="connsiteY26" fmla="*/ 192553 h 199309"/>
                <a:gd name="connsiteX27" fmla="*/ 43840 w 166128"/>
                <a:gd name="connsiteY27" fmla="*/ 190301 h 199309"/>
                <a:gd name="connsiteX28" fmla="*/ 35764 w 166128"/>
                <a:gd name="connsiteY28" fmla="*/ 199309 h 199309"/>
                <a:gd name="connsiteX29" fmla="*/ 32303 w 166128"/>
                <a:gd name="connsiteY29" fmla="*/ 192553 h 199309"/>
                <a:gd name="connsiteX30" fmla="*/ 31149 w 166128"/>
                <a:gd name="connsiteY30" fmla="*/ 193679 h 199309"/>
                <a:gd name="connsiteX31" fmla="*/ 28842 w 166128"/>
                <a:gd name="connsiteY31" fmla="*/ 189175 h 199309"/>
                <a:gd name="connsiteX32" fmla="*/ 24227 w 166128"/>
                <a:gd name="connsiteY32" fmla="*/ 191427 h 199309"/>
                <a:gd name="connsiteX33" fmla="*/ 20766 w 166128"/>
                <a:gd name="connsiteY33" fmla="*/ 184670 h 199309"/>
                <a:gd name="connsiteX34" fmla="*/ 17306 w 166128"/>
                <a:gd name="connsiteY34" fmla="*/ 186922 h 199309"/>
                <a:gd name="connsiteX35" fmla="*/ 13844 w 166128"/>
                <a:gd name="connsiteY35" fmla="*/ 186922 h 199309"/>
                <a:gd name="connsiteX36" fmla="*/ 0 w 166128"/>
                <a:gd name="connsiteY36" fmla="*/ 179040 h 199309"/>
                <a:gd name="connsiteX37" fmla="*/ 38071 w 166128"/>
                <a:gd name="connsiteY37" fmla="*/ 112604 h 199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128" h="199309">
                  <a:moveTo>
                    <a:pt x="93446" y="0"/>
                  </a:moveTo>
                  <a:lnTo>
                    <a:pt x="145362" y="22520"/>
                  </a:lnTo>
                  <a:lnTo>
                    <a:pt x="144444" y="23736"/>
                  </a:lnTo>
                  <a:lnTo>
                    <a:pt x="144445" y="23737"/>
                  </a:lnTo>
                  <a:lnTo>
                    <a:pt x="145362" y="22522"/>
                  </a:lnTo>
                  <a:lnTo>
                    <a:pt x="153438" y="25900"/>
                  </a:lnTo>
                  <a:lnTo>
                    <a:pt x="166128" y="32656"/>
                  </a:lnTo>
                  <a:lnTo>
                    <a:pt x="156899" y="49547"/>
                  </a:lnTo>
                  <a:lnTo>
                    <a:pt x="146516" y="63060"/>
                  </a:lnTo>
                  <a:lnTo>
                    <a:pt x="137286" y="83329"/>
                  </a:lnTo>
                  <a:lnTo>
                    <a:pt x="136133" y="82203"/>
                  </a:lnTo>
                  <a:lnTo>
                    <a:pt x="130365" y="90085"/>
                  </a:lnTo>
                  <a:lnTo>
                    <a:pt x="133826" y="92336"/>
                  </a:lnTo>
                  <a:lnTo>
                    <a:pt x="119981" y="112606"/>
                  </a:lnTo>
                  <a:lnTo>
                    <a:pt x="113059" y="121614"/>
                  </a:lnTo>
                  <a:lnTo>
                    <a:pt x="101522" y="130623"/>
                  </a:lnTo>
                  <a:lnTo>
                    <a:pt x="74988" y="158774"/>
                  </a:lnTo>
                  <a:lnTo>
                    <a:pt x="74987" y="158773"/>
                  </a:lnTo>
                  <a:lnTo>
                    <a:pt x="63452" y="170032"/>
                  </a:lnTo>
                  <a:lnTo>
                    <a:pt x="68066" y="175662"/>
                  </a:lnTo>
                  <a:lnTo>
                    <a:pt x="65759" y="177914"/>
                  </a:lnTo>
                  <a:lnTo>
                    <a:pt x="66912" y="179040"/>
                  </a:lnTo>
                  <a:lnTo>
                    <a:pt x="61144" y="182419"/>
                  </a:lnTo>
                  <a:lnTo>
                    <a:pt x="62298" y="183545"/>
                  </a:lnTo>
                  <a:lnTo>
                    <a:pt x="61144" y="185797"/>
                  </a:lnTo>
                  <a:lnTo>
                    <a:pt x="51915" y="188049"/>
                  </a:lnTo>
                  <a:lnTo>
                    <a:pt x="47300" y="192553"/>
                  </a:lnTo>
                  <a:lnTo>
                    <a:pt x="43840" y="190301"/>
                  </a:lnTo>
                  <a:lnTo>
                    <a:pt x="35764" y="199309"/>
                  </a:lnTo>
                  <a:lnTo>
                    <a:pt x="32303" y="192553"/>
                  </a:lnTo>
                  <a:lnTo>
                    <a:pt x="31149" y="193679"/>
                  </a:lnTo>
                  <a:lnTo>
                    <a:pt x="28842" y="189175"/>
                  </a:lnTo>
                  <a:lnTo>
                    <a:pt x="24227" y="191427"/>
                  </a:lnTo>
                  <a:lnTo>
                    <a:pt x="20766" y="184670"/>
                  </a:lnTo>
                  <a:lnTo>
                    <a:pt x="17306" y="186922"/>
                  </a:lnTo>
                  <a:lnTo>
                    <a:pt x="13844" y="186922"/>
                  </a:lnTo>
                  <a:lnTo>
                    <a:pt x="0" y="179040"/>
                  </a:lnTo>
                  <a:lnTo>
                    <a:pt x="38071" y="112604"/>
                  </a:lnTo>
                  <a:close/>
                </a:path>
              </a:pathLst>
            </a:custGeom>
            <a:solidFill>
              <a:srgbClr val="59943A"/>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6" name="Het Hogeland">
              <a:extLst>
                <a:ext uri="{FF2B5EF4-FFF2-40B4-BE49-F238E27FC236}">
                  <a16:creationId xmlns:a16="http://schemas.microsoft.com/office/drawing/2014/main" id="{B5785EF7-ECCD-470E-8A9E-144AC2916F12}"/>
                </a:ext>
              </a:extLst>
            </p:cNvPr>
            <p:cNvSpPr/>
            <p:nvPr/>
          </p:nvSpPr>
          <p:spPr>
            <a:xfrm>
              <a:off x="7038205" y="1136549"/>
              <a:ext cx="713893" cy="497865"/>
            </a:xfrm>
            <a:custGeom>
              <a:avLst/>
              <a:gdLst>
                <a:gd name="connsiteX0" fmla="*/ 273413 w 711807"/>
                <a:gd name="connsiteY0" fmla="*/ 376108 h 502214"/>
                <a:gd name="connsiteX1" fmla="*/ 272263 w 711807"/>
                <a:gd name="connsiteY1" fmla="*/ 379475 h 502214"/>
                <a:gd name="connsiteX2" fmla="*/ 272479 w 711807"/>
                <a:gd name="connsiteY2" fmla="*/ 379757 h 502214"/>
                <a:gd name="connsiteX3" fmla="*/ 28897 w 711807"/>
                <a:gd name="connsiteY3" fmla="*/ 319688 h 502214"/>
                <a:gd name="connsiteX4" fmla="*/ 29995 w 711807"/>
                <a:gd name="connsiteY4" fmla="*/ 319795 h 502214"/>
                <a:gd name="connsiteX5" fmla="*/ 28842 w 711807"/>
                <a:gd name="connsiteY5" fmla="*/ 319795 h 502214"/>
                <a:gd name="connsiteX6" fmla="*/ 32302 w 711807"/>
                <a:gd name="connsiteY6" fmla="*/ 317543 h 502214"/>
                <a:gd name="connsiteX7" fmla="*/ 34610 w 711807"/>
                <a:gd name="connsiteY7" fmla="*/ 318669 h 502214"/>
                <a:gd name="connsiteX8" fmla="*/ 34610 w 711807"/>
                <a:gd name="connsiteY8" fmla="*/ 320921 h 502214"/>
                <a:gd name="connsiteX9" fmla="*/ 31149 w 711807"/>
                <a:gd name="connsiteY9" fmla="*/ 319795 h 502214"/>
                <a:gd name="connsiteX10" fmla="*/ 61252 w 711807"/>
                <a:gd name="connsiteY10" fmla="*/ 309133 h 502214"/>
                <a:gd name="connsiteX11" fmla="*/ 62874 w 711807"/>
                <a:gd name="connsiteY11" fmla="*/ 311350 h 502214"/>
                <a:gd name="connsiteX12" fmla="*/ 61144 w 711807"/>
                <a:gd name="connsiteY12" fmla="*/ 309661 h 502214"/>
                <a:gd name="connsiteX13" fmla="*/ 28842 w 711807"/>
                <a:gd name="connsiteY13" fmla="*/ 305156 h 502214"/>
                <a:gd name="connsiteX14" fmla="*/ 31149 w 711807"/>
                <a:gd name="connsiteY14" fmla="*/ 305156 h 502214"/>
                <a:gd name="connsiteX15" fmla="*/ 31149 w 711807"/>
                <a:gd name="connsiteY15" fmla="*/ 308535 h 502214"/>
                <a:gd name="connsiteX16" fmla="*/ 13844 w 711807"/>
                <a:gd name="connsiteY16" fmla="*/ 300653 h 502214"/>
                <a:gd name="connsiteX17" fmla="*/ 19612 w 711807"/>
                <a:gd name="connsiteY17" fmla="*/ 304031 h 502214"/>
                <a:gd name="connsiteX18" fmla="*/ 26534 w 711807"/>
                <a:gd name="connsiteY18" fmla="*/ 305156 h 502214"/>
                <a:gd name="connsiteX19" fmla="*/ 28842 w 711807"/>
                <a:gd name="connsiteY19" fmla="*/ 307409 h 502214"/>
                <a:gd name="connsiteX20" fmla="*/ 27688 w 711807"/>
                <a:gd name="connsiteY20" fmla="*/ 315291 h 502214"/>
                <a:gd name="connsiteX21" fmla="*/ 29995 w 711807"/>
                <a:gd name="connsiteY21" fmla="*/ 317543 h 502214"/>
                <a:gd name="connsiteX22" fmla="*/ 28897 w 711807"/>
                <a:gd name="connsiteY22" fmla="*/ 319688 h 502214"/>
                <a:gd name="connsiteX23" fmla="*/ 18459 w 711807"/>
                <a:gd name="connsiteY23" fmla="*/ 318669 h 502214"/>
                <a:gd name="connsiteX24" fmla="*/ 5768 w 711807"/>
                <a:gd name="connsiteY24" fmla="*/ 309661 h 502214"/>
                <a:gd name="connsiteX25" fmla="*/ 14998 w 711807"/>
                <a:gd name="connsiteY25" fmla="*/ 317543 h 502214"/>
                <a:gd name="connsiteX26" fmla="*/ 3461 w 711807"/>
                <a:gd name="connsiteY26" fmla="*/ 308535 h 502214"/>
                <a:gd name="connsiteX27" fmla="*/ 4615 w 711807"/>
                <a:gd name="connsiteY27" fmla="*/ 302905 h 502214"/>
                <a:gd name="connsiteX28" fmla="*/ 9229 w 711807"/>
                <a:gd name="connsiteY28" fmla="*/ 305156 h 502214"/>
                <a:gd name="connsiteX29" fmla="*/ 11536 w 711807"/>
                <a:gd name="connsiteY29" fmla="*/ 310787 h 502214"/>
                <a:gd name="connsiteX30" fmla="*/ 11536 w 711807"/>
                <a:gd name="connsiteY30" fmla="*/ 302905 h 502214"/>
                <a:gd name="connsiteX31" fmla="*/ 14998 w 711807"/>
                <a:gd name="connsiteY31" fmla="*/ 282636 h 502214"/>
                <a:gd name="connsiteX32" fmla="*/ 16151 w 711807"/>
                <a:gd name="connsiteY32" fmla="*/ 283762 h 502214"/>
                <a:gd name="connsiteX33" fmla="*/ 14998 w 711807"/>
                <a:gd name="connsiteY33" fmla="*/ 283762 h 502214"/>
                <a:gd name="connsiteX34" fmla="*/ 16151 w 711807"/>
                <a:gd name="connsiteY34" fmla="*/ 280383 h 502214"/>
                <a:gd name="connsiteX35" fmla="*/ 17305 w 711807"/>
                <a:gd name="connsiteY35" fmla="*/ 281510 h 502214"/>
                <a:gd name="connsiteX36" fmla="*/ 17305 w 711807"/>
                <a:gd name="connsiteY36" fmla="*/ 282636 h 502214"/>
                <a:gd name="connsiteX37" fmla="*/ 8076 w 711807"/>
                <a:gd name="connsiteY37" fmla="*/ 280383 h 502214"/>
                <a:gd name="connsiteX38" fmla="*/ 10383 w 711807"/>
                <a:gd name="connsiteY38" fmla="*/ 282636 h 502214"/>
                <a:gd name="connsiteX39" fmla="*/ 5768 w 711807"/>
                <a:gd name="connsiteY39" fmla="*/ 287140 h 502214"/>
                <a:gd name="connsiteX40" fmla="*/ 4615 w 711807"/>
                <a:gd name="connsiteY40" fmla="*/ 281510 h 502214"/>
                <a:gd name="connsiteX41" fmla="*/ 1154 w 711807"/>
                <a:gd name="connsiteY41" fmla="*/ 274753 h 502214"/>
                <a:gd name="connsiteX42" fmla="*/ 3461 w 711807"/>
                <a:gd name="connsiteY42" fmla="*/ 275880 h 502214"/>
                <a:gd name="connsiteX43" fmla="*/ 1154 w 711807"/>
                <a:gd name="connsiteY43" fmla="*/ 278132 h 502214"/>
                <a:gd name="connsiteX44" fmla="*/ 49608 w 711807"/>
                <a:gd name="connsiteY44" fmla="*/ 270250 h 502214"/>
                <a:gd name="connsiteX45" fmla="*/ 53068 w 711807"/>
                <a:gd name="connsiteY45" fmla="*/ 273627 h 502214"/>
                <a:gd name="connsiteX46" fmla="*/ 44993 w 711807"/>
                <a:gd name="connsiteY46" fmla="*/ 275880 h 502214"/>
                <a:gd name="connsiteX47" fmla="*/ 40378 w 711807"/>
                <a:gd name="connsiteY47" fmla="*/ 274753 h 502214"/>
                <a:gd name="connsiteX48" fmla="*/ 43839 w 711807"/>
                <a:gd name="connsiteY48" fmla="*/ 271375 h 502214"/>
                <a:gd name="connsiteX49" fmla="*/ 12691 w 711807"/>
                <a:gd name="connsiteY49" fmla="*/ 248854 h 502214"/>
                <a:gd name="connsiteX50" fmla="*/ 11536 w 711807"/>
                <a:gd name="connsiteY50" fmla="*/ 249981 h 502214"/>
                <a:gd name="connsiteX51" fmla="*/ 5768 w 711807"/>
                <a:gd name="connsiteY51" fmla="*/ 252233 h 502214"/>
                <a:gd name="connsiteX52" fmla="*/ 113751 w 711807"/>
                <a:gd name="connsiteY52" fmla="*/ 242293 h 502214"/>
                <a:gd name="connsiteX53" fmla="*/ 113022 w 711807"/>
                <a:gd name="connsiteY53" fmla="*/ 245137 h 502214"/>
                <a:gd name="connsiteX54" fmla="*/ 111428 w 711807"/>
                <a:gd name="connsiteY54" fmla="*/ 246693 h 502214"/>
                <a:gd name="connsiteX55" fmla="*/ 109833 w 711807"/>
                <a:gd name="connsiteY55" fmla="*/ 245137 h 502214"/>
                <a:gd name="connsiteX56" fmla="*/ 110630 w 711807"/>
                <a:gd name="connsiteY56" fmla="*/ 242801 h 502214"/>
                <a:gd name="connsiteX57" fmla="*/ 113820 w 711807"/>
                <a:gd name="connsiteY57" fmla="*/ 242022 h 502214"/>
                <a:gd name="connsiteX58" fmla="*/ 115415 w 711807"/>
                <a:gd name="connsiteY58" fmla="*/ 242022 h 502214"/>
                <a:gd name="connsiteX59" fmla="*/ 113751 w 711807"/>
                <a:gd name="connsiteY59" fmla="*/ 242293 h 502214"/>
                <a:gd name="connsiteX60" fmla="*/ 18359 w 711807"/>
                <a:gd name="connsiteY60" fmla="*/ 241364 h 502214"/>
                <a:gd name="connsiteX61" fmla="*/ 17305 w 711807"/>
                <a:gd name="connsiteY61" fmla="*/ 245477 h 502214"/>
                <a:gd name="connsiteX62" fmla="*/ 14998 w 711807"/>
                <a:gd name="connsiteY62" fmla="*/ 247728 h 502214"/>
                <a:gd name="connsiteX63" fmla="*/ 12691 w 711807"/>
                <a:gd name="connsiteY63" fmla="*/ 245477 h 502214"/>
                <a:gd name="connsiteX64" fmla="*/ 13844 w 711807"/>
                <a:gd name="connsiteY64" fmla="*/ 242098 h 502214"/>
                <a:gd name="connsiteX65" fmla="*/ 18459 w 711807"/>
                <a:gd name="connsiteY65" fmla="*/ 240972 h 502214"/>
                <a:gd name="connsiteX66" fmla="*/ 20766 w 711807"/>
                <a:gd name="connsiteY66" fmla="*/ 240972 h 502214"/>
                <a:gd name="connsiteX67" fmla="*/ 18359 w 711807"/>
                <a:gd name="connsiteY67" fmla="*/ 241364 h 502214"/>
                <a:gd name="connsiteX68" fmla="*/ 357235 w 711807"/>
                <a:gd name="connsiteY68" fmla="*/ 215452 h 502214"/>
                <a:gd name="connsiteX69" fmla="*/ 357230 w 711807"/>
                <a:gd name="connsiteY69" fmla="*/ 215453 h 502214"/>
                <a:gd name="connsiteX70" fmla="*/ 357230 w 711807"/>
                <a:gd name="connsiteY70" fmla="*/ 215454 h 502214"/>
                <a:gd name="connsiteX71" fmla="*/ 357235 w 711807"/>
                <a:gd name="connsiteY71" fmla="*/ 215453 h 502214"/>
                <a:gd name="connsiteX72" fmla="*/ 346097 w 711807"/>
                <a:gd name="connsiteY72" fmla="*/ 211695 h 502214"/>
                <a:gd name="connsiteX73" fmla="*/ 339175 w 711807"/>
                <a:gd name="connsiteY73" fmla="*/ 212822 h 502214"/>
                <a:gd name="connsiteX74" fmla="*/ 346097 w 711807"/>
                <a:gd name="connsiteY74" fmla="*/ 211696 h 502214"/>
                <a:gd name="connsiteX75" fmla="*/ 352552 w 711807"/>
                <a:gd name="connsiteY75" fmla="*/ 215296 h 502214"/>
                <a:gd name="connsiteX76" fmla="*/ 352554 w 711807"/>
                <a:gd name="connsiteY76" fmla="*/ 215296 h 502214"/>
                <a:gd name="connsiteX77" fmla="*/ 370328 w 711807"/>
                <a:gd name="connsiteY77" fmla="*/ 201578 h 502214"/>
                <a:gd name="connsiteX78" fmla="*/ 372410 w 711807"/>
                <a:gd name="connsiteY78" fmla="*/ 210722 h 502214"/>
                <a:gd name="connsiteX79" fmla="*/ 372485 w 711807"/>
                <a:gd name="connsiteY79" fmla="*/ 210701 h 502214"/>
                <a:gd name="connsiteX80" fmla="*/ 667968 w 711807"/>
                <a:gd name="connsiteY80" fmla="*/ 149763 h 502214"/>
                <a:gd name="connsiteX81" fmla="*/ 669122 w 711807"/>
                <a:gd name="connsiteY81" fmla="*/ 155393 h 502214"/>
                <a:gd name="connsiteX82" fmla="*/ 669017 w 711807"/>
                <a:gd name="connsiteY82" fmla="*/ 155905 h 502214"/>
                <a:gd name="connsiteX83" fmla="*/ 571061 w 711807"/>
                <a:gd name="connsiteY83" fmla="*/ 143007 h 502214"/>
                <a:gd name="connsiteX84" fmla="*/ 583751 w 711807"/>
                <a:gd name="connsiteY84" fmla="*/ 144133 h 502214"/>
                <a:gd name="connsiteX85" fmla="*/ 609132 w 711807"/>
                <a:gd name="connsiteY85" fmla="*/ 153141 h 502214"/>
                <a:gd name="connsiteX86" fmla="*/ 624129 w 711807"/>
                <a:gd name="connsiteY86" fmla="*/ 159898 h 502214"/>
                <a:gd name="connsiteX87" fmla="*/ 639126 w 711807"/>
                <a:gd name="connsiteY87" fmla="*/ 146385 h 502214"/>
                <a:gd name="connsiteX88" fmla="*/ 655277 w 711807"/>
                <a:gd name="connsiteY88" fmla="*/ 150889 h 502214"/>
                <a:gd name="connsiteX89" fmla="*/ 661046 w 711807"/>
                <a:gd name="connsiteY89" fmla="*/ 146385 h 502214"/>
                <a:gd name="connsiteX90" fmla="*/ 657585 w 711807"/>
                <a:gd name="connsiteY90" fmla="*/ 152015 h 502214"/>
                <a:gd name="connsiteX91" fmla="*/ 661046 w 711807"/>
                <a:gd name="connsiteY91" fmla="*/ 156519 h 502214"/>
                <a:gd name="connsiteX92" fmla="*/ 655277 w 711807"/>
                <a:gd name="connsiteY92" fmla="*/ 156519 h 502214"/>
                <a:gd name="connsiteX93" fmla="*/ 661046 w 711807"/>
                <a:gd name="connsiteY93" fmla="*/ 159898 h 502214"/>
                <a:gd name="connsiteX94" fmla="*/ 658739 w 711807"/>
                <a:gd name="connsiteY94" fmla="*/ 165528 h 502214"/>
                <a:gd name="connsiteX95" fmla="*/ 640280 w 711807"/>
                <a:gd name="connsiteY95" fmla="*/ 162149 h 502214"/>
                <a:gd name="connsiteX96" fmla="*/ 639126 w 711807"/>
                <a:gd name="connsiteY96" fmla="*/ 166654 h 502214"/>
                <a:gd name="connsiteX97" fmla="*/ 656432 w 711807"/>
                <a:gd name="connsiteY97" fmla="*/ 170032 h 502214"/>
                <a:gd name="connsiteX98" fmla="*/ 655277 w 711807"/>
                <a:gd name="connsiteY98" fmla="*/ 174536 h 502214"/>
                <a:gd name="connsiteX99" fmla="*/ 646049 w 711807"/>
                <a:gd name="connsiteY99" fmla="*/ 172284 h 502214"/>
                <a:gd name="connsiteX100" fmla="*/ 646049 w 711807"/>
                <a:gd name="connsiteY100" fmla="*/ 175662 h 502214"/>
                <a:gd name="connsiteX101" fmla="*/ 674890 w 711807"/>
                <a:gd name="connsiteY101" fmla="*/ 179040 h 502214"/>
                <a:gd name="connsiteX102" fmla="*/ 674890 w 711807"/>
                <a:gd name="connsiteY102" fmla="*/ 175662 h 502214"/>
                <a:gd name="connsiteX103" fmla="*/ 665661 w 711807"/>
                <a:gd name="connsiteY103" fmla="*/ 172284 h 502214"/>
                <a:gd name="connsiteX104" fmla="*/ 669017 w 711807"/>
                <a:gd name="connsiteY104" fmla="*/ 155905 h 502214"/>
                <a:gd name="connsiteX105" fmla="*/ 669122 w 711807"/>
                <a:gd name="connsiteY105" fmla="*/ 156519 h 502214"/>
                <a:gd name="connsiteX106" fmla="*/ 689887 w 711807"/>
                <a:gd name="connsiteY106" fmla="*/ 165528 h 502214"/>
                <a:gd name="connsiteX107" fmla="*/ 709500 w 711807"/>
                <a:gd name="connsiteY107" fmla="*/ 182418 h 502214"/>
                <a:gd name="connsiteX108" fmla="*/ 711807 w 711807"/>
                <a:gd name="connsiteY108" fmla="*/ 190301 h 502214"/>
                <a:gd name="connsiteX109" fmla="*/ 709500 w 711807"/>
                <a:gd name="connsiteY109" fmla="*/ 192553 h 502214"/>
                <a:gd name="connsiteX110" fmla="*/ 711807 w 711807"/>
                <a:gd name="connsiteY110" fmla="*/ 192553 h 502214"/>
                <a:gd name="connsiteX111" fmla="*/ 709500 w 711807"/>
                <a:gd name="connsiteY111" fmla="*/ 193678 h 502214"/>
                <a:gd name="connsiteX112" fmla="*/ 703731 w 711807"/>
                <a:gd name="connsiteY112" fmla="*/ 212821 h 502214"/>
                <a:gd name="connsiteX113" fmla="*/ 702577 w 711807"/>
                <a:gd name="connsiteY113" fmla="*/ 235342 h 502214"/>
                <a:gd name="connsiteX114" fmla="*/ 689887 w 711807"/>
                <a:gd name="connsiteY114" fmla="*/ 228586 h 502214"/>
                <a:gd name="connsiteX115" fmla="*/ 671429 w 711807"/>
                <a:gd name="connsiteY115" fmla="*/ 212821 h 502214"/>
                <a:gd name="connsiteX116" fmla="*/ 620668 w 711807"/>
                <a:gd name="connsiteY116" fmla="*/ 244350 h 502214"/>
                <a:gd name="connsiteX117" fmla="*/ 616053 w 711807"/>
                <a:gd name="connsiteY117" fmla="*/ 237594 h 502214"/>
                <a:gd name="connsiteX118" fmla="*/ 611439 w 711807"/>
                <a:gd name="connsiteY118" fmla="*/ 238720 h 502214"/>
                <a:gd name="connsiteX119" fmla="*/ 610285 w 711807"/>
                <a:gd name="connsiteY119" fmla="*/ 233090 h 502214"/>
                <a:gd name="connsiteX120" fmla="*/ 605671 w 711807"/>
                <a:gd name="connsiteY120" fmla="*/ 233090 h 502214"/>
                <a:gd name="connsiteX121" fmla="*/ 597595 w 711807"/>
                <a:gd name="connsiteY121" fmla="*/ 245477 h 502214"/>
                <a:gd name="connsiteX122" fmla="*/ 576829 w 711807"/>
                <a:gd name="connsiteY122" fmla="*/ 258990 h 502214"/>
                <a:gd name="connsiteX123" fmla="*/ 557216 w 711807"/>
                <a:gd name="connsiteY123" fmla="*/ 282636 h 502214"/>
                <a:gd name="connsiteX124" fmla="*/ 536451 w 711807"/>
                <a:gd name="connsiteY124" fmla="*/ 302905 h 502214"/>
                <a:gd name="connsiteX125" fmla="*/ 529529 w 711807"/>
                <a:gd name="connsiteY125" fmla="*/ 307409 h 502214"/>
                <a:gd name="connsiteX126" fmla="*/ 524914 w 711807"/>
                <a:gd name="connsiteY126" fmla="*/ 314165 h 502214"/>
                <a:gd name="connsiteX127" fmla="*/ 519146 w 711807"/>
                <a:gd name="connsiteY127" fmla="*/ 309661 h 502214"/>
                <a:gd name="connsiteX128" fmla="*/ 512224 w 711807"/>
                <a:gd name="connsiteY128" fmla="*/ 307409 h 502214"/>
                <a:gd name="connsiteX129" fmla="*/ 508763 w 711807"/>
                <a:gd name="connsiteY129" fmla="*/ 309661 h 502214"/>
                <a:gd name="connsiteX130" fmla="*/ 504148 w 711807"/>
                <a:gd name="connsiteY130" fmla="*/ 307409 h 502214"/>
                <a:gd name="connsiteX131" fmla="*/ 501841 w 711807"/>
                <a:gd name="connsiteY131" fmla="*/ 309661 h 502214"/>
                <a:gd name="connsiteX132" fmla="*/ 498380 w 711807"/>
                <a:gd name="connsiteY132" fmla="*/ 310787 h 502214"/>
                <a:gd name="connsiteX133" fmla="*/ 491458 w 711807"/>
                <a:gd name="connsiteY133" fmla="*/ 307409 h 502214"/>
                <a:gd name="connsiteX134" fmla="*/ 486844 w 711807"/>
                <a:gd name="connsiteY134" fmla="*/ 309661 h 502214"/>
                <a:gd name="connsiteX135" fmla="*/ 484536 w 711807"/>
                <a:gd name="connsiteY135" fmla="*/ 308535 h 502214"/>
                <a:gd name="connsiteX136" fmla="*/ 484536 w 711807"/>
                <a:gd name="connsiteY136" fmla="*/ 309661 h 502214"/>
                <a:gd name="connsiteX137" fmla="*/ 482229 w 711807"/>
                <a:gd name="connsiteY137" fmla="*/ 309661 h 502214"/>
                <a:gd name="connsiteX138" fmla="*/ 478768 w 711807"/>
                <a:gd name="connsiteY138" fmla="*/ 311913 h 502214"/>
                <a:gd name="connsiteX139" fmla="*/ 474153 w 711807"/>
                <a:gd name="connsiteY139" fmla="*/ 311913 h 502214"/>
                <a:gd name="connsiteX140" fmla="*/ 471846 w 711807"/>
                <a:gd name="connsiteY140" fmla="*/ 308535 h 502214"/>
                <a:gd name="connsiteX141" fmla="*/ 470692 w 711807"/>
                <a:gd name="connsiteY141" fmla="*/ 309661 h 502214"/>
                <a:gd name="connsiteX142" fmla="*/ 469538 w 711807"/>
                <a:gd name="connsiteY142" fmla="*/ 314165 h 502214"/>
                <a:gd name="connsiteX143" fmla="*/ 462617 w 711807"/>
                <a:gd name="connsiteY143" fmla="*/ 315291 h 502214"/>
                <a:gd name="connsiteX144" fmla="*/ 463770 w 711807"/>
                <a:gd name="connsiteY144" fmla="*/ 318669 h 502214"/>
                <a:gd name="connsiteX145" fmla="*/ 461463 w 711807"/>
                <a:gd name="connsiteY145" fmla="*/ 315291 h 502214"/>
                <a:gd name="connsiteX146" fmla="*/ 453387 w 711807"/>
                <a:gd name="connsiteY146" fmla="*/ 318669 h 502214"/>
                <a:gd name="connsiteX147" fmla="*/ 455694 w 711807"/>
                <a:gd name="connsiteY147" fmla="*/ 331056 h 502214"/>
                <a:gd name="connsiteX148" fmla="*/ 453387 w 711807"/>
                <a:gd name="connsiteY148" fmla="*/ 335560 h 502214"/>
                <a:gd name="connsiteX149" fmla="*/ 446466 w 711807"/>
                <a:gd name="connsiteY149" fmla="*/ 336686 h 502214"/>
                <a:gd name="connsiteX150" fmla="*/ 445312 w 711807"/>
                <a:gd name="connsiteY150" fmla="*/ 338938 h 502214"/>
                <a:gd name="connsiteX151" fmla="*/ 429161 w 711807"/>
                <a:gd name="connsiteY151" fmla="*/ 336686 h 502214"/>
                <a:gd name="connsiteX152" fmla="*/ 419932 w 711807"/>
                <a:gd name="connsiteY152" fmla="*/ 343442 h 502214"/>
                <a:gd name="connsiteX153" fmla="*/ 423392 w 711807"/>
                <a:gd name="connsiteY153" fmla="*/ 341191 h 502214"/>
                <a:gd name="connsiteX154" fmla="*/ 429160 w 711807"/>
                <a:gd name="connsiteY154" fmla="*/ 352451 h 502214"/>
                <a:gd name="connsiteX155" fmla="*/ 432621 w 711807"/>
                <a:gd name="connsiteY155" fmla="*/ 351325 h 502214"/>
                <a:gd name="connsiteX156" fmla="*/ 432621 w 711807"/>
                <a:gd name="connsiteY156" fmla="*/ 356955 h 502214"/>
                <a:gd name="connsiteX157" fmla="*/ 419931 w 711807"/>
                <a:gd name="connsiteY157" fmla="*/ 360334 h 502214"/>
                <a:gd name="connsiteX158" fmla="*/ 425699 w 711807"/>
                <a:gd name="connsiteY158" fmla="*/ 360334 h 502214"/>
                <a:gd name="connsiteX159" fmla="*/ 429160 w 711807"/>
                <a:gd name="connsiteY159" fmla="*/ 370467 h 502214"/>
                <a:gd name="connsiteX160" fmla="*/ 438389 w 711807"/>
                <a:gd name="connsiteY160" fmla="*/ 369342 h 502214"/>
                <a:gd name="connsiteX161" fmla="*/ 441851 w 711807"/>
                <a:gd name="connsiteY161" fmla="*/ 377224 h 502214"/>
                <a:gd name="connsiteX162" fmla="*/ 440696 w 711807"/>
                <a:gd name="connsiteY162" fmla="*/ 380602 h 502214"/>
                <a:gd name="connsiteX163" fmla="*/ 448772 w 711807"/>
                <a:gd name="connsiteY163" fmla="*/ 395240 h 502214"/>
                <a:gd name="connsiteX164" fmla="*/ 466077 w 711807"/>
                <a:gd name="connsiteY164" fmla="*/ 394115 h 502214"/>
                <a:gd name="connsiteX165" fmla="*/ 471845 w 711807"/>
                <a:gd name="connsiteY165" fmla="*/ 405375 h 502214"/>
                <a:gd name="connsiteX166" fmla="*/ 478767 w 711807"/>
                <a:gd name="connsiteY166" fmla="*/ 403123 h 502214"/>
                <a:gd name="connsiteX167" fmla="*/ 483382 w 711807"/>
                <a:gd name="connsiteY167" fmla="*/ 404249 h 502214"/>
                <a:gd name="connsiteX168" fmla="*/ 455694 w 711807"/>
                <a:gd name="connsiteY168" fmla="*/ 475190 h 502214"/>
                <a:gd name="connsiteX169" fmla="*/ 463770 w 711807"/>
                <a:gd name="connsiteY169" fmla="*/ 485324 h 502214"/>
                <a:gd name="connsiteX170" fmla="*/ 466077 w 711807"/>
                <a:gd name="connsiteY170" fmla="*/ 498837 h 502214"/>
                <a:gd name="connsiteX171" fmla="*/ 449926 w 711807"/>
                <a:gd name="connsiteY171" fmla="*/ 502214 h 502214"/>
                <a:gd name="connsiteX172" fmla="*/ 448772 w 711807"/>
                <a:gd name="connsiteY172" fmla="*/ 498837 h 502214"/>
                <a:gd name="connsiteX173" fmla="*/ 436082 w 711807"/>
                <a:gd name="connsiteY173" fmla="*/ 499963 h 502214"/>
                <a:gd name="connsiteX174" fmla="*/ 436082 w 711807"/>
                <a:gd name="connsiteY174" fmla="*/ 495458 h 502214"/>
                <a:gd name="connsiteX175" fmla="*/ 416469 w 711807"/>
                <a:gd name="connsiteY175" fmla="*/ 492081 h 502214"/>
                <a:gd name="connsiteX176" fmla="*/ 417624 w 711807"/>
                <a:gd name="connsiteY176" fmla="*/ 481946 h 502214"/>
                <a:gd name="connsiteX177" fmla="*/ 415316 w 711807"/>
                <a:gd name="connsiteY177" fmla="*/ 481946 h 502214"/>
                <a:gd name="connsiteX178" fmla="*/ 415316 w 711807"/>
                <a:gd name="connsiteY178" fmla="*/ 483072 h 502214"/>
                <a:gd name="connsiteX179" fmla="*/ 396858 w 711807"/>
                <a:gd name="connsiteY179" fmla="*/ 483072 h 502214"/>
                <a:gd name="connsiteX180" fmla="*/ 395704 w 711807"/>
                <a:gd name="connsiteY180" fmla="*/ 479694 h 502214"/>
                <a:gd name="connsiteX181" fmla="*/ 381860 w 711807"/>
                <a:gd name="connsiteY181" fmla="*/ 483072 h 502214"/>
                <a:gd name="connsiteX182" fmla="*/ 378399 w 711807"/>
                <a:gd name="connsiteY182" fmla="*/ 478568 h 502214"/>
                <a:gd name="connsiteX183" fmla="*/ 378687 w 711807"/>
                <a:gd name="connsiteY183" fmla="*/ 477723 h 502214"/>
                <a:gd name="connsiteX184" fmla="*/ 369170 w 711807"/>
                <a:gd name="connsiteY184" fmla="*/ 480819 h 502214"/>
                <a:gd name="connsiteX185" fmla="*/ 366863 w 711807"/>
                <a:gd name="connsiteY185" fmla="*/ 479694 h 502214"/>
                <a:gd name="connsiteX186" fmla="*/ 368016 w 711807"/>
                <a:gd name="connsiteY186" fmla="*/ 485324 h 502214"/>
                <a:gd name="connsiteX187" fmla="*/ 355326 w 711807"/>
                <a:gd name="connsiteY187" fmla="*/ 489828 h 502214"/>
                <a:gd name="connsiteX188" fmla="*/ 353019 w 711807"/>
                <a:gd name="connsiteY188" fmla="*/ 492080 h 502214"/>
                <a:gd name="connsiteX189" fmla="*/ 347250 w 711807"/>
                <a:gd name="connsiteY189" fmla="*/ 488702 h 502214"/>
                <a:gd name="connsiteX190" fmla="*/ 339174 w 711807"/>
                <a:gd name="connsiteY190" fmla="*/ 492080 h 502214"/>
                <a:gd name="connsiteX191" fmla="*/ 336867 w 711807"/>
                <a:gd name="connsiteY191" fmla="*/ 490954 h 502214"/>
                <a:gd name="connsiteX192" fmla="*/ 334560 w 711807"/>
                <a:gd name="connsiteY192" fmla="*/ 471812 h 502214"/>
                <a:gd name="connsiteX193" fmla="*/ 331099 w 711807"/>
                <a:gd name="connsiteY193" fmla="*/ 469559 h 502214"/>
                <a:gd name="connsiteX194" fmla="*/ 320716 w 711807"/>
                <a:gd name="connsiteY194" fmla="*/ 472937 h 502214"/>
                <a:gd name="connsiteX195" fmla="*/ 311487 w 711807"/>
                <a:gd name="connsiteY195" fmla="*/ 472937 h 502214"/>
                <a:gd name="connsiteX196" fmla="*/ 311487 w 711807"/>
                <a:gd name="connsiteY196" fmla="*/ 467307 h 502214"/>
                <a:gd name="connsiteX197" fmla="*/ 303411 w 711807"/>
                <a:gd name="connsiteY197" fmla="*/ 469559 h 502214"/>
                <a:gd name="connsiteX198" fmla="*/ 298796 w 711807"/>
                <a:gd name="connsiteY198" fmla="*/ 456046 h 502214"/>
                <a:gd name="connsiteX199" fmla="*/ 289568 w 711807"/>
                <a:gd name="connsiteY199" fmla="*/ 456046 h 502214"/>
                <a:gd name="connsiteX200" fmla="*/ 287260 w 711807"/>
                <a:gd name="connsiteY200" fmla="*/ 449290 h 502214"/>
                <a:gd name="connsiteX201" fmla="*/ 283799 w 711807"/>
                <a:gd name="connsiteY201" fmla="*/ 449290 h 502214"/>
                <a:gd name="connsiteX202" fmla="*/ 275724 w 711807"/>
                <a:gd name="connsiteY202" fmla="*/ 454921 h 502214"/>
                <a:gd name="connsiteX203" fmla="*/ 273416 w 711807"/>
                <a:gd name="connsiteY203" fmla="*/ 453795 h 502214"/>
                <a:gd name="connsiteX204" fmla="*/ 274570 w 711807"/>
                <a:gd name="connsiteY204" fmla="*/ 451543 h 502214"/>
                <a:gd name="connsiteX205" fmla="*/ 271109 w 711807"/>
                <a:gd name="connsiteY205" fmla="*/ 453795 h 502214"/>
                <a:gd name="connsiteX206" fmla="*/ 268802 w 711807"/>
                <a:gd name="connsiteY206" fmla="*/ 449290 h 502214"/>
                <a:gd name="connsiteX207" fmla="*/ 257265 w 711807"/>
                <a:gd name="connsiteY207" fmla="*/ 458299 h 502214"/>
                <a:gd name="connsiteX208" fmla="*/ 256111 w 711807"/>
                <a:gd name="connsiteY208" fmla="*/ 453795 h 502214"/>
                <a:gd name="connsiteX209" fmla="*/ 249190 w 711807"/>
                <a:gd name="connsiteY209" fmla="*/ 451543 h 502214"/>
                <a:gd name="connsiteX210" fmla="*/ 253804 w 711807"/>
                <a:gd name="connsiteY210" fmla="*/ 444787 h 502214"/>
                <a:gd name="connsiteX211" fmla="*/ 257265 w 711807"/>
                <a:gd name="connsiteY211" fmla="*/ 444787 h 502214"/>
                <a:gd name="connsiteX212" fmla="*/ 259573 w 711807"/>
                <a:gd name="connsiteY212" fmla="*/ 443660 h 502214"/>
                <a:gd name="connsiteX213" fmla="*/ 261880 w 711807"/>
                <a:gd name="connsiteY213" fmla="*/ 436904 h 502214"/>
                <a:gd name="connsiteX214" fmla="*/ 258418 w 711807"/>
                <a:gd name="connsiteY214" fmla="*/ 431274 h 502214"/>
                <a:gd name="connsiteX215" fmla="*/ 254958 w 711807"/>
                <a:gd name="connsiteY215" fmla="*/ 432400 h 502214"/>
                <a:gd name="connsiteX216" fmla="*/ 250343 w 711807"/>
                <a:gd name="connsiteY216" fmla="*/ 430148 h 502214"/>
                <a:gd name="connsiteX217" fmla="*/ 249190 w 711807"/>
                <a:gd name="connsiteY217" fmla="*/ 425644 h 502214"/>
                <a:gd name="connsiteX218" fmla="*/ 246882 w 711807"/>
                <a:gd name="connsiteY218" fmla="*/ 425644 h 502214"/>
                <a:gd name="connsiteX219" fmla="*/ 246882 w 711807"/>
                <a:gd name="connsiteY219" fmla="*/ 420014 h 502214"/>
                <a:gd name="connsiteX220" fmla="*/ 249190 w 711807"/>
                <a:gd name="connsiteY220" fmla="*/ 420014 h 502214"/>
                <a:gd name="connsiteX221" fmla="*/ 248036 w 711807"/>
                <a:gd name="connsiteY221" fmla="*/ 417761 h 502214"/>
                <a:gd name="connsiteX222" fmla="*/ 253804 w 711807"/>
                <a:gd name="connsiteY222" fmla="*/ 408753 h 502214"/>
                <a:gd name="connsiteX223" fmla="*/ 253804 w 711807"/>
                <a:gd name="connsiteY223" fmla="*/ 394114 h 502214"/>
                <a:gd name="connsiteX224" fmla="*/ 257265 w 711807"/>
                <a:gd name="connsiteY224" fmla="*/ 392988 h 502214"/>
                <a:gd name="connsiteX225" fmla="*/ 264023 w 711807"/>
                <a:gd name="connsiteY225" fmla="*/ 392988 h 502214"/>
                <a:gd name="connsiteX226" fmla="*/ 263034 w 711807"/>
                <a:gd name="connsiteY226" fmla="*/ 386231 h 502214"/>
                <a:gd name="connsiteX227" fmla="*/ 256112 w 711807"/>
                <a:gd name="connsiteY227" fmla="*/ 374971 h 502214"/>
                <a:gd name="connsiteX228" fmla="*/ 249190 w 711807"/>
                <a:gd name="connsiteY228" fmla="*/ 377224 h 502214"/>
                <a:gd name="connsiteX229" fmla="*/ 241115 w 711807"/>
                <a:gd name="connsiteY229" fmla="*/ 374971 h 502214"/>
                <a:gd name="connsiteX230" fmla="*/ 234193 w 711807"/>
                <a:gd name="connsiteY230" fmla="*/ 387357 h 502214"/>
                <a:gd name="connsiteX231" fmla="*/ 228425 w 711807"/>
                <a:gd name="connsiteY231" fmla="*/ 390736 h 502214"/>
                <a:gd name="connsiteX232" fmla="*/ 203043 w 711807"/>
                <a:gd name="connsiteY232" fmla="*/ 389610 h 502214"/>
                <a:gd name="connsiteX233" fmla="*/ 191507 w 711807"/>
                <a:gd name="connsiteY233" fmla="*/ 387357 h 502214"/>
                <a:gd name="connsiteX234" fmla="*/ 185739 w 711807"/>
                <a:gd name="connsiteY234" fmla="*/ 397492 h 502214"/>
                <a:gd name="connsiteX235" fmla="*/ 179971 w 711807"/>
                <a:gd name="connsiteY235" fmla="*/ 399744 h 502214"/>
                <a:gd name="connsiteX236" fmla="*/ 174202 w 711807"/>
                <a:gd name="connsiteY236" fmla="*/ 394114 h 502214"/>
                <a:gd name="connsiteX237" fmla="*/ 169588 w 711807"/>
                <a:gd name="connsiteY237" fmla="*/ 391862 h 502214"/>
                <a:gd name="connsiteX238" fmla="*/ 154590 w 711807"/>
                <a:gd name="connsiteY238" fmla="*/ 398618 h 502214"/>
                <a:gd name="connsiteX239" fmla="*/ 143054 w 711807"/>
                <a:gd name="connsiteY239" fmla="*/ 395240 h 502214"/>
                <a:gd name="connsiteX240" fmla="*/ 140747 w 711807"/>
                <a:gd name="connsiteY240" fmla="*/ 390736 h 502214"/>
                <a:gd name="connsiteX241" fmla="*/ 139593 w 711807"/>
                <a:gd name="connsiteY241" fmla="*/ 381727 h 502214"/>
                <a:gd name="connsiteX242" fmla="*/ 137286 w 711807"/>
                <a:gd name="connsiteY242" fmla="*/ 376097 h 502214"/>
                <a:gd name="connsiteX243" fmla="*/ 115366 w 711807"/>
                <a:gd name="connsiteY243" fmla="*/ 360333 h 502214"/>
                <a:gd name="connsiteX244" fmla="*/ 119981 w 711807"/>
                <a:gd name="connsiteY244" fmla="*/ 362584 h 502214"/>
                <a:gd name="connsiteX245" fmla="*/ 119981 w 711807"/>
                <a:gd name="connsiteY245" fmla="*/ 359207 h 502214"/>
                <a:gd name="connsiteX246" fmla="*/ 123441 w 711807"/>
                <a:gd name="connsiteY246" fmla="*/ 358081 h 502214"/>
                <a:gd name="connsiteX247" fmla="*/ 116520 w 711807"/>
                <a:gd name="connsiteY247" fmla="*/ 358081 h 502214"/>
                <a:gd name="connsiteX248" fmla="*/ 121134 w 711807"/>
                <a:gd name="connsiteY248" fmla="*/ 356954 h 502214"/>
                <a:gd name="connsiteX249" fmla="*/ 119981 w 711807"/>
                <a:gd name="connsiteY249" fmla="*/ 355828 h 502214"/>
                <a:gd name="connsiteX250" fmla="*/ 115366 w 711807"/>
                <a:gd name="connsiteY250" fmla="*/ 358081 h 502214"/>
                <a:gd name="connsiteX251" fmla="*/ 94600 w 711807"/>
                <a:gd name="connsiteY251" fmla="*/ 347946 h 502214"/>
                <a:gd name="connsiteX252" fmla="*/ 76142 w 711807"/>
                <a:gd name="connsiteY252" fmla="*/ 342316 h 502214"/>
                <a:gd name="connsiteX253" fmla="*/ 71527 w 711807"/>
                <a:gd name="connsiteY253" fmla="*/ 343442 h 502214"/>
                <a:gd name="connsiteX254" fmla="*/ 62298 w 711807"/>
                <a:gd name="connsiteY254" fmla="*/ 351324 h 502214"/>
                <a:gd name="connsiteX255" fmla="*/ 55376 w 711807"/>
                <a:gd name="connsiteY255" fmla="*/ 351324 h 502214"/>
                <a:gd name="connsiteX256" fmla="*/ 55376 w 711807"/>
                <a:gd name="connsiteY256" fmla="*/ 337812 h 502214"/>
                <a:gd name="connsiteX257" fmla="*/ 56529 w 711807"/>
                <a:gd name="connsiteY257" fmla="*/ 338938 h 502214"/>
                <a:gd name="connsiteX258" fmla="*/ 69220 w 711807"/>
                <a:gd name="connsiteY258" fmla="*/ 335560 h 502214"/>
                <a:gd name="connsiteX259" fmla="*/ 73834 w 711807"/>
                <a:gd name="connsiteY259" fmla="*/ 328804 h 502214"/>
                <a:gd name="connsiteX260" fmla="*/ 74988 w 711807"/>
                <a:gd name="connsiteY260" fmla="*/ 327678 h 502214"/>
                <a:gd name="connsiteX261" fmla="*/ 79603 w 711807"/>
                <a:gd name="connsiteY261" fmla="*/ 329929 h 502214"/>
                <a:gd name="connsiteX262" fmla="*/ 79603 w 711807"/>
                <a:gd name="connsiteY262" fmla="*/ 327678 h 502214"/>
                <a:gd name="connsiteX263" fmla="*/ 77295 w 711807"/>
                <a:gd name="connsiteY263" fmla="*/ 325425 h 502214"/>
                <a:gd name="connsiteX264" fmla="*/ 78449 w 711807"/>
                <a:gd name="connsiteY264" fmla="*/ 323173 h 502214"/>
                <a:gd name="connsiteX265" fmla="*/ 76142 w 711807"/>
                <a:gd name="connsiteY265" fmla="*/ 324299 h 502214"/>
                <a:gd name="connsiteX266" fmla="*/ 70373 w 711807"/>
                <a:gd name="connsiteY266" fmla="*/ 322047 h 502214"/>
                <a:gd name="connsiteX267" fmla="*/ 63452 w 711807"/>
                <a:gd name="connsiteY267" fmla="*/ 327678 h 502214"/>
                <a:gd name="connsiteX268" fmla="*/ 55376 w 711807"/>
                <a:gd name="connsiteY268" fmla="*/ 324299 h 502214"/>
                <a:gd name="connsiteX269" fmla="*/ 63452 w 711807"/>
                <a:gd name="connsiteY269" fmla="*/ 317543 h 502214"/>
                <a:gd name="connsiteX270" fmla="*/ 68066 w 711807"/>
                <a:gd name="connsiteY270" fmla="*/ 319795 h 502214"/>
                <a:gd name="connsiteX271" fmla="*/ 70373 w 711807"/>
                <a:gd name="connsiteY271" fmla="*/ 318669 h 502214"/>
                <a:gd name="connsiteX272" fmla="*/ 66912 w 711807"/>
                <a:gd name="connsiteY272" fmla="*/ 318669 h 502214"/>
                <a:gd name="connsiteX273" fmla="*/ 61144 w 711807"/>
                <a:gd name="connsiteY273" fmla="*/ 315291 h 502214"/>
                <a:gd name="connsiteX274" fmla="*/ 61144 w 711807"/>
                <a:gd name="connsiteY274" fmla="*/ 309661 h 502214"/>
                <a:gd name="connsiteX275" fmla="*/ 62298 w 711807"/>
                <a:gd name="connsiteY275" fmla="*/ 314165 h 502214"/>
                <a:gd name="connsiteX276" fmla="*/ 65759 w 711807"/>
                <a:gd name="connsiteY276" fmla="*/ 315291 h 502214"/>
                <a:gd name="connsiteX277" fmla="*/ 62874 w 711807"/>
                <a:gd name="connsiteY277" fmla="*/ 311350 h 502214"/>
                <a:gd name="connsiteX278" fmla="*/ 65759 w 711807"/>
                <a:gd name="connsiteY278" fmla="*/ 314165 h 502214"/>
                <a:gd name="connsiteX279" fmla="*/ 66912 w 711807"/>
                <a:gd name="connsiteY279" fmla="*/ 311912 h 502214"/>
                <a:gd name="connsiteX280" fmla="*/ 76142 w 711807"/>
                <a:gd name="connsiteY280" fmla="*/ 311912 h 502214"/>
                <a:gd name="connsiteX281" fmla="*/ 68066 w 711807"/>
                <a:gd name="connsiteY281" fmla="*/ 309661 h 502214"/>
                <a:gd name="connsiteX282" fmla="*/ 64605 w 711807"/>
                <a:gd name="connsiteY282" fmla="*/ 310787 h 502214"/>
                <a:gd name="connsiteX283" fmla="*/ 62298 w 711807"/>
                <a:gd name="connsiteY283" fmla="*/ 304031 h 502214"/>
                <a:gd name="connsiteX284" fmla="*/ 61252 w 711807"/>
                <a:gd name="connsiteY284" fmla="*/ 309133 h 502214"/>
                <a:gd name="connsiteX285" fmla="*/ 59990 w 711807"/>
                <a:gd name="connsiteY285" fmla="*/ 307409 h 502214"/>
                <a:gd name="connsiteX286" fmla="*/ 59990 w 711807"/>
                <a:gd name="connsiteY286" fmla="*/ 309661 h 502214"/>
                <a:gd name="connsiteX287" fmla="*/ 55376 w 711807"/>
                <a:gd name="connsiteY287" fmla="*/ 314165 h 502214"/>
                <a:gd name="connsiteX288" fmla="*/ 42686 w 711807"/>
                <a:gd name="connsiteY288" fmla="*/ 316417 h 502214"/>
                <a:gd name="connsiteX289" fmla="*/ 39225 w 711807"/>
                <a:gd name="connsiteY289" fmla="*/ 319795 h 502214"/>
                <a:gd name="connsiteX290" fmla="*/ 36917 w 711807"/>
                <a:gd name="connsiteY290" fmla="*/ 315291 h 502214"/>
                <a:gd name="connsiteX291" fmla="*/ 31149 w 711807"/>
                <a:gd name="connsiteY291" fmla="*/ 314165 h 502214"/>
                <a:gd name="connsiteX292" fmla="*/ 31149 w 711807"/>
                <a:gd name="connsiteY292" fmla="*/ 310787 h 502214"/>
                <a:gd name="connsiteX293" fmla="*/ 34610 w 711807"/>
                <a:gd name="connsiteY293" fmla="*/ 309661 h 502214"/>
                <a:gd name="connsiteX294" fmla="*/ 34610 w 711807"/>
                <a:gd name="connsiteY294" fmla="*/ 306282 h 502214"/>
                <a:gd name="connsiteX295" fmla="*/ 42686 w 711807"/>
                <a:gd name="connsiteY295" fmla="*/ 306282 h 502214"/>
                <a:gd name="connsiteX296" fmla="*/ 55376 w 711807"/>
                <a:gd name="connsiteY296" fmla="*/ 304031 h 502214"/>
                <a:gd name="connsiteX297" fmla="*/ 53068 w 711807"/>
                <a:gd name="connsiteY297" fmla="*/ 304031 h 502214"/>
                <a:gd name="connsiteX298" fmla="*/ 47300 w 711807"/>
                <a:gd name="connsiteY298" fmla="*/ 301779 h 502214"/>
                <a:gd name="connsiteX299" fmla="*/ 41532 w 711807"/>
                <a:gd name="connsiteY299" fmla="*/ 302905 h 502214"/>
                <a:gd name="connsiteX300" fmla="*/ 40378 w 711807"/>
                <a:gd name="connsiteY300" fmla="*/ 301779 h 502214"/>
                <a:gd name="connsiteX301" fmla="*/ 29995 w 711807"/>
                <a:gd name="connsiteY301" fmla="*/ 299526 h 502214"/>
                <a:gd name="connsiteX302" fmla="*/ 27688 w 711807"/>
                <a:gd name="connsiteY302" fmla="*/ 296148 h 502214"/>
                <a:gd name="connsiteX303" fmla="*/ 28842 w 711807"/>
                <a:gd name="connsiteY303" fmla="*/ 299526 h 502214"/>
                <a:gd name="connsiteX304" fmla="*/ 23074 w 711807"/>
                <a:gd name="connsiteY304" fmla="*/ 299526 h 502214"/>
                <a:gd name="connsiteX305" fmla="*/ 13844 w 711807"/>
                <a:gd name="connsiteY305" fmla="*/ 296148 h 502214"/>
                <a:gd name="connsiteX306" fmla="*/ 5768 w 711807"/>
                <a:gd name="connsiteY306" fmla="*/ 295023 h 502214"/>
                <a:gd name="connsiteX307" fmla="*/ 4615 w 711807"/>
                <a:gd name="connsiteY307" fmla="*/ 290518 h 502214"/>
                <a:gd name="connsiteX308" fmla="*/ 5768 w 711807"/>
                <a:gd name="connsiteY308" fmla="*/ 288266 h 502214"/>
                <a:gd name="connsiteX309" fmla="*/ 11536 w 711807"/>
                <a:gd name="connsiteY309" fmla="*/ 288266 h 502214"/>
                <a:gd name="connsiteX310" fmla="*/ 12691 w 711807"/>
                <a:gd name="connsiteY310" fmla="*/ 289392 h 502214"/>
                <a:gd name="connsiteX311" fmla="*/ 17305 w 711807"/>
                <a:gd name="connsiteY311" fmla="*/ 288266 h 502214"/>
                <a:gd name="connsiteX312" fmla="*/ 19612 w 711807"/>
                <a:gd name="connsiteY312" fmla="*/ 288266 h 502214"/>
                <a:gd name="connsiteX313" fmla="*/ 21919 w 711807"/>
                <a:gd name="connsiteY313" fmla="*/ 288266 h 502214"/>
                <a:gd name="connsiteX314" fmla="*/ 20766 w 711807"/>
                <a:gd name="connsiteY314" fmla="*/ 287140 h 502214"/>
                <a:gd name="connsiteX315" fmla="*/ 23074 w 711807"/>
                <a:gd name="connsiteY315" fmla="*/ 283762 h 502214"/>
                <a:gd name="connsiteX316" fmla="*/ 20766 w 711807"/>
                <a:gd name="connsiteY316" fmla="*/ 283762 h 502214"/>
                <a:gd name="connsiteX317" fmla="*/ 18459 w 711807"/>
                <a:gd name="connsiteY317" fmla="*/ 281510 h 502214"/>
                <a:gd name="connsiteX318" fmla="*/ 17305 w 711807"/>
                <a:gd name="connsiteY318" fmla="*/ 275880 h 502214"/>
                <a:gd name="connsiteX319" fmla="*/ 12691 w 711807"/>
                <a:gd name="connsiteY319" fmla="*/ 275880 h 502214"/>
                <a:gd name="connsiteX320" fmla="*/ 12691 w 711807"/>
                <a:gd name="connsiteY320" fmla="*/ 272501 h 502214"/>
                <a:gd name="connsiteX321" fmla="*/ 0 w 711807"/>
                <a:gd name="connsiteY321" fmla="*/ 269123 h 502214"/>
                <a:gd name="connsiteX322" fmla="*/ 1154 w 711807"/>
                <a:gd name="connsiteY322" fmla="*/ 266871 h 502214"/>
                <a:gd name="connsiteX323" fmla="*/ 0 w 711807"/>
                <a:gd name="connsiteY323" fmla="*/ 265745 h 502214"/>
                <a:gd name="connsiteX324" fmla="*/ 3461 w 711807"/>
                <a:gd name="connsiteY324" fmla="*/ 262367 h 502214"/>
                <a:gd name="connsiteX325" fmla="*/ 2307 w 711807"/>
                <a:gd name="connsiteY325" fmla="*/ 260115 h 502214"/>
                <a:gd name="connsiteX326" fmla="*/ 2307 w 711807"/>
                <a:gd name="connsiteY326" fmla="*/ 256737 h 502214"/>
                <a:gd name="connsiteX327" fmla="*/ 5768 w 711807"/>
                <a:gd name="connsiteY327" fmla="*/ 254484 h 502214"/>
                <a:gd name="connsiteX328" fmla="*/ 19612 w 711807"/>
                <a:gd name="connsiteY328" fmla="*/ 254484 h 502214"/>
                <a:gd name="connsiteX329" fmla="*/ 27688 w 711807"/>
                <a:gd name="connsiteY329" fmla="*/ 264619 h 502214"/>
                <a:gd name="connsiteX330" fmla="*/ 32302 w 711807"/>
                <a:gd name="connsiteY330" fmla="*/ 266871 h 502214"/>
                <a:gd name="connsiteX331" fmla="*/ 38070 w 711807"/>
                <a:gd name="connsiteY331" fmla="*/ 275880 h 502214"/>
                <a:gd name="connsiteX332" fmla="*/ 42686 w 711807"/>
                <a:gd name="connsiteY332" fmla="*/ 278132 h 502214"/>
                <a:gd name="connsiteX333" fmla="*/ 43238 w 711807"/>
                <a:gd name="connsiteY333" fmla="*/ 279209 h 502214"/>
                <a:gd name="connsiteX334" fmla="*/ 42686 w 711807"/>
                <a:gd name="connsiteY334" fmla="*/ 279258 h 502214"/>
                <a:gd name="connsiteX335" fmla="*/ 44993 w 711807"/>
                <a:gd name="connsiteY335" fmla="*/ 282636 h 502214"/>
                <a:gd name="connsiteX336" fmla="*/ 43238 w 711807"/>
                <a:gd name="connsiteY336" fmla="*/ 279209 h 502214"/>
                <a:gd name="connsiteX337" fmla="*/ 55376 w 711807"/>
                <a:gd name="connsiteY337" fmla="*/ 278132 h 502214"/>
                <a:gd name="connsiteX338" fmla="*/ 58836 w 711807"/>
                <a:gd name="connsiteY338" fmla="*/ 273627 h 502214"/>
                <a:gd name="connsiteX339" fmla="*/ 56529 w 711807"/>
                <a:gd name="connsiteY339" fmla="*/ 270250 h 502214"/>
                <a:gd name="connsiteX340" fmla="*/ 54222 w 711807"/>
                <a:gd name="connsiteY340" fmla="*/ 266871 h 502214"/>
                <a:gd name="connsiteX341" fmla="*/ 43839 w 711807"/>
                <a:gd name="connsiteY341" fmla="*/ 263493 h 502214"/>
                <a:gd name="connsiteX342" fmla="*/ 42686 w 711807"/>
                <a:gd name="connsiteY342" fmla="*/ 265745 h 502214"/>
                <a:gd name="connsiteX343" fmla="*/ 39225 w 711807"/>
                <a:gd name="connsiteY343" fmla="*/ 262367 h 502214"/>
                <a:gd name="connsiteX344" fmla="*/ 41532 w 711807"/>
                <a:gd name="connsiteY344" fmla="*/ 260115 h 502214"/>
                <a:gd name="connsiteX345" fmla="*/ 40378 w 711807"/>
                <a:gd name="connsiteY345" fmla="*/ 261241 h 502214"/>
                <a:gd name="connsiteX346" fmla="*/ 40378 w 711807"/>
                <a:gd name="connsiteY346" fmla="*/ 258989 h 502214"/>
                <a:gd name="connsiteX347" fmla="*/ 39225 w 711807"/>
                <a:gd name="connsiteY347" fmla="*/ 262367 h 502214"/>
                <a:gd name="connsiteX348" fmla="*/ 35763 w 711807"/>
                <a:gd name="connsiteY348" fmla="*/ 260115 h 502214"/>
                <a:gd name="connsiteX349" fmla="*/ 32302 w 711807"/>
                <a:gd name="connsiteY349" fmla="*/ 256737 h 502214"/>
                <a:gd name="connsiteX350" fmla="*/ 29995 w 711807"/>
                <a:gd name="connsiteY350" fmla="*/ 256737 h 502214"/>
                <a:gd name="connsiteX351" fmla="*/ 31149 w 711807"/>
                <a:gd name="connsiteY351" fmla="*/ 251107 h 502214"/>
                <a:gd name="connsiteX352" fmla="*/ 23074 w 711807"/>
                <a:gd name="connsiteY352" fmla="*/ 252233 h 502214"/>
                <a:gd name="connsiteX353" fmla="*/ 27688 w 711807"/>
                <a:gd name="connsiteY353" fmla="*/ 251107 h 502214"/>
                <a:gd name="connsiteX354" fmla="*/ 27688 w 711807"/>
                <a:gd name="connsiteY354" fmla="*/ 248854 h 502214"/>
                <a:gd name="connsiteX355" fmla="*/ 23074 w 711807"/>
                <a:gd name="connsiteY355" fmla="*/ 248854 h 502214"/>
                <a:gd name="connsiteX356" fmla="*/ 21919 w 711807"/>
                <a:gd name="connsiteY356" fmla="*/ 251107 h 502214"/>
                <a:gd name="connsiteX357" fmla="*/ 17305 w 711807"/>
                <a:gd name="connsiteY357" fmla="*/ 247728 h 502214"/>
                <a:gd name="connsiteX358" fmla="*/ 17305 w 711807"/>
                <a:gd name="connsiteY358" fmla="*/ 245477 h 502214"/>
                <a:gd name="connsiteX359" fmla="*/ 24227 w 711807"/>
                <a:gd name="connsiteY359" fmla="*/ 246602 h 502214"/>
                <a:gd name="connsiteX360" fmla="*/ 33456 w 711807"/>
                <a:gd name="connsiteY360" fmla="*/ 243224 h 502214"/>
                <a:gd name="connsiteX361" fmla="*/ 32302 w 711807"/>
                <a:gd name="connsiteY361" fmla="*/ 240972 h 502214"/>
                <a:gd name="connsiteX362" fmla="*/ 20766 w 711807"/>
                <a:gd name="connsiteY362" fmla="*/ 244351 h 502214"/>
                <a:gd name="connsiteX363" fmla="*/ 23074 w 711807"/>
                <a:gd name="connsiteY363" fmla="*/ 243224 h 502214"/>
                <a:gd name="connsiteX364" fmla="*/ 33456 w 711807"/>
                <a:gd name="connsiteY364" fmla="*/ 239846 h 502214"/>
                <a:gd name="connsiteX365" fmla="*/ 35763 w 711807"/>
                <a:gd name="connsiteY365" fmla="*/ 244351 h 502214"/>
                <a:gd name="connsiteX366" fmla="*/ 65759 w 711807"/>
                <a:gd name="connsiteY366" fmla="*/ 234216 h 502214"/>
                <a:gd name="connsiteX367" fmla="*/ 77295 w 711807"/>
                <a:gd name="connsiteY367" fmla="*/ 234216 h 502214"/>
                <a:gd name="connsiteX368" fmla="*/ 105848 w 711807"/>
                <a:gd name="connsiteY368" fmla="*/ 249417 h 502214"/>
                <a:gd name="connsiteX369" fmla="*/ 109833 w 711807"/>
                <a:gd name="connsiteY369" fmla="*/ 247471 h 502214"/>
                <a:gd name="connsiteX370" fmla="*/ 109034 w 711807"/>
                <a:gd name="connsiteY370" fmla="*/ 248251 h 502214"/>
                <a:gd name="connsiteX371" fmla="*/ 105932 w 711807"/>
                <a:gd name="connsiteY371" fmla="*/ 249462 h 502214"/>
                <a:gd name="connsiteX372" fmla="*/ 109505 w 711807"/>
                <a:gd name="connsiteY372" fmla="*/ 251364 h 502214"/>
                <a:gd name="connsiteX373" fmla="*/ 114617 w 711807"/>
                <a:gd name="connsiteY373" fmla="*/ 251364 h 502214"/>
                <a:gd name="connsiteX374" fmla="*/ 120201 w 711807"/>
                <a:gd name="connsiteY374" fmla="*/ 258370 h 502214"/>
                <a:gd name="connsiteX375" fmla="*/ 123390 w 711807"/>
                <a:gd name="connsiteY375" fmla="*/ 259927 h 502214"/>
                <a:gd name="connsiteX376" fmla="*/ 125350 w 711807"/>
                <a:gd name="connsiteY376" fmla="*/ 262988 h 502214"/>
                <a:gd name="connsiteX377" fmla="*/ 126903 w 711807"/>
                <a:gd name="connsiteY377" fmla="*/ 263493 h 502214"/>
                <a:gd name="connsiteX378" fmla="*/ 129036 w 711807"/>
                <a:gd name="connsiteY378" fmla="*/ 266965 h 502214"/>
                <a:gd name="connsiteX379" fmla="*/ 129331 w 711807"/>
                <a:gd name="connsiteY379" fmla="*/ 267108 h 502214"/>
                <a:gd name="connsiteX380" fmla="*/ 128056 w 711807"/>
                <a:gd name="connsiteY380" fmla="*/ 264619 h 502214"/>
                <a:gd name="connsiteX381" fmla="*/ 129750 w 711807"/>
                <a:gd name="connsiteY381" fmla="*/ 264619 h 502214"/>
                <a:gd name="connsiteX382" fmla="*/ 131366 w 711807"/>
                <a:gd name="connsiteY382" fmla="*/ 263041 h 502214"/>
                <a:gd name="connsiteX383" fmla="*/ 135355 w 711807"/>
                <a:gd name="connsiteY383" fmla="*/ 262263 h 502214"/>
                <a:gd name="connsiteX384" fmla="*/ 136132 w 711807"/>
                <a:gd name="connsiteY384" fmla="*/ 263022 h 502214"/>
                <a:gd name="connsiteX385" fmla="*/ 136132 w 711807"/>
                <a:gd name="connsiteY385" fmla="*/ 261241 h 502214"/>
                <a:gd name="connsiteX386" fmla="*/ 138614 w 711807"/>
                <a:gd name="connsiteY386" fmla="*/ 260030 h 502214"/>
                <a:gd name="connsiteX387" fmla="*/ 138544 w 711807"/>
                <a:gd name="connsiteY387" fmla="*/ 259927 h 502214"/>
                <a:gd name="connsiteX388" fmla="*/ 131366 w 711807"/>
                <a:gd name="connsiteY388" fmla="*/ 257592 h 502214"/>
                <a:gd name="connsiteX389" fmla="*/ 130569 w 711807"/>
                <a:gd name="connsiteY389" fmla="*/ 259149 h 502214"/>
                <a:gd name="connsiteX390" fmla="*/ 128176 w 711807"/>
                <a:gd name="connsiteY390" fmla="*/ 256813 h 502214"/>
                <a:gd name="connsiteX391" fmla="*/ 128974 w 711807"/>
                <a:gd name="connsiteY391" fmla="*/ 256035 h 502214"/>
                <a:gd name="connsiteX392" fmla="*/ 128974 w 711807"/>
                <a:gd name="connsiteY392" fmla="*/ 254478 h 502214"/>
                <a:gd name="connsiteX393" fmla="*/ 128176 w 711807"/>
                <a:gd name="connsiteY393" fmla="*/ 256813 h 502214"/>
                <a:gd name="connsiteX394" fmla="*/ 125783 w 711807"/>
                <a:gd name="connsiteY394" fmla="*/ 255257 h 502214"/>
                <a:gd name="connsiteX395" fmla="*/ 123390 w 711807"/>
                <a:gd name="connsiteY395" fmla="*/ 252921 h 502214"/>
                <a:gd name="connsiteX396" fmla="*/ 121795 w 711807"/>
                <a:gd name="connsiteY396" fmla="*/ 252921 h 502214"/>
                <a:gd name="connsiteX397" fmla="*/ 122593 w 711807"/>
                <a:gd name="connsiteY397" fmla="*/ 249029 h 502214"/>
                <a:gd name="connsiteX398" fmla="*/ 117011 w 711807"/>
                <a:gd name="connsiteY398" fmla="*/ 249807 h 502214"/>
                <a:gd name="connsiteX399" fmla="*/ 120201 w 711807"/>
                <a:gd name="connsiteY399" fmla="*/ 249029 h 502214"/>
                <a:gd name="connsiteX400" fmla="*/ 120201 w 711807"/>
                <a:gd name="connsiteY400" fmla="*/ 247471 h 502214"/>
                <a:gd name="connsiteX401" fmla="*/ 117011 w 711807"/>
                <a:gd name="connsiteY401" fmla="*/ 247471 h 502214"/>
                <a:gd name="connsiteX402" fmla="*/ 116212 w 711807"/>
                <a:gd name="connsiteY402" fmla="*/ 249029 h 502214"/>
                <a:gd name="connsiteX403" fmla="*/ 113022 w 711807"/>
                <a:gd name="connsiteY403" fmla="*/ 246693 h 502214"/>
                <a:gd name="connsiteX404" fmla="*/ 113022 w 711807"/>
                <a:gd name="connsiteY404" fmla="*/ 245137 h 502214"/>
                <a:gd name="connsiteX405" fmla="*/ 117808 w 711807"/>
                <a:gd name="connsiteY405" fmla="*/ 245915 h 502214"/>
                <a:gd name="connsiteX406" fmla="*/ 124188 w 711807"/>
                <a:gd name="connsiteY406" fmla="*/ 243579 h 502214"/>
                <a:gd name="connsiteX407" fmla="*/ 123390 w 711807"/>
                <a:gd name="connsiteY407" fmla="*/ 242022 h 502214"/>
                <a:gd name="connsiteX408" fmla="*/ 115415 w 711807"/>
                <a:gd name="connsiteY408" fmla="*/ 244358 h 502214"/>
                <a:gd name="connsiteX409" fmla="*/ 117011 w 711807"/>
                <a:gd name="connsiteY409" fmla="*/ 243579 h 502214"/>
                <a:gd name="connsiteX410" fmla="*/ 124188 w 711807"/>
                <a:gd name="connsiteY410" fmla="*/ 241244 h 502214"/>
                <a:gd name="connsiteX411" fmla="*/ 125783 w 711807"/>
                <a:gd name="connsiteY411" fmla="*/ 244358 h 502214"/>
                <a:gd name="connsiteX412" fmla="*/ 146520 w 711807"/>
                <a:gd name="connsiteY412" fmla="*/ 237352 h 502214"/>
                <a:gd name="connsiteX413" fmla="*/ 154495 w 711807"/>
                <a:gd name="connsiteY413" fmla="*/ 237352 h 502214"/>
                <a:gd name="connsiteX414" fmla="*/ 160502 w 711807"/>
                <a:gd name="connsiteY414" fmla="*/ 240550 h 502214"/>
                <a:gd name="connsiteX415" fmla="*/ 160358 w 711807"/>
                <a:gd name="connsiteY415" fmla="*/ 239846 h 502214"/>
                <a:gd name="connsiteX416" fmla="*/ 163499 w 711807"/>
                <a:gd name="connsiteY416" fmla="*/ 242145 h 502214"/>
                <a:gd name="connsiteX417" fmla="*/ 165316 w 711807"/>
                <a:gd name="connsiteY417" fmla="*/ 243113 h 502214"/>
                <a:gd name="connsiteX418" fmla="*/ 168434 w 711807"/>
                <a:gd name="connsiteY418" fmla="*/ 242098 h 502214"/>
                <a:gd name="connsiteX419" fmla="*/ 170741 w 711807"/>
                <a:gd name="connsiteY419" fmla="*/ 240972 h 502214"/>
                <a:gd name="connsiteX420" fmla="*/ 173049 w 711807"/>
                <a:gd name="connsiteY420" fmla="*/ 237594 h 502214"/>
                <a:gd name="connsiteX421" fmla="*/ 176510 w 711807"/>
                <a:gd name="connsiteY421" fmla="*/ 244351 h 502214"/>
                <a:gd name="connsiteX422" fmla="*/ 174202 w 711807"/>
                <a:gd name="connsiteY422" fmla="*/ 237594 h 502214"/>
                <a:gd name="connsiteX423" fmla="*/ 176510 w 711807"/>
                <a:gd name="connsiteY423" fmla="*/ 237594 h 502214"/>
                <a:gd name="connsiteX424" fmla="*/ 179971 w 711807"/>
                <a:gd name="connsiteY424" fmla="*/ 244351 h 502214"/>
                <a:gd name="connsiteX425" fmla="*/ 177664 w 711807"/>
                <a:gd name="connsiteY425" fmla="*/ 237594 h 502214"/>
                <a:gd name="connsiteX426" fmla="*/ 179971 w 711807"/>
                <a:gd name="connsiteY426" fmla="*/ 237594 h 502214"/>
                <a:gd name="connsiteX427" fmla="*/ 183432 w 711807"/>
                <a:gd name="connsiteY427" fmla="*/ 235342 h 502214"/>
                <a:gd name="connsiteX428" fmla="*/ 185739 w 711807"/>
                <a:gd name="connsiteY428" fmla="*/ 233090 h 502214"/>
                <a:gd name="connsiteX429" fmla="*/ 190354 w 711807"/>
                <a:gd name="connsiteY429" fmla="*/ 230838 h 502214"/>
                <a:gd name="connsiteX430" fmla="*/ 199583 w 711807"/>
                <a:gd name="connsiteY430" fmla="*/ 228586 h 502214"/>
                <a:gd name="connsiteX431" fmla="*/ 203043 w 711807"/>
                <a:gd name="connsiteY431" fmla="*/ 227460 h 502214"/>
                <a:gd name="connsiteX432" fmla="*/ 203043 w 711807"/>
                <a:gd name="connsiteY432" fmla="*/ 226334 h 502214"/>
                <a:gd name="connsiteX433" fmla="*/ 205351 w 711807"/>
                <a:gd name="connsiteY433" fmla="*/ 226334 h 502214"/>
                <a:gd name="connsiteX434" fmla="*/ 222656 w 711807"/>
                <a:gd name="connsiteY434" fmla="*/ 222955 h 502214"/>
                <a:gd name="connsiteX435" fmla="*/ 235346 w 711807"/>
                <a:gd name="connsiteY435" fmla="*/ 222955 h 502214"/>
                <a:gd name="connsiteX436" fmla="*/ 237653 w 711807"/>
                <a:gd name="connsiteY436" fmla="*/ 219578 h 502214"/>
                <a:gd name="connsiteX437" fmla="*/ 242268 w 711807"/>
                <a:gd name="connsiteY437" fmla="*/ 222955 h 502214"/>
                <a:gd name="connsiteX438" fmla="*/ 243422 w 711807"/>
                <a:gd name="connsiteY438" fmla="*/ 219578 h 502214"/>
                <a:gd name="connsiteX439" fmla="*/ 244576 w 711807"/>
                <a:gd name="connsiteY439" fmla="*/ 220704 h 502214"/>
                <a:gd name="connsiteX440" fmla="*/ 256112 w 711807"/>
                <a:gd name="connsiteY440" fmla="*/ 218452 h 502214"/>
                <a:gd name="connsiteX441" fmla="*/ 259573 w 711807"/>
                <a:gd name="connsiteY441" fmla="*/ 219578 h 502214"/>
                <a:gd name="connsiteX442" fmla="*/ 260727 w 711807"/>
                <a:gd name="connsiteY442" fmla="*/ 218452 h 502214"/>
                <a:gd name="connsiteX443" fmla="*/ 269956 w 711807"/>
                <a:gd name="connsiteY443" fmla="*/ 217325 h 502214"/>
                <a:gd name="connsiteX444" fmla="*/ 271110 w 711807"/>
                <a:gd name="connsiteY444" fmla="*/ 219578 h 502214"/>
                <a:gd name="connsiteX445" fmla="*/ 272263 w 711807"/>
                <a:gd name="connsiteY445" fmla="*/ 217325 h 502214"/>
                <a:gd name="connsiteX446" fmla="*/ 293029 w 711807"/>
                <a:gd name="connsiteY446" fmla="*/ 213947 h 502214"/>
                <a:gd name="connsiteX447" fmla="*/ 295336 w 711807"/>
                <a:gd name="connsiteY447" fmla="*/ 211695 h 502214"/>
                <a:gd name="connsiteX448" fmla="*/ 316103 w 711807"/>
                <a:gd name="connsiteY448" fmla="*/ 210569 h 502214"/>
                <a:gd name="connsiteX449" fmla="*/ 317256 w 711807"/>
                <a:gd name="connsiteY449" fmla="*/ 206065 h 502214"/>
                <a:gd name="connsiteX450" fmla="*/ 320717 w 711807"/>
                <a:gd name="connsiteY450" fmla="*/ 207191 h 502214"/>
                <a:gd name="connsiteX451" fmla="*/ 323024 w 711807"/>
                <a:gd name="connsiteY451" fmla="*/ 206065 h 502214"/>
                <a:gd name="connsiteX452" fmla="*/ 332254 w 711807"/>
                <a:gd name="connsiteY452" fmla="*/ 206065 h 502214"/>
                <a:gd name="connsiteX453" fmla="*/ 332254 w 711807"/>
                <a:gd name="connsiteY453" fmla="*/ 203813 h 502214"/>
                <a:gd name="connsiteX454" fmla="*/ 343790 w 711807"/>
                <a:gd name="connsiteY454" fmla="*/ 206065 h 502214"/>
                <a:gd name="connsiteX455" fmla="*/ 346097 w 711807"/>
                <a:gd name="connsiteY455" fmla="*/ 203813 h 502214"/>
                <a:gd name="connsiteX456" fmla="*/ 347251 w 711807"/>
                <a:gd name="connsiteY456" fmla="*/ 206065 h 502214"/>
                <a:gd name="connsiteX457" fmla="*/ 356481 w 711807"/>
                <a:gd name="connsiteY457" fmla="*/ 202687 h 502214"/>
                <a:gd name="connsiteX458" fmla="*/ 359941 w 711807"/>
                <a:gd name="connsiteY458" fmla="*/ 204938 h 502214"/>
                <a:gd name="connsiteX459" fmla="*/ 362249 w 711807"/>
                <a:gd name="connsiteY459" fmla="*/ 202687 h 502214"/>
                <a:gd name="connsiteX460" fmla="*/ 366863 w 711807"/>
                <a:gd name="connsiteY460" fmla="*/ 201561 h 502214"/>
                <a:gd name="connsiteX461" fmla="*/ 369171 w 711807"/>
                <a:gd name="connsiteY461" fmla="*/ 200435 h 502214"/>
                <a:gd name="connsiteX462" fmla="*/ 368017 w 711807"/>
                <a:gd name="connsiteY462" fmla="*/ 202687 h 502214"/>
                <a:gd name="connsiteX463" fmla="*/ 370324 w 711807"/>
                <a:gd name="connsiteY463" fmla="*/ 201561 h 502214"/>
                <a:gd name="connsiteX464" fmla="*/ 378399 w 711807"/>
                <a:gd name="connsiteY464" fmla="*/ 199309 h 502214"/>
                <a:gd name="connsiteX465" fmla="*/ 381860 w 711807"/>
                <a:gd name="connsiteY465" fmla="*/ 198183 h 502214"/>
                <a:gd name="connsiteX466" fmla="*/ 385322 w 711807"/>
                <a:gd name="connsiteY466" fmla="*/ 197057 h 502214"/>
                <a:gd name="connsiteX467" fmla="*/ 387629 w 711807"/>
                <a:gd name="connsiteY467" fmla="*/ 197057 h 502214"/>
                <a:gd name="connsiteX468" fmla="*/ 395705 w 711807"/>
                <a:gd name="connsiteY468" fmla="*/ 194804 h 502214"/>
                <a:gd name="connsiteX469" fmla="*/ 395705 w 711807"/>
                <a:gd name="connsiteY469" fmla="*/ 193678 h 502214"/>
                <a:gd name="connsiteX470" fmla="*/ 399165 w 711807"/>
                <a:gd name="connsiteY470" fmla="*/ 198183 h 502214"/>
                <a:gd name="connsiteX471" fmla="*/ 398012 w 711807"/>
                <a:gd name="connsiteY471" fmla="*/ 193678 h 502214"/>
                <a:gd name="connsiteX472" fmla="*/ 403780 w 711807"/>
                <a:gd name="connsiteY472" fmla="*/ 192553 h 502214"/>
                <a:gd name="connsiteX473" fmla="*/ 405671 w 711807"/>
                <a:gd name="connsiteY473" fmla="*/ 198091 h 502214"/>
                <a:gd name="connsiteX474" fmla="*/ 405892 w 711807"/>
                <a:gd name="connsiteY474" fmla="*/ 197977 h 502214"/>
                <a:gd name="connsiteX475" fmla="*/ 404934 w 711807"/>
                <a:gd name="connsiteY475" fmla="*/ 191427 h 502214"/>
                <a:gd name="connsiteX476" fmla="*/ 409549 w 711807"/>
                <a:gd name="connsiteY476" fmla="*/ 190301 h 502214"/>
                <a:gd name="connsiteX477" fmla="*/ 416470 w 711807"/>
                <a:gd name="connsiteY477" fmla="*/ 189174 h 502214"/>
                <a:gd name="connsiteX478" fmla="*/ 417624 w 711807"/>
                <a:gd name="connsiteY478" fmla="*/ 186922 h 502214"/>
                <a:gd name="connsiteX479" fmla="*/ 419932 w 711807"/>
                <a:gd name="connsiteY479" fmla="*/ 186922 h 502214"/>
                <a:gd name="connsiteX480" fmla="*/ 419932 w 711807"/>
                <a:gd name="connsiteY480" fmla="*/ 185796 h 502214"/>
                <a:gd name="connsiteX481" fmla="*/ 421085 w 711807"/>
                <a:gd name="connsiteY481" fmla="*/ 186922 h 502214"/>
                <a:gd name="connsiteX482" fmla="*/ 419932 w 711807"/>
                <a:gd name="connsiteY482" fmla="*/ 184671 h 502214"/>
                <a:gd name="connsiteX483" fmla="*/ 422239 w 711807"/>
                <a:gd name="connsiteY483" fmla="*/ 186922 h 502214"/>
                <a:gd name="connsiteX484" fmla="*/ 441851 w 711807"/>
                <a:gd name="connsiteY484" fmla="*/ 176788 h 502214"/>
                <a:gd name="connsiteX485" fmla="*/ 448773 w 711807"/>
                <a:gd name="connsiteY485" fmla="*/ 176788 h 502214"/>
                <a:gd name="connsiteX486" fmla="*/ 453387 w 711807"/>
                <a:gd name="connsiteY486" fmla="*/ 171158 h 502214"/>
                <a:gd name="connsiteX487" fmla="*/ 456849 w 711807"/>
                <a:gd name="connsiteY487" fmla="*/ 170032 h 502214"/>
                <a:gd name="connsiteX488" fmla="*/ 456849 w 711807"/>
                <a:gd name="connsiteY488" fmla="*/ 171158 h 502214"/>
                <a:gd name="connsiteX489" fmla="*/ 474153 w 711807"/>
                <a:gd name="connsiteY489" fmla="*/ 162149 h 502214"/>
                <a:gd name="connsiteX490" fmla="*/ 485690 w 711807"/>
                <a:gd name="connsiteY490" fmla="*/ 158772 h 502214"/>
                <a:gd name="connsiteX491" fmla="*/ 487997 w 711807"/>
                <a:gd name="connsiteY491" fmla="*/ 157645 h 502214"/>
                <a:gd name="connsiteX492" fmla="*/ 490304 w 711807"/>
                <a:gd name="connsiteY492" fmla="*/ 158772 h 502214"/>
                <a:gd name="connsiteX493" fmla="*/ 491458 w 711807"/>
                <a:gd name="connsiteY493" fmla="*/ 155393 h 502214"/>
                <a:gd name="connsiteX494" fmla="*/ 501841 w 711807"/>
                <a:gd name="connsiteY494" fmla="*/ 153141 h 502214"/>
                <a:gd name="connsiteX495" fmla="*/ 250203 w 711807"/>
                <a:gd name="connsiteY495" fmla="*/ 120582 h 502214"/>
                <a:gd name="connsiteX496" fmla="*/ 250203 w 711807"/>
                <a:gd name="connsiteY496" fmla="*/ 122139 h 502214"/>
                <a:gd name="connsiteX497" fmla="*/ 247810 w 711807"/>
                <a:gd name="connsiteY497" fmla="*/ 122917 h 502214"/>
                <a:gd name="connsiteX498" fmla="*/ 247012 w 711807"/>
                <a:gd name="connsiteY498" fmla="*/ 121360 h 502214"/>
                <a:gd name="connsiteX499" fmla="*/ 261893 w 711807"/>
                <a:gd name="connsiteY499" fmla="*/ 111026 h 502214"/>
                <a:gd name="connsiteX500" fmla="*/ 261893 w 711807"/>
                <a:gd name="connsiteY500" fmla="*/ 114031 h 502214"/>
                <a:gd name="connsiteX501" fmla="*/ 260570 w 711807"/>
                <a:gd name="connsiteY501" fmla="*/ 114354 h 502214"/>
                <a:gd name="connsiteX502" fmla="*/ 260570 w 711807"/>
                <a:gd name="connsiteY502" fmla="*/ 115911 h 502214"/>
                <a:gd name="connsiteX503" fmla="*/ 258178 w 711807"/>
                <a:gd name="connsiteY503" fmla="*/ 116690 h 502214"/>
                <a:gd name="connsiteX504" fmla="*/ 258178 w 711807"/>
                <a:gd name="connsiteY504" fmla="*/ 121360 h 502214"/>
                <a:gd name="connsiteX505" fmla="*/ 257381 w 711807"/>
                <a:gd name="connsiteY505" fmla="*/ 120582 h 502214"/>
                <a:gd name="connsiteX506" fmla="*/ 258178 w 711807"/>
                <a:gd name="connsiteY506" fmla="*/ 114354 h 502214"/>
                <a:gd name="connsiteX507" fmla="*/ 260570 w 711807"/>
                <a:gd name="connsiteY507" fmla="*/ 111241 h 502214"/>
                <a:gd name="connsiteX508" fmla="*/ 383394 w 711807"/>
                <a:gd name="connsiteY508" fmla="*/ 107348 h 502214"/>
                <a:gd name="connsiteX509" fmla="*/ 385788 w 711807"/>
                <a:gd name="connsiteY509" fmla="*/ 107348 h 502214"/>
                <a:gd name="connsiteX510" fmla="*/ 390572 w 711807"/>
                <a:gd name="connsiteY510" fmla="*/ 108905 h 502214"/>
                <a:gd name="connsiteX511" fmla="*/ 389775 w 711807"/>
                <a:gd name="connsiteY511" fmla="*/ 111241 h 502214"/>
                <a:gd name="connsiteX512" fmla="*/ 388180 w 711807"/>
                <a:gd name="connsiteY512" fmla="*/ 110462 h 502214"/>
                <a:gd name="connsiteX513" fmla="*/ 389775 w 711807"/>
                <a:gd name="connsiteY513" fmla="*/ 112019 h 502214"/>
                <a:gd name="connsiteX514" fmla="*/ 390572 w 711807"/>
                <a:gd name="connsiteY514" fmla="*/ 114354 h 502214"/>
                <a:gd name="connsiteX515" fmla="*/ 387383 w 711807"/>
                <a:gd name="connsiteY515" fmla="*/ 114354 h 502214"/>
                <a:gd name="connsiteX516" fmla="*/ 381799 w 711807"/>
                <a:gd name="connsiteY516" fmla="*/ 109683 h 502214"/>
                <a:gd name="connsiteX517" fmla="*/ 387383 w 711807"/>
                <a:gd name="connsiteY517" fmla="*/ 94114 h 502214"/>
                <a:gd name="connsiteX518" fmla="*/ 392168 w 711807"/>
                <a:gd name="connsiteY518" fmla="*/ 94114 h 502214"/>
                <a:gd name="connsiteX519" fmla="*/ 391371 w 711807"/>
                <a:gd name="connsiteY519" fmla="*/ 94893 h 502214"/>
                <a:gd name="connsiteX520" fmla="*/ 392966 w 711807"/>
                <a:gd name="connsiteY520" fmla="*/ 94893 h 502214"/>
                <a:gd name="connsiteX521" fmla="*/ 392168 w 711807"/>
                <a:gd name="connsiteY521" fmla="*/ 95670 h 502214"/>
                <a:gd name="connsiteX522" fmla="*/ 239961 w 711807"/>
                <a:gd name="connsiteY522" fmla="*/ 90083 h 502214"/>
                <a:gd name="connsiteX523" fmla="*/ 237653 w 711807"/>
                <a:gd name="connsiteY523" fmla="*/ 100217 h 502214"/>
                <a:gd name="connsiteX524" fmla="*/ 238807 w 711807"/>
                <a:gd name="connsiteY524" fmla="*/ 94587 h 502214"/>
                <a:gd name="connsiteX525" fmla="*/ 380479 w 711807"/>
                <a:gd name="connsiteY525" fmla="*/ 87108 h 502214"/>
                <a:gd name="connsiteX526" fmla="*/ 388180 w 711807"/>
                <a:gd name="connsiteY526" fmla="*/ 87108 h 502214"/>
                <a:gd name="connsiteX527" fmla="*/ 393763 w 711807"/>
                <a:gd name="connsiteY527" fmla="*/ 88665 h 502214"/>
                <a:gd name="connsiteX528" fmla="*/ 404131 w 711807"/>
                <a:gd name="connsiteY528" fmla="*/ 96449 h 502214"/>
                <a:gd name="connsiteX529" fmla="*/ 389775 w 711807"/>
                <a:gd name="connsiteY529" fmla="*/ 92557 h 502214"/>
                <a:gd name="connsiteX530" fmla="*/ 388977 w 711807"/>
                <a:gd name="connsiteY530" fmla="*/ 91778 h 502214"/>
                <a:gd name="connsiteX531" fmla="*/ 384193 w 711807"/>
                <a:gd name="connsiteY531" fmla="*/ 95670 h 502214"/>
                <a:gd name="connsiteX532" fmla="*/ 381002 w 711807"/>
                <a:gd name="connsiteY532" fmla="*/ 96449 h 502214"/>
                <a:gd name="connsiteX533" fmla="*/ 380479 w 711807"/>
                <a:gd name="connsiteY533" fmla="*/ 97385 h 502214"/>
                <a:gd name="connsiteX534" fmla="*/ 239961 w 711807"/>
                <a:gd name="connsiteY534" fmla="*/ 82201 h 502214"/>
                <a:gd name="connsiteX535" fmla="*/ 241114 w 711807"/>
                <a:gd name="connsiteY535" fmla="*/ 87831 h 502214"/>
                <a:gd name="connsiteX536" fmla="*/ 239961 w 711807"/>
                <a:gd name="connsiteY536" fmla="*/ 90083 h 502214"/>
                <a:gd name="connsiteX537" fmla="*/ 310817 w 711807"/>
                <a:gd name="connsiteY537" fmla="*/ 75431 h 502214"/>
                <a:gd name="connsiteX538" fmla="*/ 315602 w 711807"/>
                <a:gd name="connsiteY538" fmla="*/ 76988 h 502214"/>
                <a:gd name="connsiteX539" fmla="*/ 319597 w 711807"/>
                <a:gd name="connsiteY539" fmla="*/ 80107 h 502214"/>
                <a:gd name="connsiteX540" fmla="*/ 317603 w 711807"/>
                <a:gd name="connsiteY540" fmla="*/ 80107 h 502214"/>
                <a:gd name="connsiteX541" fmla="*/ 314805 w 711807"/>
                <a:gd name="connsiteY541" fmla="*/ 77766 h 502214"/>
                <a:gd name="connsiteX542" fmla="*/ 312412 w 711807"/>
                <a:gd name="connsiteY542" fmla="*/ 77766 h 502214"/>
                <a:gd name="connsiteX543" fmla="*/ 316009 w 711807"/>
                <a:gd name="connsiteY543" fmla="*/ 80107 h 502214"/>
                <a:gd name="connsiteX544" fmla="*/ 301458 w 711807"/>
                <a:gd name="connsiteY544" fmla="*/ 80107 h 502214"/>
                <a:gd name="connsiteX545" fmla="*/ 303639 w 711807"/>
                <a:gd name="connsiteY545" fmla="*/ 77766 h 502214"/>
                <a:gd name="connsiteX546" fmla="*/ 215734 w 711807"/>
                <a:gd name="connsiteY546" fmla="*/ 65310 h 502214"/>
                <a:gd name="connsiteX547" fmla="*/ 215734 w 711807"/>
                <a:gd name="connsiteY547" fmla="*/ 67562 h 502214"/>
                <a:gd name="connsiteX548" fmla="*/ 212273 w 711807"/>
                <a:gd name="connsiteY548" fmla="*/ 68688 h 502214"/>
                <a:gd name="connsiteX549" fmla="*/ 211119 w 711807"/>
                <a:gd name="connsiteY549" fmla="*/ 66436 h 502214"/>
                <a:gd name="connsiteX550" fmla="*/ 241114 w 711807"/>
                <a:gd name="connsiteY550" fmla="*/ 58554 h 502214"/>
                <a:gd name="connsiteX551" fmla="*/ 242268 w 711807"/>
                <a:gd name="connsiteY551" fmla="*/ 73192 h 502214"/>
                <a:gd name="connsiteX552" fmla="*/ 241114 w 711807"/>
                <a:gd name="connsiteY552" fmla="*/ 77697 h 502214"/>
                <a:gd name="connsiteX553" fmla="*/ 237653 w 711807"/>
                <a:gd name="connsiteY553" fmla="*/ 50672 h 502214"/>
                <a:gd name="connsiteX554" fmla="*/ 242268 w 711807"/>
                <a:gd name="connsiteY554" fmla="*/ 52924 h 502214"/>
                <a:gd name="connsiteX555" fmla="*/ 244576 w 711807"/>
                <a:gd name="connsiteY555" fmla="*/ 57428 h 502214"/>
                <a:gd name="connsiteX556" fmla="*/ 239961 w 711807"/>
                <a:gd name="connsiteY556" fmla="*/ 54049 h 502214"/>
                <a:gd name="connsiteX557" fmla="*/ 230731 w 711807"/>
                <a:gd name="connsiteY557" fmla="*/ 56302 h 502214"/>
                <a:gd name="connsiteX558" fmla="*/ 230731 w 711807"/>
                <a:gd name="connsiteY558" fmla="*/ 58554 h 502214"/>
                <a:gd name="connsiteX559" fmla="*/ 227270 w 711807"/>
                <a:gd name="connsiteY559" fmla="*/ 59680 h 502214"/>
                <a:gd name="connsiteX560" fmla="*/ 227270 w 711807"/>
                <a:gd name="connsiteY560" fmla="*/ 66436 h 502214"/>
                <a:gd name="connsiteX561" fmla="*/ 226117 w 711807"/>
                <a:gd name="connsiteY561" fmla="*/ 65310 h 502214"/>
                <a:gd name="connsiteX562" fmla="*/ 227270 w 711807"/>
                <a:gd name="connsiteY562" fmla="*/ 56302 h 502214"/>
                <a:gd name="connsiteX563" fmla="*/ 230731 w 711807"/>
                <a:gd name="connsiteY563" fmla="*/ 51798 h 502214"/>
                <a:gd name="connsiteX564" fmla="*/ 408394 w 711807"/>
                <a:gd name="connsiteY564" fmla="*/ 46167 h 502214"/>
                <a:gd name="connsiteX565" fmla="*/ 411856 w 711807"/>
                <a:gd name="connsiteY565" fmla="*/ 46167 h 502214"/>
                <a:gd name="connsiteX566" fmla="*/ 418777 w 711807"/>
                <a:gd name="connsiteY566" fmla="*/ 48419 h 502214"/>
                <a:gd name="connsiteX567" fmla="*/ 417624 w 711807"/>
                <a:gd name="connsiteY567" fmla="*/ 51798 h 502214"/>
                <a:gd name="connsiteX568" fmla="*/ 415317 w 711807"/>
                <a:gd name="connsiteY568" fmla="*/ 50672 h 502214"/>
                <a:gd name="connsiteX569" fmla="*/ 417624 w 711807"/>
                <a:gd name="connsiteY569" fmla="*/ 52924 h 502214"/>
                <a:gd name="connsiteX570" fmla="*/ 418777 w 711807"/>
                <a:gd name="connsiteY570" fmla="*/ 56302 h 502214"/>
                <a:gd name="connsiteX571" fmla="*/ 414163 w 711807"/>
                <a:gd name="connsiteY571" fmla="*/ 56302 h 502214"/>
                <a:gd name="connsiteX572" fmla="*/ 406087 w 711807"/>
                <a:gd name="connsiteY572" fmla="*/ 49545 h 502214"/>
                <a:gd name="connsiteX573" fmla="*/ 317256 w 711807"/>
                <a:gd name="connsiteY573" fmla="*/ 29276 h 502214"/>
                <a:gd name="connsiteX574" fmla="*/ 320716 w 711807"/>
                <a:gd name="connsiteY574" fmla="*/ 31529 h 502214"/>
                <a:gd name="connsiteX575" fmla="*/ 321871 w 711807"/>
                <a:gd name="connsiteY575" fmla="*/ 33781 h 502214"/>
                <a:gd name="connsiteX576" fmla="*/ 316102 w 711807"/>
                <a:gd name="connsiteY576" fmla="*/ 36033 h 502214"/>
                <a:gd name="connsiteX577" fmla="*/ 309180 w 711807"/>
                <a:gd name="connsiteY577" fmla="*/ 36033 h 502214"/>
                <a:gd name="connsiteX578" fmla="*/ 302258 w 711807"/>
                <a:gd name="connsiteY578" fmla="*/ 32655 h 502214"/>
                <a:gd name="connsiteX579" fmla="*/ 302794 w 711807"/>
                <a:gd name="connsiteY579" fmla="*/ 32534 h 502214"/>
                <a:gd name="connsiteX580" fmla="*/ 303412 w 711807"/>
                <a:gd name="connsiteY580" fmla="*/ 32655 h 502214"/>
                <a:gd name="connsiteX581" fmla="*/ 306876 w 711807"/>
                <a:gd name="connsiteY581" fmla="*/ 31615 h 502214"/>
                <a:gd name="connsiteX582" fmla="*/ 414163 w 711807"/>
                <a:gd name="connsiteY582" fmla="*/ 27025 h 502214"/>
                <a:gd name="connsiteX583" fmla="*/ 421085 w 711807"/>
                <a:gd name="connsiteY583" fmla="*/ 27025 h 502214"/>
                <a:gd name="connsiteX584" fmla="*/ 419932 w 711807"/>
                <a:gd name="connsiteY584" fmla="*/ 28151 h 502214"/>
                <a:gd name="connsiteX585" fmla="*/ 422239 w 711807"/>
                <a:gd name="connsiteY585" fmla="*/ 28151 h 502214"/>
                <a:gd name="connsiteX586" fmla="*/ 421085 w 711807"/>
                <a:gd name="connsiteY586" fmla="*/ 29276 h 502214"/>
                <a:gd name="connsiteX587" fmla="*/ 393398 w 711807"/>
                <a:gd name="connsiteY587" fmla="*/ 15764 h 502214"/>
                <a:gd name="connsiteX588" fmla="*/ 396858 w 711807"/>
                <a:gd name="connsiteY588" fmla="*/ 15764 h 502214"/>
                <a:gd name="connsiteX589" fmla="*/ 394551 w 711807"/>
                <a:gd name="connsiteY589" fmla="*/ 16890 h 502214"/>
                <a:gd name="connsiteX590" fmla="*/ 415317 w 711807"/>
                <a:gd name="connsiteY590" fmla="*/ 16890 h 502214"/>
                <a:gd name="connsiteX591" fmla="*/ 423392 w 711807"/>
                <a:gd name="connsiteY591" fmla="*/ 19143 h 502214"/>
                <a:gd name="connsiteX592" fmla="*/ 438390 w 711807"/>
                <a:gd name="connsiteY592" fmla="*/ 30402 h 502214"/>
                <a:gd name="connsiteX593" fmla="*/ 417624 w 711807"/>
                <a:gd name="connsiteY593" fmla="*/ 24773 h 502214"/>
                <a:gd name="connsiteX594" fmla="*/ 416470 w 711807"/>
                <a:gd name="connsiteY594" fmla="*/ 23646 h 502214"/>
                <a:gd name="connsiteX595" fmla="*/ 409549 w 711807"/>
                <a:gd name="connsiteY595" fmla="*/ 29276 h 502214"/>
                <a:gd name="connsiteX596" fmla="*/ 404934 w 711807"/>
                <a:gd name="connsiteY596" fmla="*/ 30402 h 502214"/>
                <a:gd name="connsiteX597" fmla="*/ 398012 w 711807"/>
                <a:gd name="connsiteY597" fmla="*/ 42789 h 502214"/>
                <a:gd name="connsiteX598" fmla="*/ 396858 w 711807"/>
                <a:gd name="connsiteY598" fmla="*/ 40537 h 502214"/>
                <a:gd name="connsiteX599" fmla="*/ 389936 w 711807"/>
                <a:gd name="connsiteY599" fmla="*/ 39411 h 502214"/>
                <a:gd name="connsiteX600" fmla="*/ 388783 w 711807"/>
                <a:gd name="connsiteY600" fmla="*/ 31529 h 502214"/>
                <a:gd name="connsiteX601" fmla="*/ 389936 w 711807"/>
                <a:gd name="connsiteY601" fmla="*/ 19143 h 502214"/>
                <a:gd name="connsiteX602" fmla="*/ 303412 w 711807"/>
                <a:gd name="connsiteY602" fmla="*/ 0 h 502214"/>
                <a:gd name="connsiteX603" fmla="*/ 310334 w 711807"/>
                <a:gd name="connsiteY603" fmla="*/ 2252 h 502214"/>
                <a:gd name="connsiteX604" fmla="*/ 321871 w 711807"/>
                <a:gd name="connsiteY604" fmla="*/ 11260 h 502214"/>
                <a:gd name="connsiteX605" fmla="*/ 329946 w 711807"/>
                <a:gd name="connsiteY605" fmla="*/ 22520 h 502214"/>
                <a:gd name="connsiteX606" fmla="*/ 317256 w 711807"/>
                <a:gd name="connsiteY606" fmla="*/ 10134 h 502214"/>
                <a:gd name="connsiteX607" fmla="*/ 309180 w 711807"/>
                <a:gd name="connsiteY607" fmla="*/ 3378 h 502214"/>
                <a:gd name="connsiteX608" fmla="*/ 305719 w 711807"/>
                <a:gd name="connsiteY608" fmla="*/ 3378 h 502214"/>
                <a:gd name="connsiteX609" fmla="*/ 312641 w 711807"/>
                <a:gd name="connsiteY609" fmla="*/ 7882 h 502214"/>
                <a:gd name="connsiteX610" fmla="*/ 333407 w 711807"/>
                <a:gd name="connsiteY610" fmla="*/ 28151 h 502214"/>
                <a:gd name="connsiteX611" fmla="*/ 334561 w 711807"/>
                <a:gd name="connsiteY611" fmla="*/ 31529 h 502214"/>
                <a:gd name="connsiteX612" fmla="*/ 309180 w 711807"/>
                <a:gd name="connsiteY612" fmla="*/ 12386 h 502214"/>
                <a:gd name="connsiteX613" fmla="*/ 308027 w 711807"/>
                <a:gd name="connsiteY613" fmla="*/ 10134 h 502214"/>
                <a:gd name="connsiteX614" fmla="*/ 303412 w 711807"/>
                <a:gd name="connsiteY614" fmla="*/ 11260 h 502214"/>
                <a:gd name="connsiteX615" fmla="*/ 297644 w 711807"/>
                <a:gd name="connsiteY615" fmla="*/ 9008 h 502214"/>
                <a:gd name="connsiteX616" fmla="*/ 297644 w 711807"/>
                <a:gd name="connsiteY616" fmla="*/ 12386 h 502214"/>
                <a:gd name="connsiteX617" fmla="*/ 304565 w 711807"/>
                <a:gd name="connsiteY617" fmla="*/ 15764 h 502214"/>
                <a:gd name="connsiteX618" fmla="*/ 310334 w 711807"/>
                <a:gd name="connsiteY618" fmla="*/ 19143 h 502214"/>
                <a:gd name="connsiteX619" fmla="*/ 310334 w 711807"/>
                <a:gd name="connsiteY619" fmla="*/ 15764 h 502214"/>
                <a:gd name="connsiteX620" fmla="*/ 332253 w 711807"/>
                <a:gd name="connsiteY620" fmla="*/ 34907 h 502214"/>
                <a:gd name="connsiteX621" fmla="*/ 328792 w 711807"/>
                <a:gd name="connsiteY621" fmla="*/ 36033 h 502214"/>
                <a:gd name="connsiteX622" fmla="*/ 326485 w 711807"/>
                <a:gd name="connsiteY622" fmla="*/ 36033 h 502214"/>
                <a:gd name="connsiteX623" fmla="*/ 324178 w 711807"/>
                <a:gd name="connsiteY623" fmla="*/ 31529 h 502214"/>
                <a:gd name="connsiteX624" fmla="*/ 318409 w 711807"/>
                <a:gd name="connsiteY624" fmla="*/ 28151 h 502214"/>
                <a:gd name="connsiteX625" fmla="*/ 306876 w 711807"/>
                <a:gd name="connsiteY625" fmla="*/ 31615 h 502214"/>
                <a:gd name="connsiteX626" fmla="*/ 302794 w 711807"/>
                <a:gd name="connsiteY626" fmla="*/ 32534 h 502214"/>
                <a:gd name="connsiteX627" fmla="*/ 297644 w 711807"/>
                <a:gd name="connsiteY627" fmla="*/ 31529 h 502214"/>
                <a:gd name="connsiteX628" fmla="*/ 308027 w 711807"/>
                <a:gd name="connsiteY628" fmla="*/ 39411 h 502214"/>
                <a:gd name="connsiteX629" fmla="*/ 310334 w 711807"/>
                <a:gd name="connsiteY629" fmla="*/ 48419 h 502214"/>
                <a:gd name="connsiteX630" fmla="*/ 304565 w 711807"/>
                <a:gd name="connsiteY630" fmla="*/ 63058 h 502214"/>
                <a:gd name="connsiteX631" fmla="*/ 295336 w 711807"/>
                <a:gd name="connsiteY631" fmla="*/ 61932 h 502214"/>
                <a:gd name="connsiteX632" fmla="*/ 293029 w 711807"/>
                <a:gd name="connsiteY632" fmla="*/ 66436 h 502214"/>
                <a:gd name="connsiteX633" fmla="*/ 294182 w 711807"/>
                <a:gd name="connsiteY633" fmla="*/ 75444 h 502214"/>
                <a:gd name="connsiteX634" fmla="*/ 293029 w 711807"/>
                <a:gd name="connsiteY634" fmla="*/ 77697 h 502214"/>
                <a:gd name="connsiteX635" fmla="*/ 288414 w 711807"/>
                <a:gd name="connsiteY635" fmla="*/ 47293 h 502214"/>
                <a:gd name="connsiteX636" fmla="*/ 286107 w 711807"/>
                <a:gd name="connsiteY636" fmla="*/ 37159 h 502214"/>
                <a:gd name="connsiteX637" fmla="*/ 278031 w 711807"/>
                <a:gd name="connsiteY637" fmla="*/ 23646 h 502214"/>
                <a:gd name="connsiteX638" fmla="*/ 279185 w 711807"/>
                <a:gd name="connsiteY638" fmla="*/ 21394 h 502214"/>
                <a:gd name="connsiteX639" fmla="*/ 281492 w 711807"/>
                <a:gd name="connsiteY639" fmla="*/ 15764 h 502214"/>
                <a:gd name="connsiteX640" fmla="*/ 293029 w 711807"/>
                <a:gd name="connsiteY640" fmla="*/ 3378 h 50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Lst>
              <a:rect l="l" t="t" r="r" b="b"/>
              <a:pathLst>
                <a:path w="711807" h="502214">
                  <a:moveTo>
                    <a:pt x="273413" y="376108"/>
                  </a:moveTo>
                  <a:lnTo>
                    <a:pt x="272263" y="379475"/>
                  </a:lnTo>
                  <a:lnTo>
                    <a:pt x="272479" y="379757"/>
                  </a:lnTo>
                  <a:close/>
                  <a:moveTo>
                    <a:pt x="28897" y="319688"/>
                  </a:moveTo>
                  <a:lnTo>
                    <a:pt x="29995" y="319795"/>
                  </a:lnTo>
                  <a:lnTo>
                    <a:pt x="28842" y="319795"/>
                  </a:lnTo>
                  <a:close/>
                  <a:moveTo>
                    <a:pt x="32302" y="317543"/>
                  </a:moveTo>
                  <a:lnTo>
                    <a:pt x="34610" y="318669"/>
                  </a:lnTo>
                  <a:lnTo>
                    <a:pt x="34610" y="320921"/>
                  </a:lnTo>
                  <a:lnTo>
                    <a:pt x="31149" y="319795"/>
                  </a:lnTo>
                  <a:close/>
                  <a:moveTo>
                    <a:pt x="61252" y="309133"/>
                  </a:moveTo>
                  <a:lnTo>
                    <a:pt x="62874" y="311350"/>
                  </a:lnTo>
                  <a:lnTo>
                    <a:pt x="61144" y="309661"/>
                  </a:lnTo>
                  <a:close/>
                  <a:moveTo>
                    <a:pt x="28842" y="305156"/>
                  </a:moveTo>
                  <a:lnTo>
                    <a:pt x="31149" y="305156"/>
                  </a:lnTo>
                  <a:lnTo>
                    <a:pt x="31149" y="308535"/>
                  </a:lnTo>
                  <a:close/>
                  <a:moveTo>
                    <a:pt x="13844" y="300653"/>
                  </a:moveTo>
                  <a:lnTo>
                    <a:pt x="19612" y="304031"/>
                  </a:lnTo>
                  <a:lnTo>
                    <a:pt x="26534" y="305156"/>
                  </a:lnTo>
                  <a:lnTo>
                    <a:pt x="28842" y="307409"/>
                  </a:lnTo>
                  <a:lnTo>
                    <a:pt x="27688" y="315291"/>
                  </a:lnTo>
                  <a:lnTo>
                    <a:pt x="29995" y="317543"/>
                  </a:lnTo>
                  <a:lnTo>
                    <a:pt x="28897" y="319688"/>
                  </a:lnTo>
                  <a:lnTo>
                    <a:pt x="18459" y="318669"/>
                  </a:lnTo>
                  <a:lnTo>
                    <a:pt x="5768" y="309661"/>
                  </a:lnTo>
                  <a:lnTo>
                    <a:pt x="14998" y="317543"/>
                  </a:lnTo>
                  <a:lnTo>
                    <a:pt x="3461" y="308535"/>
                  </a:lnTo>
                  <a:lnTo>
                    <a:pt x="4615" y="302905"/>
                  </a:lnTo>
                  <a:lnTo>
                    <a:pt x="9229" y="305156"/>
                  </a:lnTo>
                  <a:lnTo>
                    <a:pt x="11536" y="310787"/>
                  </a:lnTo>
                  <a:lnTo>
                    <a:pt x="11536" y="302905"/>
                  </a:lnTo>
                  <a:close/>
                  <a:moveTo>
                    <a:pt x="14998" y="282636"/>
                  </a:moveTo>
                  <a:lnTo>
                    <a:pt x="16151" y="283762"/>
                  </a:lnTo>
                  <a:lnTo>
                    <a:pt x="14998" y="283762"/>
                  </a:lnTo>
                  <a:close/>
                  <a:moveTo>
                    <a:pt x="16151" y="280383"/>
                  </a:moveTo>
                  <a:lnTo>
                    <a:pt x="17305" y="281510"/>
                  </a:lnTo>
                  <a:lnTo>
                    <a:pt x="17305" y="282636"/>
                  </a:lnTo>
                  <a:close/>
                  <a:moveTo>
                    <a:pt x="8076" y="280383"/>
                  </a:moveTo>
                  <a:lnTo>
                    <a:pt x="10383" y="282636"/>
                  </a:lnTo>
                  <a:lnTo>
                    <a:pt x="5768" y="287140"/>
                  </a:lnTo>
                  <a:lnTo>
                    <a:pt x="4615" y="281510"/>
                  </a:lnTo>
                  <a:close/>
                  <a:moveTo>
                    <a:pt x="1154" y="274753"/>
                  </a:moveTo>
                  <a:lnTo>
                    <a:pt x="3461" y="275880"/>
                  </a:lnTo>
                  <a:lnTo>
                    <a:pt x="1154" y="278132"/>
                  </a:lnTo>
                  <a:close/>
                  <a:moveTo>
                    <a:pt x="49608" y="270250"/>
                  </a:moveTo>
                  <a:lnTo>
                    <a:pt x="53068" y="273627"/>
                  </a:lnTo>
                  <a:lnTo>
                    <a:pt x="44993" y="275880"/>
                  </a:lnTo>
                  <a:lnTo>
                    <a:pt x="40378" y="274753"/>
                  </a:lnTo>
                  <a:lnTo>
                    <a:pt x="43839" y="271375"/>
                  </a:lnTo>
                  <a:close/>
                  <a:moveTo>
                    <a:pt x="12691" y="248854"/>
                  </a:moveTo>
                  <a:lnTo>
                    <a:pt x="11536" y="249981"/>
                  </a:lnTo>
                  <a:lnTo>
                    <a:pt x="5768" y="252233"/>
                  </a:lnTo>
                  <a:close/>
                  <a:moveTo>
                    <a:pt x="113751" y="242293"/>
                  </a:moveTo>
                  <a:lnTo>
                    <a:pt x="113022" y="245137"/>
                  </a:lnTo>
                  <a:lnTo>
                    <a:pt x="111428" y="246693"/>
                  </a:lnTo>
                  <a:lnTo>
                    <a:pt x="109833" y="245137"/>
                  </a:lnTo>
                  <a:lnTo>
                    <a:pt x="110630" y="242801"/>
                  </a:lnTo>
                  <a:close/>
                  <a:moveTo>
                    <a:pt x="113820" y="242022"/>
                  </a:moveTo>
                  <a:lnTo>
                    <a:pt x="115415" y="242022"/>
                  </a:lnTo>
                  <a:lnTo>
                    <a:pt x="113751" y="242293"/>
                  </a:lnTo>
                  <a:close/>
                  <a:moveTo>
                    <a:pt x="18359" y="241364"/>
                  </a:moveTo>
                  <a:lnTo>
                    <a:pt x="17305" y="245477"/>
                  </a:lnTo>
                  <a:lnTo>
                    <a:pt x="14998" y="247728"/>
                  </a:lnTo>
                  <a:lnTo>
                    <a:pt x="12691" y="245477"/>
                  </a:lnTo>
                  <a:lnTo>
                    <a:pt x="13844" y="242098"/>
                  </a:lnTo>
                  <a:close/>
                  <a:moveTo>
                    <a:pt x="18459" y="240972"/>
                  </a:moveTo>
                  <a:lnTo>
                    <a:pt x="20766" y="240972"/>
                  </a:lnTo>
                  <a:lnTo>
                    <a:pt x="18359" y="241364"/>
                  </a:lnTo>
                  <a:close/>
                  <a:moveTo>
                    <a:pt x="357235" y="215452"/>
                  </a:moveTo>
                  <a:lnTo>
                    <a:pt x="357230" y="215453"/>
                  </a:lnTo>
                  <a:lnTo>
                    <a:pt x="357230" y="215454"/>
                  </a:lnTo>
                  <a:lnTo>
                    <a:pt x="357235" y="215453"/>
                  </a:lnTo>
                  <a:close/>
                  <a:moveTo>
                    <a:pt x="346097" y="211695"/>
                  </a:moveTo>
                  <a:lnTo>
                    <a:pt x="339175" y="212822"/>
                  </a:lnTo>
                  <a:lnTo>
                    <a:pt x="346097" y="211696"/>
                  </a:lnTo>
                  <a:lnTo>
                    <a:pt x="352552" y="215296"/>
                  </a:lnTo>
                  <a:lnTo>
                    <a:pt x="352554" y="215296"/>
                  </a:lnTo>
                  <a:close/>
                  <a:moveTo>
                    <a:pt x="370328" y="201578"/>
                  </a:moveTo>
                  <a:lnTo>
                    <a:pt x="372410" y="210722"/>
                  </a:lnTo>
                  <a:lnTo>
                    <a:pt x="372485" y="210701"/>
                  </a:lnTo>
                  <a:close/>
                  <a:moveTo>
                    <a:pt x="667968" y="149763"/>
                  </a:moveTo>
                  <a:lnTo>
                    <a:pt x="669122" y="155393"/>
                  </a:lnTo>
                  <a:lnTo>
                    <a:pt x="669017" y="155905"/>
                  </a:lnTo>
                  <a:close/>
                  <a:moveTo>
                    <a:pt x="571061" y="143007"/>
                  </a:moveTo>
                  <a:lnTo>
                    <a:pt x="583751" y="144133"/>
                  </a:lnTo>
                  <a:lnTo>
                    <a:pt x="609132" y="153141"/>
                  </a:lnTo>
                  <a:lnTo>
                    <a:pt x="624129" y="159898"/>
                  </a:lnTo>
                  <a:lnTo>
                    <a:pt x="639126" y="146385"/>
                  </a:lnTo>
                  <a:lnTo>
                    <a:pt x="655277" y="150889"/>
                  </a:lnTo>
                  <a:lnTo>
                    <a:pt x="661046" y="146385"/>
                  </a:lnTo>
                  <a:lnTo>
                    <a:pt x="657585" y="152015"/>
                  </a:lnTo>
                  <a:lnTo>
                    <a:pt x="661046" y="156519"/>
                  </a:lnTo>
                  <a:lnTo>
                    <a:pt x="655277" y="156519"/>
                  </a:lnTo>
                  <a:lnTo>
                    <a:pt x="661046" y="159898"/>
                  </a:lnTo>
                  <a:lnTo>
                    <a:pt x="658739" y="165528"/>
                  </a:lnTo>
                  <a:lnTo>
                    <a:pt x="640280" y="162149"/>
                  </a:lnTo>
                  <a:lnTo>
                    <a:pt x="639126" y="166654"/>
                  </a:lnTo>
                  <a:lnTo>
                    <a:pt x="656432" y="170032"/>
                  </a:lnTo>
                  <a:lnTo>
                    <a:pt x="655277" y="174536"/>
                  </a:lnTo>
                  <a:lnTo>
                    <a:pt x="646049" y="172284"/>
                  </a:lnTo>
                  <a:lnTo>
                    <a:pt x="646049" y="175662"/>
                  </a:lnTo>
                  <a:lnTo>
                    <a:pt x="674890" y="179040"/>
                  </a:lnTo>
                  <a:lnTo>
                    <a:pt x="674890" y="175662"/>
                  </a:lnTo>
                  <a:lnTo>
                    <a:pt x="665661" y="172284"/>
                  </a:lnTo>
                  <a:lnTo>
                    <a:pt x="669017" y="155905"/>
                  </a:lnTo>
                  <a:lnTo>
                    <a:pt x="669122" y="156519"/>
                  </a:lnTo>
                  <a:lnTo>
                    <a:pt x="689887" y="165528"/>
                  </a:lnTo>
                  <a:lnTo>
                    <a:pt x="709500" y="182418"/>
                  </a:lnTo>
                  <a:lnTo>
                    <a:pt x="711807" y="190301"/>
                  </a:lnTo>
                  <a:lnTo>
                    <a:pt x="709500" y="192553"/>
                  </a:lnTo>
                  <a:lnTo>
                    <a:pt x="711807" y="192553"/>
                  </a:lnTo>
                  <a:lnTo>
                    <a:pt x="709500" y="193678"/>
                  </a:lnTo>
                  <a:lnTo>
                    <a:pt x="703731" y="212821"/>
                  </a:lnTo>
                  <a:lnTo>
                    <a:pt x="702577" y="235342"/>
                  </a:lnTo>
                  <a:lnTo>
                    <a:pt x="689887" y="228586"/>
                  </a:lnTo>
                  <a:lnTo>
                    <a:pt x="671429" y="212821"/>
                  </a:lnTo>
                  <a:lnTo>
                    <a:pt x="620668" y="244350"/>
                  </a:lnTo>
                  <a:lnTo>
                    <a:pt x="616053" y="237594"/>
                  </a:lnTo>
                  <a:lnTo>
                    <a:pt x="611439" y="238720"/>
                  </a:lnTo>
                  <a:lnTo>
                    <a:pt x="610285" y="233090"/>
                  </a:lnTo>
                  <a:lnTo>
                    <a:pt x="605671" y="233090"/>
                  </a:lnTo>
                  <a:lnTo>
                    <a:pt x="597595" y="245477"/>
                  </a:lnTo>
                  <a:lnTo>
                    <a:pt x="576829" y="258990"/>
                  </a:lnTo>
                  <a:lnTo>
                    <a:pt x="557216" y="282636"/>
                  </a:lnTo>
                  <a:lnTo>
                    <a:pt x="536451" y="302905"/>
                  </a:lnTo>
                  <a:lnTo>
                    <a:pt x="529529" y="307409"/>
                  </a:lnTo>
                  <a:lnTo>
                    <a:pt x="524914" y="314165"/>
                  </a:lnTo>
                  <a:lnTo>
                    <a:pt x="519146" y="309661"/>
                  </a:lnTo>
                  <a:lnTo>
                    <a:pt x="512224" y="307409"/>
                  </a:lnTo>
                  <a:lnTo>
                    <a:pt x="508763" y="309661"/>
                  </a:lnTo>
                  <a:lnTo>
                    <a:pt x="504148" y="307409"/>
                  </a:lnTo>
                  <a:lnTo>
                    <a:pt x="501841" y="309661"/>
                  </a:lnTo>
                  <a:lnTo>
                    <a:pt x="498380" y="310787"/>
                  </a:lnTo>
                  <a:lnTo>
                    <a:pt x="491458" y="307409"/>
                  </a:lnTo>
                  <a:lnTo>
                    <a:pt x="486844" y="309661"/>
                  </a:lnTo>
                  <a:lnTo>
                    <a:pt x="484536" y="308535"/>
                  </a:lnTo>
                  <a:lnTo>
                    <a:pt x="484536" y="309661"/>
                  </a:lnTo>
                  <a:lnTo>
                    <a:pt x="482229" y="309661"/>
                  </a:lnTo>
                  <a:lnTo>
                    <a:pt x="478768" y="311913"/>
                  </a:lnTo>
                  <a:lnTo>
                    <a:pt x="474153" y="311913"/>
                  </a:lnTo>
                  <a:lnTo>
                    <a:pt x="471846" y="308535"/>
                  </a:lnTo>
                  <a:lnTo>
                    <a:pt x="470692" y="309661"/>
                  </a:lnTo>
                  <a:lnTo>
                    <a:pt x="469538" y="314165"/>
                  </a:lnTo>
                  <a:lnTo>
                    <a:pt x="462617" y="315291"/>
                  </a:lnTo>
                  <a:lnTo>
                    <a:pt x="463770" y="318669"/>
                  </a:lnTo>
                  <a:lnTo>
                    <a:pt x="461463" y="315291"/>
                  </a:lnTo>
                  <a:lnTo>
                    <a:pt x="453387" y="318669"/>
                  </a:lnTo>
                  <a:lnTo>
                    <a:pt x="455694" y="331056"/>
                  </a:lnTo>
                  <a:lnTo>
                    <a:pt x="453387" y="335560"/>
                  </a:lnTo>
                  <a:lnTo>
                    <a:pt x="446466" y="336686"/>
                  </a:lnTo>
                  <a:lnTo>
                    <a:pt x="445312" y="338938"/>
                  </a:lnTo>
                  <a:lnTo>
                    <a:pt x="429161" y="336686"/>
                  </a:lnTo>
                  <a:lnTo>
                    <a:pt x="419932" y="343442"/>
                  </a:lnTo>
                  <a:lnTo>
                    <a:pt x="423392" y="341191"/>
                  </a:lnTo>
                  <a:lnTo>
                    <a:pt x="429160" y="352451"/>
                  </a:lnTo>
                  <a:lnTo>
                    <a:pt x="432621" y="351325"/>
                  </a:lnTo>
                  <a:lnTo>
                    <a:pt x="432621" y="356955"/>
                  </a:lnTo>
                  <a:lnTo>
                    <a:pt x="419931" y="360334"/>
                  </a:lnTo>
                  <a:lnTo>
                    <a:pt x="425699" y="360334"/>
                  </a:lnTo>
                  <a:lnTo>
                    <a:pt x="429160" y="370467"/>
                  </a:lnTo>
                  <a:lnTo>
                    <a:pt x="438389" y="369342"/>
                  </a:lnTo>
                  <a:lnTo>
                    <a:pt x="441851" y="377224"/>
                  </a:lnTo>
                  <a:lnTo>
                    <a:pt x="440696" y="380602"/>
                  </a:lnTo>
                  <a:lnTo>
                    <a:pt x="448772" y="395240"/>
                  </a:lnTo>
                  <a:lnTo>
                    <a:pt x="466077" y="394115"/>
                  </a:lnTo>
                  <a:lnTo>
                    <a:pt x="471845" y="405375"/>
                  </a:lnTo>
                  <a:lnTo>
                    <a:pt x="478767" y="403123"/>
                  </a:lnTo>
                  <a:lnTo>
                    <a:pt x="483382" y="404249"/>
                  </a:lnTo>
                  <a:lnTo>
                    <a:pt x="455694" y="475190"/>
                  </a:lnTo>
                  <a:lnTo>
                    <a:pt x="463770" y="485324"/>
                  </a:lnTo>
                  <a:lnTo>
                    <a:pt x="466077" y="498837"/>
                  </a:lnTo>
                  <a:lnTo>
                    <a:pt x="449926" y="502214"/>
                  </a:lnTo>
                  <a:lnTo>
                    <a:pt x="448772" y="498837"/>
                  </a:lnTo>
                  <a:lnTo>
                    <a:pt x="436082" y="499963"/>
                  </a:lnTo>
                  <a:lnTo>
                    <a:pt x="436082" y="495458"/>
                  </a:lnTo>
                  <a:lnTo>
                    <a:pt x="416469" y="492081"/>
                  </a:lnTo>
                  <a:lnTo>
                    <a:pt x="417624" y="481946"/>
                  </a:lnTo>
                  <a:lnTo>
                    <a:pt x="415316" y="481946"/>
                  </a:lnTo>
                  <a:lnTo>
                    <a:pt x="415316" y="483072"/>
                  </a:lnTo>
                  <a:lnTo>
                    <a:pt x="396858" y="483072"/>
                  </a:lnTo>
                  <a:lnTo>
                    <a:pt x="395704" y="479694"/>
                  </a:lnTo>
                  <a:lnTo>
                    <a:pt x="381860" y="483072"/>
                  </a:lnTo>
                  <a:lnTo>
                    <a:pt x="378399" y="478568"/>
                  </a:lnTo>
                  <a:lnTo>
                    <a:pt x="378687" y="477723"/>
                  </a:lnTo>
                  <a:lnTo>
                    <a:pt x="369170" y="480819"/>
                  </a:lnTo>
                  <a:lnTo>
                    <a:pt x="366863" y="479694"/>
                  </a:lnTo>
                  <a:lnTo>
                    <a:pt x="368016" y="485324"/>
                  </a:lnTo>
                  <a:lnTo>
                    <a:pt x="355326" y="489828"/>
                  </a:lnTo>
                  <a:lnTo>
                    <a:pt x="353019" y="492080"/>
                  </a:lnTo>
                  <a:lnTo>
                    <a:pt x="347250" y="488702"/>
                  </a:lnTo>
                  <a:lnTo>
                    <a:pt x="339174" y="492080"/>
                  </a:lnTo>
                  <a:lnTo>
                    <a:pt x="336867" y="490954"/>
                  </a:lnTo>
                  <a:lnTo>
                    <a:pt x="334560" y="471812"/>
                  </a:lnTo>
                  <a:lnTo>
                    <a:pt x="331099" y="469559"/>
                  </a:lnTo>
                  <a:lnTo>
                    <a:pt x="320716" y="472937"/>
                  </a:lnTo>
                  <a:lnTo>
                    <a:pt x="311487" y="472937"/>
                  </a:lnTo>
                  <a:lnTo>
                    <a:pt x="311487" y="467307"/>
                  </a:lnTo>
                  <a:lnTo>
                    <a:pt x="303411" y="469559"/>
                  </a:lnTo>
                  <a:lnTo>
                    <a:pt x="298796" y="456046"/>
                  </a:lnTo>
                  <a:lnTo>
                    <a:pt x="289568" y="456046"/>
                  </a:lnTo>
                  <a:lnTo>
                    <a:pt x="287260" y="449290"/>
                  </a:lnTo>
                  <a:lnTo>
                    <a:pt x="283799" y="449290"/>
                  </a:lnTo>
                  <a:lnTo>
                    <a:pt x="275724" y="454921"/>
                  </a:lnTo>
                  <a:lnTo>
                    <a:pt x="273416" y="453795"/>
                  </a:lnTo>
                  <a:lnTo>
                    <a:pt x="274570" y="451543"/>
                  </a:lnTo>
                  <a:lnTo>
                    <a:pt x="271109" y="453795"/>
                  </a:lnTo>
                  <a:lnTo>
                    <a:pt x="268802" y="449290"/>
                  </a:lnTo>
                  <a:lnTo>
                    <a:pt x="257265" y="458299"/>
                  </a:lnTo>
                  <a:lnTo>
                    <a:pt x="256111" y="453795"/>
                  </a:lnTo>
                  <a:lnTo>
                    <a:pt x="249190" y="451543"/>
                  </a:lnTo>
                  <a:lnTo>
                    <a:pt x="253804" y="444787"/>
                  </a:lnTo>
                  <a:lnTo>
                    <a:pt x="257265" y="444787"/>
                  </a:lnTo>
                  <a:lnTo>
                    <a:pt x="259573" y="443660"/>
                  </a:lnTo>
                  <a:lnTo>
                    <a:pt x="261880" y="436904"/>
                  </a:lnTo>
                  <a:lnTo>
                    <a:pt x="258418" y="431274"/>
                  </a:lnTo>
                  <a:lnTo>
                    <a:pt x="254958" y="432400"/>
                  </a:lnTo>
                  <a:lnTo>
                    <a:pt x="250343" y="430148"/>
                  </a:lnTo>
                  <a:lnTo>
                    <a:pt x="249190" y="425644"/>
                  </a:lnTo>
                  <a:lnTo>
                    <a:pt x="246882" y="425644"/>
                  </a:lnTo>
                  <a:lnTo>
                    <a:pt x="246882" y="420014"/>
                  </a:lnTo>
                  <a:lnTo>
                    <a:pt x="249190" y="420014"/>
                  </a:lnTo>
                  <a:lnTo>
                    <a:pt x="248036" y="417761"/>
                  </a:lnTo>
                  <a:lnTo>
                    <a:pt x="253804" y="408753"/>
                  </a:lnTo>
                  <a:lnTo>
                    <a:pt x="253804" y="394114"/>
                  </a:lnTo>
                  <a:lnTo>
                    <a:pt x="257265" y="392988"/>
                  </a:lnTo>
                  <a:lnTo>
                    <a:pt x="264023" y="392988"/>
                  </a:lnTo>
                  <a:lnTo>
                    <a:pt x="263034" y="386231"/>
                  </a:lnTo>
                  <a:lnTo>
                    <a:pt x="256112" y="374971"/>
                  </a:lnTo>
                  <a:lnTo>
                    <a:pt x="249190" y="377224"/>
                  </a:lnTo>
                  <a:lnTo>
                    <a:pt x="241115" y="374971"/>
                  </a:lnTo>
                  <a:lnTo>
                    <a:pt x="234193" y="387357"/>
                  </a:lnTo>
                  <a:lnTo>
                    <a:pt x="228425" y="390736"/>
                  </a:lnTo>
                  <a:lnTo>
                    <a:pt x="203043" y="389610"/>
                  </a:lnTo>
                  <a:lnTo>
                    <a:pt x="191507" y="387357"/>
                  </a:lnTo>
                  <a:lnTo>
                    <a:pt x="185739" y="397492"/>
                  </a:lnTo>
                  <a:lnTo>
                    <a:pt x="179971" y="399744"/>
                  </a:lnTo>
                  <a:lnTo>
                    <a:pt x="174202" y="394114"/>
                  </a:lnTo>
                  <a:lnTo>
                    <a:pt x="169588" y="391862"/>
                  </a:lnTo>
                  <a:lnTo>
                    <a:pt x="154590" y="398618"/>
                  </a:lnTo>
                  <a:lnTo>
                    <a:pt x="143054" y="395240"/>
                  </a:lnTo>
                  <a:lnTo>
                    <a:pt x="140747" y="390736"/>
                  </a:lnTo>
                  <a:lnTo>
                    <a:pt x="139593" y="381727"/>
                  </a:lnTo>
                  <a:lnTo>
                    <a:pt x="137286" y="376097"/>
                  </a:lnTo>
                  <a:lnTo>
                    <a:pt x="115366" y="360333"/>
                  </a:lnTo>
                  <a:lnTo>
                    <a:pt x="119981" y="362584"/>
                  </a:lnTo>
                  <a:lnTo>
                    <a:pt x="119981" y="359207"/>
                  </a:lnTo>
                  <a:lnTo>
                    <a:pt x="123441" y="358081"/>
                  </a:lnTo>
                  <a:lnTo>
                    <a:pt x="116520" y="358081"/>
                  </a:lnTo>
                  <a:lnTo>
                    <a:pt x="121134" y="356954"/>
                  </a:lnTo>
                  <a:lnTo>
                    <a:pt x="119981" y="355828"/>
                  </a:lnTo>
                  <a:lnTo>
                    <a:pt x="115366" y="358081"/>
                  </a:lnTo>
                  <a:lnTo>
                    <a:pt x="94600" y="347946"/>
                  </a:lnTo>
                  <a:lnTo>
                    <a:pt x="76142" y="342316"/>
                  </a:lnTo>
                  <a:lnTo>
                    <a:pt x="71527" y="343442"/>
                  </a:lnTo>
                  <a:lnTo>
                    <a:pt x="62298" y="351324"/>
                  </a:lnTo>
                  <a:lnTo>
                    <a:pt x="55376" y="351324"/>
                  </a:lnTo>
                  <a:lnTo>
                    <a:pt x="55376" y="337812"/>
                  </a:lnTo>
                  <a:lnTo>
                    <a:pt x="56529" y="338938"/>
                  </a:lnTo>
                  <a:lnTo>
                    <a:pt x="69220" y="335560"/>
                  </a:lnTo>
                  <a:lnTo>
                    <a:pt x="73834" y="328804"/>
                  </a:lnTo>
                  <a:lnTo>
                    <a:pt x="74988" y="327678"/>
                  </a:lnTo>
                  <a:lnTo>
                    <a:pt x="79603" y="329929"/>
                  </a:lnTo>
                  <a:lnTo>
                    <a:pt x="79603" y="327678"/>
                  </a:lnTo>
                  <a:lnTo>
                    <a:pt x="77295" y="325425"/>
                  </a:lnTo>
                  <a:lnTo>
                    <a:pt x="78449" y="323173"/>
                  </a:lnTo>
                  <a:lnTo>
                    <a:pt x="76142" y="324299"/>
                  </a:lnTo>
                  <a:lnTo>
                    <a:pt x="70373" y="322047"/>
                  </a:lnTo>
                  <a:lnTo>
                    <a:pt x="63452" y="327678"/>
                  </a:lnTo>
                  <a:lnTo>
                    <a:pt x="55376" y="324299"/>
                  </a:lnTo>
                  <a:lnTo>
                    <a:pt x="63452" y="317543"/>
                  </a:lnTo>
                  <a:lnTo>
                    <a:pt x="68066" y="319795"/>
                  </a:lnTo>
                  <a:lnTo>
                    <a:pt x="70373" y="318669"/>
                  </a:lnTo>
                  <a:lnTo>
                    <a:pt x="66912" y="318669"/>
                  </a:lnTo>
                  <a:lnTo>
                    <a:pt x="61144" y="315291"/>
                  </a:lnTo>
                  <a:lnTo>
                    <a:pt x="61144" y="309661"/>
                  </a:lnTo>
                  <a:lnTo>
                    <a:pt x="62298" y="314165"/>
                  </a:lnTo>
                  <a:lnTo>
                    <a:pt x="65759" y="315291"/>
                  </a:lnTo>
                  <a:lnTo>
                    <a:pt x="62874" y="311350"/>
                  </a:lnTo>
                  <a:lnTo>
                    <a:pt x="65759" y="314165"/>
                  </a:lnTo>
                  <a:lnTo>
                    <a:pt x="66912" y="311912"/>
                  </a:lnTo>
                  <a:lnTo>
                    <a:pt x="76142" y="311912"/>
                  </a:lnTo>
                  <a:lnTo>
                    <a:pt x="68066" y="309661"/>
                  </a:lnTo>
                  <a:lnTo>
                    <a:pt x="64605" y="310787"/>
                  </a:lnTo>
                  <a:lnTo>
                    <a:pt x="62298" y="304031"/>
                  </a:lnTo>
                  <a:lnTo>
                    <a:pt x="61252" y="309133"/>
                  </a:lnTo>
                  <a:lnTo>
                    <a:pt x="59990" y="307409"/>
                  </a:lnTo>
                  <a:lnTo>
                    <a:pt x="59990" y="309661"/>
                  </a:lnTo>
                  <a:lnTo>
                    <a:pt x="55376" y="314165"/>
                  </a:lnTo>
                  <a:lnTo>
                    <a:pt x="42686" y="316417"/>
                  </a:lnTo>
                  <a:lnTo>
                    <a:pt x="39225" y="319795"/>
                  </a:lnTo>
                  <a:lnTo>
                    <a:pt x="36917" y="315291"/>
                  </a:lnTo>
                  <a:lnTo>
                    <a:pt x="31149" y="314165"/>
                  </a:lnTo>
                  <a:lnTo>
                    <a:pt x="31149" y="310787"/>
                  </a:lnTo>
                  <a:lnTo>
                    <a:pt x="34610" y="309661"/>
                  </a:lnTo>
                  <a:lnTo>
                    <a:pt x="34610" y="306282"/>
                  </a:lnTo>
                  <a:lnTo>
                    <a:pt x="42686" y="306282"/>
                  </a:lnTo>
                  <a:lnTo>
                    <a:pt x="55376" y="304031"/>
                  </a:lnTo>
                  <a:lnTo>
                    <a:pt x="53068" y="304031"/>
                  </a:lnTo>
                  <a:lnTo>
                    <a:pt x="47300" y="301779"/>
                  </a:lnTo>
                  <a:lnTo>
                    <a:pt x="41532" y="302905"/>
                  </a:lnTo>
                  <a:lnTo>
                    <a:pt x="40378" y="301779"/>
                  </a:lnTo>
                  <a:lnTo>
                    <a:pt x="29995" y="299526"/>
                  </a:lnTo>
                  <a:lnTo>
                    <a:pt x="27688" y="296148"/>
                  </a:lnTo>
                  <a:lnTo>
                    <a:pt x="28842" y="299526"/>
                  </a:lnTo>
                  <a:lnTo>
                    <a:pt x="23074" y="299526"/>
                  </a:lnTo>
                  <a:lnTo>
                    <a:pt x="13844" y="296148"/>
                  </a:lnTo>
                  <a:lnTo>
                    <a:pt x="5768" y="295023"/>
                  </a:lnTo>
                  <a:lnTo>
                    <a:pt x="4615" y="290518"/>
                  </a:lnTo>
                  <a:lnTo>
                    <a:pt x="5768" y="288266"/>
                  </a:lnTo>
                  <a:lnTo>
                    <a:pt x="11536" y="288266"/>
                  </a:lnTo>
                  <a:lnTo>
                    <a:pt x="12691" y="289392"/>
                  </a:lnTo>
                  <a:lnTo>
                    <a:pt x="17305" y="288266"/>
                  </a:lnTo>
                  <a:lnTo>
                    <a:pt x="19612" y="288266"/>
                  </a:lnTo>
                  <a:lnTo>
                    <a:pt x="21919" y="288266"/>
                  </a:lnTo>
                  <a:lnTo>
                    <a:pt x="20766" y="287140"/>
                  </a:lnTo>
                  <a:lnTo>
                    <a:pt x="23074" y="283762"/>
                  </a:lnTo>
                  <a:lnTo>
                    <a:pt x="20766" y="283762"/>
                  </a:lnTo>
                  <a:lnTo>
                    <a:pt x="18459" y="281510"/>
                  </a:lnTo>
                  <a:lnTo>
                    <a:pt x="17305" y="275880"/>
                  </a:lnTo>
                  <a:lnTo>
                    <a:pt x="12691" y="275880"/>
                  </a:lnTo>
                  <a:lnTo>
                    <a:pt x="12691" y="272501"/>
                  </a:lnTo>
                  <a:lnTo>
                    <a:pt x="0" y="269123"/>
                  </a:lnTo>
                  <a:lnTo>
                    <a:pt x="1154" y="266871"/>
                  </a:lnTo>
                  <a:lnTo>
                    <a:pt x="0" y="265745"/>
                  </a:lnTo>
                  <a:lnTo>
                    <a:pt x="3461" y="262367"/>
                  </a:lnTo>
                  <a:lnTo>
                    <a:pt x="2307" y="260115"/>
                  </a:lnTo>
                  <a:lnTo>
                    <a:pt x="2307" y="256737"/>
                  </a:lnTo>
                  <a:lnTo>
                    <a:pt x="5768" y="254484"/>
                  </a:lnTo>
                  <a:lnTo>
                    <a:pt x="19612" y="254484"/>
                  </a:lnTo>
                  <a:lnTo>
                    <a:pt x="27688" y="264619"/>
                  </a:lnTo>
                  <a:lnTo>
                    <a:pt x="32302" y="266871"/>
                  </a:lnTo>
                  <a:lnTo>
                    <a:pt x="38070" y="275880"/>
                  </a:lnTo>
                  <a:lnTo>
                    <a:pt x="42686" y="278132"/>
                  </a:lnTo>
                  <a:lnTo>
                    <a:pt x="43238" y="279209"/>
                  </a:lnTo>
                  <a:lnTo>
                    <a:pt x="42686" y="279258"/>
                  </a:lnTo>
                  <a:lnTo>
                    <a:pt x="44993" y="282636"/>
                  </a:lnTo>
                  <a:lnTo>
                    <a:pt x="43238" y="279209"/>
                  </a:lnTo>
                  <a:lnTo>
                    <a:pt x="55376" y="278132"/>
                  </a:lnTo>
                  <a:lnTo>
                    <a:pt x="58836" y="273627"/>
                  </a:lnTo>
                  <a:lnTo>
                    <a:pt x="56529" y="270250"/>
                  </a:lnTo>
                  <a:lnTo>
                    <a:pt x="54222" y="266871"/>
                  </a:lnTo>
                  <a:lnTo>
                    <a:pt x="43839" y="263493"/>
                  </a:lnTo>
                  <a:lnTo>
                    <a:pt x="42686" y="265745"/>
                  </a:lnTo>
                  <a:lnTo>
                    <a:pt x="39225" y="262367"/>
                  </a:lnTo>
                  <a:lnTo>
                    <a:pt x="41532" y="260115"/>
                  </a:lnTo>
                  <a:lnTo>
                    <a:pt x="40378" y="261241"/>
                  </a:lnTo>
                  <a:lnTo>
                    <a:pt x="40378" y="258989"/>
                  </a:lnTo>
                  <a:lnTo>
                    <a:pt x="39225" y="262367"/>
                  </a:lnTo>
                  <a:lnTo>
                    <a:pt x="35763" y="260115"/>
                  </a:lnTo>
                  <a:lnTo>
                    <a:pt x="32302" y="256737"/>
                  </a:lnTo>
                  <a:lnTo>
                    <a:pt x="29995" y="256737"/>
                  </a:lnTo>
                  <a:lnTo>
                    <a:pt x="31149" y="251107"/>
                  </a:lnTo>
                  <a:lnTo>
                    <a:pt x="23074" y="252233"/>
                  </a:lnTo>
                  <a:lnTo>
                    <a:pt x="27688" y="251107"/>
                  </a:lnTo>
                  <a:lnTo>
                    <a:pt x="27688" y="248854"/>
                  </a:lnTo>
                  <a:lnTo>
                    <a:pt x="23074" y="248854"/>
                  </a:lnTo>
                  <a:lnTo>
                    <a:pt x="21919" y="251107"/>
                  </a:lnTo>
                  <a:lnTo>
                    <a:pt x="17305" y="247728"/>
                  </a:lnTo>
                  <a:lnTo>
                    <a:pt x="17305" y="245477"/>
                  </a:lnTo>
                  <a:lnTo>
                    <a:pt x="24227" y="246602"/>
                  </a:lnTo>
                  <a:lnTo>
                    <a:pt x="33456" y="243224"/>
                  </a:lnTo>
                  <a:lnTo>
                    <a:pt x="32302" y="240972"/>
                  </a:lnTo>
                  <a:lnTo>
                    <a:pt x="20766" y="244351"/>
                  </a:lnTo>
                  <a:lnTo>
                    <a:pt x="23074" y="243224"/>
                  </a:lnTo>
                  <a:lnTo>
                    <a:pt x="33456" y="239846"/>
                  </a:lnTo>
                  <a:lnTo>
                    <a:pt x="35763" y="244351"/>
                  </a:lnTo>
                  <a:lnTo>
                    <a:pt x="65759" y="234216"/>
                  </a:lnTo>
                  <a:lnTo>
                    <a:pt x="77295" y="234216"/>
                  </a:lnTo>
                  <a:lnTo>
                    <a:pt x="105848" y="249417"/>
                  </a:lnTo>
                  <a:lnTo>
                    <a:pt x="109833" y="247471"/>
                  </a:lnTo>
                  <a:lnTo>
                    <a:pt x="109034" y="248251"/>
                  </a:lnTo>
                  <a:lnTo>
                    <a:pt x="105932" y="249462"/>
                  </a:lnTo>
                  <a:lnTo>
                    <a:pt x="109505" y="251364"/>
                  </a:lnTo>
                  <a:lnTo>
                    <a:pt x="114617" y="251364"/>
                  </a:lnTo>
                  <a:lnTo>
                    <a:pt x="120201" y="258370"/>
                  </a:lnTo>
                  <a:lnTo>
                    <a:pt x="123390" y="259927"/>
                  </a:lnTo>
                  <a:lnTo>
                    <a:pt x="125350" y="262988"/>
                  </a:lnTo>
                  <a:lnTo>
                    <a:pt x="126903" y="263493"/>
                  </a:lnTo>
                  <a:lnTo>
                    <a:pt x="129036" y="266965"/>
                  </a:lnTo>
                  <a:lnTo>
                    <a:pt x="129331" y="267108"/>
                  </a:lnTo>
                  <a:lnTo>
                    <a:pt x="128056" y="264619"/>
                  </a:lnTo>
                  <a:lnTo>
                    <a:pt x="129750" y="264619"/>
                  </a:lnTo>
                  <a:lnTo>
                    <a:pt x="131366" y="263041"/>
                  </a:lnTo>
                  <a:lnTo>
                    <a:pt x="135355" y="262263"/>
                  </a:lnTo>
                  <a:lnTo>
                    <a:pt x="136132" y="263022"/>
                  </a:lnTo>
                  <a:lnTo>
                    <a:pt x="136132" y="261241"/>
                  </a:lnTo>
                  <a:lnTo>
                    <a:pt x="138614" y="260030"/>
                  </a:lnTo>
                  <a:lnTo>
                    <a:pt x="138544" y="259927"/>
                  </a:lnTo>
                  <a:lnTo>
                    <a:pt x="131366" y="257592"/>
                  </a:lnTo>
                  <a:lnTo>
                    <a:pt x="130569" y="259149"/>
                  </a:lnTo>
                  <a:lnTo>
                    <a:pt x="128176" y="256813"/>
                  </a:lnTo>
                  <a:lnTo>
                    <a:pt x="128974" y="256035"/>
                  </a:lnTo>
                  <a:lnTo>
                    <a:pt x="128974" y="254478"/>
                  </a:lnTo>
                  <a:lnTo>
                    <a:pt x="128176" y="256813"/>
                  </a:lnTo>
                  <a:lnTo>
                    <a:pt x="125783" y="255257"/>
                  </a:lnTo>
                  <a:lnTo>
                    <a:pt x="123390" y="252921"/>
                  </a:lnTo>
                  <a:lnTo>
                    <a:pt x="121795" y="252921"/>
                  </a:lnTo>
                  <a:lnTo>
                    <a:pt x="122593" y="249029"/>
                  </a:lnTo>
                  <a:lnTo>
                    <a:pt x="117011" y="249807"/>
                  </a:lnTo>
                  <a:lnTo>
                    <a:pt x="120201" y="249029"/>
                  </a:lnTo>
                  <a:lnTo>
                    <a:pt x="120201" y="247471"/>
                  </a:lnTo>
                  <a:lnTo>
                    <a:pt x="117011" y="247471"/>
                  </a:lnTo>
                  <a:lnTo>
                    <a:pt x="116212" y="249029"/>
                  </a:lnTo>
                  <a:lnTo>
                    <a:pt x="113022" y="246693"/>
                  </a:lnTo>
                  <a:lnTo>
                    <a:pt x="113022" y="245137"/>
                  </a:lnTo>
                  <a:lnTo>
                    <a:pt x="117808" y="245915"/>
                  </a:lnTo>
                  <a:lnTo>
                    <a:pt x="124188" y="243579"/>
                  </a:lnTo>
                  <a:lnTo>
                    <a:pt x="123390" y="242022"/>
                  </a:lnTo>
                  <a:lnTo>
                    <a:pt x="115415" y="244358"/>
                  </a:lnTo>
                  <a:lnTo>
                    <a:pt x="117011" y="243579"/>
                  </a:lnTo>
                  <a:lnTo>
                    <a:pt x="124188" y="241244"/>
                  </a:lnTo>
                  <a:lnTo>
                    <a:pt x="125783" y="244358"/>
                  </a:lnTo>
                  <a:lnTo>
                    <a:pt x="146520" y="237352"/>
                  </a:lnTo>
                  <a:lnTo>
                    <a:pt x="154495" y="237352"/>
                  </a:lnTo>
                  <a:lnTo>
                    <a:pt x="160502" y="240550"/>
                  </a:lnTo>
                  <a:lnTo>
                    <a:pt x="160358" y="239846"/>
                  </a:lnTo>
                  <a:lnTo>
                    <a:pt x="163499" y="242145"/>
                  </a:lnTo>
                  <a:lnTo>
                    <a:pt x="165316" y="243113"/>
                  </a:lnTo>
                  <a:lnTo>
                    <a:pt x="168434" y="242098"/>
                  </a:lnTo>
                  <a:lnTo>
                    <a:pt x="170741" y="240972"/>
                  </a:lnTo>
                  <a:lnTo>
                    <a:pt x="173049" y="237594"/>
                  </a:lnTo>
                  <a:lnTo>
                    <a:pt x="176510" y="244351"/>
                  </a:lnTo>
                  <a:lnTo>
                    <a:pt x="174202" y="237594"/>
                  </a:lnTo>
                  <a:lnTo>
                    <a:pt x="176510" y="237594"/>
                  </a:lnTo>
                  <a:lnTo>
                    <a:pt x="179971" y="244351"/>
                  </a:lnTo>
                  <a:lnTo>
                    <a:pt x="177664" y="237594"/>
                  </a:lnTo>
                  <a:lnTo>
                    <a:pt x="179971" y="237594"/>
                  </a:lnTo>
                  <a:lnTo>
                    <a:pt x="183432" y="235342"/>
                  </a:lnTo>
                  <a:lnTo>
                    <a:pt x="185739" y="233090"/>
                  </a:lnTo>
                  <a:lnTo>
                    <a:pt x="190354" y="230838"/>
                  </a:lnTo>
                  <a:lnTo>
                    <a:pt x="199583" y="228586"/>
                  </a:lnTo>
                  <a:lnTo>
                    <a:pt x="203043" y="227460"/>
                  </a:lnTo>
                  <a:lnTo>
                    <a:pt x="203043" y="226334"/>
                  </a:lnTo>
                  <a:lnTo>
                    <a:pt x="205351" y="226334"/>
                  </a:lnTo>
                  <a:lnTo>
                    <a:pt x="222656" y="222955"/>
                  </a:lnTo>
                  <a:lnTo>
                    <a:pt x="235346" y="222955"/>
                  </a:lnTo>
                  <a:lnTo>
                    <a:pt x="237653" y="219578"/>
                  </a:lnTo>
                  <a:lnTo>
                    <a:pt x="242268" y="222955"/>
                  </a:lnTo>
                  <a:lnTo>
                    <a:pt x="243422" y="219578"/>
                  </a:lnTo>
                  <a:lnTo>
                    <a:pt x="244576" y="220704"/>
                  </a:lnTo>
                  <a:lnTo>
                    <a:pt x="256112" y="218452"/>
                  </a:lnTo>
                  <a:lnTo>
                    <a:pt x="259573" y="219578"/>
                  </a:lnTo>
                  <a:lnTo>
                    <a:pt x="260727" y="218452"/>
                  </a:lnTo>
                  <a:lnTo>
                    <a:pt x="269956" y="217325"/>
                  </a:lnTo>
                  <a:lnTo>
                    <a:pt x="271110" y="219578"/>
                  </a:lnTo>
                  <a:lnTo>
                    <a:pt x="272263" y="217325"/>
                  </a:lnTo>
                  <a:lnTo>
                    <a:pt x="293029" y="213947"/>
                  </a:lnTo>
                  <a:lnTo>
                    <a:pt x="295336" y="211695"/>
                  </a:lnTo>
                  <a:lnTo>
                    <a:pt x="316103" y="210569"/>
                  </a:lnTo>
                  <a:lnTo>
                    <a:pt x="317256" y="206065"/>
                  </a:lnTo>
                  <a:lnTo>
                    <a:pt x="320717" y="207191"/>
                  </a:lnTo>
                  <a:lnTo>
                    <a:pt x="323024" y="206065"/>
                  </a:lnTo>
                  <a:lnTo>
                    <a:pt x="332254" y="206065"/>
                  </a:lnTo>
                  <a:lnTo>
                    <a:pt x="332254" y="203813"/>
                  </a:lnTo>
                  <a:lnTo>
                    <a:pt x="343790" y="206065"/>
                  </a:lnTo>
                  <a:lnTo>
                    <a:pt x="346097" y="203813"/>
                  </a:lnTo>
                  <a:lnTo>
                    <a:pt x="347251" y="206065"/>
                  </a:lnTo>
                  <a:lnTo>
                    <a:pt x="356481" y="202687"/>
                  </a:lnTo>
                  <a:lnTo>
                    <a:pt x="359941" y="204938"/>
                  </a:lnTo>
                  <a:lnTo>
                    <a:pt x="362249" y="202687"/>
                  </a:lnTo>
                  <a:lnTo>
                    <a:pt x="366863" y="201561"/>
                  </a:lnTo>
                  <a:lnTo>
                    <a:pt x="369171" y="200435"/>
                  </a:lnTo>
                  <a:lnTo>
                    <a:pt x="368017" y="202687"/>
                  </a:lnTo>
                  <a:lnTo>
                    <a:pt x="370324" y="201561"/>
                  </a:lnTo>
                  <a:lnTo>
                    <a:pt x="378399" y="199309"/>
                  </a:lnTo>
                  <a:lnTo>
                    <a:pt x="381860" y="198183"/>
                  </a:lnTo>
                  <a:lnTo>
                    <a:pt x="385322" y="197057"/>
                  </a:lnTo>
                  <a:lnTo>
                    <a:pt x="387629" y="197057"/>
                  </a:lnTo>
                  <a:lnTo>
                    <a:pt x="395705" y="194804"/>
                  </a:lnTo>
                  <a:lnTo>
                    <a:pt x="395705" y="193678"/>
                  </a:lnTo>
                  <a:lnTo>
                    <a:pt x="399165" y="198183"/>
                  </a:lnTo>
                  <a:lnTo>
                    <a:pt x="398012" y="193678"/>
                  </a:lnTo>
                  <a:lnTo>
                    <a:pt x="403780" y="192553"/>
                  </a:lnTo>
                  <a:lnTo>
                    <a:pt x="405671" y="198091"/>
                  </a:lnTo>
                  <a:lnTo>
                    <a:pt x="405892" y="197977"/>
                  </a:lnTo>
                  <a:lnTo>
                    <a:pt x="404934" y="191427"/>
                  </a:lnTo>
                  <a:lnTo>
                    <a:pt x="409549" y="190301"/>
                  </a:lnTo>
                  <a:lnTo>
                    <a:pt x="416470" y="189174"/>
                  </a:lnTo>
                  <a:lnTo>
                    <a:pt x="417624" y="186922"/>
                  </a:lnTo>
                  <a:lnTo>
                    <a:pt x="419932" y="186922"/>
                  </a:lnTo>
                  <a:lnTo>
                    <a:pt x="419932" y="185796"/>
                  </a:lnTo>
                  <a:lnTo>
                    <a:pt x="421085" y="186922"/>
                  </a:lnTo>
                  <a:lnTo>
                    <a:pt x="419932" y="184671"/>
                  </a:lnTo>
                  <a:lnTo>
                    <a:pt x="422239" y="186922"/>
                  </a:lnTo>
                  <a:lnTo>
                    <a:pt x="441851" y="176788"/>
                  </a:lnTo>
                  <a:lnTo>
                    <a:pt x="448773" y="176788"/>
                  </a:lnTo>
                  <a:lnTo>
                    <a:pt x="453387" y="171158"/>
                  </a:lnTo>
                  <a:lnTo>
                    <a:pt x="456849" y="170032"/>
                  </a:lnTo>
                  <a:lnTo>
                    <a:pt x="456849" y="171158"/>
                  </a:lnTo>
                  <a:lnTo>
                    <a:pt x="474153" y="162149"/>
                  </a:lnTo>
                  <a:lnTo>
                    <a:pt x="485690" y="158772"/>
                  </a:lnTo>
                  <a:lnTo>
                    <a:pt x="487997" y="157645"/>
                  </a:lnTo>
                  <a:lnTo>
                    <a:pt x="490304" y="158772"/>
                  </a:lnTo>
                  <a:lnTo>
                    <a:pt x="491458" y="155393"/>
                  </a:lnTo>
                  <a:lnTo>
                    <a:pt x="501841" y="153141"/>
                  </a:lnTo>
                  <a:close/>
                  <a:moveTo>
                    <a:pt x="250203" y="120582"/>
                  </a:moveTo>
                  <a:lnTo>
                    <a:pt x="250203" y="122139"/>
                  </a:lnTo>
                  <a:lnTo>
                    <a:pt x="247810" y="122917"/>
                  </a:lnTo>
                  <a:lnTo>
                    <a:pt x="247012" y="121360"/>
                  </a:lnTo>
                  <a:close/>
                  <a:moveTo>
                    <a:pt x="261893" y="111026"/>
                  </a:moveTo>
                  <a:lnTo>
                    <a:pt x="261893" y="114031"/>
                  </a:lnTo>
                  <a:lnTo>
                    <a:pt x="260570" y="114354"/>
                  </a:lnTo>
                  <a:lnTo>
                    <a:pt x="260570" y="115911"/>
                  </a:lnTo>
                  <a:lnTo>
                    <a:pt x="258178" y="116690"/>
                  </a:lnTo>
                  <a:lnTo>
                    <a:pt x="258178" y="121360"/>
                  </a:lnTo>
                  <a:lnTo>
                    <a:pt x="257381" y="120582"/>
                  </a:lnTo>
                  <a:lnTo>
                    <a:pt x="258178" y="114354"/>
                  </a:lnTo>
                  <a:lnTo>
                    <a:pt x="260570" y="111241"/>
                  </a:lnTo>
                  <a:close/>
                  <a:moveTo>
                    <a:pt x="383394" y="107348"/>
                  </a:moveTo>
                  <a:lnTo>
                    <a:pt x="385788" y="107348"/>
                  </a:lnTo>
                  <a:lnTo>
                    <a:pt x="390572" y="108905"/>
                  </a:lnTo>
                  <a:lnTo>
                    <a:pt x="389775" y="111241"/>
                  </a:lnTo>
                  <a:lnTo>
                    <a:pt x="388180" y="110462"/>
                  </a:lnTo>
                  <a:lnTo>
                    <a:pt x="389775" y="112019"/>
                  </a:lnTo>
                  <a:lnTo>
                    <a:pt x="390572" y="114354"/>
                  </a:lnTo>
                  <a:lnTo>
                    <a:pt x="387383" y="114354"/>
                  </a:lnTo>
                  <a:lnTo>
                    <a:pt x="381799" y="109683"/>
                  </a:lnTo>
                  <a:close/>
                  <a:moveTo>
                    <a:pt x="387383" y="94114"/>
                  </a:moveTo>
                  <a:lnTo>
                    <a:pt x="392168" y="94114"/>
                  </a:lnTo>
                  <a:lnTo>
                    <a:pt x="391371" y="94893"/>
                  </a:lnTo>
                  <a:lnTo>
                    <a:pt x="392966" y="94893"/>
                  </a:lnTo>
                  <a:lnTo>
                    <a:pt x="392168" y="95670"/>
                  </a:lnTo>
                  <a:close/>
                  <a:moveTo>
                    <a:pt x="239961" y="90083"/>
                  </a:moveTo>
                  <a:lnTo>
                    <a:pt x="237653" y="100217"/>
                  </a:lnTo>
                  <a:lnTo>
                    <a:pt x="238807" y="94587"/>
                  </a:lnTo>
                  <a:close/>
                  <a:moveTo>
                    <a:pt x="380479" y="87108"/>
                  </a:moveTo>
                  <a:lnTo>
                    <a:pt x="388180" y="87108"/>
                  </a:lnTo>
                  <a:lnTo>
                    <a:pt x="393763" y="88665"/>
                  </a:lnTo>
                  <a:lnTo>
                    <a:pt x="404131" y="96449"/>
                  </a:lnTo>
                  <a:lnTo>
                    <a:pt x="389775" y="92557"/>
                  </a:lnTo>
                  <a:lnTo>
                    <a:pt x="388977" y="91778"/>
                  </a:lnTo>
                  <a:lnTo>
                    <a:pt x="384193" y="95670"/>
                  </a:lnTo>
                  <a:lnTo>
                    <a:pt x="381002" y="96449"/>
                  </a:lnTo>
                  <a:lnTo>
                    <a:pt x="380479" y="97385"/>
                  </a:lnTo>
                  <a:close/>
                  <a:moveTo>
                    <a:pt x="239961" y="82201"/>
                  </a:moveTo>
                  <a:lnTo>
                    <a:pt x="241114" y="87831"/>
                  </a:lnTo>
                  <a:lnTo>
                    <a:pt x="239961" y="90083"/>
                  </a:lnTo>
                  <a:close/>
                  <a:moveTo>
                    <a:pt x="310817" y="75431"/>
                  </a:moveTo>
                  <a:lnTo>
                    <a:pt x="315602" y="76988"/>
                  </a:lnTo>
                  <a:lnTo>
                    <a:pt x="319597" y="80107"/>
                  </a:lnTo>
                  <a:lnTo>
                    <a:pt x="317603" y="80107"/>
                  </a:lnTo>
                  <a:lnTo>
                    <a:pt x="314805" y="77766"/>
                  </a:lnTo>
                  <a:lnTo>
                    <a:pt x="312412" y="77766"/>
                  </a:lnTo>
                  <a:lnTo>
                    <a:pt x="316009" y="80107"/>
                  </a:lnTo>
                  <a:lnTo>
                    <a:pt x="301458" y="80107"/>
                  </a:lnTo>
                  <a:lnTo>
                    <a:pt x="303639" y="77766"/>
                  </a:lnTo>
                  <a:close/>
                  <a:moveTo>
                    <a:pt x="215734" y="65310"/>
                  </a:moveTo>
                  <a:lnTo>
                    <a:pt x="215734" y="67562"/>
                  </a:lnTo>
                  <a:lnTo>
                    <a:pt x="212273" y="68688"/>
                  </a:lnTo>
                  <a:lnTo>
                    <a:pt x="211119" y="66436"/>
                  </a:lnTo>
                  <a:close/>
                  <a:moveTo>
                    <a:pt x="241114" y="58554"/>
                  </a:moveTo>
                  <a:lnTo>
                    <a:pt x="242268" y="73192"/>
                  </a:lnTo>
                  <a:lnTo>
                    <a:pt x="241114" y="77697"/>
                  </a:lnTo>
                  <a:close/>
                  <a:moveTo>
                    <a:pt x="237653" y="50672"/>
                  </a:moveTo>
                  <a:lnTo>
                    <a:pt x="242268" y="52924"/>
                  </a:lnTo>
                  <a:lnTo>
                    <a:pt x="244576" y="57428"/>
                  </a:lnTo>
                  <a:lnTo>
                    <a:pt x="239961" y="54049"/>
                  </a:lnTo>
                  <a:lnTo>
                    <a:pt x="230731" y="56302"/>
                  </a:lnTo>
                  <a:lnTo>
                    <a:pt x="230731" y="58554"/>
                  </a:lnTo>
                  <a:lnTo>
                    <a:pt x="227270" y="59680"/>
                  </a:lnTo>
                  <a:lnTo>
                    <a:pt x="227270" y="66436"/>
                  </a:lnTo>
                  <a:lnTo>
                    <a:pt x="226117" y="65310"/>
                  </a:lnTo>
                  <a:lnTo>
                    <a:pt x="227270" y="56302"/>
                  </a:lnTo>
                  <a:lnTo>
                    <a:pt x="230731" y="51798"/>
                  </a:lnTo>
                  <a:close/>
                  <a:moveTo>
                    <a:pt x="408394" y="46167"/>
                  </a:moveTo>
                  <a:lnTo>
                    <a:pt x="411856" y="46167"/>
                  </a:lnTo>
                  <a:lnTo>
                    <a:pt x="418777" y="48419"/>
                  </a:lnTo>
                  <a:lnTo>
                    <a:pt x="417624" y="51798"/>
                  </a:lnTo>
                  <a:lnTo>
                    <a:pt x="415317" y="50672"/>
                  </a:lnTo>
                  <a:lnTo>
                    <a:pt x="417624" y="52924"/>
                  </a:lnTo>
                  <a:lnTo>
                    <a:pt x="418777" y="56302"/>
                  </a:lnTo>
                  <a:lnTo>
                    <a:pt x="414163" y="56302"/>
                  </a:lnTo>
                  <a:lnTo>
                    <a:pt x="406087" y="49545"/>
                  </a:lnTo>
                  <a:close/>
                  <a:moveTo>
                    <a:pt x="317256" y="29276"/>
                  </a:moveTo>
                  <a:lnTo>
                    <a:pt x="320716" y="31529"/>
                  </a:lnTo>
                  <a:lnTo>
                    <a:pt x="321871" y="33781"/>
                  </a:lnTo>
                  <a:lnTo>
                    <a:pt x="316102" y="36033"/>
                  </a:lnTo>
                  <a:lnTo>
                    <a:pt x="309180" y="36033"/>
                  </a:lnTo>
                  <a:lnTo>
                    <a:pt x="302258" y="32655"/>
                  </a:lnTo>
                  <a:lnTo>
                    <a:pt x="302794" y="32534"/>
                  </a:lnTo>
                  <a:lnTo>
                    <a:pt x="303412" y="32655"/>
                  </a:lnTo>
                  <a:lnTo>
                    <a:pt x="306876" y="31615"/>
                  </a:lnTo>
                  <a:close/>
                  <a:moveTo>
                    <a:pt x="414163" y="27025"/>
                  </a:moveTo>
                  <a:lnTo>
                    <a:pt x="421085" y="27025"/>
                  </a:lnTo>
                  <a:lnTo>
                    <a:pt x="419932" y="28151"/>
                  </a:lnTo>
                  <a:lnTo>
                    <a:pt x="422239" y="28151"/>
                  </a:lnTo>
                  <a:lnTo>
                    <a:pt x="421085" y="29276"/>
                  </a:lnTo>
                  <a:close/>
                  <a:moveTo>
                    <a:pt x="393398" y="15764"/>
                  </a:moveTo>
                  <a:lnTo>
                    <a:pt x="396858" y="15764"/>
                  </a:lnTo>
                  <a:lnTo>
                    <a:pt x="394551" y="16890"/>
                  </a:lnTo>
                  <a:lnTo>
                    <a:pt x="415317" y="16890"/>
                  </a:lnTo>
                  <a:lnTo>
                    <a:pt x="423392" y="19143"/>
                  </a:lnTo>
                  <a:lnTo>
                    <a:pt x="438390" y="30402"/>
                  </a:lnTo>
                  <a:lnTo>
                    <a:pt x="417624" y="24773"/>
                  </a:lnTo>
                  <a:lnTo>
                    <a:pt x="416470" y="23646"/>
                  </a:lnTo>
                  <a:lnTo>
                    <a:pt x="409549" y="29276"/>
                  </a:lnTo>
                  <a:lnTo>
                    <a:pt x="404934" y="30402"/>
                  </a:lnTo>
                  <a:lnTo>
                    <a:pt x="398012" y="42789"/>
                  </a:lnTo>
                  <a:lnTo>
                    <a:pt x="396858" y="40537"/>
                  </a:lnTo>
                  <a:lnTo>
                    <a:pt x="389936" y="39411"/>
                  </a:lnTo>
                  <a:lnTo>
                    <a:pt x="388783" y="31529"/>
                  </a:lnTo>
                  <a:lnTo>
                    <a:pt x="389936" y="19143"/>
                  </a:lnTo>
                  <a:close/>
                  <a:moveTo>
                    <a:pt x="303412" y="0"/>
                  </a:moveTo>
                  <a:lnTo>
                    <a:pt x="310334" y="2252"/>
                  </a:lnTo>
                  <a:lnTo>
                    <a:pt x="321871" y="11260"/>
                  </a:lnTo>
                  <a:lnTo>
                    <a:pt x="329946" y="22520"/>
                  </a:lnTo>
                  <a:lnTo>
                    <a:pt x="317256" y="10134"/>
                  </a:lnTo>
                  <a:lnTo>
                    <a:pt x="309180" y="3378"/>
                  </a:lnTo>
                  <a:lnTo>
                    <a:pt x="305719" y="3378"/>
                  </a:lnTo>
                  <a:lnTo>
                    <a:pt x="312641" y="7882"/>
                  </a:lnTo>
                  <a:lnTo>
                    <a:pt x="333407" y="28151"/>
                  </a:lnTo>
                  <a:lnTo>
                    <a:pt x="334561" y="31529"/>
                  </a:lnTo>
                  <a:lnTo>
                    <a:pt x="309180" y="12386"/>
                  </a:lnTo>
                  <a:lnTo>
                    <a:pt x="308027" y="10134"/>
                  </a:lnTo>
                  <a:lnTo>
                    <a:pt x="303412" y="11260"/>
                  </a:lnTo>
                  <a:lnTo>
                    <a:pt x="297644" y="9008"/>
                  </a:lnTo>
                  <a:lnTo>
                    <a:pt x="297644" y="12386"/>
                  </a:lnTo>
                  <a:lnTo>
                    <a:pt x="304565" y="15764"/>
                  </a:lnTo>
                  <a:lnTo>
                    <a:pt x="310334" y="19143"/>
                  </a:lnTo>
                  <a:lnTo>
                    <a:pt x="310334" y="15764"/>
                  </a:lnTo>
                  <a:lnTo>
                    <a:pt x="332253" y="34907"/>
                  </a:lnTo>
                  <a:lnTo>
                    <a:pt x="328792" y="36033"/>
                  </a:lnTo>
                  <a:lnTo>
                    <a:pt x="326485" y="36033"/>
                  </a:lnTo>
                  <a:lnTo>
                    <a:pt x="324178" y="31529"/>
                  </a:lnTo>
                  <a:lnTo>
                    <a:pt x="318409" y="28151"/>
                  </a:lnTo>
                  <a:lnTo>
                    <a:pt x="306876" y="31615"/>
                  </a:lnTo>
                  <a:lnTo>
                    <a:pt x="302794" y="32534"/>
                  </a:lnTo>
                  <a:lnTo>
                    <a:pt x="297644" y="31529"/>
                  </a:lnTo>
                  <a:lnTo>
                    <a:pt x="308027" y="39411"/>
                  </a:lnTo>
                  <a:lnTo>
                    <a:pt x="310334" y="48419"/>
                  </a:lnTo>
                  <a:lnTo>
                    <a:pt x="304565" y="63058"/>
                  </a:lnTo>
                  <a:lnTo>
                    <a:pt x="295336" y="61932"/>
                  </a:lnTo>
                  <a:lnTo>
                    <a:pt x="293029" y="66436"/>
                  </a:lnTo>
                  <a:lnTo>
                    <a:pt x="294182" y="75444"/>
                  </a:lnTo>
                  <a:lnTo>
                    <a:pt x="293029" y="77697"/>
                  </a:lnTo>
                  <a:lnTo>
                    <a:pt x="288414" y="47293"/>
                  </a:lnTo>
                  <a:lnTo>
                    <a:pt x="286107" y="37159"/>
                  </a:lnTo>
                  <a:lnTo>
                    <a:pt x="278031" y="23646"/>
                  </a:lnTo>
                  <a:lnTo>
                    <a:pt x="279185" y="21394"/>
                  </a:lnTo>
                  <a:lnTo>
                    <a:pt x="281492" y="15764"/>
                  </a:lnTo>
                  <a:lnTo>
                    <a:pt x="293029" y="3378"/>
                  </a:lnTo>
                  <a:close/>
                </a:path>
              </a:pathLst>
            </a:custGeom>
            <a:solidFill>
              <a:srgbClr val="BF211E"/>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7" name="Westerkwartier">
              <a:extLst>
                <a:ext uri="{FF2B5EF4-FFF2-40B4-BE49-F238E27FC236}">
                  <a16:creationId xmlns:a16="http://schemas.microsoft.com/office/drawing/2014/main" id="{CC3D175B-6952-43E8-B0BA-5070F9C87876}"/>
                </a:ext>
              </a:extLst>
            </p:cNvPr>
            <p:cNvSpPr/>
            <p:nvPr/>
          </p:nvSpPr>
          <p:spPr>
            <a:xfrm rot="1727819">
              <a:off x="7056746" y="1485756"/>
              <a:ext cx="278028" cy="410003"/>
            </a:xfrm>
            <a:custGeom>
              <a:avLst/>
              <a:gdLst>
                <a:gd name="connsiteX0" fmla="*/ 0 w 270933"/>
                <a:gd name="connsiteY0" fmla="*/ 52815 h 418772"/>
                <a:gd name="connsiteX1" fmla="*/ 5202 w 270933"/>
                <a:gd name="connsiteY1" fmla="*/ 55094 h 418772"/>
                <a:gd name="connsiteX2" fmla="*/ 9937 w 270933"/>
                <a:gd name="connsiteY2" fmla="*/ 58918 h 418772"/>
                <a:gd name="connsiteX3" fmla="*/ 6213 w 270933"/>
                <a:gd name="connsiteY3" fmla="*/ 54539 h 418772"/>
                <a:gd name="connsiteX4" fmla="*/ 31464 w 270933"/>
                <a:gd name="connsiteY4" fmla="*/ 57365 h 418772"/>
                <a:gd name="connsiteX5" fmla="*/ 36665 w 270933"/>
                <a:gd name="connsiteY5" fmla="*/ 59644 h 418772"/>
                <a:gd name="connsiteX6" fmla="*/ 45197 w 270933"/>
                <a:gd name="connsiteY6" fmla="*/ 70374 h 418772"/>
                <a:gd name="connsiteX7" fmla="*/ 55996 w 270933"/>
                <a:gd name="connsiteY7" fmla="*/ 70863 h 418772"/>
                <a:gd name="connsiteX8" fmla="*/ 60509 w 270933"/>
                <a:gd name="connsiteY8" fmla="*/ 67097 h 418772"/>
                <a:gd name="connsiteX9" fmla="*/ 68917 w 270933"/>
                <a:gd name="connsiteY9" fmla="*/ 56051 h 418772"/>
                <a:gd name="connsiteX10" fmla="*/ 83836 w 270933"/>
                <a:gd name="connsiteY10" fmla="*/ 56845 h 418772"/>
                <a:gd name="connsiteX11" fmla="*/ 85783 w 270933"/>
                <a:gd name="connsiteY11" fmla="*/ 53204 h 418772"/>
                <a:gd name="connsiteX12" fmla="*/ 85956 w 270933"/>
                <a:gd name="connsiteY12" fmla="*/ 41545 h 418772"/>
                <a:gd name="connsiteX13" fmla="*/ 97151 w 270933"/>
                <a:gd name="connsiteY13" fmla="*/ 37961 h 418772"/>
                <a:gd name="connsiteX14" fmla="*/ 117913 w 270933"/>
                <a:gd name="connsiteY14" fmla="*/ 27833 h 418772"/>
                <a:gd name="connsiteX15" fmla="*/ 123363 w 270933"/>
                <a:gd name="connsiteY15" fmla="*/ 20983 h 418772"/>
                <a:gd name="connsiteX16" fmla="*/ 122993 w 270933"/>
                <a:gd name="connsiteY16" fmla="*/ 8336 h 418772"/>
                <a:gd name="connsiteX17" fmla="*/ 131624 w 270933"/>
                <a:gd name="connsiteY17" fmla="*/ 4877 h 418772"/>
                <a:gd name="connsiteX18" fmla="*/ 135595 w 270933"/>
                <a:gd name="connsiteY18" fmla="*/ 125 h 418772"/>
                <a:gd name="connsiteX19" fmla="*/ 138158 w 270933"/>
                <a:gd name="connsiteY19" fmla="*/ 0 h 418772"/>
                <a:gd name="connsiteX20" fmla="*/ 148095 w 270933"/>
                <a:gd name="connsiteY20" fmla="*/ 6103 h 418772"/>
                <a:gd name="connsiteX21" fmla="*/ 152361 w 270933"/>
                <a:gd name="connsiteY21" fmla="*/ 11468 h 418772"/>
                <a:gd name="connsiteX22" fmla="*/ 143804 w 270933"/>
                <a:gd name="connsiteY22" fmla="*/ 17456 h 418772"/>
                <a:gd name="connsiteX23" fmla="*/ 150856 w 270933"/>
                <a:gd name="connsiteY23" fmla="*/ 30284 h 418772"/>
                <a:gd name="connsiteX24" fmla="*/ 150140 w 270933"/>
                <a:gd name="connsiteY24" fmla="*/ 40958 h 418772"/>
                <a:gd name="connsiteX25" fmla="*/ 152237 w 270933"/>
                <a:gd name="connsiteY25" fmla="*/ 42375 h 418772"/>
                <a:gd name="connsiteX26" fmla="*/ 150214 w 270933"/>
                <a:gd name="connsiteY26" fmla="*/ 43487 h 418772"/>
                <a:gd name="connsiteX27" fmla="*/ 151299 w 270933"/>
                <a:gd name="connsiteY27" fmla="*/ 45460 h 418772"/>
                <a:gd name="connsiteX28" fmla="*/ 152927 w 270933"/>
                <a:gd name="connsiteY28" fmla="*/ 48421 h 418772"/>
                <a:gd name="connsiteX29" fmla="*/ 154949 w 270933"/>
                <a:gd name="connsiteY29" fmla="*/ 47309 h 418772"/>
                <a:gd name="connsiteX30" fmla="*/ 157044 w 270933"/>
                <a:gd name="connsiteY30" fmla="*/ 48727 h 418772"/>
                <a:gd name="connsiteX31" fmla="*/ 156576 w 270933"/>
                <a:gd name="connsiteY31" fmla="*/ 50270 h 418772"/>
                <a:gd name="connsiteX32" fmla="*/ 158129 w 270933"/>
                <a:gd name="connsiteY32" fmla="*/ 50701 h 418772"/>
                <a:gd name="connsiteX33" fmla="*/ 167302 w 270933"/>
                <a:gd name="connsiteY33" fmla="*/ 48229 h 418772"/>
                <a:gd name="connsiteX34" fmla="*/ 172579 w 270933"/>
                <a:gd name="connsiteY34" fmla="*/ 53038 h 418772"/>
                <a:gd name="connsiteX35" fmla="*/ 172257 w 270933"/>
                <a:gd name="connsiteY35" fmla="*/ 59639 h 418772"/>
                <a:gd name="connsiteX36" fmla="*/ 167745 w 270933"/>
                <a:gd name="connsiteY36" fmla="*/ 63404 h 418772"/>
                <a:gd name="connsiteX37" fmla="*/ 167424 w 270933"/>
                <a:gd name="connsiteY37" fmla="*/ 70005 h 418772"/>
                <a:gd name="connsiteX38" fmla="*/ 174574 w 270933"/>
                <a:gd name="connsiteY38" fmla="*/ 68644 h 418772"/>
                <a:gd name="connsiteX39" fmla="*/ 177756 w 270933"/>
                <a:gd name="connsiteY39" fmla="*/ 72036 h 418772"/>
                <a:gd name="connsiteX40" fmla="*/ 183527 w 270933"/>
                <a:gd name="connsiteY40" fmla="*/ 58585 h 418772"/>
                <a:gd name="connsiteX41" fmla="*/ 187718 w 270933"/>
                <a:gd name="connsiteY41" fmla="*/ 61420 h 418772"/>
                <a:gd name="connsiteX42" fmla="*/ 189666 w 270933"/>
                <a:gd name="connsiteY42" fmla="*/ 57779 h 418772"/>
                <a:gd name="connsiteX43" fmla="*/ 189739 w 270933"/>
                <a:gd name="connsiteY43" fmla="*/ 60308 h 418772"/>
                <a:gd name="connsiteX44" fmla="*/ 192305 w 270933"/>
                <a:gd name="connsiteY44" fmla="*/ 60184 h 418772"/>
                <a:gd name="connsiteX45" fmla="*/ 197680 w 270933"/>
                <a:gd name="connsiteY45" fmla="*/ 50805 h 418772"/>
                <a:gd name="connsiteX46" fmla="*/ 199702 w 270933"/>
                <a:gd name="connsiteY46" fmla="*/ 49693 h 418772"/>
                <a:gd name="connsiteX47" fmla="*/ 204979 w 270933"/>
                <a:gd name="connsiteY47" fmla="*/ 54502 h 418772"/>
                <a:gd name="connsiteX48" fmla="*/ 213066 w 270933"/>
                <a:gd name="connsiteY48" fmla="*/ 50057 h 418772"/>
                <a:gd name="connsiteX49" fmla="*/ 223619 w 270933"/>
                <a:gd name="connsiteY49" fmla="*/ 59675 h 418772"/>
                <a:gd name="connsiteX50" fmla="*/ 229611 w 270933"/>
                <a:gd name="connsiteY50" fmla="*/ 53811 h 418772"/>
                <a:gd name="connsiteX51" fmla="*/ 232324 w 270933"/>
                <a:gd name="connsiteY51" fmla="*/ 58746 h 418772"/>
                <a:gd name="connsiteX52" fmla="*/ 240412 w 270933"/>
                <a:gd name="connsiteY52" fmla="*/ 54300 h 418772"/>
                <a:gd name="connsiteX53" fmla="*/ 247882 w 270933"/>
                <a:gd name="connsiteY53" fmla="*/ 46338 h 418772"/>
                <a:gd name="connsiteX54" fmla="*/ 252001 w 270933"/>
                <a:gd name="connsiteY54" fmla="*/ 46644 h 418772"/>
                <a:gd name="connsiteX55" fmla="*/ 264328 w 270933"/>
                <a:gd name="connsiteY55" fmla="*/ 64281 h 418772"/>
                <a:gd name="connsiteX56" fmla="*/ 268989 w 270933"/>
                <a:gd name="connsiteY56" fmla="*/ 65575 h 418772"/>
                <a:gd name="connsiteX57" fmla="*/ 266325 w 270933"/>
                <a:gd name="connsiteY57" fmla="*/ 79889 h 418772"/>
                <a:gd name="connsiteX58" fmla="*/ 262750 w 270933"/>
                <a:gd name="connsiteY58" fmla="*/ 80569 h 418772"/>
                <a:gd name="connsiteX59" fmla="*/ 261887 w 270933"/>
                <a:gd name="connsiteY59" fmla="*/ 86183 h 418772"/>
                <a:gd name="connsiteX60" fmla="*/ 258854 w 270933"/>
                <a:gd name="connsiteY60" fmla="*/ 87850 h 418772"/>
                <a:gd name="connsiteX61" fmla="*/ 257769 w 270933"/>
                <a:gd name="connsiteY61" fmla="*/ 85877 h 418772"/>
                <a:gd name="connsiteX62" fmla="*/ 254194 w 270933"/>
                <a:gd name="connsiteY62" fmla="*/ 86557 h 418772"/>
                <a:gd name="connsiteX63" fmla="*/ 253109 w 270933"/>
                <a:gd name="connsiteY63" fmla="*/ 84584 h 418772"/>
                <a:gd name="connsiteX64" fmla="*/ 244947 w 270933"/>
                <a:gd name="connsiteY64" fmla="*/ 86501 h 418772"/>
                <a:gd name="connsiteX65" fmla="*/ 248818 w 270933"/>
                <a:gd name="connsiteY65" fmla="*/ 95937 h 418772"/>
                <a:gd name="connsiteX66" fmla="*/ 251135 w 270933"/>
                <a:gd name="connsiteY66" fmla="*/ 104619 h 418772"/>
                <a:gd name="connsiteX67" fmla="*/ 254869 w 270933"/>
                <a:gd name="connsiteY67" fmla="*/ 105656 h 418772"/>
                <a:gd name="connsiteX68" fmla="*/ 253448 w 270933"/>
                <a:gd name="connsiteY68" fmla="*/ 113289 h 418772"/>
                <a:gd name="connsiteX69" fmla="*/ 264965 w 270933"/>
                <a:gd name="connsiteY69" fmla="*/ 156448 h 418772"/>
                <a:gd name="connsiteX70" fmla="*/ 264966 w 270933"/>
                <a:gd name="connsiteY70" fmla="*/ 156447 h 418772"/>
                <a:gd name="connsiteX71" fmla="*/ 269084 w 270933"/>
                <a:gd name="connsiteY71" fmla="*/ 156753 h 418772"/>
                <a:gd name="connsiteX72" fmla="*/ 270711 w 270933"/>
                <a:gd name="connsiteY72" fmla="*/ 159714 h 418772"/>
                <a:gd name="connsiteX73" fmla="*/ 268295 w 270933"/>
                <a:gd name="connsiteY73" fmla="*/ 164898 h 418772"/>
                <a:gd name="connsiteX74" fmla="*/ 270933 w 270933"/>
                <a:gd name="connsiteY74" fmla="*/ 167301 h 418772"/>
                <a:gd name="connsiteX75" fmla="*/ 259491 w 270933"/>
                <a:gd name="connsiteY75" fmla="*/ 180017 h 418772"/>
                <a:gd name="connsiteX76" fmla="*/ 262425 w 270933"/>
                <a:gd name="connsiteY76" fmla="*/ 192538 h 418772"/>
                <a:gd name="connsiteX77" fmla="*/ 260082 w 270933"/>
                <a:gd name="connsiteY77" fmla="*/ 200250 h 418772"/>
                <a:gd name="connsiteX78" fmla="*/ 256038 w 270933"/>
                <a:gd name="connsiteY78" fmla="*/ 202473 h 418772"/>
                <a:gd name="connsiteX79" fmla="*/ 254164 w 270933"/>
                <a:gd name="connsiteY79" fmla="*/ 208644 h 418772"/>
                <a:gd name="connsiteX80" fmla="*/ 242852 w 270933"/>
                <a:gd name="connsiteY80" fmla="*/ 222682 h 418772"/>
                <a:gd name="connsiteX81" fmla="*/ 242686 w 270933"/>
                <a:gd name="connsiteY81" fmla="*/ 223227 h 418772"/>
                <a:gd name="connsiteX82" fmla="*/ 239129 w 270933"/>
                <a:gd name="connsiteY82" fmla="*/ 227642 h 418772"/>
                <a:gd name="connsiteX83" fmla="*/ 238357 w 270933"/>
                <a:gd name="connsiteY83" fmla="*/ 230182 h 418772"/>
                <a:gd name="connsiteX84" fmla="*/ 243929 w 270933"/>
                <a:gd name="connsiteY84" fmla="*/ 245108 h 418772"/>
                <a:gd name="connsiteX85" fmla="*/ 239564 w 270933"/>
                <a:gd name="connsiteY85" fmla="*/ 253932 h 418772"/>
                <a:gd name="connsiteX86" fmla="*/ 240328 w 270933"/>
                <a:gd name="connsiteY86" fmla="*/ 262507 h 418772"/>
                <a:gd name="connsiteX87" fmla="*/ 235569 w 270933"/>
                <a:gd name="connsiteY87" fmla="*/ 275403 h 418772"/>
                <a:gd name="connsiteX88" fmla="*/ 239834 w 270933"/>
                <a:gd name="connsiteY88" fmla="*/ 280768 h 418772"/>
                <a:gd name="connsiteX89" fmla="*/ 247378 w 270933"/>
                <a:gd name="connsiteY89" fmla="*/ 328020 h 418772"/>
                <a:gd name="connsiteX90" fmla="*/ 257290 w 270933"/>
                <a:gd name="connsiteY90" fmla="*/ 350840 h 418772"/>
                <a:gd name="connsiteX91" fmla="*/ 251766 w 270933"/>
                <a:gd name="connsiteY91" fmla="*/ 355161 h 418772"/>
                <a:gd name="connsiteX92" fmla="*/ 257386 w 270933"/>
                <a:gd name="connsiteY92" fmla="*/ 389336 h 418772"/>
                <a:gd name="connsiteX93" fmla="*/ 205235 w 270933"/>
                <a:gd name="connsiteY93" fmla="*/ 397444 h 418772"/>
                <a:gd name="connsiteX94" fmla="*/ 205233 w 270933"/>
                <a:gd name="connsiteY94" fmla="*/ 397441 h 418772"/>
                <a:gd name="connsiteX95" fmla="*/ 199093 w 270933"/>
                <a:gd name="connsiteY95" fmla="*/ 398246 h 418772"/>
                <a:gd name="connsiteX96" fmla="*/ 186592 w 270933"/>
                <a:gd name="connsiteY96" fmla="*/ 392268 h 418772"/>
                <a:gd name="connsiteX97" fmla="*/ 175250 w 270933"/>
                <a:gd name="connsiteY97" fmla="*/ 390793 h 418772"/>
                <a:gd name="connsiteX98" fmla="*/ 162428 w 270933"/>
                <a:gd name="connsiteY98" fmla="*/ 391417 h 418772"/>
                <a:gd name="connsiteX99" fmla="*/ 140261 w 270933"/>
                <a:gd name="connsiteY99" fmla="*/ 406173 h 418772"/>
                <a:gd name="connsiteX100" fmla="*/ 110325 w 270933"/>
                <a:gd name="connsiteY100" fmla="*/ 418772 h 418772"/>
                <a:gd name="connsiteX101" fmla="*/ 89046 w 270933"/>
                <a:gd name="connsiteY101" fmla="*/ 411194 h 418772"/>
                <a:gd name="connsiteX102" fmla="*/ 79183 w 270933"/>
                <a:gd name="connsiteY102" fmla="*/ 407621 h 418772"/>
                <a:gd name="connsiteX103" fmla="*/ 68853 w 270933"/>
                <a:gd name="connsiteY103" fmla="*/ 405592 h 418772"/>
                <a:gd name="connsiteX104" fmla="*/ 68852 w 270933"/>
                <a:gd name="connsiteY104" fmla="*/ 405592 h 418772"/>
                <a:gd name="connsiteX105" fmla="*/ 68852 w 270933"/>
                <a:gd name="connsiteY105" fmla="*/ 405591 h 418772"/>
                <a:gd name="connsiteX106" fmla="*/ 43285 w 270933"/>
                <a:gd name="connsiteY106" fmla="*/ 356684 h 418772"/>
                <a:gd name="connsiteX107" fmla="*/ 45159 w 270933"/>
                <a:gd name="connsiteY107" fmla="*/ 350514 h 418772"/>
                <a:gd name="connsiteX108" fmla="*/ 39612 w 270933"/>
                <a:gd name="connsiteY108" fmla="*/ 318869 h 418772"/>
                <a:gd name="connsiteX109" fmla="*/ 42424 w 270933"/>
                <a:gd name="connsiteY109" fmla="*/ 309613 h 418772"/>
                <a:gd name="connsiteX110" fmla="*/ 38085 w 270933"/>
                <a:gd name="connsiteY110" fmla="*/ 301719 h 418772"/>
                <a:gd name="connsiteX111" fmla="*/ 46098 w 270933"/>
                <a:gd name="connsiteY111" fmla="*/ 294745 h 418772"/>
                <a:gd name="connsiteX112" fmla="*/ 46887 w 270933"/>
                <a:gd name="connsiteY112" fmla="*/ 286601 h 418772"/>
                <a:gd name="connsiteX113" fmla="*/ 49305 w 270933"/>
                <a:gd name="connsiteY113" fmla="*/ 281418 h 418772"/>
                <a:gd name="connsiteX114" fmla="*/ 49478 w 270933"/>
                <a:gd name="connsiteY114" fmla="*/ 269758 h 418772"/>
                <a:gd name="connsiteX115" fmla="*/ 47308 w 270933"/>
                <a:gd name="connsiteY115" fmla="*/ 265811 h 418772"/>
                <a:gd name="connsiteX116" fmla="*/ 50193 w 270933"/>
                <a:gd name="connsiteY116" fmla="*/ 259085 h 418772"/>
                <a:gd name="connsiteX117" fmla="*/ 46396 w 270933"/>
                <a:gd name="connsiteY117" fmla="*/ 252177 h 418772"/>
                <a:gd name="connsiteX118" fmla="*/ 38629 w 270933"/>
                <a:gd name="connsiteY118" fmla="*/ 250022 h 418772"/>
                <a:gd name="connsiteX119" fmla="*/ 35375 w 270933"/>
                <a:gd name="connsiteY119" fmla="*/ 244101 h 418772"/>
                <a:gd name="connsiteX120" fmla="*/ 29703 w 270933"/>
                <a:gd name="connsiteY120" fmla="*/ 243364 h 418772"/>
                <a:gd name="connsiteX121" fmla="*/ 27682 w 270933"/>
                <a:gd name="connsiteY121" fmla="*/ 244475 h 418772"/>
                <a:gd name="connsiteX122" fmla="*/ 25585 w 270933"/>
                <a:gd name="connsiteY122" fmla="*/ 243058 h 418772"/>
                <a:gd name="connsiteX123" fmla="*/ 23020 w 270933"/>
                <a:gd name="connsiteY123" fmla="*/ 243183 h 418772"/>
                <a:gd name="connsiteX124" fmla="*/ 25043 w 270933"/>
                <a:gd name="connsiteY124" fmla="*/ 242071 h 418772"/>
                <a:gd name="connsiteX125" fmla="*/ 21936 w 270933"/>
                <a:gd name="connsiteY125" fmla="*/ 241209 h 418772"/>
                <a:gd name="connsiteX126" fmla="*/ 21863 w 270933"/>
                <a:gd name="connsiteY126" fmla="*/ 238679 h 418772"/>
                <a:gd name="connsiteX127" fmla="*/ 28323 w 270933"/>
                <a:gd name="connsiteY127" fmla="*/ 231273 h 418772"/>
                <a:gd name="connsiteX128" fmla="*/ 27781 w 270933"/>
                <a:gd name="connsiteY128" fmla="*/ 230287 h 418772"/>
                <a:gd name="connsiteX129" fmla="*/ 25758 w 270933"/>
                <a:gd name="connsiteY129" fmla="*/ 231398 h 418772"/>
                <a:gd name="connsiteX130" fmla="*/ 19545 w 270933"/>
                <a:gd name="connsiteY130" fmla="*/ 229673 h 418772"/>
                <a:gd name="connsiteX131" fmla="*/ 24921 w 270933"/>
                <a:gd name="connsiteY131" fmla="*/ 220294 h 418772"/>
                <a:gd name="connsiteX132" fmla="*/ 28496 w 270933"/>
                <a:gd name="connsiteY132" fmla="*/ 219613 h 418772"/>
                <a:gd name="connsiteX133" fmla="*/ 27880 w 270933"/>
                <a:gd name="connsiteY133" fmla="*/ 216097 h 418772"/>
                <a:gd name="connsiteX134" fmla="*/ 23688 w 270933"/>
                <a:gd name="connsiteY134" fmla="*/ 213262 h 418772"/>
                <a:gd name="connsiteX135" fmla="*/ 25636 w 270933"/>
                <a:gd name="connsiteY135" fmla="*/ 209621 h 418772"/>
                <a:gd name="connsiteX136" fmla="*/ 25489 w 270933"/>
                <a:gd name="connsiteY136" fmla="*/ 204562 h 418772"/>
                <a:gd name="connsiteX137" fmla="*/ 20830 w 270933"/>
                <a:gd name="connsiteY137" fmla="*/ 203270 h 418772"/>
                <a:gd name="connsiteX138" fmla="*/ 20829 w 270933"/>
                <a:gd name="connsiteY138" fmla="*/ 203270 h 418772"/>
                <a:gd name="connsiteX139" fmla="*/ 20830 w 270933"/>
                <a:gd name="connsiteY139" fmla="*/ 203269 h 418772"/>
                <a:gd name="connsiteX140" fmla="*/ 20831 w 270933"/>
                <a:gd name="connsiteY140" fmla="*/ 203268 h 418772"/>
                <a:gd name="connsiteX141" fmla="*/ 24256 w 270933"/>
                <a:gd name="connsiteY141" fmla="*/ 197531 h 418772"/>
                <a:gd name="connsiteX142" fmla="*/ 21471 w 270933"/>
                <a:gd name="connsiteY142" fmla="*/ 190068 h 418772"/>
                <a:gd name="connsiteX143" fmla="*/ 22730 w 270933"/>
                <a:gd name="connsiteY143" fmla="*/ 180381 h 418772"/>
                <a:gd name="connsiteX144" fmla="*/ 23666 w 270933"/>
                <a:gd name="connsiteY144" fmla="*/ 177296 h 418772"/>
                <a:gd name="connsiteX145" fmla="*/ 28795 w 270933"/>
                <a:gd name="connsiteY145" fmla="*/ 177047 h 418772"/>
                <a:gd name="connsiteX146" fmla="*/ 30200 w 270933"/>
                <a:gd name="connsiteY146" fmla="*/ 172419 h 418772"/>
                <a:gd name="connsiteX147" fmla="*/ 19648 w 270933"/>
                <a:gd name="connsiteY147" fmla="*/ 162801 h 418772"/>
                <a:gd name="connsiteX148" fmla="*/ 13533 w 270933"/>
                <a:gd name="connsiteY148" fmla="*/ 146887 h 418772"/>
                <a:gd name="connsiteX149" fmla="*/ 16887 w 270933"/>
                <a:gd name="connsiteY149" fmla="*/ 138619 h 418772"/>
                <a:gd name="connsiteX150" fmla="*/ 21942 w 270933"/>
                <a:gd name="connsiteY150" fmla="*/ 135841 h 418772"/>
                <a:gd name="connsiteX151" fmla="*/ 25048 w 270933"/>
                <a:gd name="connsiteY151" fmla="*/ 136703 h 418772"/>
                <a:gd name="connsiteX152" fmla="*/ 23298 w 270933"/>
                <a:gd name="connsiteY152" fmla="*/ 111965 h 418772"/>
                <a:gd name="connsiteX153" fmla="*/ 31782 w 270933"/>
                <a:gd name="connsiteY153" fmla="*/ 103448 h 418772"/>
                <a:gd name="connsiteX154" fmla="*/ 33113 w 270933"/>
                <a:gd name="connsiteY154" fmla="*/ 96291 h 418772"/>
                <a:gd name="connsiteX155" fmla="*/ 26900 w 270933"/>
                <a:gd name="connsiteY155" fmla="*/ 94567 h 418772"/>
                <a:gd name="connsiteX156" fmla="*/ 16716 w 270933"/>
                <a:gd name="connsiteY156" fmla="*/ 97594 h 41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270933" h="418772">
                  <a:moveTo>
                    <a:pt x="0" y="52815"/>
                  </a:moveTo>
                  <a:lnTo>
                    <a:pt x="5202" y="55094"/>
                  </a:lnTo>
                  <a:lnTo>
                    <a:pt x="9937" y="58918"/>
                  </a:lnTo>
                  <a:lnTo>
                    <a:pt x="6213" y="54539"/>
                  </a:lnTo>
                  <a:lnTo>
                    <a:pt x="31464" y="57365"/>
                  </a:lnTo>
                  <a:lnTo>
                    <a:pt x="36665" y="59644"/>
                  </a:lnTo>
                  <a:lnTo>
                    <a:pt x="45197" y="70374"/>
                  </a:lnTo>
                  <a:lnTo>
                    <a:pt x="55996" y="70863"/>
                  </a:lnTo>
                  <a:lnTo>
                    <a:pt x="60509" y="67097"/>
                  </a:lnTo>
                  <a:lnTo>
                    <a:pt x="68917" y="56051"/>
                  </a:lnTo>
                  <a:lnTo>
                    <a:pt x="83836" y="56845"/>
                  </a:lnTo>
                  <a:lnTo>
                    <a:pt x="85783" y="53204"/>
                  </a:lnTo>
                  <a:lnTo>
                    <a:pt x="85956" y="41545"/>
                  </a:lnTo>
                  <a:lnTo>
                    <a:pt x="97151" y="37961"/>
                  </a:lnTo>
                  <a:lnTo>
                    <a:pt x="117913" y="27833"/>
                  </a:lnTo>
                  <a:lnTo>
                    <a:pt x="123363" y="20983"/>
                  </a:lnTo>
                  <a:lnTo>
                    <a:pt x="122993" y="8336"/>
                  </a:lnTo>
                  <a:lnTo>
                    <a:pt x="131624" y="4877"/>
                  </a:lnTo>
                  <a:lnTo>
                    <a:pt x="135595" y="125"/>
                  </a:lnTo>
                  <a:lnTo>
                    <a:pt x="138158" y="0"/>
                  </a:lnTo>
                  <a:lnTo>
                    <a:pt x="148095" y="6103"/>
                  </a:lnTo>
                  <a:lnTo>
                    <a:pt x="152361" y="11468"/>
                  </a:lnTo>
                  <a:lnTo>
                    <a:pt x="143804" y="17456"/>
                  </a:lnTo>
                  <a:lnTo>
                    <a:pt x="150856" y="30284"/>
                  </a:lnTo>
                  <a:lnTo>
                    <a:pt x="150140" y="40958"/>
                  </a:lnTo>
                  <a:lnTo>
                    <a:pt x="152237" y="42375"/>
                  </a:lnTo>
                  <a:lnTo>
                    <a:pt x="150214" y="43487"/>
                  </a:lnTo>
                  <a:lnTo>
                    <a:pt x="151299" y="45460"/>
                  </a:lnTo>
                  <a:lnTo>
                    <a:pt x="152927" y="48421"/>
                  </a:lnTo>
                  <a:lnTo>
                    <a:pt x="154949" y="47309"/>
                  </a:lnTo>
                  <a:lnTo>
                    <a:pt x="157044" y="48727"/>
                  </a:lnTo>
                  <a:lnTo>
                    <a:pt x="156576" y="50270"/>
                  </a:lnTo>
                  <a:lnTo>
                    <a:pt x="158129" y="50701"/>
                  </a:lnTo>
                  <a:lnTo>
                    <a:pt x="167302" y="48229"/>
                  </a:lnTo>
                  <a:lnTo>
                    <a:pt x="172579" y="53038"/>
                  </a:lnTo>
                  <a:lnTo>
                    <a:pt x="172257" y="59639"/>
                  </a:lnTo>
                  <a:lnTo>
                    <a:pt x="167745" y="63404"/>
                  </a:lnTo>
                  <a:lnTo>
                    <a:pt x="167424" y="70005"/>
                  </a:lnTo>
                  <a:lnTo>
                    <a:pt x="174574" y="68644"/>
                  </a:lnTo>
                  <a:lnTo>
                    <a:pt x="177756" y="72036"/>
                  </a:lnTo>
                  <a:lnTo>
                    <a:pt x="183527" y="58585"/>
                  </a:lnTo>
                  <a:lnTo>
                    <a:pt x="187718" y="61420"/>
                  </a:lnTo>
                  <a:lnTo>
                    <a:pt x="189666" y="57779"/>
                  </a:lnTo>
                  <a:lnTo>
                    <a:pt x="189739" y="60308"/>
                  </a:lnTo>
                  <a:lnTo>
                    <a:pt x="192305" y="60184"/>
                  </a:lnTo>
                  <a:lnTo>
                    <a:pt x="197680" y="50805"/>
                  </a:lnTo>
                  <a:lnTo>
                    <a:pt x="199702" y="49693"/>
                  </a:lnTo>
                  <a:lnTo>
                    <a:pt x="204979" y="54502"/>
                  </a:lnTo>
                  <a:lnTo>
                    <a:pt x="213066" y="50057"/>
                  </a:lnTo>
                  <a:lnTo>
                    <a:pt x="223619" y="59675"/>
                  </a:lnTo>
                  <a:lnTo>
                    <a:pt x="229611" y="53811"/>
                  </a:lnTo>
                  <a:lnTo>
                    <a:pt x="232324" y="58746"/>
                  </a:lnTo>
                  <a:lnTo>
                    <a:pt x="240412" y="54300"/>
                  </a:lnTo>
                  <a:lnTo>
                    <a:pt x="247882" y="46338"/>
                  </a:lnTo>
                  <a:lnTo>
                    <a:pt x="252001" y="46644"/>
                  </a:lnTo>
                  <a:lnTo>
                    <a:pt x="264328" y="64281"/>
                  </a:lnTo>
                  <a:lnTo>
                    <a:pt x="268989" y="65575"/>
                  </a:lnTo>
                  <a:lnTo>
                    <a:pt x="266325" y="79889"/>
                  </a:lnTo>
                  <a:lnTo>
                    <a:pt x="262750" y="80569"/>
                  </a:lnTo>
                  <a:lnTo>
                    <a:pt x="261887" y="86183"/>
                  </a:lnTo>
                  <a:lnTo>
                    <a:pt x="258854" y="87850"/>
                  </a:lnTo>
                  <a:lnTo>
                    <a:pt x="257769" y="85877"/>
                  </a:lnTo>
                  <a:lnTo>
                    <a:pt x="254194" y="86557"/>
                  </a:lnTo>
                  <a:lnTo>
                    <a:pt x="253109" y="84584"/>
                  </a:lnTo>
                  <a:lnTo>
                    <a:pt x="244947" y="86501"/>
                  </a:lnTo>
                  <a:lnTo>
                    <a:pt x="248818" y="95937"/>
                  </a:lnTo>
                  <a:lnTo>
                    <a:pt x="251135" y="104619"/>
                  </a:lnTo>
                  <a:lnTo>
                    <a:pt x="254869" y="105656"/>
                  </a:lnTo>
                  <a:lnTo>
                    <a:pt x="253448" y="113289"/>
                  </a:lnTo>
                  <a:lnTo>
                    <a:pt x="264965" y="156448"/>
                  </a:lnTo>
                  <a:lnTo>
                    <a:pt x="264966" y="156447"/>
                  </a:lnTo>
                  <a:lnTo>
                    <a:pt x="269084" y="156753"/>
                  </a:lnTo>
                  <a:lnTo>
                    <a:pt x="270711" y="159714"/>
                  </a:lnTo>
                  <a:lnTo>
                    <a:pt x="268295" y="164898"/>
                  </a:lnTo>
                  <a:lnTo>
                    <a:pt x="270933" y="167301"/>
                  </a:lnTo>
                  <a:lnTo>
                    <a:pt x="259491" y="180017"/>
                  </a:lnTo>
                  <a:lnTo>
                    <a:pt x="262425" y="192538"/>
                  </a:lnTo>
                  <a:lnTo>
                    <a:pt x="260082" y="200250"/>
                  </a:lnTo>
                  <a:lnTo>
                    <a:pt x="256038" y="202473"/>
                  </a:lnTo>
                  <a:lnTo>
                    <a:pt x="254164" y="208644"/>
                  </a:lnTo>
                  <a:lnTo>
                    <a:pt x="242852" y="222682"/>
                  </a:lnTo>
                  <a:lnTo>
                    <a:pt x="242686" y="223227"/>
                  </a:lnTo>
                  <a:lnTo>
                    <a:pt x="239129" y="227642"/>
                  </a:lnTo>
                  <a:lnTo>
                    <a:pt x="238357" y="230182"/>
                  </a:lnTo>
                  <a:lnTo>
                    <a:pt x="243929" y="245108"/>
                  </a:lnTo>
                  <a:lnTo>
                    <a:pt x="239564" y="253932"/>
                  </a:lnTo>
                  <a:lnTo>
                    <a:pt x="240328" y="262507"/>
                  </a:lnTo>
                  <a:lnTo>
                    <a:pt x="235569" y="275403"/>
                  </a:lnTo>
                  <a:lnTo>
                    <a:pt x="239834" y="280768"/>
                  </a:lnTo>
                  <a:lnTo>
                    <a:pt x="247378" y="328020"/>
                  </a:lnTo>
                  <a:lnTo>
                    <a:pt x="257290" y="350840"/>
                  </a:lnTo>
                  <a:lnTo>
                    <a:pt x="251766" y="355161"/>
                  </a:lnTo>
                  <a:lnTo>
                    <a:pt x="257386" y="389336"/>
                  </a:lnTo>
                  <a:lnTo>
                    <a:pt x="205235" y="397444"/>
                  </a:lnTo>
                  <a:lnTo>
                    <a:pt x="205233" y="397441"/>
                  </a:lnTo>
                  <a:lnTo>
                    <a:pt x="199093" y="398246"/>
                  </a:lnTo>
                  <a:lnTo>
                    <a:pt x="186592" y="392268"/>
                  </a:lnTo>
                  <a:lnTo>
                    <a:pt x="175250" y="390793"/>
                  </a:lnTo>
                  <a:lnTo>
                    <a:pt x="162428" y="391417"/>
                  </a:lnTo>
                  <a:lnTo>
                    <a:pt x="140261" y="406173"/>
                  </a:lnTo>
                  <a:lnTo>
                    <a:pt x="110325" y="418772"/>
                  </a:lnTo>
                  <a:lnTo>
                    <a:pt x="89046" y="411194"/>
                  </a:lnTo>
                  <a:lnTo>
                    <a:pt x="79183" y="407621"/>
                  </a:lnTo>
                  <a:lnTo>
                    <a:pt x="68853" y="405592"/>
                  </a:lnTo>
                  <a:lnTo>
                    <a:pt x="68852" y="405592"/>
                  </a:lnTo>
                  <a:lnTo>
                    <a:pt x="68852" y="405591"/>
                  </a:lnTo>
                  <a:lnTo>
                    <a:pt x="43285" y="356684"/>
                  </a:lnTo>
                  <a:lnTo>
                    <a:pt x="45159" y="350514"/>
                  </a:lnTo>
                  <a:lnTo>
                    <a:pt x="39612" y="318869"/>
                  </a:lnTo>
                  <a:lnTo>
                    <a:pt x="42424" y="309613"/>
                  </a:lnTo>
                  <a:lnTo>
                    <a:pt x="38085" y="301719"/>
                  </a:lnTo>
                  <a:lnTo>
                    <a:pt x="46098" y="294745"/>
                  </a:lnTo>
                  <a:lnTo>
                    <a:pt x="46887" y="286601"/>
                  </a:lnTo>
                  <a:lnTo>
                    <a:pt x="49305" y="281418"/>
                  </a:lnTo>
                  <a:lnTo>
                    <a:pt x="49478" y="269758"/>
                  </a:lnTo>
                  <a:lnTo>
                    <a:pt x="47308" y="265811"/>
                  </a:lnTo>
                  <a:lnTo>
                    <a:pt x="50193" y="259085"/>
                  </a:lnTo>
                  <a:lnTo>
                    <a:pt x="46396" y="252177"/>
                  </a:lnTo>
                  <a:lnTo>
                    <a:pt x="38629" y="250022"/>
                  </a:lnTo>
                  <a:lnTo>
                    <a:pt x="35375" y="244101"/>
                  </a:lnTo>
                  <a:lnTo>
                    <a:pt x="29703" y="243364"/>
                  </a:lnTo>
                  <a:lnTo>
                    <a:pt x="27682" y="244475"/>
                  </a:lnTo>
                  <a:lnTo>
                    <a:pt x="25585" y="243058"/>
                  </a:lnTo>
                  <a:lnTo>
                    <a:pt x="23020" y="243183"/>
                  </a:lnTo>
                  <a:lnTo>
                    <a:pt x="25043" y="242071"/>
                  </a:lnTo>
                  <a:lnTo>
                    <a:pt x="21936" y="241209"/>
                  </a:lnTo>
                  <a:lnTo>
                    <a:pt x="21863" y="238679"/>
                  </a:lnTo>
                  <a:lnTo>
                    <a:pt x="28323" y="231273"/>
                  </a:lnTo>
                  <a:lnTo>
                    <a:pt x="27781" y="230287"/>
                  </a:lnTo>
                  <a:lnTo>
                    <a:pt x="25758" y="231398"/>
                  </a:lnTo>
                  <a:lnTo>
                    <a:pt x="19545" y="229673"/>
                  </a:lnTo>
                  <a:lnTo>
                    <a:pt x="24921" y="220294"/>
                  </a:lnTo>
                  <a:lnTo>
                    <a:pt x="28496" y="219613"/>
                  </a:lnTo>
                  <a:lnTo>
                    <a:pt x="27880" y="216097"/>
                  </a:lnTo>
                  <a:lnTo>
                    <a:pt x="23688" y="213262"/>
                  </a:lnTo>
                  <a:lnTo>
                    <a:pt x="25636" y="209621"/>
                  </a:lnTo>
                  <a:lnTo>
                    <a:pt x="25489" y="204562"/>
                  </a:lnTo>
                  <a:lnTo>
                    <a:pt x="20830" y="203270"/>
                  </a:lnTo>
                  <a:lnTo>
                    <a:pt x="20829" y="203270"/>
                  </a:lnTo>
                  <a:lnTo>
                    <a:pt x="20830" y="203269"/>
                  </a:lnTo>
                  <a:lnTo>
                    <a:pt x="20831" y="203268"/>
                  </a:lnTo>
                  <a:lnTo>
                    <a:pt x="24256" y="197531"/>
                  </a:lnTo>
                  <a:lnTo>
                    <a:pt x="21471" y="190068"/>
                  </a:lnTo>
                  <a:lnTo>
                    <a:pt x="22730" y="180381"/>
                  </a:lnTo>
                  <a:lnTo>
                    <a:pt x="23666" y="177296"/>
                  </a:lnTo>
                  <a:lnTo>
                    <a:pt x="28795" y="177047"/>
                  </a:lnTo>
                  <a:lnTo>
                    <a:pt x="30200" y="172419"/>
                  </a:lnTo>
                  <a:lnTo>
                    <a:pt x="19648" y="162801"/>
                  </a:lnTo>
                  <a:lnTo>
                    <a:pt x="13533" y="146887"/>
                  </a:lnTo>
                  <a:lnTo>
                    <a:pt x="16887" y="138619"/>
                  </a:lnTo>
                  <a:lnTo>
                    <a:pt x="21942" y="135841"/>
                  </a:lnTo>
                  <a:lnTo>
                    <a:pt x="25048" y="136703"/>
                  </a:lnTo>
                  <a:lnTo>
                    <a:pt x="23298" y="111965"/>
                  </a:lnTo>
                  <a:lnTo>
                    <a:pt x="31782" y="103448"/>
                  </a:lnTo>
                  <a:lnTo>
                    <a:pt x="33113" y="96291"/>
                  </a:lnTo>
                  <a:lnTo>
                    <a:pt x="26900" y="94567"/>
                  </a:lnTo>
                  <a:lnTo>
                    <a:pt x="16716" y="97594"/>
                  </a:lnTo>
                  <a:close/>
                </a:path>
              </a:pathLst>
            </a:custGeom>
            <a:solidFill>
              <a:srgbClr val="EC6224"/>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8" name="Leeuwarden">
              <a:extLst>
                <a:ext uri="{FF2B5EF4-FFF2-40B4-BE49-F238E27FC236}">
                  <a16:creationId xmlns:a16="http://schemas.microsoft.com/office/drawing/2014/main" id="{12FFD44A-7F3E-45E7-8EA1-093917C149A3}"/>
                </a:ext>
              </a:extLst>
            </p:cNvPr>
            <p:cNvSpPr/>
            <p:nvPr/>
          </p:nvSpPr>
          <p:spPr>
            <a:xfrm rot="447135">
              <a:off x="6419052" y="1571493"/>
              <a:ext cx="390062" cy="400277"/>
            </a:xfrm>
            <a:custGeom>
              <a:avLst/>
              <a:gdLst>
                <a:gd name="connsiteX0" fmla="*/ 185067 w 387350"/>
                <a:gd name="connsiteY0" fmla="*/ 205417 h 405221"/>
                <a:gd name="connsiteX1" fmla="*/ 185066 w 387350"/>
                <a:gd name="connsiteY1" fmla="*/ 205417 h 405221"/>
                <a:gd name="connsiteX2" fmla="*/ 185066 w 387350"/>
                <a:gd name="connsiteY2" fmla="*/ 205417 h 405221"/>
                <a:gd name="connsiteX3" fmla="*/ 185067 w 387350"/>
                <a:gd name="connsiteY3" fmla="*/ 205417 h 405221"/>
                <a:gd name="connsiteX4" fmla="*/ 168832 w 387350"/>
                <a:gd name="connsiteY4" fmla="*/ 201252 h 405221"/>
                <a:gd name="connsiteX5" fmla="*/ 165989 w 387350"/>
                <a:gd name="connsiteY5" fmla="*/ 202104 h 405221"/>
                <a:gd name="connsiteX6" fmla="*/ 162556 w 387350"/>
                <a:gd name="connsiteY6" fmla="*/ 202553 h 405221"/>
                <a:gd name="connsiteX7" fmla="*/ 162557 w 387350"/>
                <a:gd name="connsiteY7" fmla="*/ 202554 h 405221"/>
                <a:gd name="connsiteX8" fmla="*/ 165987 w 387350"/>
                <a:gd name="connsiteY8" fmla="*/ 202105 h 405221"/>
                <a:gd name="connsiteX9" fmla="*/ 168831 w 387350"/>
                <a:gd name="connsiteY9" fmla="*/ 201252 h 405221"/>
                <a:gd name="connsiteX10" fmla="*/ 128260 w 387350"/>
                <a:gd name="connsiteY10" fmla="*/ 2625 h 405221"/>
                <a:gd name="connsiteX11" fmla="*/ 157005 w 387350"/>
                <a:gd name="connsiteY11" fmla="*/ 0 h 405221"/>
                <a:gd name="connsiteX12" fmla="*/ 197383 w 387350"/>
                <a:gd name="connsiteY12" fmla="*/ 15159 h 405221"/>
                <a:gd name="connsiteX13" fmla="*/ 207824 w 387350"/>
                <a:gd name="connsiteY13" fmla="*/ 14929 h 405221"/>
                <a:gd name="connsiteX14" fmla="*/ 208116 w 387350"/>
                <a:gd name="connsiteY14" fmla="*/ 17162 h 405221"/>
                <a:gd name="connsiteX15" fmla="*/ 210551 w 387350"/>
                <a:gd name="connsiteY15" fmla="*/ 17980 h 405221"/>
                <a:gd name="connsiteX16" fmla="*/ 208555 w 387350"/>
                <a:gd name="connsiteY16" fmla="*/ 20513 h 405221"/>
                <a:gd name="connsiteX17" fmla="*/ 208700 w 387350"/>
                <a:gd name="connsiteY17" fmla="*/ 21628 h 405221"/>
                <a:gd name="connsiteX18" fmla="*/ 211986 w 387350"/>
                <a:gd name="connsiteY18" fmla="*/ 20064 h 405221"/>
                <a:gd name="connsiteX19" fmla="*/ 215710 w 387350"/>
                <a:gd name="connsiteY19" fmla="*/ 21847 h 405221"/>
                <a:gd name="connsiteX20" fmla="*/ 236593 w 387350"/>
                <a:gd name="connsiteY20" fmla="*/ 21387 h 405221"/>
                <a:gd name="connsiteX21" fmla="*/ 232188 w 387350"/>
                <a:gd name="connsiteY21" fmla="*/ 32184 h 405221"/>
                <a:gd name="connsiteX22" fmla="*/ 233940 w 387350"/>
                <a:gd name="connsiteY22" fmla="*/ 45582 h 405221"/>
                <a:gd name="connsiteX23" fmla="*/ 232236 w 387350"/>
                <a:gd name="connsiteY23" fmla="*/ 50348 h 405221"/>
                <a:gd name="connsiteX24" fmla="*/ 233570 w 387350"/>
                <a:gd name="connsiteY24" fmla="*/ 54214 h 405221"/>
                <a:gd name="connsiteX25" fmla="*/ 234557 w 387350"/>
                <a:gd name="connsiteY25" fmla="*/ 54192 h 405221"/>
                <a:gd name="connsiteX26" fmla="*/ 234018 w 387350"/>
                <a:gd name="connsiteY26" fmla="*/ 55513 h 405221"/>
                <a:gd name="connsiteX27" fmla="*/ 237860 w 387350"/>
                <a:gd name="connsiteY27" fmla="*/ 66647 h 405221"/>
                <a:gd name="connsiteX28" fmla="*/ 236155 w 387350"/>
                <a:gd name="connsiteY28" fmla="*/ 71413 h 405221"/>
                <a:gd name="connsiteX29" fmla="*/ 237738 w 387350"/>
                <a:gd name="connsiteY29" fmla="*/ 74612 h 405221"/>
                <a:gd name="connsiteX30" fmla="*/ 265045 w 387350"/>
                <a:gd name="connsiteY30" fmla="*/ 69905 h 405221"/>
                <a:gd name="connsiteX31" fmla="*/ 261809 w 387350"/>
                <a:gd name="connsiteY31" fmla="*/ 89634 h 405221"/>
                <a:gd name="connsiteX32" fmla="*/ 260956 w 387350"/>
                <a:gd name="connsiteY32" fmla="*/ 92016 h 405221"/>
                <a:gd name="connsiteX33" fmla="*/ 268964 w 387350"/>
                <a:gd name="connsiteY33" fmla="*/ 90969 h 405221"/>
                <a:gd name="connsiteX34" fmla="*/ 287826 w 387350"/>
                <a:gd name="connsiteY34" fmla="*/ 83959 h 405221"/>
                <a:gd name="connsiteX35" fmla="*/ 290723 w 387350"/>
                <a:gd name="connsiteY35" fmla="*/ 97208 h 405221"/>
                <a:gd name="connsiteX36" fmla="*/ 299874 w 387350"/>
                <a:gd name="connsiteY36" fmla="*/ 96011 h 405221"/>
                <a:gd name="connsiteX37" fmla="*/ 299169 w 387350"/>
                <a:gd name="connsiteY37" fmla="*/ 99510 h 405221"/>
                <a:gd name="connsiteX38" fmla="*/ 307176 w 387350"/>
                <a:gd name="connsiteY38" fmla="*/ 98463 h 405221"/>
                <a:gd name="connsiteX39" fmla="*/ 307614 w 387350"/>
                <a:gd name="connsiteY39" fmla="*/ 101812 h 405221"/>
                <a:gd name="connsiteX40" fmla="*/ 299607 w 387350"/>
                <a:gd name="connsiteY40" fmla="*/ 102860 h 405221"/>
                <a:gd name="connsiteX41" fmla="*/ 300337 w 387350"/>
                <a:gd name="connsiteY41" fmla="*/ 108443 h 405221"/>
                <a:gd name="connsiteX42" fmla="*/ 305911 w 387350"/>
                <a:gd name="connsiteY42" fmla="*/ 106577 h 405221"/>
                <a:gd name="connsiteX43" fmla="*/ 306495 w 387350"/>
                <a:gd name="connsiteY43" fmla="*/ 111043 h 405221"/>
                <a:gd name="connsiteX44" fmla="*/ 309925 w 387350"/>
                <a:gd name="connsiteY44" fmla="*/ 110595 h 405221"/>
                <a:gd name="connsiteX45" fmla="*/ 310071 w 387350"/>
                <a:gd name="connsiteY45" fmla="*/ 111711 h 405221"/>
                <a:gd name="connsiteX46" fmla="*/ 317933 w 387350"/>
                <a:gd name="connsiteY46" fmla="*/ 109547 h 405221"/>
                <a:gd name="connsiteX47" fmla="*/ 317374 w 387350"/>
                <a:gd name="connsiteY47" fmla="*/ 114164 h 405221"/>
                <a:gd name="connsiteX48" fmla="*/ 319954 w 387350"/>
                <a:gd name="connsiteY48" fmla="*/ 116097 h 405221"/>
                <a:gd name="connsiteX49" fmla="*/ 313528 w 387350"/>
                <a:gd name="connsiteY49" fmla="*/ 120345 h 405221"/>
                <a:gd name="connsiteX50" fmla="*/ 293845 w 387350"/>
                <a:gd name="connsiteY50" fmla="*/ 127265 h 405221"/>
                <a:gd name="connsiteX51" fmla="*/ 294311 w 387350"/>
                <a:gd name="connsiteY51" fmla="*/ 130833 h 405221"/>
                <a:gd name="connsiteX52" fmla="*/ 297244 w 387350"/>
                <a:gd name="connsiteY52" fmla="*/ 130450 h 405221"/>
                <a:gd name="connsiteX53" fmla="*/ 297369 w 387350"/>
                <a:gd name="connsiteY53" fmla="*/ 131404 h 405221"/>
                <a:gd name="connsiteX54" fmla="*/ 304089 w 387350"/>
                <a:gd name="connsiteY54" fmla="*/ 129554 h 405221"/>
                <a:gd name="connsiteX55" fmla="*/ 303611 w 387350"/>
                <a:gd name="connsiteY55" fmla="*/ 133501 h 405221"/>
                <a:gd name="connsiteX56" fmla="*/ 305817 w 387350"/>
                <a:gd name="connsiteY56" fmla="*/ 135154 h 405221"/>
                <a:gd name="connsiteX57" fmla="*/ 300325 w 387350"/>
                <a:gd name="connsiteY57" fmla="*/ 138785 h 405221"/>
                <a:gd name="connsiteX58" fmla="*/ 277145 w 387350"/>
                <a:gd name="connsiteY58" fmla="*/ 146933 h 405221"/>
                <a:gd name="connsiteX59" fmla="*/ 279138 w 387350"/>
                <a:gd name="connsiteY59" fmla="*/ 150963 h 405221"/>
                <a:gd name="connsiteX60" fmla="*/ 268138 w 387350"/>
                <a:gd name="connsiteY60" fmla="*/ 155808 h 405221"/>
                <a:gd name="connsiteX61" fmla="*/ 271009 w 387350"/>
                <a:gd name="connsiteY61" fmla="*/ 159975 h 405221"/>
                <a:gd name="connsiteX62" fmla="*/ 283958 w 387350"/>
                <a:gd name="connsiteY62" fmla="*/ 187809 h 405221"/>
                <a:gd name="connsiteX63" fmla="*/ 345170 w 387350"/>
                <a:gd name="connsiteY63" fmla="*/ 184344 h 405221"/>
                <a:gd name="connsiteX64" fmla="*/ 350743 w 387350"/>
                <a:gd name="connsiteY64" fmla="*/ 182480 h 405221"/>
                <a:gd name="connsiteX65" fmla="*/ 355026 w 387350"/>
                <a:gd name="connsiteY65" fmla="*/ 179647 h 405221"/>
                <a:gd name="connsiteX66" fmla="*/ 356463 w 387350"/>
                <a:gd name="connsiteY66" fmla="*/ 181732 h 405221"/>
                <a:gd name="connsiteX67" fmla="*/ 356219 w 387350"/>
                <a:gd name="connsiteY67" fmla="*/ 197662 h 405221"/>
                <a:gd name="connsiteX68" fmla="*/ 345827 w 387350"/>
                <a:gd name="connsiteY68" fmla="*/ 216056 h 405221"/>
                <a:gd name="connsiteX69" fmla="*/ 336408 w 387350"/>
                <a:gd name="connsiteY69" fmla="*/ 224102 h 405221"/>
                <a:gd name="connsiteX70" fmla="*/ 355490 w 387350"/>
                <a:gd name="connsiteY70" fmla="*/ 245454 h 405221"/>
                <a:gd name="connsiteX71" fmla="*/ 370240 w 387350"/>
                <a:gd name="connsiteY71" fmla="*/ 251474 h 405221"/>
                <a:gd name="connsiteX72" fmla="*/ 376836 w 387350"/>
                <a:gd name="connsiteY72" fmla="*/ 257426 h 405221"/>
                <a:gd name="connsiteX73" fmla="*/ 387350 w 387350"/>
                <a:gd name="connsiteY73" fmla="*/ 284441 h 405221"/>
                <a:gd name="connsiteX74" fmla="*/ 384210 w 387350"/>
                <a:gd name="connsiteY74" fmla="*/ 287123 h 405221"/>
                <a:gd name="connsiteX75" fmla="*/ 367733 w 387350"/>
                <a:gd name="connsiteY75" fmla="*/ 276786 h 405221"/>
                <a:gd name="connsiteX76" fmla="*/ 364739 w 387350"/>
                <a:gd name="connsiteY76" fmla="*/ 280585 h 405221"/>
                <a:gd name="connsiteX77" fmla="*/ 361083 w 387350"/>
                <a:gd name="connsiteY77" fmla="*/ 281063 h 405221"/>
                <a:gd name="connsiteX78" fmla="*/ 360745 w 387350"/>
                <a:gd name="connsiteY78" fmla="*/ 281352 h 405221"/>
                <a:gd name="connsiteX79" fmla="*/ 360423 w 387350"/>
                <a:gd name="connsiteY79" fmla="*/ 281150 h 405221"/>
                <a:gd name="connsiteX80" fmla="*/ 347580 w 387350"/>
                <a:gd name="connsiteY80" fmla="*/ 282830 h 405221"/>
                <a:gd name="connsiteX81" fmla="*/ 318277 w 387350"/>
                <a:gd name="connsiteY81" fmla="*/ 290069 h 405221"/>
                <a:gd name="connsiteX82" fmla="*/ 325627 w 387350"/>
                <a:gd name="connsiteY82" fmla="*/ 310685 h 405221"/>
                <a:gd name="connsiteX83" fmla="*/ 318350 w 387350"/>
                <a:gd name="connsiteY83" fmla="*/ 317315 h 405221"/>
                <a:gd name="connsiteX84" fmla="*/ 324069 w 387350"/>
                <a:gd name="connsiteY84" fmla="*/ 316567 h 405221"/>
                <a:gd name="connsiteX85" fmla="*/ 323364 w 387350"/>
                <a:gd name="connsiteY85" fmla="*/ 320066 h 405221"/>
                <a:gd name="connsiteX86" fmla="*/ 318374 w 387350"/>
                <a:gd name="connsiteY86" fmla="*/ 326397 h 405221"/>
                <a:gd name="connsiteX87" fmla="*/ 309515 w 387350"/>
                <a:gd name="connsiteY87" fmla="*/ 329827 h 405221"/>
                <a:gd name="connsiteX88" fmla="*/ 301946 w 387350"/>
                <a:gd name="connsiteY88" fmla="*/ 334225 h 405221"/>
                <a:gd name="connsiteX89" fmla="*/ 296080 w 387350"/>
                <a:gd name="connsiteY89" fmla="*/ 333856 h 405221"/>
                <a:gd name="connsiteX90" fmla="*/ 287660 w 387350"/>
                <a:gd name="connsiteY90" fmla="*/ 340636 h 405221"/>
                <a:gd name="connsiteX91" fmla="*/ 285080 w 387350"/>
                <a:gd name="connsiteY91" fmla="*/ 338701 h 405221"/>
                <a:gd name="connsiteX92" fmla="*/ 274225 w 387350"/>
                <a:gd name="connsiteY92" fmla="*/ 344664 h 405221"/>
                <a:gd name="connsiteX93" fmla="*/ 272788 w 387350"/>
                <a:gd name="connsiteY93" fmla="*/ 342581 h 405221"/>
                <a:gd name="connsiteX94" fmla="*/ 263077 w 387350"/>
                <a:gd name="connsiteY94" fmla="*/ 348393 h 405221"/>
                <a:gd name="connsiteX95" fmla="*/ 242999 w 387350"/>
                <a:gd name="connsiteY95" fmla="*/ 381682 h 405221"/>
                <a:gd name="connsiteX96" fmla="*/ 222749 w 387350"/>
                <a:gd name="connsiteY96" fmla="*/ 404772 h 405221"/>
                <a:gd name="connsiteX97" fmla="*/ 219318 w 387350"/>
                <a:gd name="connsiteY97" fmla="*/ 405221 h 405221"/>
                <a:gd name="connsiteX98" fmla="*/ 220169 w 387350"/>
                <a:gd name="connsiteY98" fmla="*/ 402838 h 405221"/>
                <a:gd name="connsiteX99" fmla="*/ 215010 w 387350"/>
                <a:gd name="connsiteY99" fmla="*/ 398970 h 405221"/>
                <a:gd name="connsiteX100" fmla="*/ 208243 w 387350"/>
                <a:gd name="connsiteY100" fmla="*/ 382821 h 405221"/>
                <a:gd name="connsiteX101" fmla="*/ 211529 w 387350"/>
                <a:gd name="connsiteY101" fmla="*/ 381256 h 405221"/>
                <a:gd name="connsiteX102" fmla="*/ 215862 w 387350"/>
                <a:gd name="connsiteY102" fmla="*/ 376376 h 405221"/>
                <a:gd name="connsiteX103" fmla="*/ 210322 w 387350"/>
                <a:gd name="connsiteY103" fmla="*/ 363158 h 405221"/>
                <a:gd name="connsiteX104" fmla="*/ 213132 w 387350"/>
                <a:gd name="connsiteY104" fmla="*/ 361820 h 405221"/>
                <a:gd name="connsiteX105" fmla="*/ 216121 w 387350"/>
                <a:gd name="connsiteY105" fmla="*/ 358453 h 405221"/>
                <a:gd name="connsiteX106" fmla="*/ 206295 w 387350"/>
                <a:gd name="connsiteY106" fmla="*/ 350142 h 405221"/>
                <a:gd name="connsiteX107" fmla="*/ 214011 w 387350"/>
                <a:gd name="connsiteY107" fmla="*/ 346862 h 405221"/>
                <a:gd name="connsiteX108" fmla="*/ 214990 w 387350"/>
                <a:gd name="connsiteY108" fmla="*/ 340579 h 405221"/>
                <a:gd name="connsiteX109" fmla="*/ 208657 w 387350"/>
                <a:gd name="connsiteY109" fmla="*/ 335223 h 405221"/>
                <a:gd name="connsiteX110" fmla="*/ 212094 w 387350"/>
                <a:gd name="connsiteY110" fmla="*/ 333762 h 405221"/>
                <a:gd name="connsiteX111" fmla="*/ 215696 w 387350"/>
                <a:gd name="connsiteY111" fmla="*/ 329578 h 405221"/>
                <a:gd name="connsiteX112" fmla="*/ 216335 w 387350"/>
                <a:gd name="connsiteY112" fmla="*/ 325482 h 405221"/>
                <a:gd name="connsiteX113" fmla="*/ 213152 w 387350"/>
                <a:gd name="connsiteY113" fmla="*/ 323957 h 405221"/>
                <a:gd name="connsiteX114" fmla="*/ 212901 w 387350"/>
                <a:gd name="connsiteY114" fmla="*/ 322048 h 405221"/>
                <a:gd name="connsiteX115" fmla="*/ 219879 w 387350"/>
                <a:gd name="connsiteY115" fmla="*/ 313944 h 405221"/>
                <a:gd name="connsiteX116" fmla="*/ 213913 w 387350"/>
                <a:gd name="connsiteY116" fmla="*/ 310534 h 405221"/>
                <a:gd name="connsiteX117" fmla="*/ 210335 w 387350"/>
                <a:gd name="connsiteY117" fmla="*/ 309867 h 405221"/>
                <a:gd name="connsiteX118" fmla="*/ 207196 w 387350"/>
                <a:gd name="connsiteY118" fmla="*/ 312548 h 405221"/>
                <a:gd name="connsiteX119" fmla="*/ 203326 w 387350"/>
                <a:gd name="connsiteY119" fmla="*/ 309648 h 405221"/>
                <a:gd name="connsiteX120" fmla="*/ 206466 w 387350"/>
                <a:gd name="connsiteY120" fmla="*/ 306966 h 405221"/>
                <a:gd name="connsiteX121" fmla="*/ 198872 w 387350"/>
                <a:gd name="connsiteY121" fmla="*/ 302281 h 405221"/>
                <a:gd name="connsiteX122" fmla="*/ 197874 w 387350"/>
                <a:gd name="connsiteY122" fmla="*/ 303548 h 405221"/>
                <a:gd name="connsiteX123" fmla="*/ 195147 w 387350"/>
                <a:gd name="connsiteY123" fmla="*/ 300496 h 405221"/>
                <a:gd name="connsiteX124" fmla="*/ 197290 w 387350"/>
                <a:gd name="connsiteY124" fmla="*/ 299081 h 405221"/>
                <a:gd name="connsiteX125" fmla="*/ 195708 w 387350"/>
                <a:gd name="connsiteY125" fmla="*/ 295881 h 405221"/>
                <a:gd name="connsiteX126" fmla="*/ 191279 w 387350"/>
                <a:gd name="connsiteY126" fmla="*/ 297597 h 405221"/>
                <a:gd name="connsiteX127" fmla="*/ 190255 w 387350"/>
                <a:gd name="connsiteY127" fmla="*/ 293592 h 405221"/>
                <a:gd name="connsiteX128" fmla="*/ 188108 w 387350"/>
                <a:gd name="connsiteY128" fmla="*/ 295860 h 405221"/>
                <a:gd name="connsiteX129" fmla="*/ 188110 w 387350"/>
                <a:gd name="connsiteY129" fmla="*/ 289911 h 405221"/>
                <a:gd name="connsiteX130" fmla="*/ 185938 w 387350"/>
                <a:gd name="connsiteY130" fmla="*/ 289911 h 405221"/>
                <a:gd name="connsiteX131" fmla="*/ 182571 w 387350"/>
                <a:gd name="connsiteY131" fmla="*/ 293471 h 405221"/>
                <a:gd name="connsiteX132" fmla="*/ 7163 w 387350"/>
                <a:gd name="connsiteY132" fmla="*/ 293471 h 405221"/>
                <a:gd name="connsiteX133" fmla="*/ 7163 w 387350"/>
                <a:gd name="connsiteY133" fmla="*/ 282670 h 405221"/>
                <a:gd name="connsiteX134" fmla="*/ 11056 w 387350"/>
                <a:gd name="connsiteY134" fmla="*/ 282670 h 405221"/>
                <a:gd name="connsiteX135" fmla="*/ 15093 w 387350"/>
                <a:gd name="connsiteY135" fmla="*/ 284886 h 405221"/>
                <a:gd name="connsiteX136" fmla="*/ 16600 w 387350"/>
                <a:gd name="connsiteY136" fmla="*/ 283448 h 405221"/>
                <a:gd name="connsiteX137" fmla="*/ 13144 w 387350"/>
                <a:gd name="connsiteY137" fmla="*/ 278879 h 405221"/>
                <a:gd name="connsiteX138" fmla="*/ 23001 w 387350"/>
                <a:gd name="connsiteY138" fmla="*/ 274181 h 405221"/>
                <a:gd name="connsiteX139" fmla="*/ 23560 w 387350"/>
                <a:gd name="connsiteY139" fmla="*/ 269567 h 405221"/>
                <a:gd name="connsiteX140" fmla="*/ 29425 w 387350"/>
                <a:gd name="connsiteY140" fmla="*/ 269935 h 405221"/>
                <a:gd name="connsiteX141" fmla="*/ 29692 w 387350"/>
                <a:gd name="connsiteY141" fmla="*/ 263086 h 405221"/>
                <a:gd name="connsiteX142" fmla="*/ 27260 w 387350"/>
                <a:gd name="connsiteY142" fmla="*/ 262268 h 405221"/>
                <a:gd name="connsiteX143" fmla="*/ 25678 w 387350"/>
                <a:gd name="connsiteY143" fmla="*/ 259069 h 405221"/>
                <a:gd name="connsiteX144" fmla="*/ 23390 w 387350"/>
                <a:gd name="connsiteY144" fmla="*/ 259369 h 405221"/>
                <a:gd name="connsiteX145" fmla="*/ 22952 w 387350"/>
                <a:gd name="connsiteY145" fmla="*/ 256019 h 405221"/>
                <a:gd name="connsiteX146" fmla="*/ 16233 w 387350"/>
                <a:gd name="connsiteY146" fmla="*/ 258032 h 405221"/>
                <a:gd name="connsiteX147" fmla="*/ 13338 w 387350"/>
                <a:gd name="connsiteY147" fmla="*/ 244784 h 405221"/>
                <a:gd name="connsiteX148" fmla="*/ 9906 w 387350"/>
                <a:gd name="connsiteY148" fmla="*/ 245233 h 405221"/>
                <a:gd name="connsiteX149" fmla="*/ 9468 w 387350"/>
                <a:gd name="connsiteY149" fmla="*/ 241884 h 405221"/>
                <a:gd name="connsiteX150" fmla="*/ 25 w 387350"/>
                <a:gd name="connsiteY150" fmla="*/ 240848 h 405221"/>
                <a:gd name="connsiteX151" fmla="*/ 585 w 387350"/>
                <a:gd name="connsiteY151" fmla="*/ 236232 h 405221"/>
                <a:gd name="connsiteX152" fmla="*/ 1583 w 387350"/>
                <a:gd name="connsiteY152" fmla="*/ 234966 h 405221"/>
                <a:gd name="connsiteX153" fmla="*/ 0 w 387350"/>
                <a:gd name="connsiteY153" fmla="*/ 231765 h 405221"/>
                <a:gd name="connsiteX154" fmla="*/ 1291 w 387350"/>
                <a:gd name="connsiteY154" fmla="*/ 232733 h 405221"/>
                <a:gd name="connsiteX155" fmla="*/ 2142 w 387350"/>
                <a:gd name="connsiteY155" fmla="*/ 230350 h 405221"/>
                <a:gd name="connsiteX156" fmla="*/ 3431 w 387350"/>
                <a:gd name="connsiteY156" fmla="*/ 231317 h 405221"/>
                <a:gd name="connsiteX157" fmla="*/ 4137 w 387350"/>
                <a:gd name="connsiteY157" fmla="*/ 227817 h 405221"/>
                <a:gd name="connsiteX158" fmla="*/ 8274 w 387350"/>
                <a:gd name="connsiteY158" fmla="*/ 223870 h 405221"/>
                <a:gd name="connsiteX159" fmla="*/ 6839 w 387350"/>
                <a:gd name="connsiteY159" fmla="*/ 221786 h 405221"/>
                <a:gd name="connsiteX160" fmla="*/ 7837 w 387350"/>
                <a:gd name="connsiteY160" fmla="*/ 220519 h 405221"/>
                <a:gd name="connsiteX161" fmla="*/ 6401 w 387350"/>
                <a:gd name="connsiteY161" fmla="*/ 218436 h 405221"/>
                <a:gd name="connsiteX162" fmla="*/ 8397 w 387350"/>
                <a:gd name="connsiteY162" fmla="*/ 215904 h 405221"/>
                <a:gd name="connsiteX163" fmla="*/ 7107 w 387350"/>
                <a:gd name="connsiteY163" fmla="*/ 214937 h 405221"/>
                <a:gd name="connsiteX164" fmla="*/ 21807 w 387350"/>
                <a:gd name="connsiteY164" fmla="*/ 202794 h 405221"/>
                <a:gd name="connsiteX165" fmla="*/ 26820 w 387350"/>
                <a:gd name="connsiteY165" fmla="*/ 205545 h 405221"/>
                <a:gd name="connsiteX166" fmla="*/ 24971 w 387350"/>
                <a:gd name="connsiteY166" fmla="*/ 209194 h 405221"/>
                <a:gd name="connsiteX167" fmla="*/ 39719 w 387350"/>
                <a:gd name="connsiteY167" fmla="*/ 215214 h 405221"/>
                <a:gd name="connsiteX168" fmla="*/ 37871 w 387350"/>
                <a:gd name="connsiteY168" fmla="*/ 218863 h 405221"/>
                <a:gd name="connsiteX169" fmla="*/ 38569 w 387350"/>
                <a:gd name="connsiteY169" fmla="*/ 219493 h 405221"/>
                <a:gd name="connsiteX170" fmla="*/ 50951 w 387350"/>
                <a:gd name="connsiteY170" fmla="*/ 209265 h 405221"/>
                <a:gd name="connsiteX171" fmla="*/ 55237 w 387350"/>
                <a:gd name="connsiteY171" fmla="*/ 211616 h 405221"/>
                <a:gd name="connsiteX172" fmla="*/ 53656 w 387350"/>
                <a:gd name="connsiteY172" fmla="*/ 214736 h 405221"/>
                <a:gd name="connsiteX173" fmla="*/ 66263 w 387350"/>
                <a:gd name="connsiteY173" fmla="*/ 219882 h 405221"/>
                <a:gd name="connsiteX174" fmla="*/ 65856 w 387350"/>
                <a:gd name="connsiteY174" fmla="*/ 220685 h 405221"/>
                <a:gd name="connsiteX175" fmla="*/ 74647 w 387350"/>
                <a:gd name="connsiteY175" fmla="*/ 224272 h 405221"/>
                <a:gd name="connsiteX176" fmla="*/ 81924 w 387350"/>
                <a:gd name="connsiteY176" fmla="*/ 217642 h 405221"/>
                <a:gd name="connsiteX177" fmla="*/ 85330 w 387350"/>
                <a:gd name="connsiteY177" fmla="*/ 208112 h 405221"/>
                <a:gd name="connsiteX178" fmla="*/ 87619 w 387350"/>
                <a:gd name="connsiteY178" fmla="*/ 207812 h 405221"/>
                <a:gd name="connsiteX179" fmla="*/ 89201 w 387350"/>
                <a:gd name="connsiteY179" fmla="*/ 211011 h 405221"/>
                <a:gd name="connsiteX180" fmla="*/ 93897 w 387350"/>
                <a:gd name="connsiteY180" fmla="*/ 202449 h 405221"/>
                <a:gd name="connsiteX181" fmla="*/ 96478 w 387350"/>
                <a:gd name="connsiteY181" fmla="*/ 204382 h 405221"/>
                <a:gd name="connsiteX182" fmla="*/ 98182 w 387350"/>
                <a:gd name="connsiteY182" fmla="*/ 199616 h 405221"/>
                <a:gd name="connsiteX183" fmla="*/ 103316 w 387350"/>
                <a:gd name="connsiteY183" fmla="*/ 194403 h 405221"/>
                <a:gd name="connsiteX184" fmla="*/ 106043 w 387350"/>
                <a:gd name="connsiteY184" fmla="*/ 197454 h 405221"/>
                <a:gd name="connsiteX185" fmla="*/ 111762 w 387350"/>
                <a:gd name="connsiteY185" fmla="*/ 196704 h 405221"/>
                <a:gd name="connsiteX186" fmla="*/ 116775 w 387350"/>
                <a:gd name="connsiteY186" fmla="*/ 199456 h 405221"/>
                <a:gd name="connsiteX187" fmla="*/ 118931 w 387350"/>
                <a:gd name="connsiteY187" fmla="*/ 203815 h 405221"/>
                <a:gd name="connsiteX188" fmla="*/ 120628 w 387350"/>
                <a:gd name="connsiteY188" fmla="*/ 202092 h 405221"/>
                <a:gd name="connsiteX189" fmla="*/ 122959 w 387350"/>
                <a:gd name="connsiteY189" fmla="*/ 204700 h 405221"/>
                <a:gd name="connsiteX190" fmla="*/ 127848 w 387350"/>
                <a:gd name="connsiteY190" fmla="*/ 204059 h 405221"/>
                <a:gd name="connsiteX191" fmla="*/ 129023 w 387350"/>
                <a:gd name="connsiteY191" fmla="*/ 204704 h 405221"/>
                <a:gd name="connsiteX192" fmla="*/ 133375 w 387350"/>
                <a:gd name="connsiteY192" fmla="*/ 201828 h 405221"/>
                <a:gd name="connsiteX193" fmla="*/ 139263 w 387350"/>
                <a:gd name="connsiteY193" fmla="*/ 211278 h 405221"/>
                <a:gd name="connsiteX194" fmla="*/ 141261 w 387350"/>
                <a:gd name="connsiteY194" fmla="*/ 208744 h 405221"/>
                <a:gd name="connsiteX195" fmla="*/ 144693 w 387350"/>
                <a:gd name="connsiteY195" fmla="*/ 208296 h 405221"/>
                <a:gd name="connsiteX196" fmla="*/ 145005 w 387350"/>
                <a:gd name="connsiteY196" fmla="*/ 209310 h 405221"/>
                <a:gd name="connsiteX197" fmla="*/ 146323 w 387350"/>
                <a:gd name="connsiteY197" fmla="*/ 208439 h 405221"/>
                <a:gd name="connsiteX198" fmla="*/ 148725 w 387350"/>
                <a:gd name="connsiteY198" fmla="*/ 212293 h 405221"/>
                <a:gd name="connsiteX199" fmla="*/ 149706 w 387350"/>
                <a:gd name="connsiteY199" fmla="*/ 211048 h 405221"/>
                <a:gd name="connsiteX200" fmla="*/ 149414 w 387350"/>
                <a:gd name="connsiteY200" fmla="*/ 208814 h 405221"/>
                <a:gd name="connsiteX201" fmla="*/ 152552 w 387350"/>
                <a:gd name="connsiteY201" fmla="*/ 206133 h 405221"/>
                <a:gd name="connsiteX202" fmla="*/ 155133 w 387350"/>
                <a:gd name="connsiteY202" fmla="*/ 208066 h 405221"/>
                <a:gd name="connsiteX203" fmla="*/ 157982 w 387350"/>
                <a:gd name="connsiteY203" fmla="*/ 203152 h 405221"/>
                <a:gd name="connsiteX204" fmla="*/ 160659 w 387350"/>
                <a:gd name="connsiteY204" fmla="*/ 188038 h 405221"/>
                <a:gd name="connsiteX205" fmla="*/ 163213 w 387350"/>
                <a:gd name="connsiteY205" fmla="*/ 180889 h 405221"/>
                <a:gd name="connsiteX206" fmla="*/ 158637 w 387350"/>
                <a:gd name="connsiteY206" fmla="*/ 181487 h 405221"/>
                <a:gd name="connsiteX207" fmla="*/ 158468 w 387350"/>
                <a:gd name="connsiteY207" fmla="*/ 171290 h 405221"/>
                <a:gd name="connsiteX208" fmla="*/ 156180 w 387350"/>
                <a:gd name="connsiteY208" fmla="*/ 171590 h 405221"/>
                <a:gd name="connsiteX209" fmla="*/ 159441 w 387350"/>
                <a:gd name="connsiteY209" fmla="*/ 160942 h 405221"/>
                <a:gd name="connsiteX210" fmla="*/ 150679 w 387350"/>
                <a:gd name="connsiteY210" fmla="*/ 147324 h 405221"/>
                <a:gd name="connsiteX211" fmla="*/ 149535 w 387350"/>
                <a:gd name="connsiteY211" fmla="*/ 147474 h 405221"/>
                <a:gd name="connsiteX212" fmla="*/ 146225 w 387350"/>
                <a:gd name="connsiteY212" fmla="*/ 139958 h 405221"/>
                <a:gd name="connsiteX213" fmla="*/ 154133 w 387350"/>
                <a:gd name="connsiteY213" fmla="*/ 138923 h 405221"/>
                <a:gd name="connsiteX214" fmla="*/ 152494 w 387350"/>
                <a:gd name="connsiteY214" fmla="*/ 131838 h 405221"/>
                <a:gd name="connsiteX215" fmla="*/ 145203 w 387350"/>
                <a:gd name="connsiteY215" fmla="*/ 132141 h 405221"/>
                <a:gd name="connsiteX216" fmla="*/ 139847 w 387350"/>
                <a:gd name="connsiteY216" fmla="*/ 108993 h 405221"/>
                <a:gd name="connsiteX217" fmla="*/ 145275 w 387350"/>
                <a:gd name="connsiteY217" fmla="*/ 106013 h 405221"/>
                <a:gd name="connsiteX218" fmla="*/ 136537 w 387350"/>
                <a:gd name="connsiteY218" fmla="*/ 101477 h 405221"/>
                <a:gd name="connsiteX219" fmla="*/ 147071 w 387350"/>
                <a:gd name="connsiteY219" fmla="*/ 91427 h 405221"/>
                <a:gd name="connsiteX220" fmla="*/ 144281 w 387350"/>
                <a:gd name="connsiteY220" fmla="*/ 86387 h 405221"/>
                <a:gd name="connsiteX221" fmla="*/ 144840 w 387350"/>
                <a:gd name="connsiteY221" fmla="*/ 85529 h 405221"/>
                <a:gd name="connsiteX222" fmla="*/ 139627 w 387350"/>
                <a:gd name="connsiteY222" fmla="*/ 80631 h 405221"/>
                <a:gd name="connsiteX223" fmla="*/ 137047 w 387350"/>
                <a:gd name="connsiteY223" fmla="*/ 78698 h 405221"/>
                <a:gd name="connsiteX224" fmla="*/ 139335 w 387350"/>
                <a:gd name="connsiteY224" fmla="*/ 78399 h 405221"/>
                <a:gd name="connsiteX225" fmla="*/ 138886 w 387350"/>
                <a:gd name="connsiteY225" fmla="*/ 74969 h 405221"/>
                <a:gd name="connsiteX226" fmla="*/ 136666 w 387350"/>
                <a:gd name="connsiteY226" fmla="*/ 73793 h 405221"/>
                <a:gd name="connsiteX227" fmla="*/ 132859 w 387350"/>
                <a:gd name="connsiteY227" fmla="*/ 67495 h 405221"/>
                <a:gd name="connsiteX228" fmla="*/ 133587 w 387350"/>
                <a:gd name="connsiteY228" fmla="*/ 65457 h 405221"/>
                <a:gd name="connsiteX229" fmla="*/ 133295 w 387350"/>
                <a:gd name="connsiteY229" fmla="*/ 63220 h 405221"/>
                <a:gd name="connsiteX230" fmla="*/ 130986 w 387350"/>
                <a:gd name="connsiteY230" fmla="*/ 59049 h 405221"/>
                <a:gd name="connsiteX231" fmla="*/ 135829 w 387350"/>
                <a:gd name="connsiteY231" fmla="*/ 51602 h 405221"/>
                <a:gd name="connsiteX232" fmla="*/ 122078 w 387350"/>
                <a:gd name="connsiteY232" fmla="*/ 44316 h 405221"/>
                <a:gd name="connsiteX233" fmla="*/ 117624 w 387350"/>
                <a:gd name="connsiteY233" fmla="*/ 36949 h 405221"/>
                <a:gd name="connsiteX234" fmla="*/ 118476 w 387350"/>
                <a:gd name="connsiteY234" fmla="*/ 34565 h 405221"/>
                <a:gd name="connsiteX235" fmla="*/ 117892 w 387350"/>
                <a:gd name="connsiteY235" fmla="*/ 30100 h 405221"/>
                <a:gd name="connsiteX236" fmla="*/ 121860 w 387350"/>
                <a:gd name="connsiteY236" fmla="*/ 15953 h 405221"/>
                <a:gd name="connsiteX237" fmla="*/ 119571 w 387350"/>
                <a:gd name="connsiteY237" fmla="*/ 16253 h 405221"/>
                <a:gd name="connsiteX238" fmla="*/ 120423 w 387350"/>
                <a:gd name="connsiteY238" fmla="*/ 13870 h 405221"/>
                <a:gd name="connsiteX239" fmla="*/ 121568 w 387350"/>
                <a:gd name="connsiteY239" fmla="*/ 13720 h 405221"/>
                <a:gd name="connsiteX240" fmla="*/ 123830 w 387350"/>
                <a:gd name="connsiteY240" fmla="*/ 4340 h 40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387350" h="405221">
                  <a:moveTo>
                    <a:pt x="185067" y="205417"/>
                  </a:moveTo>
                  <a:lnTo>
                    <a:pt x="185066" y="205417"/>
                  </a:lnTo>
                  <a:lnTo>
                    <a:pt x="185066" y="205417"/>
                  </a:lnTo>
                  <a:lnTo>
                    <a:pt x="185067" y="205417"/>
                  </a:lnTo>
                  <a:close/>
                  <a:moveTo>
                    <a:pt x="168832" y="201252"/>
                  </a:moveTo>
                  <a:lnTo>
                    <a:pt x="165989" y="202104"/>
                  </a:lnTo>
                  <a:lnTo>
                    <a:pt x="162556" y="202553"/>
                  </a:lnTo>
                  <a:lnTo>
                    <a:pt x="162557" y="202554"/>
                  </a:lnTo>
                  <a:lnTo>
                    <a:pt x="165987" y="202105"/>
                  </a:lnTo>
                  <a:lnTo>
                    <a:pt x="168831" y="201252"/>
                  </a:lnTo>
                  <a:close/>
                  <a:moveTo>
                    <a:pt x="128260" y="2625"/>
                  </a:moveTo>
                  <a:lnTo>
                    <a:pt x="157005" y="0"/>
                  </a:lnTo>
                  <a:lnTo>
                    <a:pt x="197383" y="15159"/>
                  </a:lnTo>
                  <a:lnTo>
                    <a:pt x="207824" y="14929"/>
                  </a:lnTo>
                  <a:lnTo>
                    <a:pt x="208116" y="17162"/>
                  </a:lnTo>
                  <a:lnTo>
                    <a:pt x="210551" y="17980"/>
                  </a:lnTo>
                  <a:lnTo>
                    <a:pt x="208555" y="20513"/>
                  </a:lnTo>
                  <a:lnTo>
                    <a:pt x="208700" y="21628"/>
                  </a:lnTo>
                  <a:lnTo>
                    <a:pt x="211986" y="20064"/>
                  </a:lnTo>
                  <a:lnTo>
                    <a:pt x="215710" y="21847"/>
                  </a:lnTo>
                  <a:lnTo>
                    <a:pt x="236593" y="21387"/>
                  </a:lnTo>
                  <a:lnTo>
                    <a:pt x="232188" y="32184"/>
                  </a:lnTo>
                  <a:lnTo>
                    <a:pt x="233940" y="45582"/>
                  </a:lnTo>
                  <a:lnTo>
                    <a:pt x="232236" y="50348"/>
                  </a:lnTo>
                  <a:lnTo>
                    <a:pt x="233570" y="54214"/>
                  </a:lnTo>
                  <a:lnTo>
                    <a:pt x="234557" y="54192"/>
                  </a:lnTo>
                  <a:lnTo>
                    <a:pt x="234018" y="55513"/>
                  </a:lnTo>
                  <a:lnTo>
                    <a:pt x="237860" y="66647"/>
                  </a:lnTo>
                  <a:lnTo>
                    <a:pt x="236155" y="71413"/>
                  </a:lnTo>
                  <a:lnTo>
                    <a:pt x="237738" y="74612"/>
                  </a:lnTo>
                  <a:lnTo>
                    <a:pt x="265045" y="69905"/>
                  </a:lnTo>
                  <a:lnTo>
                    <a:pt x="261809" y="89634"/>
                  </a:lnTo>
                  <a:lnTo>
                    <a:pt x="260956" y="92016"/>
                  </a:lnTo>
                  <a:lnTo>
                    <a:pt x="268964" y="90969"/>
                  </a:lnTo>
                  <a:lnTo>
                    <a:pt x="287826" y="83959"/>
                  </a:lnTo>
                  <a:lnTo>
                    <a:pt x="290723" y="97208"/>
                  </a:lnTo>
                  <a:lnTo>
                    <a:pt x="299874" y="96011"/>
                  </a:lnTo>
                  <a:lnTo>
                    <a:pt x="299169" y="99510"/>
                  </a:lnTo>
                  <a:lnTo>
                    <a:pt x="307176" y="98463"/>
                  </a:lnTo>
                  <a:lnTo>
                    <a:pt x="307614" y="101812"/>
                  </a:lnTo>
                  <a:lnTo>
                    <a:pt x="299607" y="102860"/>
                  </a:lnTo>
                  <a:lnTo>
                    <a:pt x="300337" y="108443"/>
                  </a:lnTo>
                  <a:lnTo>
                    <a:pt x="305911" y="106577"/>
                  </a:lnTo>
                  <a:lnTo>
                    <a:pt x="306495" y="111043"/>
                  </a:lnTo>
                  <a:lnTo>
                    <a:pt x="309925" y="110595"/>
                  </a:lnTo>
                  <a:lnTo>
                    <a:pt x="310071" y="111711"/>
                  </a:lnTo>
                  <a:lnTo>
                    <a:pt x="317933" y="109547"/>
                  </a:lnTo>
                  <a:lnTo>
                    <a:pt x="317374" y="114164"/>
                  </a:lnTo>
                  <a:lnTo>
                    <a:pt x="319954" y="116097"/>
                  </a:lnTo>
                  <a:lnTo>
                    <a:pt x="313528" y="120345"/>
                  </a:lnTo>
                  <a:lnTo>
                    <a:pt x="293845" y="127265"/>
                  </a:lnTo>
                  <a:lnTo>
                    <a:pt x="294311" y="130833"/>
                  </a:lnTo>
                  <a:lnTo>
                    <a:pt x="297244" y="130450"/>
                  </a:lnTo>
                  <a:lnTo>
                    <a:pt x="297369" y="131404"/>
                  </a:lnTo>
                  <a:lnTo>
                    <a:pt x="304089" y="129554"/>
                  </a:lnTo>
                  <a:lnTo>
                    <a:pt x="303611" y="133501"/>
                  </a:lnTo>
                  <a:lnTo>
                    <a:pt x="305817" y="135154"/>
                  </a:lnTo>
                  <a:lnTo>
                    <a:pt x="300325" y="138785"/>
                  </a:lnTo>
                  <a:lnTo>
                    <a:pt x="277145" y="146933"/>
                  </a:lnTo>
                  <a:lnTo>
                    <a:pt x="279138" y="150963"/>
                  </a:lnTo>
                  <a:lnTo>
                    <a:pt x="268138" y="155808"/>
                  </a:lnTo>
                  <a:lnTo>
                    <a:pt x="271009" y="159975"/>
                  </a:lnTo>
                  <a:lnTo>
                    <a:pt x="283958" y="187809"/>
                  </a:lnTo>
                  <a:lnTo>
                    <a:pt x="345170" y="184344"/>
                  </a:lnTo>
                  <a:lnTo>
                    <a:pt x="350743" y="182480"/>
                  </a:lnTo>
                  <a:lnTo>
                    <a:pt x="355026" y="179647"/>
                  </a:lnTo>
                  <a:lnTo>
                    <a:pt x="356463" y="181732"/>
                  </a:lnTo>
                  <a:lnTo>
                    <a:pt x="356219" y="197662"/>
                  </a:lnTo>
                  <a:lnTo>
                    <a:pt x="345827" y="216056"/>
                  </a:lnTo>
                  <a:lnTo>
                    <a:pt x="336408" y="224102"/>
                  </a:lnTo>
                  <a:lnTo>
                    <a:pt x="355490" y="245454"/>
                  </a:lnTo>
                  <a:lnTo>
                    <a:pt x="370240" y="251474"/>
                  </a:lnTo>
                  <a:lnTo>
                    <a:pt x="376836" y="257426"/>
                  </a:lnTo>
                  <a:lnTo>
                    <a:pt x="387350" y="284441"/>
                  </a:lnTo>
                  <a:lnTo>
                    <a:pt x="384210" y="287123"/>
                  </a:lnTo>
                  <a:lnTo>
                    <a:pt x="367733" y="276786"/>
                  </a:lnTo>
                  <a:lnTo>
                    <a:pt x="364739" y="280585"/>
                  </a:lnTo>
                  <a:lnTo>
                    <a:pt x="361083" y="281063"/>
                  </a:lnTo>
                  <a:lnTo>
                    <a:pt x="360745" y="281352"/>
                  </a:lnTo>
                  <a:lnTo>
                    <a:pt x="360423" y="281150"/>
                  </a:lnTo>
                  <a:lnTo>
                    <a:pt x="347580" y="282830"/>
                  </a:lnTo>
                  <a:lnTo>
                    <a:pt x="318277" y="290069"/>
                  </a:lnTo>
                  <a:lnTo>
                    <a:pt x="325627" y="310685"/>
                  </a:lnTo>
                  <a:lnTo>
                    <a:pt x="318350" y="317315"/>
                  </a:lnTo>
                  <a:lnTo>
                    <a:pt x="324069" y="316567"/>
                  </a:lnTo>
                  <a:lnTo>
                    <a:pt x="323364" y="320066"/>
                  </a:lnTo>
                  <a:lnTo>
                    <a:pt x="318374" y="326397"/>
                  </a:lnTo>
                  <a:lnTo>
                    <a:pt x="309515" y="329827"/>
                  </a:lnTo>
                  <a:lnTo>
                    <a:pt x="301946" y="334225"/>
                  </a:lnTo>
                  <a:lnTo>
                    <a:pt x="296080" y="333856"/>
                  </a:lnTo>
                  <a:lnTo>
                    <a:pt x="287660" y="340636"/>
                  </a:lnTo>
                  <a:lnTo>
                    <a:pt x="285080" y="338701"/>
                  </a:lnTo>
                  <a:lnTo>
                    <a:pt x="274225" y="344664"/>
                  </a:lnTo>
                  <a:lnTo>
                    <a:pt x="272788" y="342581"/>
                  </a:lnTo>
                  <a:lnTo>
                    <a:pt x="263077" y="348393"/>
                  </a:lnTo>
                  <a:lnTo>
                    <a:pt x="242999" y="381682"/>
                  </a:lnTo>
                  <a:lnTo>
                    <a:pt x="222749" y="404772"/>
                  </a:lnTo>
                  <a:lnTo>
                    <a:pt x="219318" y="405221"/>
                  </a:lnTo>
                  <a:lnTo>
                    <a:pt x="220169" y="402838"/>
                  </a:lnTo>
                  <a:lnTo>
                    <a:pt x="215010" y="398970"/>
                  </a:lnTo>
                  <a:lnTo>
                    <a:pt x="208243" y="382821"/>
                  </a:lnTo>
                  <a:lnTo>
                    <a:pt x="211529" y="381256"/>
                  </a:lnTo>
                  <a:lnTo>
                    <a:pt x="215862" y="376376"/>
                  </a:lnTo>
                  <a:lnTo>
                    <a:pt x="210322" y="363158"/>
                  </a:lnTo>
                  <a:lnTo>
                    <a:pt x="213132" y="361820"/>
                  </a:lnTo>
                  <a:lnTo>
                    <a:pt x="216121" y="358453"/>
                  </a:lnTo>
                  <a:lnTo>
                    <a:pt x="206295" y="350142"/>
                  </a:lnTo>
                  <a:lnTo>
                    <a:pt x="214011" y="346862"/>
                  </a:lnTo>
                  <a:lnTo>
                    <a:pt x="214990" y="340579"/>
                  </a:lnTo>
                  <a:lnTo>
                    <a:pt x="208657" y="335223"/>
                  </a:lnTo>
                  <a:lnTo>
                    <a:pt x="212094" y="333762"/>
                  </a:lnTo>
                  <a:lnTo>
                    <a:pt x="215696" y="329578"/>
                  </a:lnTo>
                  <a:lnTo>
                    <a:pt x="216335" y="325482"/>
                  </a:lnTo>
                  <a:lnTo>
                    <a:pt x="213152" y="323957"/>
                  </a:lnTo>
                  <a:lnTo>
                    <a:pt x="212901" y="322048"/>
                  </a:lnTo>
                  <a:lnTo>
                    <a:pt x="219879" y="313944"/>
                  </a:lnTo>
                  <a:lnTo>
                    <a:pt x="213913" y="310534"/>
                  </a:lnTo>
                  <a:lnTo>
                    <a:pt x="210335" y="309867"/>
                  </a:lnTo>
                  <a:lnTo>
                    <a:pt x="207196" y="312548"/>
                  </a:lnTo>
                  <a:lnTo>
                    <a:pt x="203326" y="309648"/>
                  </a:lnTo>
                  <a:lnTo>
                    <a:pt x="206466" y="306966"/>
                  </a:lnTo>
                  <a:lnTo>
                    <a:pt x="198872" y="302281"/>
                  </a:lnTo>
                  <a:lnTo>
                    <a:pt x="197874" y="303548"/>
                  </a:lnTo>
                  <a:lnTo>
                    <a:pt x="195147" y="300496"/>
                  </a:lnTo>
                  <a:lnTo>
                    <a:pt x="197290" y="299081"/>
                  </a:lnTo>
                  <a:lnTo>
                    <a:pt x="195708" y="295881"/>
                  </a:lnTo>
                  <a:lnTo>
                    <a:pt x="191279" y="297597"/>
                  </a:lnTo>
                  <a:lnTo>
                    <a:pt x="190255" y="293592"/>
                  </a:lnTo>
                  <a:lnTo>
                    <a:pt x="188108" y="295860"/>
                  </a:lnTo>
                  <a:lnTo>
                    <a:pt x="188110" y="289911"/>
                  </a:lnTo>
                  <a:lnTo>
                    <a:pt x="185938" y="289911"/>
                  </a:lnTo>
                  <a:lnTo>
                    <a:pt x="182571" y="293471"/>
                  </a:lnTo>
                  <a:lnTo>
                    <a:pt x="7163" y="293471"/>
                  </a:lnTo>
                  <a:lnTo>
                    <a:pt x="7163" y="282670"/>
                  </a:lnTo>
                  <a:lnTo>
                    <a:pt x="11056" y="282670"/>
                  </a:lnTo>
                  <a:lnTo>
                    <a:pt x="15093" y="284886"/>
                  </a:lnTo>
                  <a:lnTo>
                    <a:pt x="16600" y="283448"/>
                  </a:lnTo>
                  <a:lnTo>
                    <a:pt x="13144" y="278879"/>
                  </a:lnTo>
                  <a:lnTo>
                    <a:pt x="23001" y="274181"/>
                  </a:lnTo>
                  <a:lnTo>
                    <a:pt x="23560" y="269567"/>
                  </a:lnTo>
                  <a:lnTo>
                    <a:pt x="29425" y="269935"/>
                  </a:lnTo>
                  <a:lnTo>
                    <a:pt x="29692" y="263086"/>
                  </a:lnTo>
                  <a:lnTo>
                    <a:pt x="27260" y="262268"/>
                  </a:lnTo>
                  <a:lnTo>
                    <a:pt x="25678" y="259069"/>
                  </a:lnTo>
                  <a:lnTo>
                    <a:pt x="23390" y="259369"/>
                  </a:lnTo>
                  <a:lnTo>
                    <a:pt x="22952" y="256019"/>
                  </a:lnTo>
                  <a:lnTo>
                    <a:pt x="16233" y="258032"/>
                  </a:lnTo>
                  <a:lnTo>
                    <a:pt x="13338" y="244784"/>
                  </a:lnTo>
                  <a:lnTo>
                    <a:pt x="9906" y="245233"/>
                  </a:lnTo>
                  <a:lnTo>
                    <a:pt x="9468" y="241884"/>
                  </a:lnTo>
                  <a:lnTo>
                    <a:pt x="25" y="240848"/>
                  </a:lnTo>
                  <a:lnTo>
                    <a:pt x="585" y="236232"/>
                  </a:lnTo>
                  <a:lnTo>
                    <a:pt x="1583" y="234966"/>
                  </a:lnTo>
                  <a:lnTo>
                    <a:pt x="0" y="231765"/>
                  </a:lnTo>
                  <a:lnTo>
                    <a:pt x="1291" y="232733"/>
                  </a:lnTo>
                  <a:lnTo>
                    <a:pt x="2142" y="230350"/>
                  </a:lnTo>
                  <a:lnTo>
                    <a:pt x="3431" y="231317"/>
                  </a:lnTo>
                  <a:lnTo>
                    <a:pt x="4137" y="227817"/>
                  </a:lnTo>
                  <a:lnTo>
                    <a:pt x="8274" y="223870"/>
                  </a:lnTo>
                  <a:lnTo>
                    <a:pt x="6839" y="221786"/>
                  </a:lnTo>
                  <a:lnTo>
                    <a:pt x="7837" y="220519"/>
                  </a:lnTo>
                  <a:lnTo>
                    <a:pt x="6401" y="218436"/>
                  </a:lnTo>
                  <a:lnTo>
                    <a:pt x="8397" y="215904"/>
                  </a:lnTo>
                  <a:lnTo>
                    <a:pt x="7107" y="214937"/>
                  </a:lnTo>
                  <a:lnTo>
                    <a:pt x="21807" y="202794"/>
                  </a:lnTo>
                  <a:lnTo>
                    <a:pt x="26820" y="205545"/>
                  </a:lnTo>
                  <a:lnTo>
                    <a:pt x="24971" y="209194"/>
                  </a:lnTo>
                  <a:lnTo>
                    <a:pt x="39719" y="215214"/>
                  </a:lnTo>
                  <a:lnTo>
                    <a:pt x="37871" y="218863"/>
                  </a:lnTo>
                  <a:lnTo>
                    <a:pt x="38569" y="219493"/>
                  </a:lnTo>
                  <a:lnTo>
                    <a:pt x="50951" y="209265"/>
                  </a:lnTo>
                  <a:lnTo>
                    <a:pt x="55237" y="211616"/>
                  </a:lnTo>
                  <a:lnTo>
                    <a:pt x="53656" y="214736"/>
                  </a:lnTo>
                  <a:lnTo>
                    <a:pt x="66263" y="219882"/>
                  </a:lnTo>
                  <a:lnTo>
                    <a:pt x="65856" y="220685"/>
                  </a:lnTo>
                  <a:lnTo>
                    <a:pt x="74647" y="224272"/>
                  </a:lnTo>
                  <a:lnTo>
                    <a:pt x="81924" y="217642"/>
                  </a:lnTo>
                  <a:lnTo>
                    <a:pt x="85330" y="208112"/>
                  </a:lnTo>
                  <a:lnTo>
                    <a:pt x="87619" y="207812"/>
                  </a:lnTo>
                  <a:lnTo>
                    <a:pt x="89201" y="211011"/>
                  </a:lnTo>
                  <a:lnTo>
                    <a:pt x="93897" y="202449"/>
                  </a:lnTo>
                  <a:lnTo>
                    <a:pt x="96478" y="204382"/>
                  </a:lnTo>
                  <a:lnTo>
                    <a:pt x="98182" y="199616"/>
                  </a:lnTo>
                  <a:lnTo>
                    <a:pt x="103316" y="194403"/>
                  </a:lnTo>
                  <a:lnTo>
                    <a:pt x="106043" y="197454"/>
                  </a:lnTo>
                  <a:lnTo>
                    <a:pt x="111762" y="196704"/>
                  </a:lnTo>
                  <a:lnTo>
                    <a:pt x="116775" y="199456"/>
                  </a:lnTo>
                  <a:lnTo>
                    <a:pt x="118931" y="203815"/>
                  </a:lnTo>
                  <a:lnTo>
                    <a:pt x="120628" y="202092"/>
                  </a:lnTo>
                  <a:lnTo>
                    <a:pt x="122959" y="204700"/>
                  </a:lnTo>
                  <a:lnTo>
                    <a:pt x="127848" y="204059"/>
                  </a:lnTo>
                  <a:lnTo>
                    <a:pt x="129023" y="204704"/>
                  </a:lnTo>
                  <a:lnTo>
                    <a:pt x="133375" y="201828"/>
                  </a:lnTo>
                  <a:lnTo>
                    <a:pt x="139263" y="211278"/>
                  </a:lnTo>
                  <a:lnTo>
                    <a:pt x="141261" y="208744"/>
                  </a:lnTo>
                  <a:lnTo>
                    <a:pt x="144693" y="208296"/>
                  </a:lnTo>
                  <a:lnTo>
                    <a:pt x="145005" y="209310"/>
                  </a:lnTo>
                  <a:lnTo>
                    <a:pt x="146323" y="208439"/>
                  </a:lnTo>
                  <a:lnTo>
                    <a:pt x="148725" y="212293"/>
                  </a:lnTo>
                  <a:lnTo>
                    <a:pt x="149706" y="211048"/>
                  </a:lnTo>
                  <a:lnTo>
                    <a:pt x="149414" y="208814"/>
                  </a:lnTo>
                  <a:lnTo>
                    <a:pt x="152552" y="206133"/>
                  </a:lnTo>
                  <a:lnTo>
                    <a:pt x="155133" y="208066"/>
                  </a:lnTo>
                  <a:lnTo>
                    <a:pt x="157982" y="203152"/>
                  </a:lnTo>
                  <a:lnTo>
                    <a:pt x="160659" y="188038"/>
                  </a:lnTo>
                  <a:lnTo>
                    <a:pt x="163213" y="180889"/>
                  </a:lnTo>
                  <a:lnTo>
                    <a:pt x="158637" y="181487"/>
                  </a:lnTo>
                  <a:lnTo>
                    <a:pt x="158468" y="171290"/>
                  </a:lnTo>
                  <a:lnTo>
                    <a:pt x="156180" y="171590"/>
                  </a:lnTo>
                  <a:lnTo>
                    <a:pt x="159441" y="160942"/>
                  </a:lnTo>
                  <a:lnTo>
                    <a:pt x="150679" y="147324"/>
                  </a:lnTo>
                  <a:lnTo>
                    <a:pt x="149535" y="147474"/>
                  </a:lnTo>
                  <a:lnTo>
                    <a:pt x="146225" y="139958"/>
                  </a:lnTo>
                  <a:lnTo>
                    <a:pt x="154133" y="138923"/>
                  </a:lnTo>
                  <a:lnTo>
                    <a:pt x="152494" y="131838"/>
                  </a:lnTo>
                  <a:lnTo>
                    <a:pt x="145203" y="132141"/>
                  </a:lnTo>
                  <a:lnTo>
                    <a:pt x="139847" y="108993"/>
                  </a:lnTo>
                  <a:lnTo>
                    <a:pt x="145275" y="106013"/>
                  </a:lnTo>
                  <a:lnTo>
                    <a:pt x="136537" y="101477"/>
                  </a:lnTo>
                  <a:lnTo>
                    <a:pt x="147071" y="91427"/>
                  </a:lnTo>
                  <a:lnTo>
                    <a:pt x="144281" y="86387"/>
                  </a:lnTo>
                  <a:lnTo>
                    <a:pt x="144840" y="85529"/>
                  </a:lnTo>
                  <a:lnTo>
                    <a:pt x="139627" y="80631"/>
                  </a:lnTo>
                  <a:lnTo>
                    <a:pt x="137047" y="78698"/>
                  </a:lnTo>
                  <a:lnTo>
                    <a:pt x="139335" y="78399"/>
                  </a:lnTo>
                  <a:lnTo>
                    <a:pt x="138886" y="74969"/>
                  </a:lnTo>
                  <a:lnTo>
                    <a:pt x="136666" y="73793"/>
                  </a:lnTo>
                  <a:lnTo>
                    <a:pt x="132859" y="67495"/>
                  </a:lnTo>
                  <a:lnTo>
                    <a:pt x="133587" y="65457"/>
                  </a:lnTo>
                  <a:lnTo>
                    <a:pt x="133295" y="63220"/>
                  </a:lnTo>
                  <a:lnTo>
                    <a:pt x="130986" y="59049"/>
                  </a:lnTo>
                  <a:lnTo>
                    <a:pt x="135829" y="51602"/>
                  </a:lnTo>
                  <a:lnTo>
                    <a:pt x="122078" y="44316"/>
                  </a:lnTo>
                  <a:lnTo>
                    <a:pt x="117624" y="36949"/>
                  </a:lnTo>
                  <a:lnTo>
                    <a:pt x="118476" y="34565"/>
                  </a:lnTo>
                  <a:lnTo>
                    <a:pt x="117892" y="30100"/>
                  </a:lnTo>
                  <a:lnTo>
                    <a:pt x="121860" y="15953"/>
                  </a:lnTo>
                  <a:lnTo>
                    <a:pt x="119571" y="16253"/>
                  </a:lnTo>
                  <a:lnTo>
                    <a:pt x="120423" y="13870"/>
                  </a:lnTo>
                  <a:lnTo>
                    <a:pt x="121568" y="13720"/>
                  </a:lnTo>
                  <a:lnTo>
                    <a:pt x="123830" y="4340"/>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099" name="Sudwest-Fryslan">
              <a:extLst>
                <a:ext uri="{FF2B5EF4-FFF2-40B4-BE49-F238E27FC236}">
                  <a16:creationId xmlns:a16="http://schemas.microsoft.com/office/drawing/2014/main" id="{718A35B9-5832-469B-8C9D-B227119C2BF3}"/>
                </a:ext>
              </a:extLst>
            </p:cNvPr>
            <p:cNvSpPr/>
            <p:nvPr/>
          </p:nvSpPr>
          <p:spPr>
            <a:xfrm>
              <a:off x="5999646" y="1809587"/>
              <a:ext cx="647423" cy="489047"/>
            </a:xfrm>
            <a:custGeom>
              <a:avLst/>
              <a:gdLst>
                <a:gd name="connsiteX0" fmla="*/ 199583 w 635665"/>
                <a:gd name="connsiteY0" fmla="*/ 459426 h 504468"/>
                <a:gd name="connsiteX1" fmla="*/ 201891 w 635665"/>
                <a:gd name="connsiteY1" fmla="*/ 462804 h 504468"/>
                <a:gd name="connsiteX2" fmla="*/ 202955 w 635665"/>
                <a:gd name="connsiteY2" fmla="*/ 463584 h 504468"/>
                <a:gd name="connsiteX3" fmla="*/ 201890 w 635665"/>
                <a:gd name="connsiteY3" fmla="*/ 463930 h 504468"/>
                <a:gd name="connsiteX4" fmla="*/ 242268 w 635665"/>
                <a:gd name="connsiteY4" fmla="*/ 396368 h 504468"/>
                <a:gd name="connsiteX5" fmla="*/ 243423 w 635665"/>
                <a:gd name="connsiteY5" fmla="*/ 397494 h 504468"/>
                <a:gd name="connsiteX6" fmla="*/ 241115 w 635665"/>
                <a:gd name="connsiteY6" fmla="*/ 399746 h 504468"/>
                <a:gd name="connsiteX7" fmla="*/ 244576 w 635665"/>
                <a:gd name="connsiteY7" fmla="*/ 387359 h 504468"/>
                <a:gd name="connsiteX8" fmla="*/ 242269 w 635665"/>
                <a:gd name="connsiteY8" fmla="*/ 391863 h 504468"/>
                <a:gd name="connsiteX9" fmla="*/ 242269 w 635665"/>
                <a:gd name="connsiteY9" fmla="*/ 389612 h 504468"/>
                <a:gd name="connsiteX10" fmla="*/ 245730 w 635665"/>
                <a:gd name="connsiteY10" fmla="*/ 341192 h 504468"/>
                <a:gd name="connsiteX11" fmla="*/ 245619 w 635665"/>
                <a:gd name="connsiteY11" fmla="*/ 341728 h 504468"/>
                <a:gd name="connsiteX12" fmla="*/ 244741 w 635665"/>
                <a:gd name="connsiteY12" fmla="*/ 341513 h 504468"/>
                <a:gd name="connsiteX13" fmla="*/ 243422 w 635665"/>
                <a:gd name="connsiteY13" fmla="*/ 341191 h 504468"/>
                <a:gd name="connsiteX14" fmla="*/ 244741 w 635665"/>
                <a:gd name="connsiteY14" fmla="*/ 341513 h 504468"/>
                <a:gd name="connsiteX15" fmla="*/ 242269 w 635665"/>
                <a:gd name="connsiteY15" fmla="*/ 342318 h 504468"/>
                <a:gd name="connsiteX16" fmla="*/ 248037 w 635665"/>
                <a:gd name="connsiteY16" fmla="*/ 325427 h 504468"/>
                <a:gd name="connsiteX17" fmla="*/ 249191 w 635665"/>
                <a:gd name="connsiteY17" fmla="*/ 326553 h 504468"/>
                <a:gd name="connsiteX18" fmla="*/ 248038 w 635665"/>
                <a:gd name="connsiteY18" fmla="*/ 328804 h 504468"/>
                <a:gd name="connsiteX19" fmla="*/ 248038 w 635665"/>
                <a:gd name="connsiteY19" fmla="*/ 331057 h 504468"/>
                <a:gd name="connsiteX20" fmla="*/ 246883 w 635665"/>
                <a:gd name="connsiteY20" fmla="*/ 328805 h 504468"/>
                <a:gd name="connsiteX21" fmla="*/ 239961 w 635665"/>
                <a:gd name="connsiteY21" fmla="*/ 246603 h 504468"/>
                <a:gd name="connsiteX22" fmla="*/ 239577 w 635665"/>
                <a:gd name="connsiteY22" fmla="*/ 247729 h 504468"/>
                <a:gd name="connsiteX23" fmla="*/ 238807 w 635665"/>
                <a:gd name="connsiteY23" fmla="*/ 248856 h 504468"/>
                <a:gd name="connsiteX24" fmla="*/ 238719 w 635665"/>
                <a:gd name="connsiteY24" fmla="*/ 250241 h 504468"/>
                <a:gd name="connsiteX25" fmla="*/ 237653 w 635665"/>
                <a:gd name="connsiteY25" fmla="*/ 253360 h 504468"/>
                <a:gd name="connsiteX26" fmla="*/ 236501 w 635665"/>
                <a:gd name="connsiteY26" fmla="*/ 248856 h 504468"/>
                <a:gd name="connsiteX27" fmla="*/ 221502 w 635665"/>
                <a:gd name="connsiteY27" fmla="*/ 176790 h 504468"/>
                <a:gd name="connsiteX28" fmla="*/ 222561 w 635665"/>
                <a:gd name="connsiteY28" fmla="*/ 179885 h 504468"/>
                <a:gd name="connsiteX29" fmla="*/ 221887 w 635665"/>
                <a:gd name="connsiteY29" fmla="*/ 180167 h 504468"/>
                <a:gd name="connsiteX30" fmla="*/ 220349 w 635665"/>
                <a:gd name="connsiteY30" fmla="*/ 180167 h 504468"/>
                <a:gd name="connsiteX31" fmla="*/ 220349 w 635665"/>
                <a:gd name="connsiteY31" fmla="*/ 179604 h 504468"/>
                <a:gd name="connsiteX32" fmla="*/ 221502 w 635665"/>
                <a:gd name="connsiteY32" fmla="*/ 179041 h 504468"/>
                <a:gd name="connsiteX33" fmla="*/ 220733 w 635665"/>
                <a:gd name="connsiteY33" fmla="*/ 177539 h 504468"/>
                <a:gd name="connsiteX34" fmla="*/ 223810 w 635665"/>
                <a:gd name="connsiteY34" fmla="*/ 175663 h 504468"/>
                <a:gd name="connsiteX35" fmla="*/ 224964 w 635665"/>
                <a:gd name="connsiteY35" fmla="*/ 175663 h 504468"/>
                <a:gd name="connsiteX36" fmla="*/ 226117 w 635665"/>
                <a:gd name="connsiteY36" fmla="*/ 177915 h 504468"/>
                <a:gd name="connsiteX37" fmla="*/ 223810 w 635665"/>
                <a:gd name="connsiteY37" fmla="*/ 179041 h 504468"/>
                <a:gd name="connsiteX38" fmla="*/ 224963 w 635665"/>
                <a:gd name="connsiteY38" fmla="*/ 176790 h 504468"/>
                <a:gd name="connsiteX39" fmla="*/ 222657 w 635665"/>
                <a:gd name="connsiteY39" fmla="*/ 179041 h 504468"/>
                <a:gd name="connsiteX40" fmla="*/ 222657 w 635665"/>
                <a:gd name="connsiteY40" fmla="*/ 176789 h 504468"/>
                <a:gd name="connsiteX41" fmla="*/ 230732 w 635665"/>
                <a:gd name="connsiteY41" fmla="*/ 174537 h 504468"/>
                <a:gd name="connsiteX42" fmla="*/ 229579 w 635665"/>
                <a:gd name="connsiteY42" fmla="*/ 177915 h 504468"/>
                <a:gd name="connsiteX43" fmla="*/ 229578 w 635665"/>
                <a:gd name="connsiteY43" fmla="*/ 175664 h 504468"/>
                <a:gd name="connsiteX44" fmla="*/ 227270 w 635665"/>
                <a:gd name="connsiteY44" fmla="*/ 174537 h 504468"/>
                <a:gd name="connsiteX45" fmla="*/ 227271 w 635665"/>
                <a:gd name="connsiteY45" fmla="*/ 177914 h 504468"/>
                <a:gd name="connsiteX46" fmla="*/ 226117 w 635665"/>
                <a:gd name="connsiteY46" fmla="*/ 175664 h 504468"/>
                <a:gd name="connsiteX47" fmla="*/ 224964 w 635665"/>
                <a:gd name="connsiteY47" fmla="*/ 173411 h 504468"/>
                <a:gd name="connsiteX48" fmla="*/ 220350 w 635665"/>
                <a:gd name="connsiteY48" fmla="*/ 176789 h 504468"/>
                <a:gd name="connsiteX49" fmla="*/ 220733 w 635665"/>
                <a:gd name="connsiteY49" fmla="*/ 177539 h 504468"/>
                <a:gd name="connsiteX50" fmla="*/ 220350 w 635665"/>
                <a:gd name="connsiteY50" fmla="*/ 177915 h 504468"/>
                <a:gd name="connsiteX51" fmla="*/ 220349 w 635665"/>
                <a:gd name="connsiteY51" fmla="*/ 179604 h 504468"/>
                <a:gd name="connsiteX52" fmla="*/ 216888 w 635665"/>
                <a:gd name="connsiteY52" fmla="*/ 181293 h 504468"/>
                <a:gd name="connsiteX53" fmla="*/ 219196 w 635665"/>
                <a:gd name="connsiteY53" fmla="*/ 181293 h 504468"/>
                <a:gd name="connsiteX54" fmla="*/ 221887 w 635665"/>
                <a:gd name="connsiteY54" fmla="*/ 180167 h 504468"/>
                <a:gd name="connsiteX55" fmla="*/ 222657 w 635665"/>
                <a:gd name="connsiteY55" fmla="*/ 180167 h 504468"/>
                <a:gd name="connsiteX56" fmla="*/ 222561 w 635665"/>
                <a:gd name="connsiteY56" fmla="*/ 179885 h 504468"/>
                <a:gd name="connsiteX57" fmla="*/ 227271 w 635665"/>
                <a:gd name="connsiteY57" fmla="*/ 177914 h 504468"/>
                <a:gd name="connsiteX58" fmla="*/ 230732 w 635665"/>
                <a:gd name="connsiteY58" fmla="*/ 179041 h 504468"/>
                <a:gd name="connsiteX59" fmla="*/ 230732 w 635665"/>
                <a:gd name="connsiteY59" fmla="*/ 174537 h 504468"/>
                <a:gd name="connsiteX60" fmla="*/ 228426 w 635665"/>
                <a:gd name="connsiteY60" fmla="*/ 174537 h 504468"/>
                <a:gd name="connsiteX61" fmla="*/ 228426 w 635665"/>
                <a:gd name="connsiteY61" fmla="*/ 177915 h 504468"/>
                <a:gd name="connsiteX62" fmla="*/ 227270 w 635665"/>
                <a:gd name="connsiteY62" fmla="*/ 174537 h 504468"/>
                <a:gd name="connsiteX63" fmla="*/ 166126 w 635665"/>
                <a:gd name="connsiteY63" fmla="*/ 132873 h 504468"/>
                <a:gd name="connsiteX64" fmla="*/ 167280 w 635665"/>
                <a:gd name="connsiteY64" fmla="*/ 132873 h 504468"/>
                <a:gd name="connsiteX65" fmla="*/ 168435 w 635665"/>
                <a:gd name="connsiteY65" fmla="*/ 133999 h 504468"/>
                <a:gd name="connsiteX66" fmla="*/ 203044 w 635665"/>
                <a:gd name="connsiteY66" fmla="*/ 128369 h 504468"/>
                <a:gd name="connsiteX67" fmla="*/ 207658 w 635665"/>
                <a:gd name="connsiteY67" fmla="*/ 128369 h 504468"/>
                <a:gd name="connsiteX68" fmla="*/ 212274 w 635665"/>
                <a:gd name="connsiteY68" fmla="*/ 135126 h 504468"/>
                <a:gd name="connsiteX69" fmla="*/ 216889 w 635665"/>
                <a:gd name="connsiteY69" fmla="*/ 136252 h 504468"/>
                <a:gd name="connsiteX70" fmla="*/ 220349 w 635665"/>
                <a:gd name="connsiteY70" fmla="*/ 134000 h 504468"/>
                <a:gd name="connsiteX71" fmla="*/ 220349 w 635665"/>
                <a:gd name="connsiteY71" fmla="*/ 136252 h 504468"/>
                <a:gd name="connsiteX72" fmla="*/ 226118 w 635665"/>
                <a:gd name="connsiteY72" fmla="*/ 140756 h 504468"/>
                <a:gd name="connsiteX73" fmla="*/ 224964 w 635665"/>
                <a:gd name="connsiteY73" fmla="*/ 141882 h 504468"/>
                <a:gd name="connsiteX74" fmla="*/ 229578 w 635665"/>
                <a:gd name="connsiteY74" fmla="*/ 154268 h 504468"/>
                <a:gd name="connsiteX75" fmla="*/ 234193 w 635665"/>
                <a:gd name="connsiteY75" fmla="*/ 158772 h 504468"/>
                <a:gd name="connsiteX76" fmla="*/ 235347 w 635665"/>
                <a:gd name="connsiteY76" fmla="*/ 162151 h 504468"/>
                <a:gd name="connsiteX77" fmla="*/ 220349 w 635665"/>
                <a:gd name="connsiteY77" fmla="*/ 162150 h 504468"/>
                <a:gd name="connsiteX78" fmla="*/ 218043 w 635665"/>
                <a:gd name="connsiteY78" fmla="*/ 159898 h 504468"/>
                <a:gd name="connsiteX79" fmla="*/ 214580 w 635665"/>
                <a:gd name="connsiteY79" fmla="*/ 161025 h 504468"/>
                <a:gd name="connsiteX80" fmla="*/ 214581 w 635665"/>
                <a:gd name="connsiteY80" fmla="*/ 159898 h 504468"/>
                <a:gd name="connsiteX81" fmla="*/ 208812 w 635665"/>
                <a:gd name="connsiteY81" fmla="*/ 152016 h 504468"/>
                <a:gd name="connsiteX82" fmla="*/ 203043 w 635665"/>
                <a:gd name="connsiteY82" fmla="*/ 131747 h 504468"/>
                <a:gd name="connsiteX83" fmla="*/ 161513 w 635665"/>
                <a:gd name="connsiteY83" fmla="*/ 123865 h 504468"/>
                <a:gd name="connsiteX84" fmla="*/ 164974 w 635665"/>
                <a:gd name="connsiteY84" fmla="*/ 135126 h 504468"/>
                <a:gd name="connsiteX85" fmla="*/ 161512 w 635665"/>
                <a:gd name="connsiteY85" fmla="*/ 135126 h 504468"/>
                <a:gd name="connsiteX86" fmla="*/ 133824 w 635665"/>
                <a:gd name="connsiteY86" fmla="*/ 144133 h 504468"/>
                <a:gd name="connsiteX87" fmla="*/ 56530 w 635665"/>
                <a:gd name="connsiteY87" fmla="*/ 208318 h 504468"/>
                <a:gd name="connsiteX88" fmla="*/ 49609 w 635665"/>
                <a:gd name="connsiteY88" fmla="*/ 215074 h 504468"/>
                <a:gd name="connsiteX89" fmla="*/ 44993 w 635665"/>
                <a:gd name="connsiteY89" fmla="*/ 221831 h 504468"/>
                <a:gd name="connsiteX90" fmla="*/ 40378 w 635665"/>
                <a:gd name="connsiteY90" fmla="*/ 222957 h 504468"/>
                <a:gd name="connsiteX91" fmla="*/ 42686 w 635665"/>
                <a:gd name="connsiteY91" fmla="*/ 225209 h 504468"/>
                <a:gd name="connsiteX92" fmla="*/ 47301 w 635665"/>
                <a:gd name="connsiteY92" fmla="*/ 221831 h 504468"/>
                <a:gd name="connsiteX93" fmla="*/ 43839 w 635665"/>
                <a:gd name="connsiteY93" fmla="*/ 226335 h 504468"/>
                <a:gd name="connsiteX94" fmla="*/ 38071 w 635665"/>
                <a:gd name="connsiteY94" fmla="*/ 225209 h 504468"/>
                <a:gd name="connsiteX95" fmla="*/ 1155 w 635665"/>
                <a:gd name="connsiteY95" fmla="*/ 254486 h 504468"/>
                <a:gd name="connsiteX96" fmla="*/ 0 w 635665"/>
                <a:gd name="connsiteY96" fmla="*/ 253360 h 504468"/>
                <a:gd name="connsiteX97" fmla="*/ 36917 w 635665"/>
                <a:gd name="connsiteY97" fmla="*/ 222957 h 504468"/>
                <a:gd name="connsiteX98" fmla="*/ 38070 w 635665"/>
                <a:gd name="connsiteY98" fmla="*/ 218452 h 504468"/>
                <a:gd name="connsiteX99" fmla="*/ 40379 w 635665"/>
                <a:gd name="connsiteY99" fmla="*/ 217326 h 504468"/>
                <a:gd name="connsiteX100" fmla="*/ 38070 w 635665"/>
                <a:gd name="connsiteY100" fmla="*/ 219578 h 504468"/>
                <a:gd name="connsiteX101" fmla="*/ 39226 w 635665"/>
                <a:gd name="connsiteY101" fmla="*/ 220704 h 504468"/>
                <a:gd name="connsiteX102" fmla="*/ 40379 w 635665"/>
                <a:gd name="connsiteY102" fmla="*/ 218453 h 504468"/>
                <a:gd name="connsiteX103" fmla="*/ 42686 w 635665"/>
                <a:gd name="connsiteY103" fmla="*/ 218453 h 504468"/>
                <a:gd name="connsiteX104" fmla="*/ 130364 w 635665"/>
                <a:gd name="connsiteY104" fmla="*/ 144133 h 504468"/>
                <a:gd name="connsiteX105" fmla="*/ 129210 w 635665"/>
                <a:gd name="connsiteY105" fmla="*/ 141882 h 504468"/>
                <a:gd name="connsiteX106" fmla="*/ 131518 w 635665"/>
                <a:gd name="connsiteY106" fmla="*/ 144134 h 504468"/>
                <a:gd name="connsiteX107" fmla="*/ 138439 w 635665"/>
                <a:gd name="connsiteY107" fmla="*/ 139629 h 504468"/>
                <a:gd name="connsiteX108" fmla="*/ 161512 w 635665"/>
                <a:gd name="connsiteY108" fmla="*/ 134000 h 504468"/>
                <a:gd name="connsiteX109" fmla="*/ 162666 w 635665"/>
                <a:gd name="connsiteY109" fmla="*/ 130621 h 504468"/>
                <a:gd name="connsiteX110" fmla="*/ 170742 w 635665"/>
                <a:gd name="connsiteY110" fmla="*/ 121613 h 504468"/>
                <a:gd name="connsiteX111" fmla="*/ 173049 w 635665"/>
                <a:gd name="connsiteY111" fmla="*/ 122739 h 504468"/>
                <a:gd name="connsiteX112" fmla="*/ 170742 w 635665"/>
                <a:gd name="connsiteY112" fmla="*/ 126117 h 504468"/>
                <a:gd name="connsiteX113" fmla="*/ 174202 w 635665"/>
                <a:gd name="connsiteY113" fmla="*/ 138503 h 504468"/>
                <a:gd name="connsiteX114" fmla="*/ 175357 w 635665"/>
                <a:gd name="connsiteY114" fmla="*/ 140756 h 504468"/>
                <a:gd name="connsiteX115" fmla="*/ 175357 w 635665"/>
                <a:gd name="connsiteY115" fmla="*/ 146386 h 504468"/>
                <a:gd name="connsiteX116" fmla="*/ 178818 w 635665"/>
                <a:gd name="connsiteY116" fmla="*/ 148638 h 504468"/>
                <a:gd name="connsiteX117" fmla="*/ 175357 w 635665"/>
                <a:gd name="connsiteY117" fmla="*/ 147511 h 504468"/>
                <a:gd name="connsiteX118" fmla="*/ 171896 w 635665"/>
                <a:gd name="connsiteY118" fmla="*/ 133999 h 504468"/>
                <a:gd name="connsiteX119" fmla="*/ 169589 w 635665"/>
                <a:gd name="connsiteY119" fmla="*/ 131747 h 504468"/>
                <a:gd name="connsiteX120" fmla="*/ 388745 w 635665"/>
                <a:gd name="connsiteY120" fmla="*/ 32729 h 504468"/>
                <a:gd name="connsiteX121" fmla="*/ 387629 w 635665"/>
                <a:gd name="connsiteY121" fmla="*/ 34908 h 504468"/>
                <a:gd name="connsiteX122" fmla="*/ 389937 w 635665"/>
                <a:gd name="connsiteY122" fmla="*/ 38285 h 504468"/>
                <a:gd name="connsiteX123" fmla="*/ 393398 w 635665"/>
                <a:gd name="connsiteY123" fmla="*/ 37159 h 504468"/>
                <a:gd name="connsiteX124" fmla="*/ 393753 w 635665"/>
                <a:gd name="connsiteY124" fmla="*/ 37506 h 504468"/>
                <a:gd name="connsiteX125" fmla="*/ 395706 w 635665"/>
                <a:gd name="connsiteY125" fmla="*/ 35601 h 504468"/>
                <a:gd name="connsiteX126" fmla="*/ 393398 w 635665"/>
                <a:gd name="connsiteY126" fmla="*/ 33349 h 504468"/>
                <a:gd name="connsiteX127" fmla="*/ 389938 w 635665"/>
                <a:gd name="connsiteY127" fmla="*/ 34474 h 504468"/>
                <a:gd name="connsiteX128" fmla="*/ 261881 w 635665"/>
                <a:gd name="connsiteY128" fmla="*/ 0 h 504468"/>
                <a:gd name="connsiteX129" fmla="*/ 275725 w 635665"/>
                <a:gd name="connsiteY129" fmla="*/ 0 h 504468"/>
                <a:gd name="connsiteX130" fmla="*/ 275725 w 635665"/>
                <a:gd name="connsiteY130" fmla="*/ 1126 h 504468"/>
                <a:gd name="connsiteX131" fmla="*/ 283801 w 635665"/>
                <a:gd name="connsiteY131" fmla="*/ 6756 h 504468"/>
                <a:gd name="connsiteX132" fmla="*/ 284955 w 635665"/>
                <a:gd name="connsiteY132" fmla="*/ 4504 h 504468"/>
                <a:gd name="connsiteX133" fmla="*/ 291877 w 635665"/>
                <a:gd name="connsiteY133" fmla="*/ 6756 h 504468"/>
                <a:gd name="connsiteX134" fmla="*/ 295337 w 635665"/>
                <a:gd name="connsiteY134" fmla="*/ 10134 h 504468"/>
                <a:gd name="connsiteX135" fmla="*/ 303412 w 635665"/>
                <a:gd name="connsiteY135" fmla="*/ 10134 h 504468"/>
                <a:gd name="connsiteX136" fmla="*/ 302258 w 635665"/>
                <a:gd name="connsiteY136" fmla="*/ 14638 h 504468"/>
                <a:gd name="connsiteX137" fmla="*/ 309181 w 635665"/>
                <a:gd name="connsiteY137" fmla="*/ 16891 h 504468"/>
                <a:gd name="connsiteX138" fmla="*/ 312642 w 635665"/>
                <a:gd name="connsiteY138" fmla="*/ 12387 h 504468"/>
                <a:gd name="connsiteX139" fmla="*/ 316102 w 635665"/>
                <a:gd name="connsiteY139" fmla="*/ 12386 h 504468"/>
                <a:gd name="connsiteX140" fmla="*/ 319564 w 635665"/>
                <a:gd name="connsiteY140" fmla="*/ 13512 h 504468"/>
                <a:gd name="connsiteX141" fmla="*/ 318411 w 635665"/>
                <a:gd name="connsiteY141" fmla="*/ 18016 h 504468"/>
                <a:gd name="connsiteX142" fmla="*/ 328792 w 635665"/>
                <a:gd name="connsiteY142" fmla="*/ 21394 h 504468"/>
                <a:gd name="connsiteX143" fmla="*/ 321872 w 635665"/>
                <a:gd name="connsiteY143" fmla="*/ 24772 h 504468"/>
                <a:gd name="connsiteX144" fmla="*/ 325333 w 635665"/>
                <a:gd name="connsiteY144" fmla="*/ 28152 h 504468"/>
                <a:gd name="connsiteX145" fmla="*/ 329947 w 635665"/>
                <a:gd name="connsiteY145" fmla="*/ 25899 h 504468"/>
                <a:gd name="connsiteX146" fmla="*/ 333407 w 635665"/>
                <a:gd name="connsiteY146" fmla="*/ 19143 h 504468"/>
                <a:gd name="connsiteX147" fmla="*/ 342637 w 635665"/>
                <a:gd name="connsiteY147" fmla="*/ 24772 h 504468"/>
                <a:gd name="connsiteX148" fmla="*/ 343791 w 635665"/>
                <a:gd name="connsiteY148" fmla="*/ 25899 h 504468"/>
                <a:gd name="connsiteX149" fmla="*/ 342637 w 635665"/>
                <a:gd name="connsiteY149" fmla="*/ 29278 h 504468"/>
                <a:gd name="connsiteX150" fmla="*/ 346098 w 635665"/>
                <a:gd name="connsiteY150" fmla="*/ 31529 h 504468"/>
                <a:gd name="connsiteX151" fmla="*/ 354173 w 635665"/>
                <a:gd name="connsiteY151" fmla="*/ 24773 h 504468"/>
                <a:gd name="connsiteX152" fmla="*/ 351867 w 635665"/>
                <a:gd name="connsiteY152" fmla="*/ 22521 h 504468"/>
                <a:gd name="connsiteX153" fmla="*/ 354174 w 635665"/>
                <a:gd name="connsiteY153" fmla="*/ 19142 h 504468"/>
                <a:gd name="connsiteX154" fmla="*/ 351866 w 635665"/>
                <a:gd name="connsiteY154" fmla="*/ 14638 h 504468"/>
                <a:gd name="connsiteX155" fmla="*/ 353019 w 635665"/>
                <a:gd name="connsiteY155" fmla="*/ 13512 h 504468"/>
                <a:gd name="connsiteX156" fmla="*/ 362250 w 635665"/>
                <a:gd name="connsiteY156" fmla="*/ 12387 h 504468"/>
                <a:gd name="connsiteX157" fmla="*/ 366864 w 635665"/>
                <a:gd name="connsiteY157" fmla="*/ 13513 h 504468"/>
                <a:gd name="connsiteX158" fmla="*/ 372633 w 635665"/>
                <a:gd name="connsiteY158" fmla="*/ 9008 h 504468"/>
                <a:gd name="connsiteX159" fmla="*/ 374939 w 635665"/>
                <a:gd name="connsiteY159" fmla="*/ 11260 h 504468"/>
                <a:gd name="connsiteX160" fmla="*/ 379553 w 635665"/>
                <a:gd name="connsiteY160" fmla="*/ 15764 h 504468"/>
                <a:gd name="connsiteX161" fmla="*/ 379554 w 635665"/>
                <a:gd name="connsiteY161" fmla="*/ 19143 h 504468"/>
                <a:gd name="connsiteX162" fmla="*/ 389779 w 635665"/>
                <a:gd name="connsiteY162" fmla="*/ 26905 h 504468"/>
                <a:gd name="connsiteX163" fmla="*/ 389938 w 635665"/>
                <a:gd name="connsiteY163" fmla="*/ 26593 h 504468"/>
                <a:gd name="connsiteX164" fmla="*/ 389937 w 635665"/>
                <a:gd name="connsiteY164" fmla="*/ 23215 h 504468"/>
                <a:gd name="connsiteX165" fmla="*/ 393398 w 635665"/>
                <a:gd name="connsiteY165" fmla="*/ 28845 h 504468"/>
                <a:gd name="connsiteX166" fmla="*/ 396860 w 635665"/>
                <a:gd name="connsiteY166" fmla="*/ 29971 h 504468"/>
                <a:gd name="connsiteX167" fmla="*/ 398013 w 635665"/>
                <a:gd name="connsiteY167" fmla="*/ 27719 h 504468"/>
                <a:gd name="connsiteX168" fmla="*/ 402628 w 635665"/>
                <a:gd name="connsiteY168" fmla="*/ 27719 h 504468"/>
                <a:gd name="connsiteX169" fmla="*/ 406089 w 635665"/>
                <a:gd name="connsiteY169" fmla="*/ 33349 h 504468"/>
                <a:gd name="connsiteX170" fmla="*/ 404935 w 635665"/>
                <a:gd name="connsiteY170" fmla="*/ 34474 h 504468"/>
                <a:gd name="connsiteX171" fmla="*/ 408396 w 635665"/>
                <a:gd name="connsiteY171" fmla="*/ 35601 h 504468"/>
                <a:gd name="connsiteX172" fmla="*/ 415317 w 635665"/>
                <a:gd name="connsiteY172" fmla="*/ 34475 h 504468"/>
                <a:gd name="connsiteX173" fmla="*/ 417625 w 635665"/>
                <a:gd name="connsiteY173" fmla="*/ 27719 h 504468"/>
                <a:gd name="connsiteX174" fmla="*/ 425701 w 635665"/>
                <a:gd name="connsiteY174" fmla="*/ 29971 h 504468"/>
                <a:gd name="connsiteX175" fmla="*/ 426855 w 635665"/>
                <a:gd name="connsiteY175" fmla="*/ 28845 h 504468"/>
                <a:gd name="connsiteX176" fmla="*/ 425701 w 635665"/>
                <a:gd name="connsiteY176" fmla="*/ 31097 h 504468"/>
                <a:gd name="connsiteX177" fmla="*/ 426600 w 635665"/>
                <a:gd name="connsiteY177" fmla="*/ 31754 h 504468"/>
                <a:gd name="connsiteX178" fmla="*/ 422740 w 635665"/>
                <a:gd name="connsiteY178" fmla="*/ 31249 h 504468"/>
                <a:gd name="connsiteX179" fmla="*/ 421339 w 635665"/>
                <a:gd name="connsiteY179" fmla="*/ 41959 h 504468"/>
                <a:gd name="connsiteX180" fmla="*/ 587607 w 635665"/>
                <a:gd name="connsiteY180" fmla="*/ 63708 h 504468"/>
                <a:gd name="connsiteX181" fmla="*/ 592712 w 635665"/>
                <a:gd name="connsiteY181" fmla="*/ 63708 h 504468"/>
                <a:gd name="connsiteX182" fmla="*/ 592712 w 635665"/>
                <a:gd name="connsiteY182" fmla="*/ 64376 h 504468"/>
                <a:gd name="connsiteX183" fmla="*/ 595265 w 635665"/>
                <a:gd name="connsiteY183" fmla="*/ 64710 h 504468"/>
                <a:gd name="connsiteX184" fmla="*/ 592712 w 635665"/>
                <a:gd name="connsiteY184" fmla="*/ 66786 h 504468"/>
                <a:gd name="connsiteX185" fmla="*/ 592712 w 635665"/>
                <a:gd name="connsiteY185" fmla="*/ 69547 h 504468"/>
                <a:gd name="connsiteX186" fmla="*/ 602210 w 635665"/>
                <a:gd name="connsiteY186" fmla="*/ 61932 h 504468"/>
                <a:gd name="connsiteX187" fmla="*/ 603363 w 635665"/>
                <a:gd name="connsiteY187" fmla="*/ 66437 h 504468"/>
                <a:gd name="connsiteX188" fmla="*/ 607977 w 635665"/>
                <a:gd name="connsiteY188" fmla="*/ 66436 h 504468"/>
                <a:gd name="connsiteX189" fmla="*/ 609132 w 635665"/>
                <a:gd name="connsiteY189" fmla="*/ 68689 h 504468"/>
                <a:gd name="connsiteX190" fmla="*/ 606824 w 635665"/>
                <a:gd name="connsiteY190" fmla="*/ 69815 h 504468"/>
                <a:gd name="connsiteX191" fmla="*/ 609132 w 635665"/>
                <a:gd name="connsiteY191" fmla="*/ 73193 h 504468"/>
                <a:gd name="connsiteX192" fmla="*/ 610286 w 635665"/>
                <a:gd name="connsiteY192" fmla="*/ 72067 h 504468"/>
                <a:gd name="connsiteX193" fmla="*/ 617208 w 635665"/>
                <a:gd name="connsiteY193" fmla="*/ 77698 h 504468"/>
                <a:gd name="connsiteX194" fmla="*/ 613747 w 635665"/>
                <a:gd name="connsiteY194" fmla="*/ 79949 h 504468"/>
                <a:gd name="connsiteX195" fmla="*/ 616054 w 635665"/>
                <a:gd name="connsiteY195" fmla="*/ 82201 h 504468"/>
                <a:gd name="connsiteX196" fmla="*/ 624129 w 635665"/>
                <a:gd name="connsiteY196" fmla="*/ 82201 h 504468"/>
                <a:gd name="connsiteX197" fmla="*/ 634513 w 635665"/>
                <a:gd name="connsiteY197" fmla="*/ 90084 h 504468"/>
                <a:gd name="connsiteX198" fmla="*/ 635665 w 635665"/>
                <a:gd name="connsiteY198" fmla="*/ 93462 h 504468"/>
                <a:gd name="connsiteX199" fmla="*/ 632205 w 635665"/>
                <a:gd name="connsiteY199" fmla="*/ 93462 h 504468"/>
                <a:gd name="connsiteX200" fmla="*/ 618361 w 635665"/>
                <a:gd name="connsiteY200" fmla="*/ 105848 h 504468"/>
                <a:gd name="connsiteX201" fmla="*/ 618361 w 635665"/>
                <a:gd name="connsiteY201" fmla="*/ 108100 h 504468"/>
                <a:gd name="connsiteX202" fmla="*/ 621821 w 635665"/>
                <a:gd name="connsiteY202" fmla="*/ 110353 h 504468"/>
                <a:gd name="connsiteX203" fmla="*/ 619515 w 635665"/>
                <a:gd name="connsiteY203" fmla="*/ 118235 h 504468"/>
                <a:gd name="connsiteX204" fmla="*/ 611438 w 635665"/>
                <a:gd name="connsiteY204" fmla="*/ 120487 h 504468"/>
                <a:gd name="connsiteX205" fmla="*/ 620669 w 635665"/>
                <a:gd name="connsiteY205" fmla="*/ 130621 h 504468"/>
                <a:gd name="connsiteX206" fmla="*/ 622976 w 635665"/>
                <a:gd name="connsiteY206" fmla="*/ 143008 h 504468"/>
                <a:gd name="connsiteX207" fmla="*/ 612593 w 635665"/>
                <a:gd name="connsiteY207" fmla="*/ 152016 h 504468"/>
                <a:gd name="connsiteX208" fmla="*/ 609132 w 635665"/>
                <a:gd name="connsiteY208" fmla="*/ 153141 h 504468"/>
                <a:gd name="connsiteX209" fmla="*/ 613747 w 635665"/>
                <a:gd name="connsiteY209" fmla="*/ 170033 h 504468"/>
                <a:gd name="connsiteX210" fmla="*/ 618362 w 635665"/>
                <a:gd name="connsiteY210" fmla="*/ 174537 h 504468"/>
                <a:gd name="connsiteX211" fmla="*/ 602210 w 635665"/>
                <a:gd name="connsiteY211" fmla="*/ 175663 h 504468"/>
                <a:gd name="connsiteX212" fmla="*/ 582597 w 635665"/>
                <a:gd name="connsiteY212" fmla="*/ 203814 h 504468"/>
                <a:gd name="connsiteX213" fmla="*/ 580291 w 635665"/>
                <a:gd name="connsiteY213" fmla="*/ 227460 h 504468"/>
                <a:gd name="connsiteX214" fmla="*/ 595288 w 635665"/>
                <a:gd name="connsiteY214" fmla="*/ 240974 h 504468"/>
                <a:gd name="connsiteX215" fmla="*/ 589520 w 635665"/>
                <a:gd name="connsiteY215" fmla="*/ 244351 h 504468"/>
                <a:gd name="connsiteX216" fmla="*/ 589520 w 635665"/>
                <a:gd name="connsiteY216" fmla="*/ 248856 h 504468"/>
                <a:gd name="connsiteX217" fmla="*/ 583752 w 635665"/>
                <a:gd name="connsiteY217" fmla="*/ 251108 h 504468"/>
                <a:gd name="connsiteX218" fmla="*/ 576828 w 635665"/>
                <a:gd name="connsiteY218" fmla="*/ 251108 h 504468"/>
                <a:gd name="connsiteX219" fmla="*/ 562985 w 635665"/>
                <a:gd name="connsiteY219" fmla="*/ 260116 h 504468"/>
                <a:gd name="connsiteX220" fmla="*/ 559525 w 635665"/>
                <a:gd name="connsiteY220" fmla="*/ 270251 h 504468"/>
                <a:gd name="connsiteX221" fmla="*/ 553757 w 635665"/>
                <a:gd name="connsiteY221" fmla="*/ 275881 h 504468"/>
                <a:gd name="connsiteX222" fmla="*/ 552603 w 635665"/>
                <a:gd name="connsiteY222" fmla="*/ 279259 h 504468"/>
                <a:gd name="connsiteX223" fmla="*/ 545680 w 635665"/>
                <a:gd name="connsiteY223" fmla="*/ 277006 h 504468"/>
                <a:gd name="connsiteX224" fmla="*/ 537605 w 635665"/>
                <a:gd name="connsiteY224" fmla="*/ 272503 h 504468"/>
                <a:gd name="connsiteX225" fmla="*/ 534144 w 635665"/>
                <a:gd name="connsiteY225" fmla="*/ 277007 h 504468"/>
                <a:gd name="connsiteX226" fmla="*/ 532991 w 635665"/>
                <a:gd name="connsiteY226" fmla="*/ 284889 h 504468"/>
                <a:gd name="connsiteX227" fmla="*/ 536451 w 635665"/>
                <a:gd name="connsiteY227" fmla="*/ 296150 h 504468"/>
                <a:gd name="connsiteX228" fmla="*/ 536451 w 635665"/>
                <a:gd name="connsiteY228" fmla="*/ 310788 h 504468"/>
                <a:gd name="connsiteX229" fmla="*/ 534143 w 635665"/>
                <a:gd name="connsiteY229" fmla="*/ 356956 h 504468"/>
                <a:gd name="connsiteX230" fmla="*/ 535298 w 635665"/>
                <a:gd name="connsiteY230" fmla="*/ 363712 h 504468"/>
                <a:gd name="connsiteX231" fmla="*/ 529529 w 635665"/>
                <a:gd name="connsiteY231" fmla="*/ 362586 h 504468"/>
                <a:gd name="connsiteX232" fmla="*/ 524914 w 635665"/>
                <a:gd name="connsiteY232" fmla="*/ 363712 h 504468"/>
                <a:gd name="connsiteX233" fmla="*/ 487998 w 635665"/>
                <a:gd name="connsiteY233" fmla="*/ 359208 h 504468"/>
                <a:gd name="connsiteX234" fmla="*/ 485690 w 635665"/>
                <a:gd name="connsiteY234" fmla="*/ 381729 h 504468"/>
                <a:gd name="connsiteX235" fmla="*/ 438390 w 635665"/>
                <a:gd name="connsiteY235" fmla="*/ 392989 h 504468"/>
                <a:gd name="connsiteX236" fmla="*/ 424546 w 635665"/>
                <a:gd name="connsiteY236" fmla="*/ 368216 h 504468"/>
                <a:gd name="connsiteX237" fmla="*/ 424547 w 635665"/>
                <a:gd name="connsiteY237" fmla="*/ 362586 h 504468"/>
                <a:gd name="connsiteX238" fmla="*/ 421085 w 635665"/>
                <a:gd name="connsiteY238" fmla="*/ 360334 h 504468"/>
                <a:gd name="connsiteX239" fmla="*/ 411856 w 635665"/>
                <a:gd name="connsiteY239" fmla="*/ 343443 h 504468"/>
                <a:gd name="connsiteX240" fmla="*/ 408396 w 635665"/>
                <a:gd name="connsiteY240" fmla="*/ 340066 h 504468"/>
                <a:gd name="connsiteX241" fmla="*/ 354174 w 635665"/>
                <a:gd name="connsiteY241" fmla="*/ 373847 h 504468"/>
                <a:gd name="connsiteX242" fmla="*/ 318411 w 635665"/>
                <a:gd name="connsiteY242" fmla="*/ 414385 h 504468"/>
                <a:gd name="connsiteX243" fmla="*/ 335715 w 635665"/>
                <a:gd name="connsiteY243" fmla="*/ 435779 h 504468"/>
                <a:gd name="connsiteX244" fmla="*/ 331100 w 635665"/>
                <a:gd name="connsiteY244" fmla="*/ 442535 h 504468"/>
                <a:gd name="connsiteX245" fmla="*/ 343791 w 635665"/>
                <a:gd name="connsiteY245" fmla="*/ 451543 h 504468"/>
                <a:gd name="connsiteX246" fmla="*/ 338023 w 635665"/>
                <a:gd name="connsiteY246" fmla="*/ 458299 h 504468"/>
                <a:gd name="connsiteX247" fmla="*/ 338022 w 635665"/>
                <a:gd name="connsiteY247" fmla="*/ 462804 h 504468"/>
                <a:gd name="connsiteX248" fmla="*/ 332255 w 635665"/>
                <a:gd name="connsiteY248" fmla="*/ 466182 h 504468"/>
                <a:gd name="connsiteX249" fmla="*/ 328792 w 635665"/>
                <a:gd name="connsiteY249" fmla="*/ 462804 h 504468"/>
                <a:gd name="connsiteX250" fmla="*/ 318410 w 635665"/>
                <a:gd name="connsiteY250" fmla="*/ 470686 h 504468"/>
                <a:gd name="connsiteX251" fmla="*/ 313796 w 635665"/>
                <a:gd name="connsiteY251" fmla="*/ 463930 h 504468"/>
                <a:gd name="connsiteX252" fmla="*/ 305720 w 635665"/>
                <a:gd name="connsiteY252" fmla="*/ 466182 h 504468"/>
                <a:gd name="connsiteX253" fmla="*/ 273418 w 635665"/>
                <a:gd name="connsiteY253" fmla="*/ 460552 h 504468"/>
                <a:gd name="connsiteX254" fmla="*/ 266495 w 635665"/>
                <a:gd name="connsiteY254" fmla="*/ 462804 h 504468"/>
                <a:gd name="connsiteX255" fmla="*/ 273418 w 635665"/>
                <a:gd name="connsiteY255" fmla="*/ 468433 h 504468"/>
                <a:gd name="connsiteX256" fmla="*/ 281493 w 635665"/>
                <a:gd name="connsiteY256" fmla="*/ 499963 h 504468"/>
                <a:gd name="connsiteX257" fmla="*/ 271111 w 635665"/>
                <a:gd name="connsiteY257" fmla="*/ 502216 h 504468"/>
                <a:gd name="connsiteX258" fmla="*/ 266495 w 635665"/>
                <a:gd name="connsiteY258" fmla="*/ 504468 h 504468"/>
                <a:gd name="connsiteX259" fmla="*/ 251498 w 635665"/>
                <a:gd name="connsiteY259" fmla="*/ 499963 h 504468"/>
                <a:gd name="connsiteX260" fmla="*/ 235347 w 635665"/>
                <a:gd name="connsiteY260" fmla="*/ 488703 h 504468"/>
                <a:gd name="connsiteX261" fmla="*/ 223809 w 635665"/>
                <a:gd name="connsiteY261" fmla="*/ 474064 h 504468"/>
                <a:gd name="connsiteX262" fmla="*/ 219195 w 635665"/>
                <a:gd name="connsiteY262" fmla="*/ 471812 h 504468"/>
                <a:gd name="connsiteX263" fmla="*/ 218043 w 635665"/>
                <a:gd name="connsiteY263" fmla="*/ 472938 h 504468"/>
                <a:gd name="connsiteX264" fmla="*/ 214581 w 635665"/>
                <a:gd name="connsiteY264" fmla="*/ 467308 h 504468"/>
                <a:gd name="connsiteX265" fmla="*/ 212274 w 635665"/>
                <a:gd name="connsiteY265" fmla="*/ 467308 h 504468"/>
                <a:gd name="connsiteX266" fmla="*/ 211119 w 635665"/>
                <a:gd name="connsiteY266" fmla="*/ 468434 h 504468"/>
                <a:gd name="connsiteX267" fmla="*/ 208813 w 635665"/>
                <a:gd name="connsiteY267" fmla="*/ 465057 h 504468"/>
                <a:gd name="connsiteX268" fmla="*/ 206505 w 635665"/>
                <a:gd name="connsiteY268" fmla="*/ 466182 h 504468"/>
                <a:gd name="connsiteX269" fmla="*/ 202955 w 635665"/>
                <a:gd name="connsiteY269" fmla="*/ 463584 h 504468"/>
                <a:gd name="connsiteX270" fmla="*/ 205352 w 635665"/>
                <a:gd name="connsiteY270" fmla="*/ 462804 h 504468"/>
                <a:gd name="connsiteX271" fmla="*/ 203044 w 635665"/>
                <a:gd name="connsiteY271" fmla="*/ 458299 h 504468"/>
                <a:gd name="connsiteX272" fmla="*/ 199583 w 635665"/>
                <a:gd name="connsiteY272" fmla="*/ 458300 h 504468"/>
                <a:gd name="connsiteX273" fmla="*/ 203043 w 635665"/>
                <a:gd name="connsiteY273" fmla="*/ 457174 h 504468"/>
                <a:gd name="connsiteX274" fmla="*/ 203043 w 635665"/>
                <a:gd name="connsiteY274" fmla="*/ 456048 h 504468"/>
                <a:gd name="connsiteX275" fmla="*/ 198430 w 635665"/>
                <a:gd name="connsiteY275" fmla="*/ 453796 h 504468"/>
                <a:gd name="connsiteX276" fmla="*/ 197277 w 635665"/>
                <a:gd name="connsiteY276" fmla="*/ 458299 h 504468"/>
                <a:gd name="connsiteX277" fmla="*/ 198430 w 635665"/>
                <a:gd name="connsiteY277" fmla="*/ 452669 h 504468"/>
                <a:gd name="connsiteX278" fmla="*/ 194969 w 635665"/>
                <a:gd name="connsiteY278" fmla="*/ 445913 h 504468"/>
                <a:gd name="connsiteX279" fmla="*/ 192662 w 635665"/>
                <a:gd name="connsiteY279" fmla="*/ 442535 h 504468"/>
                <a:gd name="connsiteX280" fmla="*/ 193815 w 635665"/>
                <a:gd name="connsiteY280" fmla="*/ 441409 h 504468"/>
                <a:gd name="connsiteX281" fmla="*/ 193815 w 635665"/>
                <a:gd name="connsiteY281" fmla="*/ 442535 h 504468"/>
                <a:gd name="connsiteX282" fmla="*/ 197276 w 635665"/>
                <a:gd name="connsiteY282" fmla="*/ 442535 h 504468"/>
                <a:gd name="connsiteX283" fmla="*/ 194969 w 635665"/>
                <a:gd name="connsiteY283" fmla="*/ 441409 h 504468"/>
                <a:gd name="connsiteX284" fmla="*/ 200737 w 635665"/>
                <a:gd name="connsiteY284" fmla="*/ 440283 h 504468"/>
                <a:gd name="connsiteX285" fmla="*/ 193815 w 635665"/>
                <a:gd name="connsiteY285" fmla="*/ 440283 h 504468"/>
                <a:gd name="connsiteX286" fmla="*/ 190354 w 635665"/>
                <a:gd name="connsiteY286" fmla="*/ 441409 h 504468"/>
                <a:gd name="connsiteX287" fmla="*/ 194969 w 635665"/>
                <a:gd name="connsiteY287" fmla="*/ 439157 h 504468"/>
                <a:gd name="connsiteX288" fmla="*/ 199583 w 635665"/>
                <a:gd name="connsiteY288" fmla="*/ 430149 h 504468"/>
                <a:gd name="connsiteX289" fmla="*/ 203044 w 635665"/>
                <a:gd name="connsiteY289" fmla="*/ 429023 h 504468"/>
                <a:gd name="connsiteX290" fmla="*/ 208813 w 635665"/>
                <a:gd name="connsiteY290" fmla="*/ 420014 h 504468"/>
                <a:gd name="connsiteX291" fmla="*/ 222657 w 635665"/>
                <a:gd name="connsiteY291" fmla="*/ 415511 h 504468"/>
                <a:gd name="connsiteX292" fmla="*/ 226117 w 635665"/>
                <a:gd name="connsiteY292" fmla="*/ 411006 h 504468"/>
                <a:gd name="connsiteX293" fmla="*/ 231885 w 635665"/>
                <a:gd name="connsiteY293" fmla="*/ 409880 h 504468"/>
                <a:gd name="connsiteX294" fmla="*/ 233040 w 635665"/>
                <a:gd name="connsiteY294" fmla="*/ 411006 h 504468"/>
                <a:gd name="connsiteX295" fmla="*/ 236500 w 635665"/>
                <a:gd name="connsiteY295" fmla="*/ 409880 h 504468"/>
                <a:gd name="connsiteX296" fmla="*/ 236500 w 635665"/>
                <a:gd name="connsiteY296" fmla="*/ 407628 h 504468"/>
                <a:gd name="connsiteX297" fmla="*/ 237654 w 635665"/>
                <a:gd name="connsiteY297" fmla="*/ 409879 h 504468"/>
                <a:gd name="connsiteX298" fmla="*/ 241114 w 635665"/>
                <a:gd name="connsiteY298" fmla="*/ 408754 h 504468"/>
                <a:gd name="connsiteX299" fmla="*/ 246883 w 635665"/>
                <a:gd name="connsiteY299" fmla="*/ 401998 h 504468"/>
                <a:gd name="connsiteX300" fmla="*/ 246884 w 635665"/>
                <a:gd name="connsiteY300" fmla="*/ 390738 h 504468"/>
                <a:gd name="connsiteX301" fmla="*/ 249190 w 635665"/>
                <a:gd name="connsiteY301" fmla="*/ 382855 h 504468"/>
                <a:gd name="connsiteX302" fmla="*/ 244577 w 635665"/>
                <a:gd name="connsiteY302" fmla="*/ 376099 h 504468"/>
                <a:gd name="connsiteX303" fmla="*/ 245730 w 635665"/>
                <a:gd name="connsiteY303" fmla="*/ 373846 h 504468"/>
                <a:gd name="connsiteX304" fmla="*/ 241114 w 635665"/>
                <a:gd name="connsiteY304" fmla="*/ 354704 h 504468"/>
                <a:gd name="connsiteX305" fmla="*/ 235347 w 635665"/>
                <a:gd name="connsiteY305" fmla="*/ 349075 h 504468"/>
                <a:gd name="connsiteX306" fmla="*/ 242269 w 635665"/>
                <a:gd name="connsiteY306" fmla="*/ 344569 h 504468"/>
                <a:gd name="connsiteX307" fmla="*/ 242269 w 635665"/>
                <a:gd name="connsiteY307" fmla="*/ 345696 h 504468"/>
                <a:gd name="connsiteX308" fmla="*/ 244577 w 635665"/>
                <a:gd name="connsiteY308" fmla="*/ 346822 h 504468"/>
                <a:gd name="connsiteX309" fmla="*/ 245619 w 635665"/>
                <a:gd name="connsiteY309" fmla="*/ 341728 h 504468"/>
                <a:gd name="connsiteX310" fmla="*/ 248037 w 635665"/>
                <a:gd name="connsiteY310" fmla="*/ 342317 h 504468"/>
                <a:gd name="connsiteX311" fmla="*/ 249191 w 635665"/>
                <a:gd name="connsiteY311" fmla="*/ 328805 h 504468"/>
                <a:gd name="connsiteX312" fmla="*/ 250345 w 635665"/>
                <a:gd name="connsiteY312" fmla="*/ 327679 h 504468"/>
                <a:gd name="connsiteX313" fmla="*/ 252652 w 635665"/>
                <a:gd name="connsiteY313" fmla="*/ 331057 h 504468"/>
                <a:gd name="connsiteX314" fmla="*/ 248037 w 635665"/>
                <a:gd name="connsiteY314" fmla="*/ 320923 h 504468"/>
                <a:gd name="connsiteX315" fmla="*/ 242269 w 635665"/>
                <a:gd name="connsiteY315" fmla="*/ 320922 h 504468"/>
                <a:gd name="connsiteX316" fmla="*/ 251498 w 635665"/>
                <a:gd name="connsiteY316" fmla="*/ 318670 h 504468"/>
                <a:gd name="connsiteX317" fmla="*/ 275725 w 635665"/>
                <a:gd name="connsiteY317" fmla="*/ 299528 h 504468"/>
                <a:gd name="connsiteX318" fmla="*/ 265343 w 635665"/>
                <a:gd name="connsiteY318" fmla="*/ 307410 h 504468"/>
                <a:gd name="connsiteX319" fmla="*/ 263035 w 635665"/>
                <a:gd name="connsiteY319" fmla="*/ 305158 h 504468"/>
                <a:gd name="connsiteX320" fmla="*/ 263035 w 635665"/>
                <a:gd name="connsiteY320" fmla="*/ 306284 h 504468"/>
                <a:gd name="connsiteX321" fmla="*/ 260438 w 635665"/>
                <a:gd name="connsiteY321" fmla="*/ 305439 h 504468"/>
                <a:gd name="connsiteX322" fmla="*/ 260727 w 635665"/>
                <a:gd name="connsiteY322" fmla="*/ 305158 h 504468"/>
                <a:gd name="connsiteX323" fmla="*/ 259573 w 635665"/>
                <a:gd name="connsiteY323" fmla="*/ 305158 h 504468"/>
                <a:gd name="connsiteX324" fmla="*/ 260438 w 635665"/>
                <a:gd name="connsiteY324" fmla="*/ 305439 h 504468"/>
                <a:gd name="connsiteX325" fmla="*/ 259573 w 635665"/>
                <a:gd name="connsiteY325" fmla="*/ 306284 h 504468"/>
                <a:gd name="connsiteX326" fmla="*/ 261881 w 635665"/>
                <a:gd name="connsiteY326" fmla="*/ 306284 h 504468"/>
                <a:gd name="connsiteX327" fmla="*/ 261881 w 635665"/>
                <a:gd name="connsiteY327" fmla="*/ 308537 h 504468"/>
                <a:gd name="connsiteX328" fmla="*/ 263035 w 635665"/>
                <a:gd name="connsiteY328" fmla="*/ 306284 h 504468"/>
                <a:gd name="connsiteX329" fmla="*/ 264187 w 635665"/>
                <a:gd name="connsiteY329" fmla="*/ 307410 h 504468"/>
                <a:gd name="connsiteX330" fmla="*/ 261881 w 635665"/>
                <a:gd name="connsiteY330" fmla="*/ 309662 h 504468"/>
                <a:gd name="connsiteX331" fmla="*/ 257267 w 635665"/>
                <a:gd name="connsiteY331" fmla="*/ 305158 h 504468"/>
                <a:gd name="connsiteX332" fmla="*/ 259573 w 635665"/>
                <a:gd name="connsiteY332" fmla="*/ 310788 h 504468"/>
                <a:gd name="connsiteX333" fmla="*/ 254960 w 635665"/>
                <a:gd name="connsiteY333" fmla="*/ 315293 h 504468"/>
                <a:gd name="connsiteX334" fmla="*/ 254960 w 635665"/>
                <a:gd name="connsiteY334" fmla="*/ 314166 h 504468"/>
                <a:gd name="connsiteX335" fmla="*/ 253805 w 635665"/>
                <a:gd name="connsiteY335" fmla="*/ 314167 h 504468"/>
                <a:gd name="connsiteX336" fmla="*/ 251498 w 635665"/>
                <a:gd name="connsiteY336" fmla="*/ 318670 h 504468"/>
                <a:gd name="connsiteX337" fmla="*/ 252652 w 635665"/>
                <a:gd name="connsiteY337" fmla="*/ 314166 h 504468"/>
                <a:gd name="connsiteX338" fmla="*/ 250345 w 635665"/>
                <a:gd name="connsiteY338" fmla="*/ 304031 h 504468"/>
                <a:gd name="connsiteX339" fmla="*/ 251497 w 635665"/>
                <a:gd name="connsiteY339" fmla="*/ 302905 h 504468"/>
                <a:gd name="connsiteX340" fmla="*/ 249191 w 635665"/>
                <a:gd name="connsiteY340" fmla="*/ 301780 h 504468"/>
                <a:gd name="connsiteX341" fmla="*/ 250345 w 635665"/>
                <a:gd name="connsiteY341" fmla="*/ 299528 h 504468"/>
                <a:gd name="connsiteX342" fmla="*/ 249191 w 635665"/>
                <a:gd name="connsiteY342" fmla="*/ 299528 h 504468"/>
                <a:gd name="connsiteX343" fmla="*/ 248037 w 635665"/>
                <a:gd name="connsiteY343" fmla="*/ 295024 h 504468"/>
                <a:gd name="connsiteX344" fmla="*/ 246884 w 635665"/>
                <a:gd name="connsiteY344" fmla="*/ 295023 h 504468"/>
                <a:gd name="connsiteX345" fmla="*/ 248037 w 635665"/>
                <a:gd name="connsiteY345" fmla="*/ 292772 h 504468"/>
                <a:gd name="connsiteX346" fmla="*/ 245730 w 635665"/>
                <a:gd name="connsiteY346" fmla="*/ 292772 h 504468"/>
                <a:gd name="connsiteX347" fmla="*/ 246884 w 635665"/>
                <a:gd name="connsiteY347" fmla="*/ 291646 h 504468"/>
                <a:gd name="connsiteX348" fmla="*/ 244576 w 635665"/>
                <a:gd name="connsiteY348" fmla="*/ 289393 h 504468"/>
                <a:gd name="connsiteX349" fmla="*/ 243423 w 635665"/>
                <a:gd name="connsiteY349" fmla="*/ 281511 h 504468"/>
                <a:gd name="connsiteX350" fmla="*/ 239961 w 635665"/>
                <a:gd name="connsiteY350" fmla="*/ 273629 h 504468"/>
                <a:gd name="connsiteX351" fmla="*/ 241115 w 635665"/>
                <a:gd name="connsiteY351" fmla="*/ 270251 h 504468"/>
                <a:gd name="connsiteX352" fmla="*/ 239961 w 635665"/>
                <a:gd name="connsiteY352" fmla="*/ 270250 h 504468"/>
                <a:gd name="connsiteX353" fmla="*/ 239961 w 635665"/>
                <a:gd name="connsiteY353" fmla="*/ 272502 h 504468"/>
                <a:gd name="connsiteX354" fmla="*/ 237654 w 635665"/>
                <a:gd name="connsiteY354" fmla="*/ 266872 h 504468"/>
                <a:gd name="connsiteX355" fmla="*/ 238719 w 635665"/>
                <a:gd name="connsiteY355" fmla="*/ 250241 h 504468"/>
                <a:gd name="connsiteX356" fmla="*/ 239577 w 635665"/>
                <a:gd name="connsiteY356" fmla="*/ 247729 h 504468"/>
                <a:gd name="connsiteX357" fmla="*/ 241115 w 635665"/>
                <a:gd name="connsiteY357" fmla="*/ 245478 h 504468"/>
                <a:gd name="connsiteX358" fmla="*/ 242269 w 635665"/>
                <a:gd name="connsiteY358" fmla="*/ 246604 h 504468"/>
                <a:gd name="connsiteX359" fmla="*/ 241114 w 635665"/>
                <a:gd name="connsiteY359" fmla="*/ 243225 h 504468"/>
                <a:gd name="connsiteX360" fmla="*/ 244576 w 635665"/>
                <a:gd name="connsiteY360" fmla="*/ 242100 h 504468"/>
                <a:gd name="connsiteX361" fmla="*/ 244577 w 635665"/>
                <a:gd name="connsiteY361" fmla="*/ 234217 h 504468"/>
                <a:gd name="connsiteX362" fmla="*/ 246883 w 635665"/>
                <a:gd name="connsiteY362" fmla="*/ 234218 h 504468"/>
                <a:gd name="connsiteX363" fmla="*/ 248038 w 635665"/>
                <a:gd name="connsiteY363" fmla="*/ 231965 h 504468"/>
                <a:gd name="connsiteX364" fmla="*/ 245730 w 635665"/>
                <a:gd name="connsiteY364" fmla="*/ 233091 h 504468"/>
                <a:gd name="connsiteX365" fmla="*/ 244577 w 635665"/>
                <a:gd name="connsiteY365" fmla="*/ 231965 h 504468"/>
                <a:gd name="connsiteX366" fmla="*/ 245730 w 635665"/>
                <a:gd name="connsiteY366" fmla="*/ 230839 h 504468"/>
                <a:gd name="connsiteX367" fmla="*/ 249190 w 635665"/>
                <a:gd name="connsiteY367" fmla="*/ 216201 h 504468"/>
                <a:gd name="connsiteX368" fmla="*/ 248038 w 635665"/>
                <a:gd name="connsiteY368" fmla="*/ 218453 h 504468"/>
                <a:gd name="connsiteX369" fmla="*/ 244576 w 635665"/>
                <a:gd name="connsiteY369" fmla="*/ 219579 h 504468"/>
                <a:gd name="connsiteX370" fmla="*/ 238808 w 635665"/>
                <a:gd name="connsiteY370" fmla="*/ 216201 h 504468"/>
                <a:gd name="connsiteX371" fmla="*/ 236500 w 635665"/>
                <a:gd name="connsiteY371" fmla="*/ 212822 h 504468"/>
                <a:gd name="connsiteX372" fmla="*/ 238807 w 635665"/>
                <a:gd name="connsiteY372" fmla="*/ 207192 h 504468"/>
                <a:gd name="connsiteX373" fmla="*/ 235347 w 635665"/>
                <a:gd name="connsiteY373" fmla="*/ 207192 h 504468"/>
                <a:gd name="connsiteX374" fmla="*/ 236501 w 635665"/>
                <a:gd name="connsiteY374" fmla="*/ 203814 h 504468"/>
                <a:gd name="connsiteX375" fmla="*/ 241115 w 635665"/>
                <a:gd name="connsiteY375" fmla="*/ 203814 h 504468"/>
                <a:gd name="connsiteX376" fmla="*/ 242269 w 635665"/>
                <a:gd name="connsiteY376" fmla="*/ 202688 h 504468"/>
                <a:gd name="connsiteX377" fmla="*/ 241114 w 635665"/>
                <a:gd name="connsiteY377" fmla="*/ 191428 h 504468"/>
                <a:gd name="connsiteX378" fmla="*/ 243423 w 635665"/>
                <a:gd name="connsiteY378" fmla="*/ 192554 h 504468"/>
                <a:gd name="connsiteX379" fmla="*/ 246884 w 635665"/>
                <a:gd name="connsiteY379" fmla="*/ 199310 h 504468"/>
                <a:gd name="connsiteX380" fmla="*/ 242268 w 635665"/>
                <a:gd name="connsiteY380" fmla="*/ 189176 h 504468"/>
                <a:gd name="connsiteX381" fmla="*/ 244576 w 635665"/>
                <a:gd name="connsiteY381" fmla="*/ 177915 h 504468"/>
                <a:gd name="connsiteX382" fmla="*/ 242269 w 635665"/>
                <a:gd name="connsiteY382" fmla="*/ 174537 h 504468"/>
                <a:gd name="connsiteX383" fmla="*/ 239961 w 635665"/>
                <a:gd name="connsiteY383" fmla="*/ 198183 h 504468"/>
                <a:gd name="connsiteX384" fmla="*/ 235346 w 635665"/>
                <a:gd name="connsiteY384" fmla="*/ 201562 h 504468"/>
                <a:gd name="connsiteX385" fmla="*/ 231885 w 635665"/>
                <a:gd name="connsiteY385" fmla="*/ 198184 h 504468"/>
                <a:gd name="connsiteX386" fmla="*/ 233040 w 635665"/>
                <a:gd name="connsiteY386" fmla="*/ 195932 h 504468"/>
                <a:gd name="connsiteX387" fmla="*/ 229578 w 635665"/>
                <a:gd name="connsiteY387" fmla="*/ 186924 h 504468"/>
                <a:gd name="connsiteX388" fmla="*/ 226118 w 635665"/>
                <a:gd name="connsiteY388" fmla="*/ 184672 h 504468"/>
                <a:gd name="connsiteX389" fmla="*/ 228426 w 635665"/>
                <a:gd name="connsiteY389" fmla="*/ 182419 h 504468"/>
                <a:gd name="connsiteX390" fmla="*/ 224963 w 635665"/>
                <a:gd name="connsiteY390" fmla="*/ 183546 h 504468"/>
                <a:gd name="connsiteX391" fmla="*/ 223810 w 635665"/>
                <a:gd name="connsiteY391" fmla="*/ 180167 h 504468"/>
                <a:gd name="connsiteX392" fmla="*/ 216888 w 635665"/>
                <a:gd name="connsiteY392" fmla="*/ 182419 h 504468"/>
                <a:gd name="connsiteX393" fmla="*/ 213428 w 635665"/>
                <a:gd name="connsiteY393" fmla="*/ 181293 h 504468"/>
                <a:gd name="connsiteX394" fmla="*/ 214581 w 635665"/>
                <a:gd name="connsiteY394" fmla="*/ 180167 h 504468"/>
                <a:gd name="connsiteX395" fmla="*/ 213428 w 635665"/>
                <a:gd name="connsiteY395" fmla="*/ 179041 h 504468"/>
                <a:gd name="connsiteX396" fmla="*/ 213428 w 635665"/>
                <a:gd name="connsiteY396" fmla="*/ 181293 h 504468"/>
                <a:gd name="connsiteX397" fmla="*/ 212273 w 635665"/>
                <a:gd name="connsiteY397" fmla="*/ 179041 h 504468"/>
                <a:gd name="connsiteX398" fmla="*/ 219196 w 635665"/>
                <a:gd name="connsiteY398" fmla="*/ 174537 h 504468"/>
                <a:gd name="connsiteX399" fmla="*/ 216889 w 635665"/>
                <a:gd name="connsiteY399" fmla="*/ 168907 h 504468"/>
                <a:gd name="connsiteX400" fmla="*/ 218042 w 635665"/>
                <a:gd name="connsiteY400" fmla="*/ 168906 h 504468"/>
                <a:gd name="connsiteX401" fmla="*/ 216889 w 635665"/>
                <a:gd name="connsiteY401" fmla="*/ 165528 h 504468"/>
                <a:gd name="connsiteX402" fmla="*/ 215734 w 635665"/>
                <a:gd name="connsiteY402" fmla="*/ 164403 h 504468"/>
                <a:gd name="connsiteX403" fmla="*/ 212274 w 635665"/>
                <a:gd name="connsiteY403" fmla="*/ 165529 h 504468"/>
                <a:gd name="connsiteX404" fmla="*/ 211119 w 635665"/>
                <a:gd name="connsiteY404" fmla="*/ 163276 h 504468"/>
                <a:gd name="connsiteX405" fmla="*/ 224963 w 635665"/>
                <a:gd name="connsiteY405" fmla="*/ 163276 h 504468"/>
                <a:gd name="connsiteX406" fmla="*/ 224964 w 635665"/>
                <a:gd name="connsiteY406" fmla="*/ 165528 h 504468"/>
                <a:gd name="connsiteX407" fmla="*/ 224964 w 635665"/>
                <a:gd name="connsiteY407" fmla="*/ 166655 h 504468"/>
                <a:gd name="connsiteX408" fmla="*/ 228425 w 635665"/>
                <a:gd name="connsiteY408" fmla="*/ 166655 h 504468"/>
                <a:gd name="connsiteX409" fmla="*/ 228425 w 635665"/>
                <a:gd name="connsiteY409" fmla="*/ 163276 h 504468"/>
                <a:gd name="connsiteX410" fmla="*/ 230733 w 635665"/>
                <a:gd name="connsiteY410" fmla="*/ 163277 h 504468"/>
                <a:gd name="connsiteX411" fmla="*/ 230733 w 635665"/>
                <a:gd name="connsiteY411" fmla="*/ 167781 h 504468"/>
                <a:gd name="connsiteX412" fmla="*/ 228425 w 635665"/>
                <a:gd name="connsiteY412" fmla="*/ 168906 h 504468"/>
                <a:gd name="connsiteX413" fmla="*/ 231885 w 635665"/>
                <a:gd name="connsiteY413" fmla="*/ 167781 h 504468"/>
                <a:gd name="connsiteX414" fmla="*/ 231885 w 635665"/>
                <a:gd name="connsiteY414" fmla="*/ 172284 h 504468"/>
                <a:gd name="connsiteX415" fmla="*/ 233039 w 635665"/>
                <a:gd name="connsiteY415" fmla="*/ 168906 h 504468"/>
                <a:gd name="connsiteX416" fmla="*/ 231886 w 635665"/>
                <a:gd name="connsiteY416" fmla="*/ 163276 h 504468"/>
                <a:gd name="connsiteX417" fmla="*/ 235347 w 635665"/>
                <a:gd name="connsiteY417" fmla="*/ 168907 h 504468"/>
                <a:gd name="connsiteX418" fmla="*/ 234194 w 635665"/>
                <a:gd name="connsiteY418" fmla="*/ 171158 h 504468"/>
                <a:gd name="connsiteX419" fmla="*/ 237654 w 635665"/>
                <a:gd name="connsiteY419" fmla="*/ 172284 h 504468"/>
                <a:gd name="connsiteX420" fmla="*/ 239962 w 635665"/>
                <a:gd name="connsiteY420" fmla="*/ 170033 h 504468"/>
                <a:gd name="connsiteX421" fmla="*/ 236500 w 635665"/>
                <a:gd name="connsiteY421" fmla="*/ 170033 h 504468"/>
                <a:gd name="connsiteX422" fmla="*/ 236500 w 635665"/>
                <a:gd name="connsiteY422" fmla="*/ 167781 h 504468"/>
                <a:gd name="connsiteX423" fmla="*/ 234193 w 635665"/>
                <a:gd name="connsiteY423" fmla="*/ 163276 h 504468"/>
                <a:gd name="connsiteX424" fmla="*/ 236501 w 635665"/>
                <a:gd name="connsiteY424" fmla="*/ 163276 h 504468"/>
                <a:gd name="connsiteX425" fmla="*/ 238808 w 635665"/>
                <a:gd name="connsiteY425" fmla="*/ 168907 h 504468"/>
                <a:gd name="connsiteX426" fmla="*/ 237653 w 635665"/>
                <a:gd name="connsiteY426" fmla="*/ 163276 h 504468"/>
                <a:gd name="connsiteX427" fmla="*/ 243423 w 635665"/>
                <a:gd name="connsiteY427" fmla="*/ 168906 h 504468"/>
                <a:gd name="connsiteX428" fmla="*/ 242268 w 635665"/>
                <a:gd name="connsiteY428" fmla="*/ 163276 h 504468"/>
                <a:gd name="connsiteX429" fmla="*/ 233040 w 635665"/>
                <a:gd name="connsiteY429" fmla="*/ 152016 h 504468"/>
                <a:gd name="connsiteX430" fmla="*/ 231886 w 635665"/>
                <a:gd name="connsiteY430" fmla="*/ 152016 h 504468"/>
                <a:gd name="connsiteX431" fmla="*/ 233040 w 635665"/>
                <a:gd name="connsiteY431" fmla="*/ 150890 h 504468"/>
                <a:gd name="connsiteX432" fmla="*/ 229579 w 635665"/>
                <a:gd name="connsiteY432" fmla="*/ 144133 h 504468"/>
                <a:gd name="connsiteX433" fmla="*/ 230733 w 635665"/>
                <a:gd name="connsiteY433" fmla="*/ 133999 h 504468"/>
                <a:gd name="connsiteX434" fmla="*/ 227270 w 635665"/>
                <a:gd name="connsiteY434" fmla="*/ 124991 h 504468"/>
                <a:gd name="connsiteX435" fmla="*/ 223809 w 635665"/>
                <a:gd name="connsiteY435" fmla="*/ 115982 h 504468"/>
                <a:gd name="connsiteX436" fmla="*/ 218042 w 635665"/>
                <a:gd name="connsiteY436" fmla="*/ 102470 h 504468"/>
                <a:gd name="connsiteX437" fmla="*/ 212273 w 635665"/>
                <a:gd name="connsiteY437" fmla="*/ 104722 h 504468"/>
                <a:gd name="connsiteX438" fmla="*/ 189201 w 635665"/>
                <a:gd name="connsiteY438" fmla="*/ 126117 h 504468"/>
                <a:gd name="connsiteX439" fmla="*/ 176511 w 635665"/>
                <a:gd name="connsiteY439" fmla="*/ 134000 h 504468"/>
                <a:gd name="connsiteX440" fmla="*/ 177664 w 635665"/>
                <a:gd name="connsiteY440" fmla="*/ 146386 h 504468"/>
                <a:gd name="connsiteX441" fmla="*/ 173049 w 635665"/>
                <a:gd name="connsiteY441" fmla="*/ 124991 h 504468"/>
                <a:gd name="connsiteX442" fmla="*/ 176510 w 635665"/>
                <a:gd name="connsiteY442" fmla="*/ 129495 h 504468"/>
                <a:gd name="connsiteX443" fmla="*/ 185739 w 635665"/>
                <a:gd name="connsiteY443" fmla="*/ 126117 h 504468"/>
                <a:gd name="connsiteX444" fmla="*/ 216889 w 635665"/>
                <a:gd name="connsiteY444" fmla="*/ 96840 h 504468"/>
                <a:gd name="connsiteX445" fmla="*/ 220349 w 635665"/>
                <a:gd name="connsiteY445" fmla="*/ 91209 h 504468"/>
                <a:gd name="connsiteX446" fmla="*/ 221502 w 635665"/>
                <a:gd name="connsiteY446" fmla="*/ 81075 h 504468"/>
                <a:gd name="connsiteX447" fmla="*/ 218042 w 635665"/>
                <a:gd name="connsiteY447" fmla="*/ 75445 h 504468"/>
                <a:gd name="connsiteX448" fmla="*/ 235347 w 635665"/>
                <a:gd name="connsiteY448" fmla="*/ 65311 h 504468"/>
                <a:gd name="connsiteX449" fmla="*/ 235347 w 635665"/>
                <a:gd name="connsiteY449" fmla="*/ 64184 h 504468"/>
                <a:gd name="connsiteX450" fmla="*/ 241115 w 635665"/>
                <a:gd name="connsiteY450" fmla="*/ 59681 h 504468"/>
                <a:gd name="connsiteX451" fmla="*/ 246883 w 635665"/>
                <a:gd name="connsiteY451" fmla="*/ 40537 h 504468"/>
                <a:gd name="connsiteX452" fmla="*/ 251498 w 635665"/>
                <a:gd name="connsiteY452" fmla="*/ 3378 h 504468"/>
                <a:gd name="connsiteX453" fmla="*/ 252652 w 635665"/>
                <a:gd name="connsiteY453" fmla="*/ 1126 h 504468"/>
                <a:gd name="connsiteX454" fmla="*/ 257267 w 635665"/>
                <a:gd name="connsiteY454" fmla="*/ 4504 h 50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635665" h="504468">
                  <a:moveTo>
                    <a:pt x="199583" y="459426"/>
                  </a:moveTo>
                  <a:lnTo>
                    <a:pt x="201891" y="462804"/>
                  </a:lnTo>
                  <a:lnTo>
                    <a:pt x="202955" y="463584"/>
                  </a:lnTo>
                  <a:lnTo>
                    <a:pt x="201890" y="463930"/>
                  </a:lnTo>
                  <a:close/>
                  <a:moveTo>
                    <a:pt x="242268" y="396368"/>
                  </a:moveTo>
                  <a:lnTo>
                    <a:pt x="243423" y="397494"/>
                  </a:lnTo>
                  <a:lnTo>
                    <a:pt x="241115" y="399746"/>
                  </a:lnTo>
                  <a:close/>
                  <a:moveTo>
                    <a:pt x="244576" y="387359"/>
                  </a:moveTo>
                  <a:lnTo>
                    <a:pt x="242269" y="391863"/>
                  </a:lnTo>
                  <a:lnTo>
                    <a:pt x="242269" y="389612"/>
                  </a:lnTo>
                  <a:close/>
                  <a:moveTo>
                    <a:pt x="245730" y="341192"/>
                  </a:moveTo>
                  <a:lnTo>
                    <a:pt x="245619" y="341728"/>
                  </a:lnTo>
                  <a:lnTo>
                    <a:pt x="244741" y="341513"/>
                  </a:lnTo>
                  <a:close/>
                  <a:moveTo>
                    <a:pt x="243422" y="341191"/>
                  </a:moveTo>
                  <a:lnTo>
                    <a:pt x="244741" y="341513"/>
                  </a:lnTo>
                  <a:lnTo>
                    <a:pt x="242269" y="342318"/>
                  </a:lnTo>
                  <a:close/>
                  <a:moveTo>
                    <a:pt x="248037" y="325427"/>
                  </a:moveTo>
                  <a:lnTo>
                    <a:pt x="249191" y="326553"/>
                  </a:lnTo>
                  <a:lnTo>
                    <a:pt x="248038" y="328804"/>
                  </a:lnTo>
                  <a:lnTo>
                    <a:pt x="248038" y="331057"/>
                  </a:lnTo>
                  <a:lnTo>
                    <a:pt x="246883" y="328805"/>
                  </a:lnTo>
                  <a:close/>
                  <a:moveTo>
                    <a:pt x="239961" y="246603"/>
                  </a:moveTo>
                  <a:lnTo>
                    <a:pt x="239577" y="247729"/>
                  </a:lnTo>
                  <a:lnTo>
                    <a:pt x="238807" y="248856"/>
                  </a:lnTo>
                  <a:lnTo>
                    <a:pt x="238719" y="250241"/>
                  </a:lnTo>
                  <a:lnTo>
                    <a:pt x="237653" y="253360"/>
                  </a:lnTo>
                  <a:lnTo>
                    <a:pt x="236501" y="248856"/>
                  </a:lnTo>
                  <a:close/>
                  <a:moveTo>
                    <a:pt x="221502" y="176790"/>
                  </a:moveTo>
                  <a:lnTo>
                    <a:pt x="222561" y="179885"/>
                  </a:lnTo>
                  <a:lnTo>
                    <a:pt x="221887" y="180167"/>
                  </a:lnTo>
                  <a:lnTo>
                    <a:pt x="220349" y="180167"/>
                  </a:lnTo>
                  <a:lnTo>
                    <a:pt x="220349" y="179604"/>
                  </a:lnTo>
                  <a:lnTo>
                    <a:pt x="221502" y="179041"/>
                  </a:lnTo>
                  <a:lnTo>
                    <a:pt x="220733" y="177539"/>
                  </a:lnTo>
                  <a:close/>
                  <a:moveTo>
                    <a:pt x="223810" y="175663"/>
                  </a:moveTo>
                  <a:lnTo>
                    <a:pt x="224964" y="175663"/>
                  </a:lnTo>
                  <a:lnTo>
                    <a:pt x="226117" y="177915"/>
                  </a:lnTo>
                  <a:lnTo>
                    <a:pt x="223810" y="179041"/>
                  </a:lnTo>
                  <a:lnTo>
                    <a:pt x="224963" y="176790"/>
                  </a:lnTo>
                  <a:lnTo>
                    <a:pt x="222657" y="179041"/>
                  </a:lnTo>
                  <a:lnTo>
                    <a:pt x="222657" y="176789"/>
                  </a:lnTo>
                  <a:close/>
                  <a:moveTo>
                    <a:pt x="230732" y="174537"/>
                  </a:moveTo>
                  <a:lnTo>
                    <a:pt x="229579" y="177915"/>
                  </a:lnTo>
                  <a:lnTo>
                    <a:pt x="229578" y="175664"/>
                  </a:lnTo>
                  <a:close/>
                  <a:moveTo>
                    <a:pt x="227270" y="174537"/>
                  </a:moveTo>
                  <a:lnTo>
                    <a:pt x="227271" y="177914"/>
                  </a:lnTo>
                  <a:lnTo>
                    <a:pt x="226117" y="175664"/>
                  </a:lnTo>
                  <a:close/>
                  <a:moveTo>
                    <a:pt x="224964" y="173411"/>
                  </a:moveTo>
                  <a:lnTo>
                    <a:pt x="220350" y="176789"/>
                  </a:lnTo>
                  <a:lnTo>
                    <a:pt x="220733" y="177539"/>
                  </a:lnTo>
                  <a:lnTo>
                    <a:pt x="220350" y="177915"/>
                  </a:lnTo>
                  <a:lnTo>
                    <a:pt x="220349" y="179604"/>
                  </a:lnTo>
                  <a:lnTo>
                    <a:pt x="216888" y="181293"/>
                  </a:lnTo>
                  <a:lnTo>
                    <a:pt x="219196" y="181293"/>
                  </a:lnTo>
                  <a:lnTo>
                    <a:pt x="221887" y="180167"/>
                  </a:lnTo>
                  <a:lnTo>
                    <a:pt x="222657" y="180167"/>
                  </a:lnTo>
                  <a:lnTo>
                    <a:pt x="222561" y="179885"/>
                  </a:lnTo>
                  <a:lnTo>
                    <a:pt x="227271" y="177914"/>
                  </a:lnTo>
                  <a:lnTo>
                    <a:pt x="230732" y="179041"/>
                  </a:lnTo>
                  <a:lnTo>
                    <a:pt x="230732" y="174537"/>
                  </a:lnTo>
                  <a:lnTo>
                    <a:pt x="228426" y="174537"/>
                  </a:lnTo>
                  <a:lnTo>
                    <a:pt x="228426" y="177915"/>
                  </a:lnTo>
                  <a:lnTo>
                    <a:pt x="227270" y="174537"/>
                  </a:lnTo>
                  <a:close/>
                  <a:moveTo>
                    <a:pt x="166126" y="132873"/>
                  </a:moveTo>
                  <a:lnTo>
                    <a:pt x="167280" y="132873"/>
                  </a:lnTo>
                  <a:lnTo>
                    <a:pt x="168435" y="133999"/>
                  </a:lnTo>
                  <a:close/>
                  <a:moveTo>
                    <a:pt x="203044" y="128369"/>
                  </a:moveTo>
                  <a:lnTo>
                    <a:pt x="207658" y="128369"/>
                  </a:lnTo>
                  <a:lnTo>
                    <a:pt x="212274" y="135126"/>
                  </a:lnTo>
                  <a:lnTo>
                    <a:pt x="216889" y="136252"/>
                  </a:lnTo>
                  <a:lnTo>
                    <a:pt x="220349" y="134000"/>
                  </a:lnTo>
                  <a:lnTo>
                    <a:pt x="220349" y="136252"/>
                  </a:lnTo>
                  <a:lnTo>
                    <a:pt x="226118" y="140756"/>
                  </a:lnTo>
                  <a:lnTo>
                    <a:pt x="224964" y="141882"/>
                  </a:lnTo>
                  <a:lnTo>
                    <a:pt x="229578" y="154268"/>
                  </a:lnTo>
                  <a:lnTo>
                    <a:pt x="234193" y="158772"/>
                  </a:lnTo>
                  <a:lnTo>
                    <a:pt x="235347" y="162151"/>
                  </a:lnTo>
                  <a:lnTo>
                    <a:pt x="220349" y="162150"/>
                  </a:lnTo>
                  <a:lnTo>
                    <a:pt x="218043" y="159898"/>
                  </a:lnTo>
                  <a:lnTo>
                    <a:pt x="214580" y="161025"/>
                  </a:lnTo>
                  <a:lnTo>
                    <a:pt x="214581" y="159898"/>
                  </a:lnTo>
                  <a:lnTo>
                    <a:pt x="208812" y="152016"/>
                  </a:lnTo>
                  <a:lnTo>
                    <a:pt x="203043" y="131747"/>
                  </a:lnTo>
                  <a:close/>
                  <a:moveTo>
                    <a:pt x="161513" y="123865"/>
                  </a:moveTo>
                  <a:lnTo>
                    <a:pt x="164974" y="135126"/>
                  </a:lnTo>
                  <a:lnTo>
                    <a:pt x="161512" y="135126"/>
                  </a:lnTo>
                  <a:lnTo>
                    <a:pt x="133824" y="144133"/>
                  </a:lnTo>
                  <a:lnTo>
                    <a:pt x="56530" y="208318"/>
                  </a:lnTo>
                  <a:lnTo>
                    <a:pt x="49609" y="215074"/>
                  </a:lnTo>
                  <a:lnTo>
                    <a:pt x="44993" y="221831"/>
                  </a:lnTo>
                  <a:lnTo>
                    <a:pt x="40378" y="222957"/>
                  </a:lnTo>
                  <a:lnTo>
                    <a:pt x="42686" y="225209"/>
                  </a:lnTo>
                  <a:lnTo>
                    <a:pt x="47301" y="221831"/>
                  </a:lnTo>
                  <a:lnTo>
                    <a:pt x="43839" y="226335"/>
                  </a:lnTo>
                  <a:lnTo>
                    <a:pt x="38071" y="225209"/>
                  </a:lnTo>
                  <a:lnTo>
                    <a:pt x="1155" y="254486"/>
                  </a:lnTo>
                  <a:lnTo>
                    <a:pt x="0" y="253360"/>
                  </a:lnTo>
                  <a:lnTo>
                    <a:pt x="36917" y="222957"/>
                  </a:lnTo>
                  <a:lnTo>
                    <a:pt x="38070" y="218452"/>
                  </a:lnTo>
                  <a:lnTo>
                    <a:pt x="40379" y="217326"/>
                  </a:lnTo>
                  <a:lnTo>
                    <a:pt x="38070" y="219578"/>
                  </a:lnTo>
                  <a:lnTo>
                    <a:pt x="39226" y="220704"/>
                  </a:lnTo>
                  <a:lnTo>
                    <a:pt x="40379" y="218453"/>
                  </a:lnTo>
                  <a:lnTo>
                    <a:pt x="42686" y="218453"/>
                  </a:lnTo>
                  <a:lnTo>
                    <a:pt x="130364" y="144133"/>
                  </a:lnTo>
                  <a:lnTo>
                    <a:pt x="129210" y="141882"/>
                  </a:lnTo>
                  <a:lnTo>
                    <a:pt x="131518" y="144134"/>
                  </a:lnTo>
                  <a:lnTo>
                    <a:pt x="138439" y="139629"/>
                  </a:lnTo>
                  <a:lnTo>
                    <a:pt x="161512" y="134000"/>
                  </a:lnTo>
                  <a:lnTo>
                    <a:pt x="162666" y="130621"/>
                  </a:lnTo>
                  <a:close/>
                  <a:moveTo>
                    <a:pt x="170742" y="121613"/>
                  </a:moveTo>
                  <a:lnTo>
                    <a:pt x="173049" y="122739"/>
                  </a:lnTo>
                  <a:lnTo>
                    <a:pt x="170742" y="126117"/>
                  </a:lnTo>
                  <a:lnTo>
                    <a:pt x="174202" y="138503"/>
                  </a:lnTo>
                  <a:lnTo>
                    <a:pt x="175357" y="140756"/>
                  </a:lnTo>
                  <a:lnTo>
                    <a:pt x="175357" y="146386"/>
                  </a:lnTo>
                  <a:lnTo>
                    <a:pt x="178818" y="148638"/>
                  </a:lnTo>
                  <a:lnTo>
                    <a:pt x="175357" y="147511"/>
                  </a:lnTo>
                  <a:lnTo>
                    <a:pt x="171896" y="133999"/>
                  </a:lnTo>
                  <a:lnTo>
                    <a:pt x="169589" y="131747"/>
                  </a:lnTo>
                  <a:close/>
                  <a:moveTo>
                    <a:pt x="388745" y="32729"/>
                  </a:moveTo>
                  <a:lnTo>
                    <a:pt x="387629" y="34908"/>
                  </a:lnTo>
                  <a:lnTo>
                    <a:pt x="389937" y="38285"/>
                  </a:lnTo>
                  <a:lnTo>
                    <a:pt x="393398" y="37159"/>
                  </a:lnTo>
                  <a:lnTo>
                    <a:pt x="393753" y="37506"/>
                  </a:lnTo>
                  <a:lnTo>
                    <a:pt x="395706" y="35601"/>
                  </a:lnTo>
                  <a:lnTo>
                    <a:pt x="393398" y="33349"/>
                  </a:lnTo>
                  <a:lnTo>
                    <a:pt x="389938" y="34474"/>
                  </a:lnTo>
                  <a:close/>
                  <a:moveTo>
                    <a:pt x="261881" y="0"/>
                  </a:moveTo>
                  <a:lnTo>
                    <a:pt x="275725" y="0"/>
                  </a:lnTo>
                  <a:lnTo>
                    <a:pt x="275725" y="1126"/>
                  </a:lnTo>
                  <a:lnTo>
                    <a:pt x="283801" y="6756"/>
                  </a:lnTo>
                  <a:lnTo>
                    <a:pt x="284955" y="4504"/>
                  </a:lnTo>
                  <a:lnTo>
                    <a:pt x="291877" y="6756"/>
                  </a:lnTo>
                  <a:lnTo>
                    <a:pt x="295337" y="10134"/>
                  </a:lnTo>
                  <a:lnTo>
                    <a:pt x="303412" y="10134"/>
                  </a:lnTo>
                  <a:lnTo>
                    <a:pt x="302258" y="14638"/>
                  </a:lnTo>
                  <a:lnTo>
                    <a:pt x="309181" y="16891"/>
                  </a:lnTo>
                  <a:lnTo>
                    <a:pt x="312642" y="12387"/>
                  </a:lnTo>
                  <a:lnTo>
                    <a:pt x="316102" y="12386"/>
                  </a:lnTo>
                  <a:lnTo>
                    <a:pt x="319564" y="13512"/>
                  </a:lnTo>
                  <a:lnTo>
                    <a:pt x="318411" y="18016"/>
                  </a:lnTo>
                  <a:lnTo>
                    <a:pt x="328792" y="21394"/>
                  </a:lnTo>
                  <a:lnTo>
                    <a:pt x="321872" y="24772"/>
                  </a:lnTo>
                  <a:lnTo>
                    <a:pt x="325333" y="28152"/>
                  </a:lnTo>
                  <a:lnTo>
                    <a:pt x="329947" y="25899"/>
                  </a:lnTo>
                  <a:lnTo>
                    <a:pt x="333407" y="19143"/>
                  </a:lnTo>
                  <a:lnTo>
                    <a:pt x="342637" y="24772"/>
                  </a:lnTo>
                  <a:lnTo>
                    <a:pt x="343791" y="25899"/>
                  </a:lnTo>
                  <a:lnTo>
                    <a:pt x="342637" y="29278"/>
                  </a:lnTo>
                  <a:lnTo>
                    <a:pt x="346098" y="31529"/>
                  </a:lnTo>
                  <a:lnTo>
                    <a:pt x="354173" y="24773"/>
                  </a:lnTo>
                  <a:lnTo>
                    <a:pt x="351867" y="22521"/>
                  </a:lnTo>
                  <a:lnTo>
                    <a:pt x="354174" y="19142"/>
                  </a:lnTo>
                  <a:lnTo>
                    <a:pt x="351866" y="14638"/>
                  </a:lnTo>
                  <a:lnTo>
                    <a:pt x="353019" y="13512"/>
                  </a:lnTo>
                  <a:lnTo>
                    <a:pt x="362250" y="12387"/>
                  </a:lnTo>
                  <a:lnTo>
                    <a:pt x="366864" y="13513"/>
                  </a:lnTo>
                  <a:lnTo>
                    <a:pt x="372633" y="9008"/>
                  </a:lnTo>
                  <a:lnTo>
                    <a:pt x="374939" y="11260"/>
                  </a:lnTo>
                  <a:lnTo>
                    <a:pt x="379553" y="15764"/>
                  </a:lnTo>
                  <a:lnTo>
                    <a:pt x="379554" y="19143"/>
                  </a:lnTo>
                  <a:lnTo>
                    <a:pt x="389779" y="26905"/>
                  </a:lnTo>
                  <a:lnTo>
                    <a:pt x="389938" y="26593"/>
                  </a:lnTo>
                  <a:lnTo>
                    <a:pt x="389937" y="23215"/>
                  </a:lnTo>
                  <a:lnTo>
                    <a:pt x="393398" y="28845"/>
                  </a:lnTo>
                  <a:lnTo>
                    <a:pt x="396860" y="29971"/>
                  </a:lnTo>
                  <a:lnTo>
                    <a:pt x="398013" y="27719"/>
                  </a:lnTo>
                  <a:lnTo>
                    <a:pt x="402628" y="27719"/>
                  </a:lnTo>
                  <a:lnTo>
                    <a:pt x="406089" y="33349"/>
                  </a:lnTo>
                  <a:lnTo>
                    <a:pt x="404935" y="34474"/>
                  </a:lnTo>
                  <a:lnTo>
                    <a:pt x="408396" y="35601"/>
                  </a:lnTo>
                  <a:lnTo>
                    <a:pt x="415317" y="34475"/>
                  </a:lnTo>
                  <a:lnTo>
                    <a:pt x="417625" y="27719"/>
                  </a:lnTo>
                  <a:lnTo>
                    <a:pt x="425701" y="29971"/>
                  </a:lnTo>
                  <a:lnTo>
                    <a:pt x="426855" y="28845"/>
                  </a:lnTo>
                  <a:lnTo>
                    <a:pt x="425701" y="31097"/>
                  </a:lnTo>
                  <a:lnTo>
                    <a:pt x="426600" y="31754"/>
                  </a:lnTo>
                  <a:lnTo>
                    <a:pt x="422740" y="31249"/>
                  </a:lnTo>
                  <a:lnTo>
                    <a:pt x="421339" y="41959"/>
                  </a:lnTo>
                  <a:lnTo>
                    <a:pt x="587607" y="63708"/>
                  </a:lnTo>
                  <a:lnTo>
                    <a:pt x="592712" y="63708"/>
                  </a:lnTo>
                  <a:lnTo>
                    <a:pt x="592712" y="64376"/>
                  </a:lnTo>
                  <a:lnTo>
                    <a:pt x="595265" y="64710"/>
                  </a:lnTo>
                  <a:lnTo>
                    <a:pt x="592712" y="66786"/>
                  </a:lnTo>
                  <a:lnTo>
                    <a:pt x="592712" y="69547"/>
                  </a:lnTo>
                  <a:lnTo>
                    <a:pt x="602210" y="61932"/>
                  </a:lnTo>
                  <a:lnTo>
                    <a:pt x="603363" y="66437"/>
                  </a:lnTo>
                  <a:lnTo>
                    <a:pt x="607977" y="66436"/>
                  </a:lnTo>
                  <a:lnTo>
                    <a:pt x="609132" y="68689"/>
                  </a:lnTo>
                  <a:lnTo>
                    <a:pt x="606824" y="69815"/>
                  </a:lnTo>
                  <a:lnTo>
                    <a:pt x="609132" y="73193"/>
                  </a:lnTo>
                  <a:lnTo>
                    <a:pt x="610286" y="72067"/>
                  </a:lnTo>
                  <a:lnTo>
                    <a:pt x="617208" y="77698"/>
                  </a:lnTo>
                  <a:lnTo>
                    <a:pt x="613747" y="79949"/>
                  </a:lnTo>
                  <a:lnTo>
                    <a:pt x="616054" y="82201"/>
                  </a:lnTo>
                  <a:lnTo>
                    <a:pt x="624129" y="82201"/>
                  </a:lnTo>
                  <a:lnTo>
                    <a:pt x="634513" y="90084"/>
                  </a:lnTo>
                  <a:lnTo>
                    <a:pt x="635665" y="93462"/>
                  </a:lnTo>
                  <a:lnTo>
                    <a:pt x="632205" y="93462"/>
                  </a:lnTo>
                  <a:lnTo>
                    <a:pt x="618361" y="105848"/>
                  </a:lnTo>
                  <a:lnTo>
                    <a:pt x="618361" y="108100"/>
                  </a:lnTo>
                  <a:lnTo>
                    <a:pt x="621821" y="110353"/>
                  </a:lnTo>
                  <a:lnTo>
                    <a:pt x="619515" y="118235"/>
                  </a:lnTo>
                  <a:lnTo>
                    <a:pt x="611438" y="120487"/>
                  </a:lnTo>
                  <a:lnTo>
                    <a:pt x="620669" y="130621"/>
                  </a:lnTo>
                  <a:lnTo>
                    <a:pt x="622976" y="143008"/>
                  </a:lnTo>
                  <a:lnTo>
                    <a:pt x="612593" y="152016"/>
                  </a:lnTo>
                  <a:lnTo>
                    <a:pt x="609132" y="153141"/>
                  </a:lnTo>
                  <a:lnTo>
                    <a:pt x="613747" y="170033"/>
                  </a:lnTo>
                  <a:lnTo>
                    <a:pt x="618362" y="174537"/>
                  </a:lnTo>
                  <a:lnTo>
                    <a:pt x="602210" y="175663"/>
                  </a:lnTo>
                  <a:lnTo>
                    <a:pt x="582597" y="203814"/>
                  </a:lnTo>
                  <a:lnTo>
                    <a:pt x="580291" y="227460"/>
                  </a:lnTo>
                  <a:lnTo>
                    <a:pt x="595288" y="240974"/>
                  </a:lnTo>
                  <a:lnTo>
                    <a:pt x="589520" y="244351"/>
                  </a:lnTo>
                  <a:lnTo>
                    <a:pt x="589520" y="248856"/>
                  </a:lnTo>
                  <a:lnTo>
                    <a:pt x="583752" y="251108"/>
                  </a:lnTo>
                  <a:lnTo>
                    <a:pt x="576828" y="251108"/>
                  </a:lnTo>
                  <a:lnTo>
                    <a:pt x="562985" y="260116"/>
                  </a:lnTo>
                  <a:lnTo>
                    <a:pt x="559525" y="270251"/>
                  </a:lnTo>
                  <a:lnTo>
                    <a:pt x="553757" y="275881"/>
                  </a:lnTo>
                  <a:lnTo>
                    <a:pt x="552603" y="279259"/>
                  </a:lnTo>
                  <a:lnTo>
                    <a:pt x="545680" y="277006"/>
                  </a:lnTo>
                  <a:lnTo>
                    <a:pt x="537605" y="272503"/>
                  </a:lnTo>
                  <a:lnTo>
                    <a:pt x="534144" y="277007"/>
                  </a:lnTo>
                  <a:lnTo>
                    <a:pt x="532991" y="284889"/>
                  </a:lnTo>
                  <a:lnTo>
                    <a:pt x="536451" y="296150"/>
                  </a:lnTo>
                  <a:lnTo>
                    <a:pt x="536451" y="310788"/>
                  </a:lnTo>
                  <a:lnTo>
                    <a:pt x="534143" y="356956"/>
                  </a:lnTo>
                  <a:lnTo>
                    <a:pt x="535298" y="363712"/>
                  </a:lnTo>
                  <a:lnTo>
                    <a:pt x="529529" y="362586"/>
                  </a:lnTo>
                  <a:lnTo>
                    <a:pt x="524914" y="363712"/>
                  </a:lnTo>
                  <a:lnTo>
                    <a:pt x="487998" y="359208"/>
                  </a:lnTo>
                  <a:lnTo>
                    <a:pt x="485690" y="381729"/>
                  </a:lnTo>
                  <a:lnTo>
                    <a:pt x="438390" y="392989"/>
                  </a:lnTo>
                  <a:lnTo>
                    <a:pt x="424546" y="368216"/>
                  </a:lnTo>
                  <a:lnTo>
                    <a:pt x="424547" y="362586"/>
                  </a:lnTo>
                  <a:lnTo>
                    <a:pt x="421085" y="360334"/>
                  </a:lnTo>
                  <a:lnTo>
                    <a:pt x="411856" y="343443"/>
                  </a:lnTo>
                  <a:lnTo>
                    <a:pt x="408396" y="340066"/>
                  </a:lnTo>
                  <a:lnTo>
                    <a:pt x="354174" y="373847"/>
                  </a:lnTo>
                  <a:lnTo>
                    <a:pt x="318411" y="414385"/>
                  </a:lnTo>
                  <a:lnTo>
                    <a:pt x="335715" y="435779"/>
                  </a:lnTo>
                  <a:lnTo>
                    <a:pt x="331100" y="442535"/>
                  </a:lnTo>
                  <a:lnTo>
                    <a:pt x="343791" y="451543"/>
                  </a:lnTo>
                  <a:lnTo>
                    <a:pt x="338023" y="458299"/>
                  </a:lnTo>
                  <a:lnTo>
                    <a:pt x="338022" y="462804"/>
                  </a:lnTo>
                  <a:lnTo>
                    <a:pt x="332255" y="466182"/>
                  </a:lnTo>
                  <a:lnTo>
                    <a:pt x="328792" y="462804"/>
                  </a:lnTo>
                  <a:lnTo>
                    <a:pt x="318410" y="470686"/>
                  </a:lnTo>
                  <a:lnTo>
                    <a:pt x="313796" y="463930"/>
                  </a:lnTo>
                  <a:lnTo>
                    <a:pt x="305720" y="466182"/>
                  </a:lnTo>
                  <a:lnTo>
                    <a:pt x="273418" y="460552"/>
                  </a:lnTo>
                  <a:lnTo>
                    <a:pt x="266495" y="462804"/>
                  </a:lnTo>
                  <a:lnTo>
                    <a:pt x="273418" y="468433"/>
                  </a:lnTo>
                  <a:lnTo>
                    <a:pt x="281493" y="499963"/>
                  </a:lnTo>
                  <a:lnTo>
                    <a:pt x="271111" y="502216"/>
                  </a:lnTo>
                  <a:lnTo>
                    <a:pt x="266495" y="504468"/>
                  </a:lnTo>
                  <a:lnTo>
                    <a:pt x="251498" y="499963"/>
                  </a:lnTo>
                  <a:lnTo>
                    <a:pt x="235347" y="488703"/>
                  </a:lnTo>
                  <a:lnTo>
                    <a:pt x="223809" y="474064"/>
                  </a:lnTo>
                  <a:lnTo>
                    <a:pt x="219195" y="471812"/>
                  </a:lnTo>
                  <a:lnTo>
                    <a:pt x="218043" y="472938"/>
                  </a:lnTo>
                  <a:lnTo>
                    <a:pt x="214581" y="467308"/>
                  </a:lnTo>
                  <a:lnTo>
                    <a:pt x="212274" y="467308"/>
                  </a:lnTo>
                  <a:lnTo>
                    <a:pt x="211119" y="468434"/>
                  </a:lnTo>
                  <a:lnTo>
                    <a:pt x="208813" y="465057"/>
                  </a:lnTo>
                  <a:lnTo>
                    <a:pt x="206505" y="466182"/>
                  </a:lnTo>
                  <a:lnTo>
                    <a:pt x="202955" y="463584"/>
                  </a:lnTo>
                  <a:lnTo>
                    <a:pt x="205352" y="462804"/>
                  </a:lnTo>
                  <a:lnTo>
                    <a:pt x="203044" y="458299"/>
                  </a:lnTo>
                  <a:lnTo>
                    <a:pt x="199583" y="458300"/>
                  </a:lnTo>
                  <a:lnTo>
                    <a:pt x="203043" y="457174"/>
                  </a:lnTo>
                  <a:lnTo>
                    <a:pt x="203043" y="456048"/>
                  </a:lnTo>
                  <a:lnTo>
                    <a:pt x="198430" y="453796"/>
                  </a:lnTo>
                  <a:lnTo>
                    <a:pt x="197277" y="458299"/>
                  </a:lnTo>
                  <a:lnTo>
                    <a:pt x="198430" y="452669"/>
                  </a:lnTo>
                  <a:lnTo>
                    <a:pt x="194969" y="445913"/>
                  </a:lnTo>
                  <a:lnTo>
                    <a:pt x="192662" y="442535"/>
                  </a:lnTo>
                  <a:lnTo>
                    <a:pt x="193815" y="441409"/>
                  </a:lnTo>
                  <a:lnTo>
                    <a:pt x="193815" y="442535"/>
                  </a:lnTo>
                  <a:lnTo>
                    <a:pt x="197276" y="442535"/>
                  </a:lnTo>
                  <a:lnTo>
                    <a:pt x="194969" y="441409"/>
                  </a:lnTo>
                  <a:lnTo>
                    <a:pt x="200737" y="440283"/>
                  </a:lnTo>
                  <a:lnTo>
                    <a:pt x="193815" y="440283"/>
                  </a:lnTo>
                  <a:lnTo>
                    <a:pt x="190354" y="441409"/>
                  </a:lnTo>
                  <a:lnTo>
                    <a:pt x="194969" y="439157"/>
                  </a:lnTo>
                  <a:lnTo>
                    <a:pt x="199583" y="430149"/>
                  </a:lnTo>
                  <a:lnTo>
                    <a:pt x="203044" y="429023"/>
                  </a:lnTo>
                  <a:lnTo>
                    <a:pt x="208813" y="420014"/>
                  </a:lnTo>
                  <a:lnTo>
                    <a:pt x="222657" y="415511"/>
                  </a:lnTo>
                  <a:lnTo>
                    <a:pt x="226117" y="411006"/>
                  </a:lnTo>
                  <a:lnTo>
                    <a:pt x="231885" y="409880"/>
                  </a:lnTo>
                  <a:lnTo>
                    <a:pt x="233040" y="411006"/>
                  </a:lnTo>
                  <a:lnTo>
                    <a:pt x="236500" y="409880"/>
                  </a:lnTo>
                  <a:lnTo>
                    <a:pt x="236500" y="407628"/>
                  </a:lnTo>
                  <a:lnTo>
                    <a:pt x="237654" y="409879"/>
                  </a:lnTo>
                  <a:lnTo>
                    <a:pt x="241114" y="408754"/>
                  </a:lnTo>
                  <a:lnTo>
                    <a:pt x="246883" y="401998"/>
                  </a:lnTo>
                  <a:lnTo>
                    <a:pt x="246884" y="390738"/>
                  </a:lnTo>
                  <a:lnTo>
                    <a:pt x="249190" y="382855"/>
                  </a:lnTo>
                  <a:lnTo>
                    <a:pt x="244577" y="376099"/>
                  </a:lnTo>
                  <a:lnTo>
                    <a:pt x="245730" y="373846"/>
                  </a:lnTo>
                  <a:lnTo>
                    <a:pt x="241114" y="354704"/>
                  </a:lnTo>
                  <a:lnTo>
                    <a:pt x="235347" y="349075"/>
                  </a:lnTo>
                  <a:lnTo>
                    <a:pt x="242269" y="344569"/>
                  </a:lnTo>
                  <a:lnTo>
                    <a:pt x="242269" y="345696"/>
                  </a:lnTo>
                  <a:lnTo>
                    <a:pt x="244577" y="346822"/>
                  </a:lnTo>
                  <a:lnTo>
                    <a:pt x="245619" y="341728"/>
                  </a:lnTo>
                  <a:lnTo>
                    <a:pt x="248037" y="342317"/>
                  </a:lnTo>
                  <a:lnTo>
                    <a:pt x="249191" y="328805"/>
                  </a:lnTo>
                  <a:lnTo>
                    <a:pt x="250345" y="327679"/>
                  </a:lnTo>
                  <a:lnTo>
                    <a:pt x="252652" y="331057"/>
                  </a:lnTo>
                  <a:lnTo>
                    <a:pt x="248037" y="320923"/>
                  </a:lnTo>
                  <a:lnTo>
                    <a:pt x="242269" y="320922"/>
                  </a:lnTo>
                  <a:lnTo>
                    <a:pt x="251498" y="318670"/>
                  </a:lnTo>
                  <a:lnTo>
                    <a:pt x="275725" y="299528"/>
                  </a:lnTo>
                  <a:lnTo>
                    <a:pt x="265343" y="307410"/>
                  </a:lnTo>
                  <a:lnTo>
                    <a:pt x="263035" y="305158"/>
                  </a:lnTo>
                  <a:lnTo>
                    <a:pt x="263035" y="306284"/>
                  </a:lnTo>
                  <a:lnTo>
                    <a:pt x="260438" y="305439"/>
                  </a:lnTo>
                  <a:lnTo>
                    <a:pt x="260727" y="305158"/>
                  </a:lnTo>
                  <a:lnTo>
                    <a:pt x="259573" y="305158"/>
                  </a:lnTo>
                  <a:lnTo>
                    <a:pt x="260438" y="305439"/>
                  </a:lnTo>
                  <a:lnTo>
                    <a:pt x="259573" y="306284"/>
                  </a:lnTo>
                  <a:lnTo>
                    <a:pt x="261881" y="306284"/>
                  </a:lnTo>
                  <a:lnTo>
                    <a:pt x="261881" y="308537"/>
                  </a:lnTo>
                  <a:lnTo>
                    <a:pt x="263035" y="306284"/>
                  </a:lnTo>
                  <a:lnTo>
                    <a:pt x="264187" y="307410"/>
                  </a:lnTo>
                  <a:lnTo>
                    <a:pt x="261881" y="309662"/>
                  </a:lnTo>
                  <a:lnTo>
                    <a:pt x="257267" y="305158"/>
                  </a:lnTo>
                  <a:lnTo>
                    <a:pt x="259573" y="310788"/>
                  </a:lnTo>
                  <a:lnTo>
                    <a:pt x="254960" y="315293"/>
                  </a:lnTo>
                  <a:lnTo>
                    <a:pt x="254960" y="314166"/>
                  </a:lnTo>
                  <a:lnTo>
                    <a:pt x="253805" y="314167"/>
                  </a:lnTo>
                  <a:lnTo>
                    <a:pt x="251498" y="318670"/>
                  </a:lnTo>
                  <a:lnTo>
                    <a:pt x="252652" y="314166"/>
                  </a:lnTo>
                  <a:lnTo>
                    <a:pt x="250345" y="304031"/>
                  </a:lnTo>
                  <a:lnTo>
                    <a:pt x="251497" y="302905"/>
                  </a:lnTo>
                  <a:lnTo>
                    <a:pt x="249191" y="301780"/>
                  </a:lnTo>
                  <a:lnTo>
                    <a:pt x="250345" y="299528"/>
                  </a:lnTo>
                  <a:lnTo>
                    <a:pt x="249191" y="299528"/>
                  </a:lnTo>
                  <a:lnTo>
                    <a:pt x="248037" y="295024"/>
                  </a:lnTo>
                  <a:lnTo>
                    <a:pt x="246884" y="295023"/>
                  </a:lnTo>
                  <a:lnTo>
                    <a:pt x="248037" y="292772"/>
                  </a:lnTo>
                  <a:lnTo>
                    <a:pt x="245730" y="292772"/>
                  </a:lnTo>
                  <a:lnTo>
                    <a:pt x="246884" y="291646"/>
                  </a:lnTo>
                  <a:lnTo>
                    <a:pt x="244576" y="289393"/>
                  </a:lnTo>
                  <a:lnTo>
                    <a:pt x="243423" y="281511"/>
                  </a:lnTo>
                  <a:lnTo>
                    <a:pt x="239961" y="273629"/>
                  </a:lnTo>
                  <a:lnTo>
                    <a:pt x="241115" y="270251"/>
                  </a:lnTo>
                  <a:lnTo>
                    <a:pt x="239961" y="270250"/>
                  </a:lnTo>
                  <a:lnTo>
                    <a:pt x="239961" y="272502"/>
                  </a:lnTo>
                  <a:lnTo>
                    <a:pt x="237654" y="266872"/>
                  </a:lnTo>
                  <a:lnTo>
                    <a:pt x="238719" y="250241"/>
                  </a:lnTo>
                  <a:lnTo>
                    <a:pt x="239577" y="247729"/>
                  </a:lnTo>
                  <a:lnTo>
                    <a:pt x="241115" y="245478"/>
                  </a:lnTo>
                  <a:lnTo>
                    <a:pt x="242269" y="246604"/>
                  </a:lnTo>
                  <a:lnTo>
                    <a:pt x="241114" y="243225"/>
                  </a:lnTo>
                  <a:lnTo>
                    <a:pt x="244576" y="242100"/>
                  </a:lnTo>
                  <a:lnTo>
                    <a:pt x="244577" y="234217"/>
                  </a:lnTo>
                  <a:lnTo>
                    <a:pt x="246883" y="234218"/>
                  </a:lnTo>
                  <a:lnTo>
                    <a:pt x="248038" y="231965"/>
                  </a:lnTo>
                  <a:lnTo>
                    <a:pt x="245730" y="233091"/>
                  </a:lnTo>
                  <a:lnTo>
                    <a:pt x="244577" y="231965"/>
                  </a:lnTo>
                  <a:lnTo>
                    <a:pt x="245730" y="230839"/>
                  </a:lnTo>
                  <a:lnTo>
                    <a:pt x="249190" y="216201"/>
                  </a:lnTo>
                  <a:lnTo>
                    <a:pt x="248038" y="218453"/>
                  </a:lnTo>
                  <a:lnTo>
                    <a:pt x="244576" y="219579"/>
                  </a:lnTo>
                  <a:lnTo>
                    <a:pt x="238808" y="216201"/>
                  </a:lnTo>
                  <a:lnTo>
                    <a:pt x="236500" y="212822"/>
                  </a:lnTo>
                  <a:lnTo>
                    <a:pt x="238807" y="207192"/>
                  </a:lnTo>
                  <a:lnTo>
                    <a:pt x="235347" y="207192"/>
                  </a:lnTo>
                  <a:lnTo>
                    <a:pt x="236501" y="203814"/>
                  </a:lnTo>
                  <a:lnTo>
                    <a:pt x="241115" y="203814"/>
                  </a:lnTo>
                  <a:lnTo>
                    <a:pt x="242269" y="202688"/>
                  </a:lnTo>
                  <a:lnTo>
                    <a:pt x="241114" y="191428"/>
                  </a:lnTo>
                  <a:lnTo>
                    <a:pt x="243423" y="192554"/>
                  </a:lnTo>
                  <a:lnTo>
                    <a:pt x="246884" y="199310"/>
                  </a:lnTo>
                  <a:lnTo>
                    <a:pt x="242268" y="189176"/>
                  </a:lnTo>
                  <a:lnTo>
                    <a:pt x="244576" y="177915"/>
                  </a:lnTo>
                  <a:lnTo>
                    <a:pt x="242269" y="174537"/>
                  </a:lnTo>
                  <a:lnTo>
                    <a:pt x="239961" y="198183"/>
                  </a:lnTo>
                  <a:lnTo>
                    <a:pt x="235346" y="201562"/>
                  </a:lnTo>
                  <a:lnTo>
                    <a:pt x="231885" y="198184"/>
                  </a:lnTo>
                  <a:lnTo>
                    <a:pt x="233040" y="195932"/>
                  </a:lnTo>
                  <a:lnTo>
                    <a:pt x="229578" y="186924"/>
                  </a:lnTo>
                  <a:lnTo>
                    <a:pt x="226118" y="184672"/>
                  </a:lnTo>
                  <a:lnTo>
                    <a:pt x="228426" y="182419"/>
                  </a:lnTo>
                  <a:lnTo>
                    <a:pt x="224963" y="183546"/>
                  </a:lnTo>
                  <a:lnTo>
                    <a:pt x="223810" y="180167"/>
                  </a:lnTo>
                  <a:lnTo>
                    <a:pt x="216888" y="182419"/>
                  </a:lnTo>
                  <a:lnTo>
                    <a:pt x="213428" y="181293"/>
                  </a:lnTo>
                  <a:lnTo>
                    <a:pt x="214581" y="180167"/>
                  </a:lnTo>
                  <a:lnTo>
                    <a:pt x="213428" y="179041"/>
                  </a:lnTo>
                  <a:lnTo>
                    <a:pt x="213428" y="181293"/>
                  </a:lnTo>
                  <a:lnTo>
                    <a:pt x="212273" y="179041"/>
                  </a:lnTo>
                  <a:lnTo>
                    <a:pt x="219196" y="174537"/>
                  </a:lnTo>
                  <a:lnTo>
                    <a:pt x="216889" y="168907"/>
                  </a:lnTo>
                  <a:lnTo>
                    <a:pt x="218042" y="168906"/>
                  </a:lnTo>
                  <a:lnTo>
                    <a:pt x="216889" y="165528"/>
                  </a:lnTo>
                  <a:lnTo>
                    <a:pt x="215734" y="164403"/>
                  </a:lnTo>
                  <a:lnTo>
                    <a:pt x="212274" y="165529"/>
                  </a:lnTo>
                  <a:lnTo>
                    <a:pt x="211119" y="163276"/>
                  </a:lnTo>
                  <a:lnTo>
                    <a:pt x="224963" y="163276"/>
                  </a:lnTo>
                  <a:lnTo>
                    <a:pt x="224964" y="165528"/>
                  </a:lnTo>
                  <a:lnTo>
                    <a:pt x="224964" y="166655"/>
                  </a:lnTo>
                  <a:lnTo>
                    <a:pt x="228425" y="166655"/>
                  </a:lnTo>
                  <a:lnTo>
                    <a:pt x="228425" y="163276"/>
                  </a:lnTo>
                  <a:lnTo>
                    <a:pt x="230733" y="163277"/>
                  </a:lnTo>
                  <a:lnTo>
                    <a:pt x="230733" y="167781"/>
                  </a:lnTo>
                  <a:lnTo>
                    <a:pt x="228425" y="168906"/>
                  </a:lnTo>
                  <a:lnTo>
                    <a:pt x="231885" y="167781"/>
                  </a:lnTo>
                  <a:lnTo>
                    <a:pt x="231885" y="172284"/>
                  </a:lnTo>
                  <a:lnTo>
                    <a:pt x="233039" y="168906"/>
                  </a:lnTo>
                  <a:lnTo>
                    <a:pt x="231886" y="163276"/>
                  </a:lnTo>
                  <a:lnTo>
                    <a:pt x="235347" y="168907"/>
                  </a:lnTo>
                  <a:lnTo>
                    <a:pt x="234194" y="171158"/>
                  </a:lnTo>
                  <a:lnTo>
                    <a:pt x="237654" y="172284"/>
                  </a:lnTo>
                  <a:lnTo>
                    <a:pt x="239962" y="170033"/>
                  </a:lnTo>
                  <a:lnTo>
                    <a:pt x="236500" y="170033"/>
                  </a:lnTo>
                  <a:lnTo>
                    <a:pt x="236500" y="167781"/>
                  </a:lnTo>
                  <a:lnTo>
                    <a:pt x="234193" y="163276"/>
                  </a:lnTo>
                  <a:lnTo>
                    <a:pt x="236501" y="163276"/>
                  </a:lnTo>
                  <a:lnTo>
                    <a:pt x="238808" y="168907"/>
                  </a:lnTo>
                  <a:lnTo>
                    <a:pt x="237653" y="163276"/>
                  </a:lnTo>
                  <a:lnTo>
                    <a:pt x="243423" y="168906"/>
                  </a:lnTo>
                  <a:lnTo>
                    <a:pt x="242268" y="163276"/>
                  </a:lnTo>
                  <a:lnTo>
                    <a:pt x="233040" y="152016"/>
                  </a:lnTo>
                  <a:lnTo>
                    <a:pt x="231886" y="152016"/>
                  </a:lnTo>
                  <a:lnTo>
                    <a:pt x="233040" y="150890"/>
                  </a:lnTo>
                  <a:lnTo>
                    <a:pt x="229579" y="144133"/>
                  </a:lnTo>
                  <a:lnTo>
                    <a:pt x="230733" y="133999"/>
                  </a:lnTo>
                  <a:lnTo>
                    <a:pt x="227270" y="124991"/>
                  </a:lnTo>
                  <a:lnTo>
                    <a:pt x="223809" y="115982"/>
                  </a:lnTo>
                  <a:lnTo>
                    <a:pt x="218042" y="102470"/>
                  </a:lnTo>
                  <a:lnTo>
                    <a:pt x="212273" y="104722"/>
                  </a:lnTo>
                  <a:lnTo>
                    <a:pt x="189201" y="126117"/>
                  </a:lnTo>
                  <a:lnTo>
                    <a:pt x="176511" y="134000"/>
                  </a:lnTo>
                  <a:lnTo>
                    <a:pt x="177664" y="146386"/>
                  </a:lnTo>
                  <a:lnTo>
                    <a:pt x="173049" y="124991"/>
                  </a:lnTo>
                  <a:lnTo>
                    <a:pt x="176510" y="129495"/>
                  </a:lnTo>
                  <a:lnTo>
                    <a:pt x="185739" y="126117"/>
                  </a:lnTo>
                  <a:lnTo>
                    <a:pt x="216889" y="96840"/>
                  </a:lnTo>
                  <a:lnTo>
                    <a:pt x="220349" y="91209"/>
                  </a:lnTo>
                  <a:lnTo>
                    <a:pt x="221502" y="81075"/>
                  </a:lnTo>
                  <a:lnTo>
                    <a:pt x="218042" y="75445"/>
                  </a:lnTo>
                  <a:lnTo>
                    <a:pt x="235347" y="65311"/>
                  </a:lnTo>
                  <a:lnTo>
                    <a:pt x="235347" y="64184"/>
                  </a:lnTo>
                  <a:lnTo>
                    <a:pt x="241115" y="59681"/>
                  </a:lnTo>
                  <a:lnTo>
                    <a:pt x="246883" y="40537"/>
                  </a:lnTo>
                  <a:lnTo>
                    <a:pt x="251498" y="3378"/>
                  </a:lnTo>
                  <a:lnTo>
                    <a:pt x="252652" y="1126"/>
                  </a:lnTo>
                  <a:lnTo>
                    <a:pt x="257267" y="4504"/>
                  </a:lnTo>
                  <a:close/>
                </a:path>
              </a:pathLst>
            </a:custGeom>
            <a:solidFill>
              <a:srgbClr val="EC6224"/>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100" name="Waadhoeke">
              <a:extLst>
                <a:ext uri="{FF2B5EF4-FFF2-40B4-BE49-F238E27FC236}">
                  <a16:creationId xmlns:a16="http://schemas.microsoft.com/office/drawing/2014/main" id="{67BCD715-BB17-4470-9CE8-D941128BC269}"/>
                </a:ext>
              </a:extLst>
            </p:cNvPr>
            <p:cNvSpPr/>
            <p:nvPr/>
          </p:nvSpPr>
          <p:spPr>
            <a:xfrm rot="1117178">
              <a:off x="6314103" y="1486177"/>
              <a:ext cx="294831" cy="374900"/>
            </a:xfrm>
            <a:custGeom>
              <a:avLst/>
              <a:gdLst>
                <a:gd name="connsiteX0" fmla="*/ 0 w 310672"/>
                <a:gd name="connsiteY0" fmla="*/ 285562 h 386406"/>
                <a:gd name="connsiteX1" fmla="*/ 1813 w 310672"/>
                <a:gd name="connsiteY1" fmla="*/ 287328 h 386406"/>
                <a:gd name="connsiteX2" fmla="*/ 360 w 310672"/>
                <a:gd name="connsiteY2" fmla="*/ 286629 h 386406"/>
                <a:gd name="connsiteX3" fmla="*/ 83456 w 310672"/>
                <a:gd name="connsiteY3" fmla="*/ 168326 h 386406"/>
                <a:gd name="connsiteX4" fmla="*/ 79046 w 310672"/>
                <a:gd name="connsiteY4" fmla="*/ 170837 h 386406"/>
                <a:gd name="connsiteX5" fmla="*/ 79443 w 310672"/>
                <a:gd name="connsiteY5" fmla="*/ 170866 h 386406"/>
                <a:gd name="connsiteX6" fmla="*/ 68187 w 310672"/>
                <a:gd name="connsiteY6" fmla="*/ 166353 h 386406"/>
                <a:gd name="connsiteX7" fmla="*/ 70711 w 310672"/>
                <a:gd name="connsiteY7" fmla="*/ 170243 h 386406"/>
                <a:gd name="connsiteX8" fmla="*/ 75948 w 310672"/>
                <a:gd name="connsiteY8" fmla="*/ 170617 h 386406"/>
                <a:gd name="connsiteX9" fmla="*/ 70351 w 310672"/>
                <a:gd name="connsiteY9" fmla="*/ 169176 h 386406"/>
                <a:gd name="connsiteX10" fmla="*/ 205698 w 310672"/>
                <a:gd name="connsiteY10" fmla="*/ 0 h 386406"/>
                <a:gd name="connsiteX11" fmla="*/ 215449 w 310672"/>
                <a:gd name="connsiteY11" fmla="*/ 18102 h 386406"/>
                <a:gd name="connsiteX12" fmla="*/ 217591 w 310672"/>
                <a:gd name="connsiteY12" fmla="*/ 28074 h 386406"/>
                <a:gd name="connsiteX13" fmla="*/ 224526 w 310672"/>
                <a:gd name="connsiteY13" fmla="*/ 23362 h 386406"/>
                <a:gd name="connsiteX14" fmla="*/ 246362 w 310672"/>
                <a:gd name="connsiteY14" fmla="*/ 23134 h 386406"/>
                <a:gd name="connsiteX15" fmla="*/ 245973 w 310672"/>
                <a:gd name="connsiteY15" fmla="*/ 29206 h 386406"/>
                <a:gd name="connsiteX16" fmla="*/ 241556 w 310672"/>
                <a:gd name="connsiteY16" fmla="*/ 41389 h 386406"/>
                <a:gd name="connsiteX17" fmla="*/ 242216 w 310672"/>
                <a:gd name="connsiteY17" fmla="*/ 57801 h 386406"/>
                <a:gd name="connsiteX18" fmla="*/ 237843 w 310672"/>
                <a:gd name="connsiteY18" fmla="*/ 59275 h 386406"/>
                <a:gd name="connsiteX19" fmla="*/ 237440 w 310672"/>
                <a:gd name="connsiteY19" fmla="*/ 68916 h 386406"/>
                <a:gd name="connsiteX20" fmla="*/ 236346 w 310672"/>
                <a:gd name="connsiteY20" fmla="*/ 69285 h 386406"/>
                <a:gd name="connsiteX21" fmla="*/ 235972 w 310672"/>
                <a:gd name="connsiteY21" fmla="*/ 71788 h 386406"/>
                <a:gd name="connsiteX22" fmla="*/ 238159 w 310672"/>
                <a:gd name="connsiteY22" fmla="*/ 71051 h 386406"/>
                <a:gd name="connsiteX23" fmla="*/ 237006 w 310672"/>
                <a:gd name="connsiteY23" fmla="*/ 85698 h 386406"/>
                <a:gd name="connsiteX24" fmla="*/ 238444 w 310672"/>
                <a:gd name="connsiteY24" fmla="*/ 89966 h 386406"/>
                <a:gd name="connsiteX25" fmla="*/ 238070 w 310672"/>
                <a:gd name="connsiteY25" fmla="*/ 92468 h 386406"/>
                <a:gd name="connsiteX26" fmla="*/ 242414 w 310672"/>
                <a:gd name="connsiteY26" fmla="*/ 98134 h 386406"/>
                <a:gd name="connsiteX27" fmla="*/ 258769 w 310672"/>
                <a:gd name="connsiteY27" fmla="*/ 103319 h 386406"/>
                <a:gd name="connsiteX28" fmla="*/ 255460 w 310672"/>
                <a:gd name="connsiteY28" fmla="*/ 111563 h 386406"/>
                <a:gd name="connsiteX29" fmla="*/ 265600 w 310672"/>
                <a:gd name="connsiteY29" fmla="*/ 123593 h 386406"/>
                <a:gd name="connsiteX30" fmla="*/ 267398 w 310672"/>
                <a:gd name="connsiteY30" fmla="*/ 128929 h 386406"/>
                <a:gd name="connsiteX31" fmla="*/ 265553 w 310672"/>
                <a:gd name="connsiteY31" fmla="*/ 129876 h 386406"/>
                <a:gd name="connsiteX32" fmla="*/ 279005 w 310672"/>
                <a:gd name="connsiteY32" fmla="*/ 138090 h 386406"/>
                <a:gd name="connsiteX33" fmla="*/ 269121 w 310672"/>
                <a:gd name="connsiteY33" fmla="*/ 152113 h 386406"/>
                <a:gd name="connsiteX34" fmla="*/ 278571 w 310672"/>
                <a:gd name="connsiteY34" fmla="*/ 154870 h 386406"/>
                <a:gd name="connsiteX35" fmla="*/ 273824 w 310672"/>
                <a:gd name="connsiteY35" fmla="*/ 158846 h 386406"/>
                <a:gd name="connsiteX36" fmla="*/ 283561 w 310672"/>
                <a:gd name="connsiteY36" fmla="*/ 180519 h 386406"/>
                <a:gd name="connsiteX37" fmla="*/ 295947 w 310672"/>
                <a:gd name="connsiteY37" fmla="*/ 177534 h 386406"/>
                <a:gd name="connsiteX38" fmla="*/ 295918 w 310672"/>
                <a:gd name="connsiteY38" fmla="*/ 184673 h 386406"/>
                <a:gd name="connsiteX39" fmla="*/ 286078 w 310672"/>
                <a:gd name="connsiteY39" fmla="*/ 187988 h 386406"/>
                <a:gd name="connsiteX40" fmla="*/ 290781 w 310672"/>
                <a:gd name="connsiteY40" fmla="*/ 194722 h 386406"/>
                <a:gd name="connsiteX41" fmla="*/ 291874 w 310672"/>
                <a:gd name="connsiteY41" fmla="*/ 194354 h 386406"/>
                <a:gd name="connsiteX42" fmla="*/ 303108 w 310672"/>
                <a:gd name="connsiteY42" fmla="*/ 206015 h 386406"/>
                <a:gd name="connsiteX43" fmla="*/ 301971 w 310672"/>
                <a:gd name="connsiteY43" fmla="*/ 217093 h 386406"/>
                <a:gd name="connsiteX44" fmla="*/ 304157 w 310672"/>
                <a:gd name="connsiteY44" fmla="*/ 216357 h 386406"/>
                <a:gd name="connsiteX45" fmla="*/ 306300 w 310672"/>
                <a:gd name="connsiteY45" fmla="*/ 226328 h 386406"/>
                <a:gd name="connsiteX46" fmla="*/ 310672 w 310672"/>
                <a:gd name="connsiteY46" fmla="*/ 224855 h 386406"/>
                <a:gd name="connsiteX47" fmla="*/ 309550 w 310672"/>
                <a:gd name="connsiteY47" fmla="*/ 232362 h 386406"/>
                <a:gd name="connsiteX48" fmla="*/ 309850 w 310672"/>
                <a:gd name="connsiteY48" fmla="*/ 247709 h 386406"/>
                <a:gd name="connsiteX49" fmla="*/ 308009 w 310672"/>
                <a:gd name="connsiteY49" fmla="*/ 253082 h 386406"/>
                <a:gd name="connsiteX50" fmla="*/ 305103 w 310672"/>
                <a:gd name="connsiteY50" fmla="*/ 251685 h 386406"/>
                <a:gd name="connsiteX51" fmla="*/ 302543 w 310672"/>
                <a:gd name="connsiteY51" fmla="*/ 254923 h 386406"/>
                <a:gd name="connsiteX52" fmla="*/ 303262 w 310672"/>
                <a:gd name="connsiteY52" fmla="*/ 257058 h 386406"/>
                <a:gd name="connsiteX53" fmla="*/ 301060 w 310672"/>
                <a:gd name="connsiteY53" fmla="*/ 261364 h 386406"/>
                <a:gd name="connsiteX54" fmla="*/ 297810 w 310672"/>
                <a:gd name="connsiteY54" fmla="*/ 255330 h 386406"/>
                <a:gd name="connsiteX55" fmla="*/ 294530 w 310672"/>
                <a:gd name="connsiteY55" fmla="*/ 256435 h 386406"/>
                <a:gd name="connsiteX56" fmla="*/ 293063 w 310672"/>
                <a:gd name="connsiteY56" fmla="*/ 259306 h 386406"/>
                <a:gd name="connsiteX57" fmla="*/ 285454 w 310672"/>
                <a:gd name="connsiteY57" fmla="*/ 251175 h 386406"/>
                <a:gd name="connsiteX58" fmla="*/ 279973 w 310672"/>
                <a:gd name="connsiteY58" fmla="*/ 256587 h 386406"/>
                <a:gd name="connsiteX59" fmla="*/ 273054 w 310672"/>
                <a:gd name="connsiteY59" fmla="*/ 257730 h 386406"/>
                <a:gd name="connsiteX60" fmla="*/ 268710 w 310672"/>
                <a:gd name="connsiteY60" fmla="*/ 252064 h 386406"/>
                <a:gd name="connsiteX61" fmla="*/ 263258 w 310672"/>
                <a:gd name="connsiteY61" fmla="*/ 250335 h 386406"/>
                <a:gd name="connsiteX62" fmla="*/ 257791 w 310672"/>
                <a:gd name="connsiteY62" fmla="*/ 252177 h 386406"/>
                <a:gd name="connsiteX63" fmla="*/ 255620 w 310672"/>
                <a:gd name="connsiteY63" fmla="*/ 249344 h 386406"/>
                <a:gd name="connsiteX64" fmla="*/ 250499 w 310672"/>
                <a:gd name="connsiteY64" fmla="*/ 255824 h 386406"/>
                <a:gd name="connsiteX65" fmla="*/ 249750 w 310672"/>
                <a:gd name="connsiteY65" fmla="*/ 260827 h 386406"/>
                <a:gd name="connsiteX66" fmla="*/ 246845 w 310672"/>
                <a:gd name="connsiteY66" fmla="*/ 259431 h 386406"/>
                <a:gd name="connsiteX67" fmla="*/ 243895 w 310672"/>
                <a:gd name="connsiteY67" fmla="*/ 268742 h 386406"/>
                <a:gd name="connsiteX68" fmla="*/ 241723 w 310672"/>
                <a:gd name="connsiteY68" fmla="*/ 265909 h 386406"/>
                <a:gd name="connsiteX69" fmla="*/ 239536 w 310672"/>
                <a:gd name="connsiteY69" fmla="*/ 266646 h 386406"/>
                <a:gd name="connsiteX70" fmla="*/ 238039 w 310672"/>
                <a:gd name="connsiteY70" fmla="*/ 276656 h 386406"/>
                <a:gd name="connsiteX71" fmla="*/ 232184 w 310672"/>
                <a:gd name="connsiteY71" fmla="*/ 284570 h 386406"/>
                <a:gd name="connsiteX72" fmla="*/ 216548 w 310672"/>
                <a:gd name="connsiteY72" fmla="*/ 281520 h 386406"/>
                <a:gd name="connsiteX73" fmla="*/ 214347 w 310672"/>
                <a:gd name="connsiteY73" fmla="*/ 285827 h 386406"/>
                <a:gd name="connsiteX74" fmla="*/ 211442 w 310672"/>
                <a:gd name="connsiteY74" fmla="*/ 284429 h 386406"/>
                <a:gd name="connsiteX75" fmla="*/ 211786 w 310672"/>
                <a:gd name="connsiteY75" fmla="*/ 289066 h 386406"/>
                <a:gd name="connsiteX76" fmla="*/ 206335 w 310672"/>
                <a:gd name="connsiteY76" fmla="*/ 287338 h 386406"/>
                <a:gd name="connsiteX77" fmla="*/ 202681 w 310672"/>
                <a:gd name="connsiteY77" fmla="*/ 290945 h 386406"/>
                <a:gd name="connsiteX78" fmla="*/ 195057 w 310672"/>
                <a:gd name="connsiteY78" fmla="*/ 286385 h 386406"/>
                <a:gd name="connsiteX79" fmla="*/ 196165 w 310672"/>
                <a:gd name="connsiteY79" fmla="*/ 282447 h 386406"/>
                <a:gd name="connsiteX80" fmla="*/ 180529 w 310672"/>
                <a:gd name="connsiteY80" fmla="*/ 279398 h 386406"/>
                <a:gd name="connsiteX81" fmla="*/ 181636 w 310672"/>
                <a:gd name="connsiteY81" fmla="*/ 275459 h 386406"/>
                <a:gd name="connsiteX82" fmla="*/ 176342 w 310672"/>
                <a:gd name="connsiteY82" fmla="*/ 273781 h 386406"/>
                <a:gd name="connsiteX83" fmla="*/ 164116 w 310672"/>
                <a:gd name="connsiteY83" fmla="*/ 288492 h 386406"/>
                <a:gd name="connsiteX84" fmla="*/ 165569 w 310672"/>
                <a:gd name="connsiteY84" fmla="*/ 289191 h 386406"/>
                <a:gd name="connsiteX85" fmla="*/ 164102 w 310672"/>
                <a:gd name="connsiteY85" fmla="*/ 292061 h 386406"/>
                <a:gd name="connsiteX86" fmla="*/ 165913 w 310672"/>
                <a:gd name="connsiteY86" fmla="*/ 293827 h 386406"/>
                <a:gd name="connsiteX87" fmla="*/ 165180 w 310672"/>
                <a:gd name="connsiteY87" fmla="*/ 295263 h 386406"/>
                <a:gd name="connsiteX88" fmla="*/ 166992 w 310672"/>
                <a:gd name="connsiteY88" fmla="*/ 297029 h 386406"/>
                <a:gd name="connsiteX89" fmla="*/ 163698 w 310672"/>
                <a:gd name="connsiteY89" fmla="*/ 301703 h 386406"/>
                <a:gd name="connsiteX90" fmla="*/ 163683 w 310672"/>
                <a:gd name="connsiteY90" fmla="*/ 305273 h 386406"/>
                <a:gd name="connsiteX91" fmla="*/ 162230 w 310672"/>
                <a:gd name="connsiteY91" fmla="*/ 304575 h 386406"/>
                <a:gd name="connsiteX92" fmla="*/ 161856 w 310672"/>
                <a:gd name="connsiteY92" fmla="*/ 307076 h 386406"/>
                <a:gd name="connsiteX93" fmla="*/ 160403 w 310672"/>
                <a:gd name="connsiteY93" fmla="*/ 306378 h 386406"/>
                <a:gd name="connsiteX94" fmla="*/ 162575 w 310672"/>
                <a:gd name="connsiteY94" fmla="*/ 309211 h 386406"/>
                <a:gd name="connsiteX95" fmla="*/ 161841 w 310672"/>
                <a:gd name="connsiteY95" fmla="*/ 310647 h 386406"/>
                <a:gd name="connsiteX96" fmla="*/ 162186 w 310672"/>
                <a:gd name="connsiteY96" fmla="*/ 315284 h 386406"/>
                <a:gd name="connsiteX97" fmla="*/ 171652 w 310672"/>
                <a:gd name="connsiteY97" fmla="*/ 314471 h 386406"/>
                <a:gd name="connsiteX98" fmla="*/ 172730 w 310672"/>
                <a:gd name="connsiteY98" fmla="*/ 317672 h 386406"/>
                <a:gd name="connsiteX99" fmla="*/ 176010 w 310672"/>
                <a:gd name="connsiteY99" fmla="*/ 316567 h 386406"/>
                <a:gd name="connsiteX100" fmla="*/ 181417 w 310672"/>
                <a:gd name="connsiteY100" fmla="*/ 329004 h 386406"/>
                <a:gd name="connsiteX101" fmla="*/ 187617 w 310672"/>
                <a:gd name="connsiteY101" fmla="*/ 325727 h 386406"/>
                <a:gd name="connsiteX102" fmla="*/ 197038 w 310672"/>
                <a:gd name="connsiteY102" fmla="*/ 335623 h 386406"/>
                <a:gd name="connsiteX103" fmla="*/ 195571 w 310672"/>
                <a:gd name="connsiteY103" fmla="*/ 338494 h 386406"/>
                <a:gd name="connsiteX104" fmla="*/ 195211 w 310672"/>
                <a:gd name="connsiteY104" fmla="*/ 337427 h 386406"/>
                <a:gd name="connsiteX105" fmla="*/ 190839 w 310672"/>
                <a:gd name="connsiteY105" fmla="*/ 338900 h 386406"/>
                <a:gd name="connsiteX106" fmla="*/ 191183 w 310672"/>
                <a:gd name="connsiteY106" fmla="*/ 343537 h 386406"/>
                <a:gd name="connsiteX107" fmla="*/ 182422 w 310672"/>
                <a:gd name="connsiteY107" fmla="*/ 350053 h 386406"/>
                <a:gd name="connsiteX108" fmla="*/ 191124 w 310672"/>
                <a:gd name="connsiteY108" fmla="*/ 357816 h 386406"/>
                <a:gd name="connsiteX109" fmla="*/ 187831 w 310672"/>
                <a:gd name="connsiteY109" fmla="*/ 362490 h 386406"/>
                <a:gd name="connsiteX110" fmla="*/ 182379 w 310672"/>
                <a:gd name="connsiteY110" fmla="*/ 360763 h 386406"/>
                <a:gd name="connsiteX111" fmla="*/ 182753 w 310672"/>
                <a:gd name="connsiteY111" fmla="*/ 358259 h 386406"/>
                <a:gd name="connsiteX112" fmla="*/ 182019 w 310672"/>
                <a:gd name="connsiteY112" fmla="*/ 359696 h 386406"/>
                <a:gd name="connsiteX113" fmla="*/ 173648 w 310672"/>
                <a:gd name="connsiteY113" fmla="*/ 360140 h 386406"/>
                <a:gd name="connsiteX114" fmla="*/ 174352 w 310672"/>
                <a:gd name="connsiteY114" fmla="*/ 365844 h 386406"/>
                <a:gd name="connsiteX115" fmla="*/ 172884 w 310672"/>
                <a:gd name="connsiteY115" fmla="*/ 368714 h 386406"/>
                <a:gd name="connsiteX116" fmla="*/ 163778 w 310672"/>
                <a:gd name="connsiteY116" fmla="*/ 370594 h 386406"/>
                <a:gd name="connsiteX117" fmla="*/ 164512 w 310672"/>
                <a:gd name="connsiteY117" fmla="*/ 369159 h 386406"/>
                <a:gd name="connsiteX118" fmla="*/ 159435 w 310672"/>
                <a:gd name="connsiteY118" fmla="*/ 364928 h 386406"/>
                <a:gd name="connsiteX119" fmla="*/ 155061 w 310672"/>
                <a:gd name="connsiteY119" fmla="*/ 366402 h 386406"/>
                <a:gd name="connsiteX120" fmla="*/ 154687 w 310672"/>
                <a:gd name="connsiteY120" fmla="*/ 368905 h 386406"/>
                <a:gd name="connsiteX121" fmla="*/ 151048 w 310672"/>
                <a:gd name="connsiteY121" fmla="*/ 368941 h 386406"/>
                <a:gd name="connsiteX122" fmla="*/ 145970 w 310672"/>
                <a:gd name="connsiteY122" fmla="*/ 364711 h 386406"/>
                <a:gd name="connsiteX123" fmla="*/ 133614 w 310672"/>
                <a:gd name="connsiteY123" fmla="*/ 360557 h 386406"/>
                <a:gd name="connsiteX124" fmla="*/ 132176 w 310672"/>
                <a:gd name="connsiteY124" fmla="*/ 356288 h 386406"/>
                <a:gd name="connsiteX125" fmla="*/ 123819 w 310672"/>
                <a:gd name="connsiteY125" fmla="*/ 353163 h 386406"/>
                <a:gd name="connsiteX126" fmla="*/ 119791 w 310672"/>
                <a:gd name="connsiteY126" fmla="*/ 359273 h 386406"/>
                <a:gd name="connsiteX127" fmla="*/ 115058 w 310672"/>
                <a:gd name="connsiteY127" fmla="*/ 359679 h 386406"/>
                <a:gd name="connsiteX128" fmla="*/ 106672 w 310672"/>
                <a:gd name="connsiteY128" fmla="*/ 363693 h 386406"/>
                <a:gd name="connsiteX129" fmla="*/ 105938 w 310672"/>
                <a:gd name="connsiteY129" fmla="*/ 365129 h 386406"/>
                <a:gd name="connsiteX130" fmla="*/ 109562 w 310672"/>
                <a:gd name="connsiteY130" fmla="*/ 368660 h 386406"/>
                <a:gd name="connsiteX131" fmla="*/ 108454 w 310672"/>
                <a:gd name="connsiteY131" fmla="*/ 372599 h 386406"/>
                <a:gd name="connsiteX132" fmla="*/ 111359 w 310672"/>
                <a:gd name="connsiteY132" fmla="*/ 373996 h 386406"/>
                <a:gd name="connsiteX133" fmla="*/ 105864 w 310672"/>
                <a:gd name="connsiteY133" fmla="*/ 382977 h 386406"/>
                <a:gd name="connsiteX134" fmla="*/ 101866 w 310672"/>
                <a:gd name="connsiteY134" fmla="*/ 381948 h 386406"/>
                <a:gd name="connsiteX135" fmla="*/ 101879 w 310672"/>
                <a:gd name="connsiteY135" fmla="*/ 378378 h 386406"/>
                <a:gd name="connsiteX136" fmla="*/ 100427 w 310672"/>
                <a:gd name="connsiteY136" fmla="*/ 377679 h 386406"/>
                <a:gd name="connsiteX137" fmla="*/ 89883 w 310672"/>
                <a:gd name="connsiteY137" fmla="*/ 375291 h 386406"/>
                <a:gd name="connsiteX138" fmla="*/ 88760 w 310672"/>
                <a:gd name="connsiteY138" fmla="*/ 382798 h 386406"/>
                <a:gd name="connsiteX139" fmla="*/ 85107 w 310672"/>
                <a:gd name="connsiteY139" fmla="*/ 386406 h 386406"/>
                <a:gd name="connsiteX140" fmla="*/ 80748 w 310672"/>
                <a:gd name="connsiteY140" fmla="*/ 384309 h 386406"/>
                <a:gd name="connsiteX141" fmla="*/ 86229 w 310672"/>
                <a:gd name="connsiteY141" fmla="*/ 378898 h 386406"/>
                <a:gd name="connsiteX142" fmla="*/ 75311 w 310672"/>
                <a:gd name="connsiteY142" fmla="*/ 379012 h 386406"/>
                <a:gd name="connsiteX143" fmla="*/ 74966 w 310672"/>
                <a:gd name="connsiteY143" fmla="*/ 374375 h 386406"/>
                <a:gd name="connsiteX144" fmla="*/ 67688 w 310672"/>
                <a:gd name="connsiteY144" fmla="*/ 374451 h 386406"/>
                <a:gd name="connsiteX145" fmla="*/ 67328 w 310672"/>
                <a:gd name="connsiteY145" fmla="*/ 373384 h 386406"/>
                <a:gd name="connsiteX146" fmla="*/ 68811 w 310672"/>
                <a:gd name="connsiteY146" fmla="*/ 366944 h 386406"/>
                <a:gd name="connsiteX147" fmla="*/ 70263 w 310672"/>
                <a:gd name="connsiteY147" fmla="*/ 367643 h 386406"/>
                <a:gd name="connsiteX148" fmla="*/ 69947 w 310672"/>
                <a:gd name="connsiteY148" fmla="*/ 355866 h 386406"/>
                <a:gd name="connsiteX149" fmla="*/ 72193 w 310672"/>
                <a:gd name="connsiteY149" fmla="*/ 340851 h 386406"/>
                <a:gd name="connsiteX150" fmla="*/ 69647 w 310672"/>
                <a:gd name="connsiteY150" fmla="*/ 340521 h 386406"/>
                <a:gd name="connsiteX151" fmla="*/ 68943 w 310672"/>
                <a:gd name="connsiteY151" fmla="*/ 334817 h 386406"/>
                <a:gd name="connsiteX152" fmla="*/ 70770 w 310672"/>
                <a:gd name="connsiteY152" fmla="*/ 333012 h 386406"/>
                <a:gd name="connsiteX153" fmla="*/ 70784 w 310672"/>
                <a:gd name="connsiteY153" fmla="*/ 329443 h 386406"/>
                <a:gd name="connsiteX154" fmla="*/ 74798 w 310672"/>
                <a:gd name="connsiteY154" fmla="*/ 326902 h 386406"/>
                <a:gd name="connsiteX155" fmla="*/ 75561 w 310672"/>
                <a:gd name="connsiteY155" fmla="*/ 318328 h 386406"/>
                <a:gd name="connsiteX156" fmla="*/ 59881 w 310672"/>
                <a:gd name="connsiteY156" fmla="*/ 325987 h 386406"/>
                <a:gd name="connsiteX157" fmla="*/ 59521 w 310672"/>
                <a:gd name="connsiteY157" fmla="*/ 324920 h 386406"/>
                <a:gd name="connsiteX158" fmla="*/ 57438 w 310672"/>
                <a:gd name="connsiteY158" fmla="*/ 300669 h 386406"/>
                <a:gd name="connsiteX159" fmla="*/ 58186 w 310672"/>
                <a:gd name="connsiteY159" fmla="*/ 295664 h 386406"/>
                <a:gd name="connsiteX160" fmla="*/ 60372 w 310672"/>
                <a:gd name="connsiteY160" fmla="*/ 294927 h 386406"/>
                <a:gd name="connsiteX161" fmla="*/ 56777 w 310672"/>
                <a:gd name="connsiteY161" fmla="*/ 284256 h 386406"/>
                <a:gd name="connsiteX162" fmla="*/ 35631 w 310672"/>
                <a:gd name="connsiteY162" fmla="*/ 293758 h 386406"/>
                <a:gd name="connsiteX163" fmla="*/ 30898 w 310672"/>
                <a:gd name="connsiteY163" fmla="*/ 294163 h 386406"/>
                <a:gd name="connsiteX164" fmla="*/ 29086 w 310672"/>
                <a:gd name="connsiteY164" fmla="*/ 292397 h 386406"/>
                <a:gd name="connsiteX165" fmla="*/ 26524 w 310672"/>
                <a:gd name="connsiteY165" fmla="*/ 295637 h 386406"/>
                <a:gd name="connsiteX166" fmla="*/ 22900 w 310672"/>
                <a:gd name="connsiteY166" fmla="*/ 292105 h 386406"/>
                <a:gd name="connsiteX167" fmla="*/ 1453 w 310672"/>
                <a:gd name="connsiteY167" fmla="*/ 286261 h 386406"/>
                <a:gd name="connsiteX168" fmla="*/ 4403 w 310672"/>
                <a:gd name="connsiteY168" fmla="*/ 276949 h 386406"/>
                <a:gd name="connsiteX169" fmla="*/ 3324 w 310672"/>
                <a:gd name="connsiteY169" fmla="*/ 273748 h 386406"/>
                <a:gd name="connsiteX170" fmla="*/ 4777 w 310672"/>
                <a:gd name="connsiteY170" fmla="*/ 274446 h 386406"/>
                <a:gd name="connsiteX171" fmla="*/ 5166 w 310672"/>
                <a:gd name="connsiteY171" fmla="*/ 268374 h 386406"/>
                <a:gd name="connsiteX172" fmla="*/ 7727 w 310672"/>
                <a:gd name="connsiteY172" fmla="*/ 265135 h 386406"/>
                <a:gd name="connsiteX173" fmla="*/ 8834 w 310672"/>
                <a:gd name="connsiteY173" fmla="*/ 261196 h 386406"/>
                <a:gd name="connsiteX174" fmla="*/ 9194 w 310672"/>
                <a:gd name="connsiteY174" fmla="*/ 262264 h 386406"/>
                <a:gd name="connsiteX175" fmla="*/ 12489 w 310672"/>
                <a:gd name="connsiteY175" fmla="*/ 257590 h 386406"/>
                <a:gd name="connsiteX176" fmla="*/ 15050 w 310672"/>
                <a:gd name="connsiteY176" fmla="*/ 254351 h 386406"/>
                <a:gd name="connsiteX177" fmla="*/ 15783 w 310672"/>
                <a:gd name="connsiteY177" fmla="*/ 252914 h 386406"/>
                <a:gd name="connsiteX178" fmla="*/ 15798 w 310672"/>
                <a:gd name="connsiteY178" fmla="*/ 249345 h 386406"/>
                <a:gd name="connsiteX179" fmla="*/ 16517 w 310672"/>
                <a:gd name="connsiteY179" fmla="*/ 251479 h 386406"/>
                <a:gd name="connsiteX180" fmla="*/ 18718 w 310672"/>
                <a:gd name="connsiteY180" fmla="*/ 247174 h 386406"/>
                <a:gd name="connsiteX181" fmla="*/ 19092 w 310672"/>
                <a:gd name="connsiteY181" fmla="*/ 244670 h 386406"/>
                <a:gd name="connsiteX182" fmla="*/ 19466 w 310672"/>
                <a:gd name="connsiteY182" fmla="*/ 242168 h 386406"/>
                <a:gd name="connsiteX183" fmla="*/ 21294 w 310672"/>
                <a:gd name="connsiteY183" fmla="*/ 240364 h 386406"/>
                <a:gd name="connsiteX184" fmla="*/ 21309 w 310672"/>
                <a:gd name="connsiteY184" fmla="*/ 236794 h 386406"/>
                <a:gd name="connsiteX185" fmla="*/ 27163 w 310672"/>
                <a:gd name="connsiteY185" fmla="*/ 228880 h 386406"/>
                <a:gd name="connsiteX186" fmla="*/ 27912 w 310672"/>
                <a:gd name="connsiteY186" fmla="*/ 223876 h 386406"/>
                <a:gd name="connsiteX187" fmla="*/ 34846 w 310672"/>
                <a:gd name="connsiteY187" fmla="*/ 219162 h 386406"/>
                <a:gd name="connsiteX188" fmla="*/ 36313 w 310672"/>
                <a:gd name="connsiteY188" fmla="*/ 216291 h 386406"/>
                <a:gd name="connsiteX189" fmla="*/ 36687 w 310672"/>
                <a:gd name="connsiteY189" fmla="*/ 213789 h 386406"/>
                <a:gd name="connsiteX190" fmla="*/ 39608 w 310672"/>
                <a:gd name="connsiteY190" fmla="*/ 211617 h 386406"/>
                <a:gd name="connsiteX191" fmla="*/ 41435 w 310672"/>
                <a:gd name="connsiteY191" fmla="*/ 209813 h 386406"/>
                <a:gd name="connsiteX192" fmla="*/ 40716 w 310672"/>
                <a:gd name="connsiteY192" fmla="*/ 207679 h 386406"/>
                <a:gd name="connsiteX193" fmla="*/ 42528 w 310672"/>
                <a:gd name="connsiteY193" fmla="*/ 209445 h 386406"/>
                <a:gd name="connsiteX194" fmla="*/ 44355 w 310672"/>
                <a:gd name="connsiteY194" fmla="*/ 207641 h 386406"/>
                <a:gd name="connsiteX195" fmla="*/ 41450 w 310672"/>
                <a:gd name="connsiteY195" fmla="*/ 206243 h 386406"/>
                <a:gd name="connsiteX196" fmla="*/ 43995 w 310672"/>
                <a:gd name="connsiteY196" fmla="*/ 206574 h 386406"/>
                <a:gd name="connsiteX197" fmla="*/ 45823 w 310672"/>
                <a:gd name="connsiteY197" fmla="*/ 204770 h 386406"/>
                <a:gd name="connsiteX198" fmla="*/ 42917 w 310672"/>
                <a:gd name="connsiteY198" fmla="*/ 203373 h 386406"/>
                <a:gd name="connsiteX199" fmla="*/ 45464 w 310672"/>
                <a:gd name="connsiteY199" fmla="*/ 203703 h 386406"/>
                <a:gd name="connsiteX200" fmla="*/ 47290 w 310672"/>
                <a:gd name="connsiteY200" fmla="*/ 201899 h 386406"/>
                <a:gd name="connsiteX201" fmla="*/ 48383 w 310672"/>
                <a:gd name="connsiteY201" fmla="*/ 201531 h 386406"/>
                <a:gd name="connsiteX202" fmla="*/ 50211 w 310672"/>
                <a:gd name="connsiteY202" fmla="*/ 199727 h 386406"/>
                <a:gd name="connsiteX203" fmla="*/ 50945 w 310672"/>
                <a:gd name="connsiteY203" fmla="*/ 198292 h 386406"/>
                <a:gd name="connsiteX204" fmla="*/ 52771 w 310672"/>
                <a:gd name="connsiteY204" fmla="*/ 196488 h 386406"/>
                <a:gd name="connsiteX205" fmla="*/ 53865 w 310672"/>
                <a:gd name="connsiteY205" fmla="*/ 196120 h 386406"/>
                <a:gd name="connsiteX206" fmla="*/ 51693 w 310672"/>
                <a:gd name="connsiteY206" fmla="*/ 193287 h 386406"/>
                <a:gd name="connsiteX207" fmla="*/ 53506 w 310672"/>
                <a:gd name="connsiteY207" fmla="*/ 195052 h 386406"/>
                <a:gd name="connsiteX208" fmla="*/ 56800 w 310672"/>
                <a:gd name="connsiteY208" fmla="*/ 190378 h 386406"/>
                <a:gd name="connsiteX209" fmla="*/ 60454 w 310672"/>
                <a:gd name="connsiteY209" fmla="*/ 186770 h 386406"/>
                <a:gd name="connsiteX210" fmla="*/ 63014 w 310672"/>
                <a:gd name="connsiteY210" fmla="*/ 183530 h 386406"/>
                <a:gd name="connsiteX211" fmla="*/ 65949 w 310672"/>
                <a:gd name="connsiteY211" fmla="*/ 177789 h 386406"/>
                <a:gd name="connsiteX212" fmla="*/ 67057 w 310672"/>
                <a:gd name="connsiteY212" fmla="*/ 173851 h 386406"/>
                <a:gd name="connsiteX213" fmla="*/ 68180 w 310672"/>
                <a:gd name="connsiteY213" fmla="*/ 166345 h 386406"/>
                <a:gd name="connsiteX214" fmla="*/ 68179 w 310672"/>
                <a:gd name="connsiteY214" fmla="*/ 166344 h 386406"/>
                <a:gd name="connsiteX215" fmla="*/ 72597 w 310672"/>
                <a:gd name="connsiteY215" fmla="*/ 154161 h 386406"/>
                <a:gd name="connsiteX216" fmla="*/ 79905 w 310672"/>
                <a:gd name="connsiteY216" fmla="*/ 146946 h 386406"/>
                <a:gd name="connsiteX217" fmla="*/ 80338 w 310672"/>
                <a:gd name="connsiteY217" fmla="*/ 130165 h 386406"/>
                <a:gd name="connsiteX218" fmla="*/ 91359 w 310672"/>
                <a:gd name="connsiteY218" fmla="*/ 105063 h 386406"/>
                <a:gd name="connsiteX219" fmla="*/ 104897 w 310672"/>
                <a:gd name="connsiteY219" fmla="*/ 87432 h 386406"/>
                <a:gd name="connsiteX220" fmla="*/ 120606 w 310672"/>
                <a:gd name="connsiteY220" fmla="*/ 72633 h 386406"/>
                <a:gd name="connsiteX221" fmla="*/ 128633 w 310672"/>
                <a:gd name="connsiteY221" fmla="*/ 67552 h 386406"/>
                <a:gd name="connsiteX222" fmla="*/ 129352 w 310672"/>
                <a:gd name="connsiteY222" fmla="*/ 69686 h 386406"/>
                <a:gd name="connsiteX223" fmla="*/ 131927 w 310672"/>
                <a:gd name="connsiteY223" fmla="*/ 62878 h 386406"/>
                <a:gd name="connsiteX224" fmla="*/ 146184 w 310672"/>
                <a:gd name="connsiteY224" fmla="*/ 47380 h 386406"/>
                <a:gd name="connsiteX225" fmla="*/ 173920 w 310672"/>
                <a:gd name="connsiteY225" fmla="*/ 28529 h 38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310672" h="386406">
                  <a:moveTo>
                    <a:pt x="0" y="285562"/>
                  </a:moveTo>
                  <a:lnTo>
                    <a:pt x="1813" y="287328"/>
                  </a:lnTo>
                  <a:lnTo>
                    <a:pt x="360" y="286629"/>
                  </a:lnTo>
                  <a:close/>
                  <a:moveTo>
                    <a:pt x="83456" y="168326"/>
                  </a:moveTo>
                  <a:lnTo>
                    <a:pt x="79046" y="170837"/>
                  </a:lnTo>
                  <a:lnTo>
                    <a:pt x="79443" y="170866"/>
                  </a:lnTo>
                  <a:close/>
                  <a:moveTo>
                    <a:pt x="68187" y="166353"/>
                  </a:moveTo>
                  <a:lnTo>
                    <a:pt x="70711" y="170243"/>
                  </a:lnTo>
                  <a:lnTo>
                    <a:pt x="75948" y="170617"/>
                  </a:lnTo>
                  <a:lnTo>
                    <a:pt x="70351" y="169176"/>
                  </a:lnTo>
                  <a:close/>
                  <a:moveTo>
                    <a:pt x="205698" y="0"/>
                  </a:moveTo>
                  <a:lnTo>
                    <a:pt x="215449" y="18102"/>
                  </a:lnTo>
                  <a:lnTo>
                    <a:pt x="217591" y="28074"/>
                  </a:lnTo>
                  <a:lnTo>
                    <a:pt x="224526" y="23362"/>
                  </a:lnTo>
                  <a:lnTo>
                    <a:pt x="246362" y="23134"/>
                  </a:lnTo>
                  <a:lnTo>
                    <a:pt x="245973" y="29206"/>
                  </a:lnTo>
                  <a:lnTo>
                    <a:pt x="241556" y="41389"/>
                  </a:lnTo>
                  <a:lnTo>
                    <a:pt x="242216" y="57801"/>
                  </a:lnTo>
                  <a:lnTo>
                    <a:pt x="237843" y="59275"/>
                  </a:lnTo>
                  <a:lnTo>
                    <a:pt x="237440" y="68916"/>
                  </a:lnTo>
                  <a:lnTo>
                    <a:pt x="236346" y="69285"/>
                  </a:lnTo>
                  <a:lnTo>
                    <a:pt x="235972" y="71788"/>
                  </a:lnTo>
                  <a:lnTo>
                    <a:pt x="238159" y="71051"/>
                  </a:lnTo>
                  <a:lnTo>
                    <a:pt x="237006" y="85698"/>
                  </a:lnTo>
                  <a:lnTo>
                    <a:pt x="238444" y="89966"/>
                  </a:lnTo>
                  <a:lnTo>
                    <a:pt x="238070" y="92468"/>
                  </a:lnTo>
                  <a:lnTo>
                    <a:pt x="242414" y="98134"/>
                  </a:lnTo>
                  <a:lnTo>
                    <a:pt x="258769" y="103319"/>
                  </a:lnTo>
                  <a:lnTo>
                    <a:pt x="255460" y="111563"/>
                  </a:lnTo>
                  <a:lnTo>
                    <a:pt x="265600" y="123593"/>
                  </a:lnTo>
                  <a:lnTo>
                    <a:pt x="267398" y="128929"/>
                  </a:lnTo>
                  <a:lnTo>
                    <a:pt x="265553" y="129876"/>
                  </a:lnTo>
                  <a:lnTo>
                    <a:pt x="279005" y="138090"/>
                  </a:lnTo>
                  <a:lnTo>
                    <a:pt x="269121" y="152113"/>
                  </a:lnTo>
                  <a:lnTo>
                    <a:pt x="278571" y="154870"/>
                  </a:lnTo>
                  <a:lnTo>
                    <a:pt x="273824" y="158846"/>
                  </a:lnTo>
                  <a:lnTo>
                    <a:pt x="283561" y="180519"/>
                  </a:lnTo>
                  <a:lnTo>
                    <a:pt x="295947" y="177534"/>
                  </a:lnTo>
                  <a:lnTo>
                    <a:pt x="295918" y="184673"/>
                  </a:lnTo>
                  <a:lnTo>
                    <a:pt x="286078" y="187988"/>
                  </a:lnTo>
                  <a:lnTo>
                    <a:pt x="290781" y="194722"/>
                  </a:lnTo>
                  <a:lnTo>
                    <a:pt x="291874" y="194354"/>
                  </a:lnTo>
                  <a:lnTo>
                    <a:pt x="303108" y="206015"/>
                  </a:lnTo>
                  <a:lnTo>
                    <a:pt x="301971" y="217093"/>
                  </a:lnTo>
                  <a:lnTo>
                    <a:pt x="304157" y="216357"/>
                  </a:lnTo>
                  <a:lnTo>
                    <a:pt x="306300" y="226328"/>
                  </a:lnTo>
                  <a:lnTo>
                    <a:pt x="310672" y="224855"/>
                  </a:lnTo>
                  <a:lnTo>
                    <a:pt x="309550" y="232362"/>
                  </a:lnTo>
                  <a:lnTo>
                    <a:pt x="309850" y="247709"/>
                  </a:lnTo>
                  <a:lnTo>
                    <a:pt x="308009" y="253082"/>
                  </a:lnTo>
                  <a:lnTo>
                    <a:pt x="305103" y="251685"/>
                  </a:lnTo>
                  <a:lnTo>
                    <a:pt x="302543" y="254923"/>
                  </a:lnTo>
                  <a:lnTo>
                    <a:pt x="303262" y="257058"/>
                  </a:lnTo>
                  <a:lnTo>
                    <a:pt x="301060" y="261364"/>
                  </a:lnTo>
                  <a:lnTo>
                    <a:pt x="297810" y="255330"/>
                  </a:lnTo>
                  <a:lnTo>
                    <a:pt x="294530" y="256435"/>
                  </a:lnTo>
                  <a:lnTo>
                    <a:pt x="293063" y="259306"/>
                  </a:lnTo>
                  <a:lnTo>
                    <a:pt x="285454" y="251175"/>
                  </a:lnTo>
                  <a:lnTo>
                    <a:pt x="279973" y="256587"/>
                  </a:lnTo>
                  <a:lnTo>
                    <a:pt x="273054" y="257730"/>
                  </a:lnTo>
                  <a:lnTo>
                    <a:pt x="268710" y="252064"/>
                  </a:lnTo>
                  <a:lnTo>
                    <a:pt x="263258" y="250335"/>
                  </a:lnTo>
                  <a:lnTo>
                    <a:pt x="257791" y="252177"/>
                  </a:lnTo>
                  <a:lnTo>
                    <a:pt x="255620" y="249344"/>
                  </a:lnTo>
                  <a:lnTo>
                    <a:pt x="250499" y="255824"/>
                  </a:lnTo>
                  <a:lnTo>
                    <a:pt x="249750" y="260827"/>
                  </a:lnTo>
                  <a:lnTo>
                    <a:pt x="246845" y="259431"/>
                  </a:lnTo>
                  <a:lnTo>
                    <a:pt x="243895" y="268742"/>
                  </a:lnTo>
                  <a:lnTo>
                    <a:pt x="241723" y="265909"/>
                  </a:lnTo>
                  <a:lnTo>
                    <a:pt x="239536" y="266646"/>
                  </a:lnTo>
                  <a:lnTo>
                    <a:pt x="238039" y="276656"/>
                  </a:lnTo>
                  <a:lnTo>
                    <a:pt x="232184" y="284570"/>
                  </a:lnTo>
                  <a:lnTo>
                    <a:pt x="216548" y="281520"/>
                  </a:lnTo>
                  <a:lnTo>
                    <a:pt x="214347" y="285827"/>
                  </a:lnTo>
                  <a:lnTo>
                    <a:pt x="211442" y="284429"/>
                  </a:lnTo>
                  <a:lnTo>
                    <a:pt x="211786" y="289066"/>
                  </a:lnTo>
                  <a:lnTo>
                    <a:pt x="206335" y="287338"/>
                  </a:lnTo>
                  <a:lnTo>
                    <a:pt x="202681" y="290945"/>
                  </a:lnTo>
                  <a:lnTo>
                    <a:pt x="195057" y="286385"/>
                  </a:lnTo>
                  <a:lnTo>
                    <a:pt x="196165" y="282447"/>
                  </a:lnTo>
                  <a:lnTo>
                    <a:pt x="180529" y="279398"/>
                  </a:lnTo>
                  <a:lnTo>
                    <a:pt x="181636" y="275459"/>
                  </a:lnTo>
                  <a:lnTo>
                    <a:pt x="176342" y="273781"/>
                  </a:lnTo>
                  <a:lnTo>
                    <a:pt x="164116" y="288492"/>
                  </a:lnTo>
                  <a:lnTo>
                    <a:pt x="165569" y="289191"/>
                  </a:lnTo>
                  <a:lnTo>
                    <a:pt x="164102" y="292061"/>
                  </a:lnTo>
                  <a:lnTo>
                    <a:pt x="165913" y="293827"/>
                  </a:lnTo>
                  <a:lnTo>
                    <a:pt x="165180" y="295263"/>
                  </a:lnTo>
                  <a:lnTo>
                    <a:pt x="166992" y="297029"/>
                  </a:lnTo>
                  <a:lnTo>
                    <a:pt x="163698" y="301703"/>
                  </a:lnTo>
                  <a:lnTo>
                    <a:pt x="163683" y="305273"/>
                  </a:lnTo>
                  <a:lnTo>
                    <a:pt x="162230" y="304575"/>
                  </a:lnTo>
                  <a:lnTo>
                    <a:pt x="161856" y="307076"/>
                  </a:lnTo>
                  <a:lnTo>
                    <a:pt x="160403" y="306378"/>
                  </a:lnTo>
                  <a:lnTo>
                    <a:pt x="162575" y="309211"/>
                  </a:lnTo>
                  <a:lnTo>
                    <a:pt x="161841" y="310647"/>
                  </a:lnTo>
                  <a:lnTo>
                    <a:pt x="162186" y="315284"/>
                  </a:lnTo>
                  <a:lnTo>
                    <a:pt x="171652" y="314471"/>
                  </a:lnTo>
                  <a:lnTo>
                    <a:pt x="172730" y="317672"/>
                  </a:lnTo>
                  <a:lnTo>
                    <a:pt x="176010" y="316567"/>
                  </a:lnTo>
                  <a:lnTo>
                    <a:pt x="181417" y="329004"/>
                  </a:lnTo>
                  <a:lnTo>
                    <a:pt x="187617" y="325727"/>
                  </a:lnTo>
                  <a:lnTo>
                    <a:pt x="197038" y="335623"/>
                  </a:lnTo>
                  <a:lnTo>
                    <a:pt x="195571" y="338494"/>
                  </a:lnTo>
                  <a:lnTo>
                    <a:pt x="195211" y="337427"/>
                  </a:lnTo>
                  <a:lnTo>
                    <a:pt x="190839" y="338900"/>
                  </a:lnTo>
                  <a:lnTo>
                    <a:pt x="191183" y="343537"/>
                  </a:lnTo>
                  <a:lnTo>
                    <a:pt x="182422" y="350053"/>
                  </a:lnTo>
                  <a:lnTo>
                    <a:pt x="191124" y="357816"/>
                  </a:lnTo>
                  <a:lnTo>
                    <a:pt x="187831" y="362490"/>
                  </a:lnTo>
                  <a:lnTo>
                    <a:pt x="182379" y="360763"/>
                  </a:lnTo>
                  <a:lnTo>
                    <a:pt x="182753" y="358259"/>
                  </a:lnTo>
                  <a:lnTo>
                    <a:pt x="182019" y="359696"/>
                  </a:lnTo>
                  <a:lnTo>
                    <a:pt x="173648" y="360140"/>
                  </a:lnTo>
                  <a:lnTo>
                    <a:pt x="174352" y="365844"/>
                  </a:lnTo>
                  <a:lnTo>
                    <a:pt x="172884" y="368714"/>
                  </a:lnTo>
                  <a:lnTo>
                    <a:pt x="163778" y="370594"/>
                  </a:lnTo>
                  <a:lnTo>
                    <a:pt x="164512" y="369159"/>
                  </a:lnTo>
                  <a:lnTo>
                    <a:pt x="159435" y="364928"/>
                  </a:lnTo>
                  <a:lnTo>
                    <a:pt x="155061" y="366402"/>
                  </a:lnTo>
                  <a:lnTo>
                    <a:pt x="154687" y="368905"/>
                  </a:lnTo>
                  <a:lnTo>
                    <a:pt x="151048" y="368941"/>
                  </a:lnTo>
                  <a:lnTo>
                    <a:pt x="145970" y="364711"/>
                  </a:lnTo>
                  <a:lnTo>
                    <a:pt x="133614" y="360557"/>
                  </a:lnTo>
                  <a:lnTo>
                    <a:pt x="132176" y="356288"/>
                  </a:lnTo>
                  <a:lnTo>
                    <a:pt x="123819" y="353163"/>
                  </a:lnTo>
                  <a:lnTo>
                    <a:pt x="119791" y="359273"/>
                  </a:lnTo>
                  <a:lnTo>
                    <a:pt x="115058" y="359679"/>
                  </a:lnTo>
                  <a:lnTo>
                    <a:pt x="106672" y="363693"/>
                  </a:lnTo>
                  <a:lnTo>
                    <a:pt x="105938" y="365129"/>
                  </a:lnTo>
                  <a:lnTo>
                    <a:pt x="109562" y="368660"/>
                  </a:lnTo>
                  <a:lnTo>
                    <a:pt x="108454" y="372599"/>
                  </a:lnTo>
                  <a:lnTo>
                    <a:pt x="111359" y="373996"/>
                  </a:lnTo>
                  <a:lnTo>
                    <a:pt x="105864" y="382977"/>
                  </a:lnTo>
                  <a:lnTo>
                    <a:pt x="101866" y="381948"/>
                  </a:lnTo>
                  <a:lnTo>
                    <a:pt x="101879" y="378378"/>
                  </a:lnTo>
                  <a:lnTo>
                    <a:pt x="100427" y="377679"/>
                  </a:lnTo>
                  <a:lnTo>
                    <a:pt x="89883" y="375291"/>
                  </a:lnTo>
                  <a:lnTo>
                    <a:pt x="88760" y="382798"/>
                  </a:lnTo>
                  <a:lnTo>
                    <a:pt x="85107" y="386406"/>
                  </a:lnTo>
                  <a:lnTo>
                    <a:pt x="80748" y="384309"/>
                  </a:lnTo>
                  <a:lnTo>
                    <a:pt x="86229" y="378898"/>
                  </a:lnTo>
                  <a:lnTo>
                    <a:pt x="75311" y="379012"/>
                  </a:lnTo>
                  <a:lnTo>
                    <a:pt x="74966" y="374375"/>
                  </a:lnTo>
                  <a:lnTo>
                    <a:pt x="67688" y="374451"/>
                  </a:lnTo>
                  <a:lnTo>
                    <a:pt x="67328" y="373384"/>
                  </a:lnTo>
                  <a:lnTo>
                    <a:pt x="68811" y="366944"/>
                  </a:lnTo>
                  <a:lnTo>
                    <a:pt x="70263" y="367643"/>
                  </a:lnTo>
                  <a:lnTo>
                    <a:pt x="69947" y="355866"/>
                  </a:lnTo>
                  <a:lnTo>
                    <a:pt x="72193" y="340851"/>
                  </a:lnTo>
                  <a:lnTo>
                    <a:pt x="69647" y="340521"/>
                  </a:lnTo>
                  <a:lnTo>
                    <a:pt x="68943" y="334817"/>
                  </a:lnTo>
                  <a:lnTo>
                    <a:pt x="70770" y="333012"/>
                  </a:lnTo>
                  <a:lnTo>
                    <a:pt x="70784" y="329443"/>
                  </a:lnTo>
                  <a:lnTo>
                    <a:pt x="74798" y="326902"/>
                  </a:lnTo>
                  <a:lnTo>
                    <a:pt x="75561" y="318328"/>
                  </a:lnTo>
                  <a:lnTo>
                    <a:pt x="59881" y="325987"/>
                  </a:lnTo>
                  <a:lnTo>
                    <a:pt x="59521" y="324920"/>
                  </a:lnTo>
                  <a:lnTo>
                    <a:pt x="57438" y="300669"/>
                  </a:lnTo>
                  <a:lnTo>
                    <a:pt x="58186" y="295664"/>
                  </a:lnTo>
                  <a:lnTo>
                    <a:pt x="60372" y="294927"/>
                  </a:lnTo>
                  <a:lnTo>
                    <a:pt x="56777" y="284256"/>
                  </a:lnTo>
                  <a:lnTo>
                    <a:pt x="35631" y="293758"/>
                  </a:lnTo>
                  <a:lnTo>
                    <a:pt x="30898" y="294163"/>
                  </a:lnTo>
                  <a:lnTo>
                    <a:pt x="29086" y="292397"/>
                  </a:lnTo>
                  <a:lnTo>
                    <a:pt x="26524" y="295637"/>
                  </a:lnTo>
                  <a:lnTo>
                    <a:pt x="22900" y="292105"/>
                  </a:lnTo>
                  <a:lnTo>
                    <a:pt x="1453" y="286261"/>
                  </a:lnTo>
                  <a:lnTo>
                    <a:pt x="4403" y="276949"/>
                  </a:lnTo>
                  <a:lnTo>
                    <a:pt x="3324" y="273748"/>
                  </a:lnTo>
                  <a:lnTo>
                    <a:pt x="4777" y="274446"/>
                  </a:lnTo>
                  <a:lnTo>
                    <a:pt x="5166" y="268374"/>
                  </a:lnTo>
                  <a:lnTo>
                    <a:pt x="7727" y="265135"/>
                  </a:lnTo>
                  <a:lnTo>
                    <a:pt x="8834" y="261196"/>
                  </a:lnTo>
                  <a:lnTo>
                    <a:pt x="9194" y="262264"/>
                  </a:lnTo>
                  <a:lnTo>
                    <a:pt x="12489" y="257590"/>
                  </a:lnTo>
                  <a:lnTo>
                    <a:pt x="15050" y="254351"/>
                  </a:lnTo>
                  <a:lnTo>
                    <a:pt x="15783" y="252914"/>
                  </a:lnTo>
                  <a:lnTo>
                    <a:pt x="15798" y="249345"/>
                  </a:lnTo>
                  <a:lnTo>
                    <a:pt x="16517" y="251479"/>
                  </a:lnTo>
                  <a:lnTo>
                    <a:pt x="18718" y="247174"/>
                  </a:lnTo>
                  <a:lnTo>
                    <a:pt x="19092" y="244670"/>
                  </a:lnTo>
                  <a:lnTo>
                    <a:pt x="19466" y="242168"/>
                  </a:lnTo>
                  <a:lnTo>
                    <a:pt x="21294" y="240364"/>
                  </a:lnTo>
                  <a:lnTo>
                    <a:pt x="21309" y="236794"/>
                  </a:lnTo>
                  <a:lnTo>
                    <a:pt x="27163" y="228880"/>
                  </a:lnTo>
                  <a:lnTo>
                    <a:pt x="27912" y="223876"/>
                  </a:lnTo>
                  <a:lnTo>
                    <a:pt x="34846" y="219162"/>
                  </a:lnTo>
                  <a:lnTo>
                    <a:pt x="36313" y="216291"/>
                  </a:lnTo>
                  <a:lnTo>
                    <a:pt x="36687" y="213789"/>
                  </a:lnTo>
                  <a:lnTo>
                    <a:pt x="39608" y="211617"/>
                  </a:lnTo>
                  <a:lnTo>
                    <a:pt x="41435" y="209813"/>
                  </a:lnTo>
                  <a:lnTo>
                    <a:pt x="40716" y="207679"/>
                  </a:lnTo>
                  <a:lnTo>
                    <a:pt x="42528" y="209445"/>
                  </a:lnTo>
                  <a:lnTo>
                    <a:pt x="44355" y="207641"/>
                  </a:lnTo>
                  <a:lnTo>
                    <a:pt x="41450" y="206243"/>
                  </a:lnTo>
                  <a:lnTo>
                    <a:pt x="43995" y="206574"/>
                  </a:lnTo>
                  <a:lnTo>
                    <a:pt x="45823" y="204770"/>
                  </a:lnTo>
                  <a:lnTo>
                    <a:pt x="42917" y="203373"/>
                  </a:lnTo>
                  <a:lnTo>
                    <a:pt x="45464" y="203703"/>
                  </a:lnTo>
                  <a:lnTo>
                    <a:pt x="47290" y="201899"/>
                  </a:lnTo>
                  <a:lnTo>
                    <a:pt x="48383" y="201531"/>
                  </a:lnTo>
                  <a:lnTo>
                    <a:pt x="50211" y="199727"/>
                  </a:lnTo>
                  <a:lnTo>
                    <a:pt x="50945" y="198292"/>
                  </a:lnTo>
                  <a:lnTo>
                    <a:pt x="52771" y="196488"/>
                  </a:lnTo>
                  <a:lnTo>
                    <a:pt x="53865" y="196120"/>
                  </a:lnTo>
                  <a:lnTo>
                    <a:pt x="51693" y="193287"/>
                  </a:lnTo>
                  <a:lnTo>
                    <a:pt x="53506" y="195052"/>
                  </a:lnTo>
                  <a:lnTo>
                    <a:pt x="56800" y="190378"/>
                  </a:lnTo>
                  <a:lnTo>
                    <a:pt x="60454" y="186770"/>
                  </a:lnTo>
                  <a:lnTo>
                    <a:pt x="63014" y="183530"/>
                  </a:lnTo>
                  <a:lnTo>
                    <a:pt x="65949" y="177789"/>
                  </a:lnTo>
                  <a:lnTo>
                    <a:pt x="67057" y="173851"/>
                  </a:lnTo>
                  <a:lnTo>
                    <a:pt x="68180" y="166345"/>
                  </a:lnTo>
                  <a:lnTo>
                    <a:pt x="68179" y="166344"/>
                  </a:lnTo>
                  <a:lnTo>
                    <a:pt x="72597" y="154161"/>
                  </a:lnTo>
                  <a:lnTo>
                    <a:pt x="79905" y="146946"/>
                  </a:lnTo>
                  <a:lnTo>
                    <a:pt x="80338" y="130165"/>
                  </a:lnTo>
                  <a:lnTo>
                    <a:pt x="91359" y="105063"/>
                  </a:lnTo>
                  <a:lnTo>
                    <a:pt x="104897" y="87432"/>
                  </a:lnTo>
                  <a:lnTo>
                    <a:pt x="120606" y="72633"/>
                  </a:lnTo>
                  <a:lnTo>
                    <a:pt x="128633" y="67552"/>
                  </a:lnTo>
                  <a:lnTo>
                    <a:pt x="129352" y="69686"/>
                  </a:lnTo>
                  <a:lnTo>
                    <a:pt x="131927" y="62878"/>
                  </a:lnTo>
                  <a:lnTo>
                    <a:pt x="146184" y="47380"/>
                  </a:lnTo>
                  <a:lnTo>
                    <a:pt x="173920" y="28529"/>
                  </a:lnTo>
                  <a:close/>
                </a:path>
              </a:pathLst>
            </a:custGeom>
            <a:solidFill>
              <a:srgbClr val="FFBD42"/>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sp>
          <p:nvSpPr>
            <p:cNvPr id="1101" name="Noardeast-FryslÔn">
              <a:extLst>
                <a:ext uri="{FF2B5EF4-FFF2-40B4-BE49-F238E27FC236}">
                  <a16:creationId xmlns:a16="http://schemas.microsoft.com/office/drawing/2014/main" id="{E8D06D63-C0B0-4536-84D1-0B138DCB8C8C}"/>
                </a:ext>
              </a:extLst>
            </p:cNvPr>
            <p:cNvSpPr/>
            <p:nvPr/>
          </p:nvSpPr>
          <p:spPr>
            <a:xfrm rot="19755705">
              <a:off x="6609468" y="1333813"/>
              <a:ext cx="513374" cy="404538"/>
            </a:xfrm>
            <a:custGeom>
              <a:avLst/>
              <a:gdLst>
                <a:gd name="connsiteX0" fmla="*/ 192263 w 522354"/>
                <a:gd name="connsiteY0" fmla="*/ 168022 h 411599"/>
                <a:gd name="connsiteX1" fmla="*/ 192263 w 522354"/>
                <a:gd name="connsiteY1" fmla="*/ 168027 h 411599"/>
                <a:gd name="connsiteX2" fmla="*/ 192264 w 522354"/>
                <a:gd name="connsiteY2" fmla="*/ 168024 h 411599"/>
                <a:gd name="connsiteX3" fmla="*/ 209127 w 522354"/>
                <a:gd name="connsiteY3" fmla="*/ 31322 h 411599"/>
                <a:gd name="connsiteX4" fmla="*/ 212102 w 522354"/>
                <a:gd name="connsiteY4" fmla="*/ 33091 h 411599"/>
                <a:gd name="connsiteX5" fmla="*/ 209738 w 522354"/>
                <a:gd name="connsiteY5" fmla="*/ 46094 h 411599"/>
                <a:gd name="connsiteX6" fmla="*/ 410030 w 522354"/>
                <a:gd name="connsiteY6" fmla="*/ 124588 h 411599"/>
                <a:gd name="connsiteX7" fmla="*/ 413421 w 522354"/>
                <a:gd name="connsiteY7" fmla="*/ 127913 h 411599"/>
                <a:gd name="connsiteX8" fmla="*/ 409700 w 522354"/>
                <a:gd name="connsiteY8" fmla="*/ 124795 h 411599"/>
                <a:gd name="connsiteX9" fmla="*/ 488011 w 522354"/>
                <a:gd name="connsiteY9" fmla="*/ 160478 h 411599"/>
                <a:gd name="connsiteX10" fmla="*/ 488458 w 522354"/>
                <a:gd name="connsiteY10" fmla="*/ 161531 h 411599"/>
                <a:gd name="connsiteX11" fmla="*/ 488426 w 522354"/>
                <a:gd name="connsiteY11" fmla="*/ 162036 h 411599"/>
                <a:gd name="connsiteX12" fmla="*/ 488533 w 522354"/>
                <a:gd name="connsiteY12" fmla="*/ 160353 h 411599"/>
                <a:gd name="connsiteX13" fmla="*/ 490870 w 522354"/>
                <a:gd name="connsiteY13" fmla="*/ 162798 h 411599"/>
                <a:gd name="connsiteX14" fmla="*/ 490251 w 522354"/>
                <a:gd name="connsiteY14" fmla="*/ 165740 h 411599"/>
                <a:gd name="connsiteX15" fmla="*/ 488458 w 522354"/>
                <a:gd name="connsiteY15" fmla="*/ 161531 h 411599"/>
                <a:gd name="connsiteX16" fmla="*/ 418760 w 522354"/>
                <a:gd name="connsiteY16" fmla="*/ 116677 h 411599"/>
                <a:gd name="connsiteX17" fmla="*/ 405071 w 522354"/>
                <a:gd name="connsiteY17" fmla="*/ 121638 h 411599"/>
                <a:gd name="connsiteX18" fmla="*/ 406063 w 522354"/>
                <a:gd name="connsiteY18" fmla="*/ 122227 h 411599"/>
                <a:gd name="connsiteX19" fmla="*/ 401778 w 522354"/>
                <a:gd name="connsiteY19" fmla="*/ 124920 h 411599"/>
                <a:gd name="connsiteX20" fmla="*/ 408046 w 522354"/>
                <a:gd name="connsiteY20" fmla="*/ 123407 h 411599"/>
                <a:gd name="connsiteX21" fmla="*/ 409700 w 522354"/>
                <a:gd name="connsiteY21" fmla="*/ 124795 h 411599"/>
                <a:gd name="connsiteX22" fmla="*/ 407886 w 522354"/>
                <a:gd name="connsiteY22" fmla="*/ 125933 h 411599"/>
                <a:gd name="connsiteX23" fmla="*/ 409454 w 522354"/>
                <a:gd name="connsiteY23" fmla="*/ 125554 h 411599"/>
                <a:gd name="connsiteX24" fmla="*/ 419785 w 522354"/>
                <a:gd name="connsiteY24" fmla="*/ 133010 h 411599"/>
                <a:gd name="connsiteX25" fmla="*/ 426568 w 522354"/>
                <a:gd name="connsiteY25" fmla="*/ 139662 h 411599"/>
                <a:gd name="connsiteX26" fmla="*/ 433092 w 522354"/>
                <a:gd name="connsiteY26" fmla="*/ 142232 h 411599"/>
                <a:gd name="connsiteX27" fmla="*/ 443264 w 522354"/>
                <a:gd name="connsiteY27" fmla="*/ 152211 h 411599"/>
                <a:gd name="connsiteX28" fmla="*/ 485195 w 522354"/>
                <a:gd name="connsiteY28" fmla="*/ 156185 h 411599"/>
                <a:gd name="connsiteX29" fmla="*/ 492137 w 522354"/>
                <a:gd name="connsiteY29" fmla="*/ 160313 h 411599"/>
                <a:gd name="connsiteX30" fmla="*/ 495785 w 522354"/>
                <a:gd name="connsiteY30" fmla="*/ 167721 h 411599"/>
                <a:gd name="connsiteX31" fmla="*/ 489676 w 522354"/>
                <a:gd name="connsiteY31" fmla="*/ 166708 h 411599"/>
                <a:gd name="connsiteX32" fmla="*/ 492235 w 522354"/>
                <a:gd name="connsiteY32" fmla="*/ 166921 h 411599"/>
                <a:gd name="connsiteX33" fmla="*/ 492393 w 522354"/>
                <a:gd name="connsiteY33" fmla="*/ 164395 h 411599"/>
                <a:gd name="connsiteX34" fmla="*/ 490870 w 522354"/>
                <a:gd name="connsiteY34" fmla="*/ 162798 h 411599"/>
                <a:gd name="connsiteX35" fmla="*/ 490986 w 522354"/>
                <a:gd name="connsiteY35" fmla="*/ 162247 h 411599"/>
                <a:gd name="connsiteX36" fmla="*/ 488585 w 522354"/>
                <a:gd name="connsiteY36" fmla="*/ 159511 h 411599"/>
                <a:gd name="connsiteX37" fmla="*/ 488533 w 522354"/>
                <a:gd name="connsiteY37" fmla="*/ 160353 h 411599"/>
                <a:gd name="connsiteX38" fmla="*/ 486603 w 522354"/>
                <a:gd name="connsiteY38" fmla="*/ 158332 h 411599"/>
                <a:gd name="connsiteX39" fmla="*/ 463575 w 522354"/>
                <a:gd name="connsiteY39" fmla="*/ 156427 h 411599"/>
                <a:gd name="connsiteX40" fmla="*/ 469685 w 522354"/>
                <a:gd name="connsiteY40" fmla="*/ 157442 h 411599"/>
                <a:gd name="connsiteX41" fmla="*/ 463992 w 522354"/>
                <a:gd name="connsiteY41" fmla="*/ 157985 h 411599"/>
                <a:gd name="connsiteX42" fmla="*/ 466550 w 522354"/>
                <a:gd name="connsiteY42" fmla="*/ 158196 h 411599"/>
                <a:gd name="connsiteX43" fmla="*/ 465398 w 522354"/>
                <a:gd name="connsiteY43" fmla="*/ 160133 h 411599"/>
                <a:gd name="connsiteX44" fmla="*/ 456829 w 522354"/>
                <a:gd name="connsiteY44" fmla="*/ 165517 h 411599"/>
                <a:gd name="connsiteX45" fmla="*/ 453701 w 522354"/>
                <a:gd name="connsiteY45" fmla="*/ 169813 h 411599"/>
                <a:gd name="connsiteX46" fmla="*/ 502248 w 522354"/>
                <a:gd name="connsiteY46" fmla="*/ 295170 h 411599"/>
                <a:gd name="connsiteX47" fmla="*/ 504985 w 522354"/>
                <a:gd name="connsiteY47" fmla="*/ 298963 h 411599"/>
                <a:gd name="connsiteX48" fmla="*/ 512343 w 522354"/>
                <a:gd name="connsiteY48" fmla="*/ 304647 h 411599"/>
                <a:gd name="connsiteX49" fmla="*/ 515573 w 522354"/>
                <a:gd name="connsiteY49" fmla="*/ 310499 h 411599"/>
                <a:gd name="connsiteX50" fmla="*/ 522354 w 522354"/>
                <a:gd name="connsiteY50" fmla="*/ 317153 h 411599"/>
                <a:gd name="connsiteX51" fmla="*/ 492233 w 522354"/>
                <a:gd name="connsiteY51" fmla="*/ 354263 h 411599"/>
                <a:gd name="connsiteX52" fmla="*/ 500005 w 522354"/>
                <a:gd name="connsiteY52" fmla="*/ 361507 h 411599"/>
                <a:gd name="connsiteX53" fmla="*/ 501672 w 522354"/>
                <a:gd name="connsiteY53" fmla="*/ 367736 h 411599"/>
                <a:gd name="connsiteX54" fmla="*/ 494827 w 522354"/>
                <a:gd name="connsiteY54" fmla="*/ 370217 h 411599"/>
                <a:gd name="connsiteX55" fmla="*/ 483184 w 522354"/>
                <a:gd name="connsiteY55" fmla="*/ 367224 h 411599"/>
                <a:gd name="connsiteX56" fmla="*/ 462750 w 522354"/>
                <a:gd name="connsiteY56" fmla="*/ 381274 h 411599"/>
                <a:gd name="connsiteX57" fmla="*/ 461917 w 522354"/>
                <a:gd name="connsiteY57" fmla="*/ 378160 h 411599"/>
                <a:gd name="connsiteX58" fmla="*/ 456958 w 522354"/>
                <a:gd name="connsiteY58" fmla="*/ 375211 h 411599"/>
                <a:gd name="connsiteX59" fmla="*/ 448132 w 522354"/>
                <a:gd name="connsiteY59" fmla="*/ 376511 h 411599"/>
                <a:gd name="connsiteX60" fmla="*/ 437515 w 522354"/>
                <a:gd name="connsiteY60" fmla="*/ 389851 h 411599"/>
                <a:gd name="connsiteX61" fmla="*/ 436302 w 522354"/>
                <a:gd name="connsiteY61" fmla="*/ 400919 h 411599"/>
                <a:gd name="connsiteX62" fmla="*/ 433999 w 522354"/>
                <a:gd name="connsiteY62" fmla="*/ 404791 h 411599"/>
                <a:gd name="connsiteX63" fmla="*/ 429874 w 522354"/>
                <a:gd name="connsiteY63" fmla="*/ 404957 h 411599"/>
                <a:gd name="connsiteX64" fmla="*/ 427060 w 522354"/>
                <a:gd name="connsiteY64" fmla="*/ 400663 h 411599"/>
                <a:gd name="connsiteX65" fmla="*/ 423924 w 522354"/>
                <a:gd name="connsiteY65" fmla="*/ 401420 h 411599"/>
                <a:gd name="connsiteX66" fmla="*/ 414937 w 522354"/>
                <a:gd name="connsiteY66" fmla="*/ 405246 h 411599"/>
                <a:gd name="connsiteX67" fmla="*/ 409917 w 522354"/>
                <a:gd name="connsiteY67" fmla="*/ 411432 h 411599"/>
                <a:gd name="connsiteX68" fmla="*/ 405791 w 522354"/>
                <a:gd name="connsiteY68" fmla="*/ 411599 h 411599"/>
                <a:gd name="connsiteX69" fmla="*/ 396035 w 522354"/>
                <a:gd name="connsiteY69" fmla="*/ 403176 h 411599"/>
                <a:gd name="connsiteX70" fmla="*/ 394788 w 522354"/>
                <a:gd name="connsiteY70" fmla="*/ 398504 h 411599"/>
                <a:gd name="connsiteX71" fmla="*/ 397407 w 522354"/>
                <a:gd name="connsiteY71" fmla="*/ 389583 h 411599"/>
                <a:gd name="connsiteX72" fmla="*/ 381605 w 522354"/>
                <a:gd name="connsiteY72" fmla="*/ 371014 h 411599"/>
                <a:gd name="connsiteX73" fmla="*/ 376904 w 522354"/>
                <a:gd name="connsiteY73" fmla="*/ 372148 h 411599"/>
                <a:gd name="connsiteX74" fmla="*/ 377063 w 522354"/>
                <a:gd name="connsiteY74" fmla="*/ 369623 h 411599"/>
                <a:gd name="connsiteX75" fmla="*/ 371786 w 522354"/>
                <a:gd name="connsiteY75" fmla="*/ 371725 h 411599"/>
                <a:gd name="connsiteX76" fmla="*/ 372875 w 522354"/>
                <a:gd name="connsiteY76" fmla="*/ 378923 h 411599"/>
                <a:gd name="connsiteX77" fmla="*/ 362641 w 522354"/>
                <a:gd name="connsiteY77" fmla="*/ 378077 h 411599"/>
                <a:gd name="connsiteX78" fmla="*/ 361488 w 522354"/>
                <a:gd name="connsiteY78" fmla="*/ 380013 h 411599"/>
                <a:gd name="connsiteX79" fmla="*/ 358930 w 522354"/>
                <a:gd name="connsiteY79" fmla="*/ 379801 h 411599"/>
                <a:gd name="connsiteX80" fmla="*/ 358673 w 522354"/>
                <a:gd name="connsiteY80" fmla="*/ 375720 h 411599"/>
                <a:gd name="connsiteX81" fmla="*/ 354290 w 522354"/>
                <a:gd name="connsiteY81" fmla="*/ 371803 h 411599"/>
                <a:gd name="connsiteX82" fmla="*/ 353044 w 522354"/>
                <a:gd name="connsiteY82" fmla="*/ 367130 h 411599"/>
                <a:gd name="connsiteX83" fmla="*/ 350070 w 522354"/>
                <a:gd name="connsiteY83" fmla="*/ 365362 h 411599"/>
                <a:gd name="connsiteX84" fmla="*/ 345367 w 522354"/>
                <a:gd name="connsiteY84" fmla="*/ 366496 h 411599"/>
                <a:gd name="connsiteX85" fmla="*/ 345112 w 522354"/>
                <a:gd name="connsiteY85" fmla="*/ 362412 h 411599"/>
                <a:gd name="connsiteX86" fmla="*/ 332733 w 522354"/>
                <a:gd name="connsiteY86" fmla="*/ 362914 h 411599"/>
                <a:gd name="connsiteX87" fmla="*/ 332893 w 522354"/>
                <a:gd name="connsiteY87" fmla="*/ 360388 h 411599"/>
                <a:gd name="connsiteX88" fmla="*/ 330335 w 522354"/>
                <a:gd name="connsiteY88" fmla="*/ 360176 h 411599"/>
                <a:gd name="connsiteX89" fmla="*/ 330813 w 522354"/>
                <a:gd name="connsiteY89" fmla="*/ 352601 h 411599"/>
                <a:gd name="connsiteX90" fmla="*/ 305961 w 522354"/>
                <a:gd name="connsiteY90" fmla="*/ 346994 h 411599"/>
                <a:gd name="connsiteX91" fmla="*/ 300012 w 522354"/>
                <a:gd name="connsiteY91" fmla="*/ 343455 h 411599"/>
                <a:gd name="connsiteX92" fmla="*/ 291184 w 522354"/>
                <a:gd name="connsiteY92" fmla="*/ 344756 h 411599"/>
                <a:gd name="connsiteX93" fmla="*/ 258497 w 522354"/>
                <a:gd name="connsiteY93" fmla="*/ 341038 h 411599"/>
                <a:gd name="connsiteX94" fmla="*/ 227119 w 522354"/>
                <a:gd name="connsiteY94" fmla="*/ 332862 h 411599"/>
                <a:gd name="connsiteX95" fmla="*/ 252637 w 522354"/>
                <a:gd name="connsiteY95" fmla="*/ 303492 h 411599"/>
                <a:gd name="connsiteX96" fmla="*/ 253629 w 522354"/>
                <a:gd name="connsiteY96" fmla="*/ 304082 h 411599"/>
                <a:gd name="connsiteX97" fmla="*/ 265555 w 522354"/>
                <a:gd name="connsiteY97" fmla="*/ 286282 h 411599"/>
                <a:gd name="connsiteX98" fmla="*/ 267538 w 522354"/>
                <a:gd name="connsiteY98" fmla="*/ 287461 h 411599"/>
                <a:gd name="connsiteX99" fmla="*/ 266131 w 522354"/>
                <a:gd name="connsiteY99" fmla="*/ 285315 h 411599"/>
                <a:gd name="connsiteX100" fmla="*/ 276331 w 522354"/>
                <a:gd name="connsiteY100" fmla="*/ 270419 h 411599"/>
                <a:gd name="connsiteX101" fmla="*/ 287398 w 522354"/>
                <a:gd name="connsiteY101" fmla="*/ 274381 h 411599"/>
                <a:gd name="connsiteX102" fmla="*/ 294339 w 522354"/>
                <a:gd name="connsiteY102" fmla="*/ 278507 h 411599"/>
                <a:gd name="connsiteX103" fmla="*/ 294402 w 522354"/>
                <a:gd name="connsiteY103" fmla="*/ 269374 h 411599"/>
                <a:gd name="connsiteX104" fmla="*/ 295810 w 522354"/>
                <a:gd name="connsiteY104" fmla="*/ 271521 h 411599"/>
                <a:gd name="connsiteX105" fmla="*/ 312500 w 522354"/>
                <a:gd name="connsiteY105" fmla="*/ 243454 h 411599"/>
                <a:gd name="connsiteX106" fmla="*/ 316626 w 522354"/>
                <a:gd name="connsiteY106" fmla="*/ 243287 h 411599"/>
                <a:gd name="connsiteX107" fmla="*/ 319087 w 522354"/>
                <a:gd name="connsiteY107" fmla="*/ 236889 h 411599"/>
                <a:gd name="connsiteX108" fmla="*/ 323630 w 522354"/>
                <a:gd name="connsiteY108" fmla="*/ 238282 h 411599"/>
                <a:gd name="connsiteX109" fmla="*/ 320974 w 522354"/>
                <a:gd name="connsiteY109" fmla="*/ 231461 h 411599"/>
                <a:gd name="connsiteX110" fmla="*/ 313874 w 522354"/>
                <a:gd name="connsiteY110" fmla="*/ 229859 h 411599"/>
                <a:gd name="connsiteX111" fmla="*/ 303125 w 522354"/>
                <a:gd name="connsiteY111" fmla="*/ 220848 h 411599"/>
                <a:gd name="connsiteX112" fmla="*/ 296025 w 522354"/>
                <a:gd name="connsiteY112" fmla="*/ 219246 h 411599"/>
                <a:gd name="connsiteX113" fmla="*/ 291226 w 522354"/>
                <a:gd name="connsiteY113" fmla="*/ 213771 h 411599"/>
                <a:gd name="connsiteX114" fmla="*/ 287676 w 522354"/>
                <a:gd name="connsiteY114" fmla="*/ 212971 h 411599"/>
                <a:gd name="connsiteX115" fmla="*/ 286843 w 522354"/>
                <a:gd name="connsiteY115" fmla="*/ 209855 h 411599"/>
                <a:gd name="connsiteX116" fmla="*/ 276770 w 522354"/>
                <a:gd name="connsiteY116" fmla="*/ 206485 h 411599"/>
                <a:gd name="connsiteX117" fmla="*/ 271332 w 522354"/>
                <a:gd name="connsiteY117" fmla="*/ 211111 h 411599"/>
                <a:gd name="connsiteX118" fmla="*/ 260973 w 522354"/>
                <a:gd name="connsiteY118" fmla="*/ 228533 h 411599"/>
                <a:gd name="connsiteX119" fmla="*/ 242867 w 522354"/>
                <a:gd name="connsiteY119" fmla="*/ 213836 h 411599"/>
                <a:gd name="connsiteX120" fmla="*/ 235926 w 522354"/>
                <a:gd name="connsiteY120" fmla="*/ 209710 h 411599"/>
                <a:gd name="connsiteX121" fmla="*/ 221151 w 522354"/>
                <a:gd name="connsiteY121" fmla="*/ 207473 h 411599"/>
                <a:gd name="connsiteX122" fmla="*/ 221948 w 522354"/>
                <a:gd name="connsiteY122" fmla="*/ 194845 h 411599"/>
                <a:gd name="connsiteX123" fmla="*/ 226073 w 522354"/>
                <a:gd name="connsiteY123" fmla="*/ 194679 h 411599"/>
                <a:gd name="connsiteX124" fmla="*/ 227800 w 522354"/>
                <a:gd name="connsiteY124" fmla="*/ 191776 h 411599"/>
                <a:gd name="connsiteX125" fmla="*/ 229271 w 522354"/>
                <a:gd name="connsiteY125" fmla="*/ 184789 h 411599"/>
                <a:gd name="connsiteX126" fmla="*/ 226456 w 522354"/>
                <a:gd name="connsiteY126" fmla="*/ 180495 h 411599"/>
                <a:gd name="connsiteX127" fmla="*/ 214396 w 522354"/>
                <a:gd name="connsiteY127" fmla="*/ 175944 h 411599"/>
                <a:gd name="connsiteX128" fmla="*/ 205985 w 522354"/>
                <a:gd name="connsiteY128" fmla="*/ 178803 h 411599"/>
                <a:gd name="connsiteX129" fmla="*/ 192341 w 522354"/>
                <a:gd name="connsiteY129" fmla="*/ 173235 h 411599"/>
                <a:gd name="connsiteX130" fmla="*/ 192360 w 522354"/>
                <a:gd name="connsiteY130" fmla="*/ 174631 h 411599"/>
                <a:gd name="connsiteX131" fmla="*/ 179151 w 522354"/>
                <a:gd name="connsiteY131" fmla="*/ 172016 h 411599"/>
                <a:gd name="connsiteX132" fmla="*/ 176017 w 522354"/>
                <a:gd name="connsiteY132" fmla="*/ 172774 h 411599"/>
                <a:gd name="connsiteX133" fmla="*/ 147136 w 522354"/>
                <a:gd name="connsiteY133" fmla="*/ 173941 h 411599"/>
                <a:gd name="connsiteX134" fmla="*/ 146755 w 522354"/>
                <a:gd name="connsiteY134" fmla="*/ 188125 h 411599"/>
                <a:gd name="connsiteX135" fmla="*/ 143974 w 522354"/>
                <a:gd name="connsiteY135" fmla="*/ 199571 h 411599"/>
                <a:gd name="connsiteX136" fmla="*/ 133738 w 522354"/>
                <a:gd name="connsiteY136" fmla="*/ 198726 h 411599"/>
                <a:gd name="connsiteX137" fmla="*/ 124751 w 522354"/>
                <a:gd name="connsiteY137" fmla="*/ 202553 h 411599"/>
                <a:gd name="connsiteX138" fmla="*/ 114934 w 522354"/>
                <a:gd name="connsiteY138" fmla="*/ 203264 h 411599"/>
                <a:gd name="connsiteX139" fmla="*/ 112181 w 522354"/>
                <a:gd name="connsiteY139" fmla="*/ 189837 h 411599"/>
                <a:gd name="connsiteX140" fmla="*/ 104885 w 522354"/>
                <a:gd name="connsiteY140" fmla="*/ 175018 h 411599"/>
                <a:gd name="connsiteX141" fmla="*/ 90109 w 522354"/>
                <a:gd name="connsiteY141" fmla="*/ 172782 h 411599"/>
                <a:gd name="connsiteX142" fmla="*/ 74535 w 522354"/>
                <a:gd name="connsiteY142" fmla="*/ 183172 h 411599"/>
                <a:gd name="connsiteX143" fmla="*/ 56846 w 522354"/>
                <a:gd name="connsiteY143" fmla="*/ 170033 h 411599"/>
                <a:gd name="connsiteX144" fmla="*/ 55022 w 522354"/>
                <a:gd name="connsiteY144" fmla="*/ 166327 h 411599"/>
                <a:gd name="connsiteX145" fmla="*/ 51472 w 522354"/>
                <a:gd name="connsiteY145" fmla="*/ 165526 h 411599"/>
                <a:gd name="connsiteX146" fmla="*/ 52047 w 522354"/>
                <a:gd name="connsiteY146" fmla="*/ 164558 h 411599"/>
                <a:gd name="connsiteX147" fmla="*/ 55182 w 522354"/>
                <a:gd name="connsiteY147" fmla="*/ 163803 h 411599"/>
                <a:gd name="connsiteX148" fmla="*/ 53773 w 522354"/>
                <a:gd name="connsiteY148" fmla="*/ 161655 h 411599"/>
                <a:gd name="connsiteX149" fmla="*/ 54925 w 522354"/>
                <a:gd name="connsiteY149" fmla="*/ 159719 h 411599"/>
                <a:gd name="connsiteX150" fmla="*/ 46577 w 522354"/>
                <a:gd name="connsiteY150" fmla="*/ 153445 h 411599"/>
                <a:gd name="connsiteX151" fmla="*/ 24214 w 522354"/>
                <a:gd name="connsiteY151" fmla="*/ 116564 h 411599"/>
                <a:gd name="connsiteX152" fmla="*/ 0 w 522354"/>
                <a:gd name="connsiteY152" fmla="*/ 100855 h 411599"/>
                <a:gd name="connsiteX153" fmla="*/ 11449 w 522354"/>
                <a:gd name="connsiteY153" fmla="*/ 90631 h 411599"/>
                <a:gd name="connsiteX154" fmla="*/ 23569 w 522354"/>
                <a:gd name="connsiteY154" fmla="*/ 86050 h 411599"/>
                <a:gd name="connsiteX155" fmla="*/ 28431 w 522354"/>
                <a:gd name="connsiteY155" fmla="*/ 82388 h 411599"/>
                <a:gd name="connsiteX156" fmla="*/ 14036 w 522354"/>
                <a:gd name="connsiteY156" fmla="*/ 65968 h 411599"/>
                <a:gd name="connsiteX157" fmla="*/ 5942 w 522354"/>
                <a:gd name="connsiteY157" fmla="*/ 63777 h 411599"/>
                <a:gd name="connsiteX158" fmla="*/ 12115 w 522354"/>
                <a:gd name="connsiteY158" fmla="*/ 55655 h 411599"/>
                <a:gd name="connsiteX159" fmla="*/ 19499 w 522354"/>
                <a:gd name="connsiteY159" fmla="*/ 36465 h 411599"/>
                <a:gd name="connsiteX160" fmla="*/ 33028 w 522354"/>
                <a:gd name="connsiteY160" fmla="*/ 34029 h 411599"/>
                <a:gd name="connsiteX161" fmla="*/ 70992 w 522354"/>
                <a:gd name="connsiteY161" fmla="*/ 35644 h 411599"/>
                <a:gd name="connsiteX162" fmla="*/ 77103 w 522354"/>
                <a:gd name="connsiteY162" fmla="*/ 36656 h 411599"/>
                <a:gd name="connsiteX163" fmla="*/ 80811 w 522354"/>
                <a:gd name="connsiteY163" fmla="*/ 34933 h 411599"/>
                <a:gd name="connsiteX164" fmla="*/ 87337 w 522354"/>
                <a:gd name="connsiteY164" fmla="*/ 37502 h 411599"/>
                <a:gd name="connsiteX165" fmla="*/ 120441 w 522354"/>
                <a:gd name="connsiteY165" fmla="*/ 42776 h 411599"/>
                <a:gd name="connsiteX166" fmla="*/ 142060 w 522354"/>
                <a:gd name="connsiteY166" fmla="*/ 42533 h 411599"/>
                <a:gd name="connsiteX167" fmla="*/ 162530 w 522354"/>
                <a:gd name="connsiteY167" fmla="*/ 44224 h 411599"/>
                <a:gd name="connsiteX168" fmla="*/ 167230 w 522354"/>
                <a:gd name="connsiteY168" fmla="*/ 43090 h 411599"/>
                <a:gd name="connsiteX169" fmla="*/ 189108 w 522354"/>
                <a:gd name="connsiteY169" fmla="*/ 46928 h 411599"/>
                <a:gd name="connsiteX170" fmla="*/ 205354 w 522354"/>
                <a:gd name="connsiteY170" fmla="*/ 42179 h 411599"/>
                <a:gd name="connsiteX171" fmla="*/ 206763 w 522354"/>
                <a:gd name="connsiteY171" fmla="*/ 44325 h 411599"/>
                <a:gd name="connsiteX172" fmla="*/ 207436 w 522354"/>
                <a:gd name="connsiteY172" fmla="*/ 49966 h 411599"/>
                <a:gd name="connsiteX173" fmla="*/ 207178 w 522354"/>
                <a:gd name="connsiteY173" fmla="*/ 45882 h 411599"/>
                <a:gd name="connsiteX174" fmla="*/ 209738 w 522354"/>
                <a:gd name="connsiteY174" fmla="*/ 46094 h 411599"/>
                <a:gd name="connsiteX175" fmla="*/ 215846 w 522354"/>
                <a:gd name="connsiteY175" fmla="*/ 47107 h 411599"/>
                <a:gd name="connsiteX176" fmla="*/ 215112 w 522354"/>
                <a:gd name="connsiteY176" fmla="*/ 50600 h 411599"/>
                <a:gd name="connsiteX177" fmla="*/ 223203 w 522354"/>
                <a:gd name="connsiteY177" fmla="*/ 52792 h 411599"/>
                <a:gd name="connsiteX178" fmla="*/ 251959 w 522354"/>
                <a:gd name="connsiteY178" fmla="*/ 69892 h 411599"/>
                <a:gd name="connsiteX179" fmla="*/ 278378 w 522354"/>
                <a:gd name="connsiteY179" fmla="*/ 75122 h 411599"/>
                <a:gd name="connsiteX180" fmla="*/ 288453 w 522354"/>
                <a:gd name="connsiteY180" fmla="*/ 78494 h 411599"/>
                <a:gd name="connsiteX181" fmla="*/ 298175 w 522354"/>
                <a:gd name="connsiteY181" fmla="*/ 71173 h 411599"/>
                <a:gd name="connsiteX182" fmla="*/ 299583 w 522354"/>
                <a:gd name="connsiteY182" fmla="*/ 73319 h 411599"/>
                <a:gd name="connsiteX183" fmla="*/ 292739 w 522354"/>
                <a:gd name="connsiteY183" fmla="*/ 75800 h 411599"/>
                <a:gd name="connsiteX184" fmla="*/ 292996 w 522354"/>
                <a:gd name="connsiteY184" fmla="*/ 79884 h 411599"/>
                <a:gd name="connsiteX185" fmla="*/ 309596 w 522354"/>
                <a:gd name="connsiteY185" fmla="*/ 85826 h 411599"/>
                <a:gd name="connsiteX186" fmla="*/ 336015 w 522354"/>
                <a:gd name="connsiteY186" fmla="*/ 91054 h 411599"/>
                <a:gd name="connsiteX187" fmla="*/ 356422 w 522354"/>
                <a:gd name="connsiteY187" fmla="*/ 101880 h 411599"/>
                <a:gd name="connsiteX188" fmla="*/ 385657 w 522354"/>
                <a:gd name="connsiteY188" fmla="*/ 111403 h 411599"/>
                <a:gd name="connsiteX189" fmla="*/ 390870 w 522354"/>
                <a:gd name="connsiteY189" fmla="*/ 118435 h 411599"/>
                <a:gd name="connsiteX190" fmla="*/ 395988 w 522354"/>
                <a:gd name="connsiteY190" fmla="*/ 118858 h 411599"/>
                <a:gd name="connsiteX191" fmla="*/ 398228 w 522354"/>
                <a:gd name="connsiteY191" fmla="*/ 124120 h 411599"/>
                <a:gd name="connsiteX192" fmla="*/ 407213 w 522354"/>
                <a:gd name="connsiteY192" fmla="*/ 120294 h 411599"/>
                <a:gd name="connsiteX193" fmla="*/ 408366 w 522354"/>
                <a:gd name="connsiteY193" fmla="*/ 118357 h 411599"/>
                <a:gd name="connsiteX194" fmla="*/ 408781 w 522354"/>
                <a:gd name="connsiteY194" fmla="*/ 119915 h 411599"/>
                <a:gd name="connsiteX195" fmla="*/ 415612 w 522354"/>
                <a:gd name="connsiteY195" fmla="*/ 36200 h 411599"/>
                <a:gd name="connsiteX196" fmla="*/ 418587 w 522354"/>
                <a:gd name="connsiteY196" fmla="*/ 37969 h 411599"/>
                <a:gd name="connsiteX197" fmla="*/ 417276 w 522354"/>
                <a:gd name="connsiteY197" fmla="*/ 42431 h 411599"/>
                <a:gd name="connsiteX198" fmla="*/ 412416 w 522354"/>
                <a:gd name="connsiteY198" fmla="*/ 46090 h 411599"/>
                <a:gd name="connsiteX199" fmla="*/ 409441 w 522354"/>
                <a:gd name="connsiteY199" fmla="*/ 44322 h 411599"/>
                <a:gd name="connsiteX200" fmla="*/ 408768 w 522354"/>
                <a:gd name="connsiteY200" fmla="*/ 38680 h 411599"/>
                <a:gd name="connsiteX201" fmla="*/ 412894 w 522354"/>
                <a:gd name="connsiteY201" fmla="*/ 38515 h 411599"/>
                <a:gd name="connsiteX202" fmla="*/ 371982 w 522354"/>
                <a:gd name="connsiteY202" fmla="*/ 10255 h 411599"/>
                <a:gd name="connsiteX203" fmla="*/ 374959 w 522354"/>
                <a:gd name="connsiteY203" fmla="*/ 12025 h 411599"/>
                <a:gd name="connsiteX204" fmla="*/ 370672 w 522354"/>
                <a:gd name="connsiteY204" fmla="*/ 14716 h 411599"/>
                <a:gd name="connsiteX205" fmla="*/ 368273 w 522354"/>
                <a:gd name="connsiteY205" fmla="*/ 11979 h 411599"/>
                <a:gd name="connsiteX206" fmla="*/ 433295 w 522354"/>
                <a:gd name="connsiteY206" fmla="*/ 8723 h 411599"/>
                <a:gd name="connsiteX207" fmla="*/ 431408 w 522354"/>
                <a:gd name="connsiteY207" fmla="*/ 14151 h 411599"/>
                <a:gd name="connsiteX208" fmla="*/ 426035 w 522354"/>
                <a:gd name="connsiteY208" fmla="*/ 9645 h 411599"/>
                <a:gd name="connsiteX209" fmla="*/ 423892 w 522354"/>
                <a:gd name="connsiteY209" fmla="*/ 10991 h 411599"/>
                <a:gd name="connsiteX210" fmla="*/ 416790 w 522354"/>
                <a:gd name="connsiteY210" fmla="*/ 9390 h 411599"/>
                <a:gd name="connsiteX211" fmla="*/ 412409 w 522354"/>
                <a:gd name="connsiteY211" fmla="*/ 5473 h 411599"/>
                <a:gd name="connsiteX212" fmla="*/ 402750 w 522354"/>
                <a:gd name="connsiteY212" fmla="*/ 3659 h 411599"/>
                <a:gd name="connsiteX213" fmla="*/ 396897 w 522354"/>
                <a:gd name="connsiteY213" fmla="*/ 6730 h 411599"/>
                <a:gd name="connsiteX214" fmla="*/ 395489 w 522354"/>
                <a:gd name="connsiteY214" fmla="*/ 4582 h 411599"/>
                <a:gd name="connsiteX215" fmla="*/ 398784 w 522354"/>
                <a:gd name="connsiteY215" fmla="*/ 1301 h 411599"/>
                <a:gd name="connsiteX216" fmla="*/ 407610 w 522354"/>
                <a:gd name="connsiteY216" fmla="*/ 0 h 41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522354" h="411599">
                  <a:moveTo>
                    <a:pt x="192263" y="168022"/>
                  </a:moveTo>
                  <a:lnTo>
                    <a:pt x="192263" y="168027"/>
                  </a:lnTo>
                  <a:lnTo>
                    <a:pt x="192264" y="168024"/>
                  </a:lnTo>
                  <a:close/>
                  <a:moveTo>
                    <a:pt x="209127" y="31322"/>
                  </a:moveTo>
                  <a:lnTo>
                    <a:pt x="212102" y="33091"/>
                  </a:lnTo>
                  <a:lnTo>
                    <a:pt x="209738" y="46094"/>
                  </a:lnTo>
                  <a:close/>
                  <a:moveTo>
                    <a:pt x="410030" y="124588"/>
                  </a:moveTo>
                  <a:lnTo>
                    <a:pt x="413421" y="127913"/>
                  </a:lnTo>
                  <a:lnTo>
                    <a:pt x="409700" y="124795"/>
                  </a:lnTo>
                  <a:close/>
                  <a:moveTo>
                    <a:pt x="488011" y="160478"/>
                  </a:moveTo>
                  <a:lnTo>
                    <a:pt x="488458" y="161531"/>
                  </a:lnTo>
                  <a:lnTo>
                    <a:pt x="488426" y="162036"/>
                  </a:lnTo>
                  <a:close/>
                  <a:moveTo>
                    <a:pt x="488533" y="160353"/>
                  </a:moveTo>
                  <a:lnTo>
                    <a:pt x="490870" y="162798"/>
                  </a:lnTo>
                  <a:lnTo>
                    <a:pt x="490251" y="165740"/>
                  </a:lnTo>
                  <a:lnTo>
                    <a:pt x="488458" y="161531"/>
                  </a:lnTo>
                  <a:close/>
                  <a:moveTo>
                    <a:pt x="418760" y="116677"/>
                  </a:moveTo>
                  <a:lnTo>
                    <a:pt x="405071" y="121638"/>
                  </a:lnTo>
                  <a:lnTo>
                    <a:pt x="406063" y="122227"/>
                  </a:lnTo>
                  <a:lnTo>
                    <a:pt x="401778" y="124920"/>
                  </a:lnTo>
                  <a:lnTo>
                    <a:pt x="408046" y="123407"/>
                  </a:lnTo>
                  <a:lnTo>
                    <a:pt x="409700" y="124795"/>
                  </a:lnTo>
                  <a:lnTo>
                    <a:pt x="407886" y="125933"/>
                  </a:lnTo>
                  <a:lnTo>
                    <a:pt x="409454" y="125554"/>
                  </a:lnTo>
                  <a:lnTo>
                    <a:pt x="419785" y="133010"/>
                  </a:lnTo>
                  <a:lnTo>
                    <a:pt x="426568" y="139662"/>
                  </a:lnTo>
                  <a:lnTo>
                    <a:pt x="433092" y="142232"/>
                  </a:lnTo>
                  <a:lnTo>
                    <a:pt x="443264" y="152211"/>
                  </a:lnTo>
                  <a:lnTo>
                    <a:pt x="485195" y="156185"/>
                  </a:lnTo>
                  <a:lnTo>
                    <a:pt x="492137" y="160313"/>
                  </a:lnTo>
                  <a:lnTo>
                    <a:pt x="495785" y="167721"/>
                  </a:lnTo>
                  <a:lnTo>
                    <a:pt x="489676" y="166708"/>
                  </a:lnTo>
                  <a:lnTo>
                    <a:pt x="492235" y="166921"/>
                  </a:lnTo>
                  <a:lnTo>
                    <a:pt x="492393" y="164395"/>
                  </a:lnTo>
                  <a:lnTo>
                    <a:pt x="490870" y="162798"/>
                  </a:lnTo>
                  <a:lnTo>
                    <a:pt x="490986" y="162247"/>
                  </a:lnTo>
                  <a:lnTo>
                    <a:pt x="488585" y="159511"/>
                  </a:lnTo>
                  <a:lnTo>
                    <a:pt x="488533" y="160353"/>
                  </a:lnTo>
                  <a:lnTo>
                    <a:pt x="486603" y="158332"/>
                  </a:lnTo>
                  <a:lnTo>
                    <a:pt x="463575" y="156427"/>
                  </a:lnTo>
                  <a:lnTo>
                    <a:pt x="469685" y="157442"/>
                  </a:lnTo>
                  <a:lnTo>
                    <a:pt x="463992" y="157985"/>
                  </a:lnTo>
                  <a:lnTo>
                    <a:pt x="466550" y="158196"/>
                  </a:lnTo>
                  <a:lnTo>
                    <a:pt x="465398" y="160133"/>
                  </a:lnTo>
                  <a:lnTo>
                    <a:pt x="456829" y="165517"/>
                  </a:lnTo>
                  <a:lnTo>
                    <a:pt x="453701" y="169813"/>
                  </a:lnTo>
                  <a:lnTo>
                    <a:pt x="502248" y="295170"/>
                  </a:lnTo>
                  <a:lnTo>
                    <a:pt x="504985" y="298963"/>
                  </a:lnTo>
                  <a:lnTo>
                    <a:pt x="512343" y="304647"/>
                  </a:lnTo>
                  <a:lnTo>
                    <a:pt x="515573" y="310499"/>
                  </a:lnTo>
                  <a:lnTo>
                    <a:pt x="522354" y="317153"/>
                  </a:lnTo>
                  <a:lnTo>
                    <a:pt x="492233" y="354263"/>
                  </a:lnTo>
                  <a:lnTo>
                    <a:pt x="500005" y="361507"/>
                  </a:lnTo>
                  <a:lnTo>
                    <a:pt x="501672" y="367736"/>
                  </a:lnTo>
                  <a:lnTo>
                    <a:pt x="494827" y="370217"/>
                  </a:lnTo>
                  <a:lnTo>
                    <a:pt x="483184" y="367224"/>
                  </a:lnTo>
                  <a:lnTo>
                    <a:pt x="462750" y="381274"/>
                  </a:lnTo>
                  <a:lnTo>
                    <a:pt x="461917" y="378160"/>
                  </a:lnTo>
                  <a:lnTo>
                    <a:pt x="456958" y="375211"/>
                  </a:lnTo>
                  <a:lnTo>
                    <a:pt x="448132" y="376511"/>
                  </a:lnTo>
                  <a:lnTo>
                    <a:pt x="437515" y="389851"/>
                  </a:lnTo>
                  <a:lnTo>
                    <a:pt x="436302" y="400919"/>
                  </a:lnTo>
                  <a:lnTo>
                    <a:pt x="433999" y="404791"/>
                  </a:lnTo>
                  <a:lnTo>
                    <a:pt x="429874" y="404957"/>
                  </a:lnTo>
                  <a:lnTo>
                    <a:pt x="427060" y="400663"/>
                  </a:lnTo>
                  <a:lnTo>
                    <a:pt x="423924" y="401420"/>
                  </a:lnTo>
                  <a:lnTo>
                    <a:pt x="414937" y="405246"/>
                  </a:lnTo>
                  <a:lnTo>
                    <a:pt x="409917" y="411432"/>
                  </a:lnTo>
                  <a:lnTo>
                    <a:pt x="405791" y="411599"/>
                  </a:lnTo>
                  <a:lnTo>
                    <a:pt x="396035" y="403176"/>
                  </a:lnTo>
                  <a:lnTo>
                    <a:pt x="394788" y="398504"/>
                  </a:lnTo>
                  <a:lnTo>
                    <a:pt x="397407" y="389583"/>
                  </a:lnTo>
                  <a:lnTo>
                    <a:pt x="381605" y="371014"/>
                  </a:lnTo>
                  <a:lnTo>
                    <a:pt x="376904" y="372148"/>
                  </a:lnTo>
                  <a:lnTo>
                    <a:pt x="377063" y="369623"/>
                  </a:lnTo>
                  <a:lnTo>
                    <a:pt x="371786" y="371725"/>
                  </a:lnTo>
                  <a:lnTo>
                    <a:pt x="372875" y="378923"/>
                  </a:lnTo>
                  <a:lnTo>
                    <a:pt x="362641" y="378077"/>
                  </a:lnTo>
                  <a:lnTo>
                    <a:pt x="361488" y="380013"/>
                  </a:lnTo>
                  <a:lnTo>
                    <a:pt x="358930" y="379801"/>
                  </a:lnTo>
                  <a:lnTo>
                    <a:pt x="358673" y="375720"/>
                  </a:lnTo>
                  <a:lnTo>
                    <a:pt x="354290" y="371803"/>
                  </a:lnTo>
                  <a:lnTo>
                    <a:pt x="353044" y="367130"/>
                  </a:lnTo>
                  <a:lnTo>
                    <a:pt x="350070" y="365362"/>
                  </a:lnTo>
                  <a:lnTo>
                    <a:pt x="345367" y="366496"/>
                  </a:lnTo>
                  <a:lnTo>
                    <a:pt x="345112" y="362412"/>
                  </a:lnTo>
                  <a:lnTo>
                    <a:pt x="332733" y="362914"/>
                  </a:lnTo>
                  <a:lnTo>
                    <a:pt x="332893" y="360388"/>
                  </a:lnTo>
                  <a:lnTo>
                    <a:pt x="330335" y="360176"/>
                  </a:lnTo>
                  <a:lnTo>
                    <a:pt x="330813" y="352601"/>
                  </a:lnTo>
                  <a:lnTo>
                    <a:pt x="305961" y="346994"/>
                  </a:lnTo>
                  <a:lnTo>
                    <a:pt x="300012" y="343455"/>
                  </a:lnTo>
                  <a:lnTo>
                    <a:pt x="291184" y="344756"/>
                  </a:lnTo>
                  <a:lnTo>
                    <a:pt x="258497" y="341038"/>
                  </a:lnTo>
                  <a:lnTo>
                    <a:pt x="227119" y="332862"/>
                  </a:lnTo>
                  <a:lnTo>
                    <a:pt x="252637" y="303492"/>
                  </a:lnTo>
                  <a:lnTo>
                    <a:pt x="253629" y="304082"/>
                  </a:lnTo>
                  <a:lnTo>
                    <a:pt x="265555" y="286282"/>
                  </a:lnTo>
                  <a:lnTo>
                    <a:pt x="267538" y="287461"/>
                  </a:lnTo>
                  <a:lnTo>
                    <a:pt x="266131" y="285315"/>
                  </a:lnTo>
                  <a:lnTo>
                    <a:pt x="276331" y="270419"/>
                  </a:lnTo>
                  <a:lnTo>
                    <a:pt x="287398" y="274381"/>
                  </a:lnTo>
                  <a:lnTo>
                    <a:pt x="294339" y="278507"/>
                  </a:lnTo>
                  <a:lnTo>
                    <a:pt x="294402" y="269374"/>
                  </a:lnTo>
                  <a:lnTo>
                    <a:pt x="295810" y="271521"/>
                  </a:lnTo>
                  <a:lnTo>
                    <a:pt x="312500" y="243454"/>
                  </a:lnTo>
                  <a:lnTo>
                    <a:pt x="316626" y="243287"/>
                  </a:lnTo>
                  <a:lnTo>
                    <a:pt x="319087" y="236889"/>
                  </a:lnTo>
                  <a:lnTo>
                    <a:pt x="323630" y="238282"/>
                  </a:lnTo>
                  <a:lnTo>
                    <a:pt x="320974" y="231461"/>
                  </a:lnTo>
                  <a:lnTo>
                    <a:pt x="313874" y="229859"/>
                  </a:lnTo>
                  <a:lnTo>
                    <a:pt x="303125" y="220848"/>
                  </a:lnTo>
                  <a:lnTo>
                    <a:pt x="296025" y="219246"/>
                  </a:lnTo>
                  <a:lnTo>
                    <a:pt x="291226" y="213771"/>
                  </a:lnTo>
                  <a:lnTo>
                    <a:pt x="287676" y="212971"/>
                  </a:lnTo>
                  <a:lnTo>
                    <a:pt x="286843" y="209855"/>
                  </a:lnTo>
                  <a:lnTo>
                    <a:pt x="276770" y="206485"/>
                  </a:lnTo>
                  <a:lnTo>
                    <a:pt x="271332" y="211111"/>
                  </a:lnTo>
                  <a:lnTo>
                    <a:pt x="260973" y="228533"/>
                  </a:lnTo>
                  <a:lnTo>
                    <a:pt x="242867" y="213836"/>
                  </a:lnTo>
                  <a:lnTo>
                    <a:pt x="235926" y="209710"/>
                  </a:lnTo>
                  <a:lnTo>
                    <a:pt x="221151" y="207473"/>
                  </a:lnTo>
                  <a:lnTo>
                    <a:pt x="221948" y="194845"/>
                  </a:lnTo>
                  <a:lnTo>
                    <a:pt x="226073" y="194679"/>
                  </a:lnTo>
                  <a:lnTo>
                    <a:pt x="227800" y="191776"/>
                  </a:lnTo>
                  <a:lnTo>
                    <a:pt x="229271" y="184789"/>
                  </a:lnTo>
                  <a:lnTo>
                    <a:pt x="226456" y="180495"/>
                  </a:lnTo>
                  <a:lnTo>
                    <a:pt x="214396" y="175944"/>
                  </a:lnTo>
                  <a:lnTo>
                    <a:pt x="205985" y="178803"/>
                  </a:lnTo>
                  <a:lnTo>
                    <a:pt x="192341" y="173235"/>
                  </a:lnTo>
                  <a:lnTo>
                    <a:pt x="192360" y="174631"/>
                  </a:lnTo>
                  <a:lnTo>
                    <a:pt x="179151" y="172016"/>
                  </a:lnTo>
                  <a:lnTo>
                    <a:pt x="176017" y="172774"/>
                  </a:lnTo>
                  <a:lnTo>
                    <a:pt x="147136" y="173941"/>
                  </a:lnTo>
                  <a:lnTo>
                    <a:pt x="146755" y="188125"/>
                  </a:lnTo>
                  <a:lnTo>
                    <a:pt x="143974" y="199571"/>
                  </a:lnTo>
                  <a:lnTo>
                    <a:pt x="133738" y="198726"/>
                  </a:lnTo>
                  <a:lnTo>
                    <a:pt x="124751" y="202553"/>
                  </a:lnTo>
                  <a:lnTo>
                    <a:pt x="114934" y="203264"/>
                  </a:lnTo>
                  <a:lnTo>
                    <a:pt x="112181" y="189837"/>
                  </a:lnTo>
                  <a:lnTo>
                    <a:pt x="104885" y="175018"/>
                  </a:lnTo>
                  <a:lnTo>
                    <a:pt x="90109" y="172782"/>
                  </a:lnTo>
                  <a:lnTo>
                    <a:pt x="74535" y="183172"/>
                  </a:lnTo>
                  <a:lnTo>
                    <a:pt x="56846" y="170033"/>
                  </a:lnTo>
                  <a:lnTo>
                    <a:pt x="55022" y="166327"/>
                  </a:lnTo>
                  <a:lnTo>
                    <a:pt x="51472" y="165526"/>
                  </a:lnTo>
                  <a:lnTo>
                    <a:pt x="52047" y="164558"/>
                  </a:lnTo>
                  <a:lnTo>
                    <a:pt x="55182" y="163803"/>
                  </a:lnTo>
                  <a:lnTo>
                    <a:pt x="53773" y="161655"/>
                  </a:lnTo>
                  <a:lnTo>
                    <a:pt x="54925" y="159719"/>
                  </a:lnTo>
                  <a:lnTo>
                    <a:pt x="46577" y="153445"/>
                  </a:lnTo>
                  <a:lnTo>
                    <a:pt x="24214" y="116564"/>
                  </a:lnTo>
                  <a:lnTo>
                    <a:pt x="0" y="100855"/>
                  </a:lnTo>
                  <a:lnTo>
                    <a:pt x="11449" y="90631"/>
                  </a:lnTo>
                  <a:lnTo>
                    <a:pt x="23569" y="86050"/>
                  </a:lnTo>
                  <a:lnTo>
                    <a:pt x="28431" y="82388"/>
                  </a:lnTo>
                  <a:lnTo>
                    <a:pt x="14036" y="65968"/>
                  </a:lnTo>
                  <a:lnTo>
                    <a:pt x="5942" y="63777"/>
                  </a:lnTo>
                  <a:lnTo>
                    <a:pt x="12115" y="55655"/>
                  </a:lnTo>
                  <a:lnTo>
                    <a:pt x="19499" y="36465"/>
                  </a:lnTo>
                  <a:lnTo>
                    <a:pt x="33028" y="34029"/>
                  </a:lnTo>
                  <a:lnTo>
                    <a:pt x="70992" y="35644"/>
                  </a:lnTo>
                  <a:lnTo>
                    <a:pt x="77103" y="36656"/>
                  </a:lnTo>
                  <a:lnTo>
                    <a:pt x="80811" y="34933"/>
                  </a:lnTo>
                  <a:lnTo>
                    <a:pt x="87337" y="37502"/>
                  </a:lnTo>
                  <a:lnTo>
                    <a:pt x="120441" y="42776"/>
                  </a:lnTo>
                  <a:lnTo>
                    <a:pt x="142060" y="42533"/>
                  </a:lnTo>
                  <a:lnTo>
                    <a:pt x="162530" y="44224"/>
                  </a:lnTo>
                  <a:lnTo>
                    <a:pt x="167230" y="43090"/>
                  </a:lnTo>
                  <a:lnTo>
                    <a:pt x="189108" y="46928"/>
                  </a:lnTo>
                  <a:lnTo>
                    <a:pt x="205354" y="42179"/>
                  </a:lnTo>
                  <a:lnTo>
                    <a:pt x="206763" y="44325"/>
                  </a:lnTo>
                  <a:lnTo>
                    <a:pt x="207436" y="49966"/>
                  </a:lnTo>
                  <a:lnTo>
                    <a:pt x="207178" y="45882"/>
                  </a:lnTo>
                  <a:lnTo>
                    <a:pt x="209738" y="46094"/>
                  </a:lnTo>
                  <a:lnTo>
                    <a:pt x="215846" y="47107"/>
                  </a:lnTo>
                  <a:lnTo>
                    <a:pt x="215112" y="50600"/>
                  </a:lnTo>
                  <a:lnTo>
                    <a:pt x="223203" y="52792"/>
                  </a:lnTo>
                  <a:lnTo>
                    <a:pt x="251959" y="69892"/>
                  </a:lnTo>
                  <a:lnTo>
                    <a:pt x="278378" y="75122"/>
                  </a:lnTo>
                  <a:lnTo>
                    <a:pt x="288453" y="78494"/>
                  </a:lnTo>
                  <a:lnTo>
                    <a:pt x="298175" y="71173"/>
                  </a:lnTo>
                  <a:lnTo>
                    <a:pt x="299583" y="73319"/>
                  </a:lnTo>
                  <a:lnTo>
                    <a:pt x="292739" y="75800"/>
                  </a:lnTo>
                  <a:lnTo>
                    <a:pt x="292996" y="79884"/>
                  </a:lnTo>
                  <a:lnTo>
                    <a:pt x="309596" y="85826"/>
                  </a:lnTo>
                  <a:lnTo>
                    <a:pt x="336015" y="91054"/>
                  </a:lnTo>
                  <a:lnTo>
                    <a:pt x="356422" y="101880"/>
                  </a:lnTo>
                  <a:lnTo>
                    <a:pt x="385657" y="111403"/>
                  </a:lnTo>
                  <a:lnTo>
                    <a:pt x="390870" y="118435"/>
                  </a:lnTo>
                  <a:lnTo>
                    <a:pt x="395988" y="118858"/>
                  </a:lnTo>
                  <a:lnTo>
                    <a:pt x="398228" y="124120"/>
                  </a:lnTo>
                  <a:lnTo>
                    <a:pt x="407213" y="120294"/>
                  </a:lnTo>
                  <a:lnTo>
                    <a:pt x="408366" y="118357"/>
                  </a:lnTo>
                  <a:lnTo>
                    <a:pt x="408781" y="119915"/>
                  </a:lnTo>
                  <a:close/>
                  <a:moveTo>
                    <a:pt x="415612" y="36200"/>
                  </a:moveTo>
                  <a:lnTo>
                    <a:pt x="418587" y="37969"/>
                  </a:lnTo>
                  <a:lnTo>
                    <a:pt x="417276" y="42431"/>
                  </a:lnTo>
                  <a:lnTo>
                    <a:pt x="412416" y="46090"/>
                  </a:lnTo>
                  <a:lnTo>
                    <a:pt x="409441" y="44322"/>
                  </a:lnTo>
                  <a:lnTo>
                    <a:pt x="408768" y="38680"/>
                  </a:lnTo>
                  <a:lnTo>
                    <a:pt x="412894" y="38515"/>
                  </a:lnTo>
                  <a:close/>
                  <a:moveTo>
                    <a:pt x="371982" y="10255"/>
                  </a:moveTo>
                  <a:lnTo>
                    <a:pt x="374959" y="12025"/>
                  </a:lnTo>
                  <a:lnTo>
                    <a:pt x="370672" y="14716"/>
                  </a:lnTo>
                  <a:lnTo>
                    <a:pt x="368273" y="11979"/>
                  </a:lnTo>
                  <a:close/>
                  <a:moveTo>
                    <a:pt x="433295" y="8723"/>
                  </a:moveTo>
                  <a:lnTo>
                    <a:pt x="431408" y="14151"/>
                  </a:lnTo>
                  <a:lnTo>
                    <a:pt x="426035" y="9645"/>
                  </a:lnTo>
                  <a:lnTo>
                    <a:pt x="423892" y="10991"/>
                  </a:lnTo>
                  <a:lnTo>
                    <a:pt x="416790" y="9390"/>
                  </a:lnTo>
                  <a:lnTo>
                    <a:pt x="412409" y="5473"/>
                  </a:lnTo>
                  <a:lnTo>
                    <a:pt x="402750" y="3659"/>
                  </a:lnTo>
                  <a:lnTo>
                    <a:pt x="396897" y="6730"/>
                  </a:lnTo>
                  <a:lnTo>
                    <a:pt x="395489" y="4582"/>
                  </a:lnTo>
                  <a:lnTo>
                    <a:pt x="398784" y="1301"/>
                  </a:lnTo>
                  <a:lnTo>
                    <a:pt x="407610" y="0"/>
                  </a:lnTo>
                  <a:close/>
                </a:path>
              </a:pathLst>
            </a:custGeom>
            <a:solidFill>
              <a:srgbClr val="FFE8BA"/>
            </a:solidFill>
            <a:ln w="9525">
              <a:solidFill>
                <a:srgbClr val="FFFFFF"/>
              </a:solidFill>
            </a:ln>
          </p:spPr>
          <p:txBody>
            <a:bodyPr rot="0" spcFirstLastPara="0" vert="horz" wrap="square" lIns="72000" tIns="72000" rIns="72000" bIns="72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a:ln>
                  <a:noFill/>
                </a:ln>
                <a:solidFill>
                  <a:srgbClr val="000000"/>
                </a:solidFill>
                <a:effectLst/>
                <a:uLnTx/>
                <a:uFillTx/>
                <a:latin typeface="Corbel" panose="020B0503020204020204" pitchFamily="34" charset="0"/>
                <a:ea typeface="+mn-ea"/>
                <a:cs typeface="+mn-cs"/>
              </a:endParaRPr>
            </a:p>
          </p:txBody>
        </p:sp>
      </p:grpSp>
      <p:sp>
        <p:nvSpPr>
          <p:cNvPr id="10" name="TextBox 9">
            <a:extLst>
              <a:ext uri="{FF2B5EF4-FFF2-40B4-BE49-F238E27FC236}">
                <a16:creationId xmlns:a16="http://schemas.microsoft.com/office/drawing/2014/main" id="{C34F2D04-98F4-4F04-9D00-0D3E7C56A039}"/>
              </a:ext>
            </a:extLst>
          </p:cNvPr>
          <p:cNvSpPr txBox="1"/>
          <p:nvPr/>
        </p:nvSpPr>
        <p:spPr>
          <a:xfrm>
            <a:off x="9552495" y="2092183"/>
            <a:ext cx="1431020" cy="156090"/>
          </a:xfrm>
          <a:prstGeom prst="rect">
            <a:avLst/>
          </a:prstGeom>
        </p:spPr>
        <p:txBody>
          <a:bodyPr vert="horz" wrap="square" lIns="0" tIns="0" rIns="0" bIns="0" rtlCol="0">
            <a:noAutofit/>
          </a:bodyPr>
          <a:lstStyle/>
          <a:p>
            <a:pPr marL="0" indent="0" algn="l">
              <a:buNone/>
            </a:pPr>
            <a:r>
              <a:rPr lang="nl-NL" sz="1100" noProof="0" dirty="0"/>
              <a:t>Meer dan 15% overschot</a:t>
            </a:r>
            <a:endParaRPr lang="nl-NL" sz="1200" noProof="0" dirty="0"/>
          </a:p>
        </p:txBody>
      </p:sp>
      <p:sp>
        <p:nvSpPr>
          <p:cNvPr id="777" name="Rectangle 776">
            <a:extLst>
              <a:ext uri="{FF2B5EF4-FFF2-40B4-BE49-F238E27FC236}">
                <a16:creationId xmlns:a16="http://schemas.microsoft.com/office/drawing/2014/main" id="{64AEBB54-5C0F-4B9C-B704-979F7B24F4AE}"/>
              </a:ext>
            </a:extLst>
          </p:cNvPr>
          <p:cNvSpPr/>
          <p:nvPr/>
        </p:nvSpPr>
        <p:spPr>
          <a:xfrm>
            <a:off x="9067858" y="2566925"/>
            <a:ext cx="404474" cy="175842"/>
          </a:xfrm>
          <a:prstGeom prst="rect">
            <a:avLst/>
          </a:prstGeom>
          <a:solidFill>
            <a:srgbClr val="FFE8B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78" name="Rectangle 777">
            <a:extLst>
              <a:ext uri="{FF2B5EF4-FFF2-40B4-BE49-F238E27FC236}">
                <a16:creationId xmlns:a16="http://schemas.microsoft.com/office/drawing/2014/main" id="{0A8148D4-8297-4C8D-973D-8E4762A1DC8C}"/>
              </a:ext>
            </a:extLst>
          </p:cNvPr>
          <p:cNvSpPr/>
          <p:nvPr/>
        </p:nvSpPr>
        <p:spPr>
          <a:xfrm>
            <a:off x="9067751" y="2809234"/>
            <a:ext cx="404474" cy="175842"/>
          </a:xfrm>
          <a:prstGeom prst="rect">
            <a:avLst/>
          </a:prstGeom>
          <a:solidFill>
            <a:srgbClr val="FFBD42"/>
          </a:solidFill>
          <a:ln>
            <a:solidFill>
              <a:srgbClr val="FFBD4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79" name="Rectangle 778">
            <a:extLst>
              <a:ext uri="{FF2B5EF4-FFF2-40B4-BE49-F238E27FC236}">
                <a16:creationId xmlns:a16="http://schemas.microsoft.com/office/drawing/2014/main" id="{1FF518B7-87D0-4D45-A3B4-78034AAFA221}"/>
              </a:ext>
            </a:extLst>
          </p:cNvPr>
          <p:cNvSpPr/>
          <p:nvPr/>
        </p:nvSpPr>
        <p:spPr>
          <a:xfrm>
            <a:off x="9067858" y="3051543"/>
            <a:ext cx="404474" cy="175842"/>
          </a:xfrm>
          <a:prstGeom prst="rect">
            <a:avLst/>
          </a:prstGeom>
          <a:solidFill>
            <a:srgbClr val="EC6224"/>
          </a:solidFill>
          <a:ln>
            <a:solidFill>
              <a:srgbClr val="EC6224"/>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80" name="Rectangle 779">
            <a:extLst>
              <a:ext uri="{FF2B5EF4-FFF2-40B4-BE49-F238E27FC236}">
                <a16:creationId xmlns:a16="http://schemas.microsoft.com/office/drawing/2014/main" id="{8F5B571C-E475-4E08-B476-721DFAD5F249}"/>
              </a:ext>
            </a:extLst>
          </p:cNvPr>
          <p:cNvSpPr/>
          <p:nvPr/>
        </p:nvSpPr>
        <p:spPr>
          <a:xfrm>
            <a:off x="9067751" y="3293852"/>
            <a:ext cx="404474" cy="175842"/>
          </a:xfrm>
          <a:prstGeom prst="rect">
            <a:avLst/>
          </a:prstGeom>
          <a:solidFill>
            <a:srgbClr val="BF211E"/>
          </a:solidFill>
          <a:ln>
            <a:solidFill>
              <a:srgbClr val="BF211E"/>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81" name="TextBox 780">
            <a:extLst>
              <a:ext uri="{FF2B5EF4-FFF2-40B4-BE49-F238E27FC236}">
                <a16:creationId xmlns:a16="http://schemas.microsoft.com/office/drawing/2014/main" id="{D65A5711-B890-4E9C-BABC-BBD235A167AB}"/>
              </a:ext>
            </a:extLst>
          </p:cNvPr>
          <p:cNvSpPr txBox="1"/>
          <p:nvPr/>
        </p:nvSpPr>
        <p:spPr>
          <a:xfrm>
            <a:off x="9552495" y="2576801"/>
            <a:ext cx="972602" cy="156090"/>
          </a:xfrm>
          <a:prstGeom prst="rect">
            <a:avLst/>
          </a:prstGeom>
        </p:spPr>
        <p:txBody>
          <a:bodyPr vert="horz" wrap="square" lIns="0" tIns="0" rIns="0" bIns="0" rtlCol="0">
            <a:noAutofit/>
          </a:bodyPr>
          <a:lstStyle/>
          <a:p>
            <a:pPr marL="0" indent="0" algn="l">
              <a:buNone/>
            </a:pPr>
            <a:r>
              <a:rPr lang="nl-NL" sz="1100" noProof="0" dirty="0"/>
              <a:t>0-15% tekort</a:t>
            </a:r>
            <a:endParaRPr lang="nl-NL" sz="1200" noProof="0" dirty="0"/>
          </a:p>
        </p:txBody>
      </p:sp>
      <p:sp>
        <p:nvSpPr>
          <p:cNvPr id="782" name="TextBox 781">
            <a:extLst>
              <a:ext uri="{FF2B5EF4-FFF2-40B4-BE49-F238E27FC236}">
                <a16:creationId xmlns:a16="http://schemas.microsoft.com/office/drawing/2014/main" id="{C5B458C5-31F1-49B0-857A-58E314542768}"/>
              </a:ext>
            </a:extLst>
          </p:cNvPr>
          <p:cNvSpPr txBox="1"/>
          <p:nvPr/>
        </p:nvSpPr>
        <p:spPr>
          <a:xfrm>
            <a:off x="9552495" y="2819110"/>
            <a:ext cx="972602" cy="156090"/>
          </a:xfrm>
          <a:prstGeom prst="rect">
            <a:avLst/>
          </a:prstGeom>
        </p:spPr>
        <p:txBody>
          <a:bodyPr vert="horz" wrap="square" lIns="0" tIns="0" rIns="0" bIns="0" rtlCol="0">
            <a:noAutofit/>
          </a:bodyPr>
          <a:lstStyle/>
          <a:p>
            <a:pPr marL="0" indent="0" algn="l">
              <a:buNone/>
            </a:pPr>
            <a:r>
              <a:rPr lang="nl-NL" sz="1100" dirty="0"/>
              <a:t>15</a:t>
            </a:r>
            <a:r>
              <a:rPr lang="nl-NL" sz="1100" noProof="0" dirty="0"/>
              <a:t>-30% tekort</a:t>
            </a:r>
            <a:endParaRPr lang="nl-NL" sz="1200" noProof="0" dirty="0"/>
          </a:p>
        </p:txBody>
      </p:sp>
      <p:sp>
        <p:nvSpPr>
          <p:cNvPr id="784" name="TextBox 783">
            <a:extLst>
              <a:ext uri="{FF2B5EF4-FFF2-40B4-BE49-F238E27FC236}">
                <a16:creationId xmlns:a16="http://schemas.microsoft.com/office/drawing/2014/main" id="{AFD17EA4-A37D-41FD-A1E6-98E9E029B1AE}"/>
              </a:ext>
            </a:extLst>
          </p:cNvPr>
          <p:cNvSpPr txBox="1"/>
          <p:nvPr/>
        </p:nvSpPr>
        <p:spPr>
          <a:xfrm>
            <a:off x="9552495" y="3061419"/>
            <a:ext cx="972602" cy="156090"/>
          </a:xfrm>
          <a:prstGeom prst="rect">
            <a:avLst/>
          </a:prstGeom>
        </p:spPr>
        <p:txBody>
          <a:bodyPr vert="horz" wrap="square" lIns="0" tIns="0" rIns="0" bIns="0" rtlCol="0">
            <a:noAutofit/>
          </a:bodyPr>
          <a:lstStyle/>
          <a:p>
            <a:pPr marL="0" indent="0" algn="l">
              <a:buNone/>
            </a:pPr>
            <a:r>
              <a:rPr lang="nl-NL" sz="1100" dirty="0"/>
              <a:t>30</a:t>
            </a:r>
            <a:r>
              <a:rPr lang="nl-NL" sz="1100" noProof="0" dirty="0"/>
              <a:t>-45% tekort</a:t>
            </a:r>
            <a:endParaRPr lang="nl-NL" sz="1200" noProof="0" dirty="0"/>
          </a:p>
        </p:txBody>
      </p:sp>
      <p:sp>
        <p:nvSpPr>
          <p:cNvPr id="785" name="TextBox 784">
            <a:extLst>
              <a:ext uri="{FF2B5EF4-FFF2-40B4-BE49-F238E27FC236}">
                <a16:creationId xmlns:a16="http://schemas.microsoft.com/office/drawing/2014/main" id="{789733FF-2C73-4D5D-974F-E1B7D0B9871F}"/>
              </a:ext>
            </a:extLst>
          </p:cNvPr>
          <p:cNvSpPr txBox="1"/>
          <p:nvPr/>
        </p:nvSpPr>
        <p:spPr>
          <a:xfrm>
            <a:off x="9552495" y="3303728"/>
            <a:ext cx="972602" cy="156090"/>
          </a:xfrm>
          <a:prstGeom prst="rect">
            <a:avLst/>
          </a:prstGeom>
        </p:spPr>
        <p:txBody>
          <a:bodyPr vert="horz" wrap="square" lIns="0" tIns="0" rIns="0" bIns="0" rtlCol="0">
            <a:noAutofit/>
          </a:bodyPr>
          <a:lstStyle/>
          <a:p>
            <a:pPr marL="0" indent="0" algn="l">
              <a:buNone/>
            </a:pPr>
            <a:r>
              <a:rPr lang="nl-NL" sz="1100" dirty="0"/>
              <a:t>&gt;45</a:t>
            </a:r>
            <a:r>
              <a:rPr lang="nl-NL" sz="1100" noProof="0" dirty="0"/>
              <a:t>% tekort</a:t>
            </a:r>
            <a:endParaRPr lang="nl-NL" sz="1200" noProof="0" dirty="0"/>
          </a:p>
        </p:txBody>
      </p:sp>
      <p:sp>
        <p:nvSpPr>
          <p:cNvPr id="1088" name="Freeform: Shape 1087">
            <a:extLst>
              <a:ext uri="{FF2B5EF4-FFF2-40B4-BE49-F238E27FC236}">
                <a16:creationId xmlns:a16="http://schemas.microsoft.com/office/drawing/2014/main" id="{04158A74-3601-4FEE-ABE1-FA99B6363B13}"/>
              </a:ext>
            </a:extLst>
          </p:cNvPr>
          <p:cNvSpPr/>
          <p:nvPr/>
        </p:nvSpPr>
        <p:spPr>
          <a:xfrm rot="11908903" flipH="1" flipV="1">
            <a:off x="5039842" y="2069255"/>
            <a:ext cx="1004695" cy="299306"/>
          </a:xfrm>
          <a:custGeom>
            <a:avLst/>
            <a:gdLst>
              <a:gd name="connsiteX0" fmla="*/ 0 w 1024467"/>
              <a:gd name="connsiteY0" fmla="*/ 82518 h 505852"/>
              <a:gd name="connsiteX1" fmla="*/ 651934 w 1024467"/>
              <a:gd name="connsiteY1" fmla="*/ 31718 h 505852"/>
              <a:gd name="connsiteX2" fmla="*/ 1024467 w 1024467"/>
              <a:gd name="connsiteY2" fmla="*/ 505852 h 505852"/>
              <a:gd name="connsiteX0" fmla="*/ 0 w 1908387"/>
              <a:gd name="connsiteY0" fmla="*/ 8108 h 789582"/>
              <a:gd name="connsiteX1" fmla="*/ 1535854 w 1908387"/>
              <a:gd name="connsiteY1" fmla="*/ 315448 h 789582"/>
              <a:gd name="connsiteX2" fmla="*/ 1908387 w 1908387"/>
              <a:gd name="connsiteY2" fmla="*/ 789582 h 789582"/>
              <a:gd name="connsiteX0" fmla="*/ 0 w 1908387"/>
              <a:gd name="connsiteY0" fmla="*/ 0 h 781474"/>
              <a:gd name="connsiteX1" fmla="*/ 1535854 w 1908387"/>
              <a:gd name="connsiteY1" fmla="*/ 307340 h 781474"/>
              <a:gd name="connsiteX2" fmla="*/ 1908387 w 1908387"/>
              <a:gd name="connsiteY2" fmla="*/ 781474 h 781474"/>
              <a:gd name="connsiteX0" fmla="*/ 0 w 1566642"/>
              <a:gd name="connsiteY0" fmla="*/ 0 h 670638"/>
              <a:gd name="connsiteX1" fmla="*/ 1194109 w 1566642"/>
              <a:gd name="connsiteY1" fmla="*/ 196504 h 670638"/>
              <a:gd name="connsiteX2" fmla="*/ 1566642 w 1566642"/>
              <a:gd name="connsiteY2" fmla="*/ 670638 h 670638"/>
              <a:gd name="connsiteX0" fmla="*/ 0 w 1566642"/>
              <a:gd name="connsiteY0" fmla="*/ 0 h 670638"/>
              <a:gd name="connsiteX1" fmla="*/ 1046327 w 1566642"/>
              <a:gd name="connsiteY1" fmla="*/ 141085 h 670638"/>
              <a:gd name="connsiteX2" fmla="*/ 1566642 w 1566642"/>
              <a:gd name="connsiteY2" fmla="*/ 670638 h 670638"/>
              <a:gd name="connsiteX0" fmla="*/ 0 w 1585115"/>
              <a:gd name="connsiteY0" fmla="*/ 0 h 652165"/>
              <a:gd name="connsiteX1" fmla="*/ 1046327 w 1585115"/>
              <a:gd name="connsiteY1" fmla="*/ 141085 h 652165"/>
              <a:gd name="connsiteX2" fmla="*/ 1585115 w 1585115"/>
              <a:gd name="connsiteY2" fmla="*/ 652165 h 652165"/>
              <a:gd name="connsiteX0" fmla="*/ 0 w 1585115"/>
              <a:gd name="connsiteY0" fmla="*/ 0 h 652165"/>
              <a:gd name="connsiteX1" fmla="*/ 935491 w 1585115"/>
              <a:gd name="connsiteY1" fmla="*/ 141085 h 652165"/>
              <a:gd name="connsiteX2" fmla="*/ 1585115 w 1585115"/>
              <a:gd name="connsiteY2" fmla="*/ 652165 h 652165"/>
              <a:gd name="connsiteX0" fmla="*/ 0 w 1525104"/>
              <a:gd name="connsiteY0" fmla="*/ 0 h 628078"/>
              <a:gd name="connsiteX1" fmla="*/ 875480 w 1525104"/>
              <a:gd name="connsiteY1" fmla="*/ 116998 h 628078"/>
              <a:gd name="connsiteX2" fmla="*/ 1525104 w 1525104"/>
              <a:gd name="connsiteY2" fmla="*/ 628078 h 628078"/>
              <a:gd name="connsiteX0" fmla="*/ 0 w 1525104"/>
              <a:gd name="connsiteY0" fmla="*/ 0 h 628078"/>
              <a:gd name="connsiteX1" fmla="*/ 797959 w 1525104"/>
              <a:gd name="connsiteY1" fmla="*/ 95899 h 628078"/>
              <a:gd name="connsiteX2" fmla="*/ 1525104 w 1525104"/>
              <a:gd name="connsiteY2" fmla="*/ 628078 h 628078"/>
              <a:gd name="connsiteX0" fmla="*/ 0 w 1525104"/>
              <a:gd name="connsiteY0" fmla="*/ 0 h 628078"/>
              <a:gd name="connsiteX1" fmla="*/ 835486 w 1525104"/>
              <a:gd name="connsiteY1" fmla="*/ 80918 h 628078"/>
              <a:gd name="connsiteX2" fmla="*/ 1525104 w 1525104"/>
              <a:gd name="connsiteY2" fmla="*/ 628078 h 628078"/>
              <a:gd name="connsiteX0" fmla="*/ 0 w 1525104"/>
              <a:gd name="connsiteY0" fmla="*/ 0 h 628078"/>
              <a:gd name="connsiteX1" fmla="*/ 1525104 w 1525104"/>
              <a:gd name="connsiteY1" fmla="*/ 628078 h 628078"/>
              <a:gd name="connsiteX0" fmla="*/ 0 w 1525104"/>
              <a:gd name="connsiteY0" fmla="*/ 14173 h 642251"/>
              <a:gd name="connsiteX1" fmla="*/ 1525104 w 1525104"/>
              <a:gd name="connsiteY1" fmla="*/ 642251 h 642251"/>
              <a:gd name="connsiteX0" fmla="*/ 0 w 1525104"/>
              <a:gd name="connsiteY0" fmla="*/ 25333 h 653411"/>
              <a:gd name="connsiteX1" fmla="*/ 1525104 w 1525104"/>
              <a:gd name="connsiteY1" fmla="*/ 653411 h 653411"/>
              <a:gd name="connsiteX0" fmla="*/ 0 w 1573400"/>
              <a:gd name="connsiteY0" fmla="*/ 20509 h 734734"/>
              <a:gd name="connsiteX1" fmla="*/ 1573400 w 1573400"/>
              <a:gd name="connsiteY1" fmla="*/ 734735 h 734734"/>
              <a:gd name="connsiteX0" fmla="*/ 0 w 1573400"/>
              <a:gd name="connsiteY0" fmla="*/ 16167 h 730393"/>
              <a:gd name="connsiteX1" fmla="*/ 1573400 w 1573400"/>
              <a:gd name="connsiteY1" fmla="*/ 730393 h 730393"/>
              <a:gd name="connsiteX0" fmla="*/ 0 w 1304394"/>
              <a:gd name="connsiteY0" fmla="*/ 529869 h 529869"/>
              <a:gd name="connsiteX1" fmla="*/ 1304394 w 1304394"/>
              <a:gd name="connsiteY1" fmla="*/ 111980 h 529869"/>
              <a:gd name="connsiteX0" fmla="*/ 0 w 1304394"/>
              <a:gd name="connsiteY0" fmla="*/ 540866 h 540866"/>
              <a:gd name="connsiteX1" fmla="*/ 1304394 w 1304394"/>
              <a:gd name="connsiteY1" fmla="*/ 122977 h 540866"/>
              <a:gd name="connsiteX0" fmla="*/ 0 w 1304394"/>
              <a:gd name="connsiteY0" fmla="*/ 456860 h 456860"/>
              <a:gd name="connsiteX1" fmla="*/ 1304394 w 1304394"/>
              <a:gd name="connsiteY1" fmla="*/ 38971 h 456860"/>
              <a:gd name="connsiteX0" fmla="*/ 0 w 1131397"/>
              <a:gd name="connsiteY0" fmla="*/ 469351 h 469351"/>
              <a:gd name="connsiteX1" fmla="*/ 1131397 w 1131397"/>
              <a:gd name="connsiteY1" fmla="*/ 37975 h 469351"/>
              <a:gd name="connsiteX0" fmla="*/ 0 w 1131397"/>
              <a:gd name="connsiteY0" fmla="*/ 453059 h 453059"/>
              <a:gd name="connsiteX1" fmla="*/ 1131397 w 1131397"/>
              <a:gd name="connsiteY1" fmla="*/ 21683 h 453059"/>
            </a:gdLst>
            <a:ahLst/>
            <a:cxnLst>
              <a:cxn ang="0">
                <a:pos x="connsiteX0" y="connsiteY0"/>
              </a:cxn>
              <a:cxn ang="0">
                <a:pos x="connsiteX1" y="connsiteY1"/>
              </a:cxn>
            </a:cxnLst>
            <a:rect l="l" t="t" r="r" b="b"/>
            <a:pathLst>
              <a:path w="1131397" h="453059">
                <a:moveTo>
                  <a:pt x="0" y="453059"/>
                </a:moveTo>
                <a:cubicBezTo>
                  <a:pt x="180131" y="250450"/>
                  <a:pt x="636109" y="-89076"/>
                  <a:pt x="1131397" y="21683"/>
                </a:cubicBezTo>
              </a:path>
            </a:pathLst>
          </a:custGeom>
          <a:noFill/>
          <a:ln w="19050">
            <a:solidFill>
              <a:srgbClr val="22777B"/>
            </a:solidFill>
            <a:prstDash val="dash"/>
            <a:headEnd type="none" w="med" len="med"/>
            <a:tailEnd type="triangle" w="med" len="med"/>
          </a:ln>
        </p:spPr>
        <p:txBody>
          <a:bodyPr rtlCol="0" anchor="ctr"/>
          <a:lstStyle/>
          <a:p>
            <a:pPr algn="ctr"/>
            <a:endParaRPr lang="nl-NL" dirty="0"/>
          </a:p>
        </p:txBody>
      </p:sp>
      <p:sp>
        <p:nvSpPr>
          <p:cNvPr id="1089" name="Freeform: Shape 1088">
            <a:extLst>
              <a:ext uri="{FF2B5EF4-FFF2-40B4-BE49-F238E27FC236}">
                <a16:creationId xmlns:a16="http://schemas.microsoft.com/office/drawing/2014/main" id="{4092D8F6-D529-4671-8F3D-836FF8EE0969}"/>
              </a:ext>
            </a:extLst>
          </p:cNvPr>
          <p:cNvSpPr/>
          <p:nvPr/>
        </p:nvSpPr>
        <p:spPr>
          <a:xfrm rot="15190902" flipH="1">
            <a:off x="6815021" y="3042217"/>
            <a:ext cx="1110247" cy="1433030"/>
          </a:xfrm>
          <a:custGeom>
            <a:avLst/>
            <a:gdLst>
              <a:gd name="connsiteX0" fmla="*/ 0 w 1024467"/>
              <a:gd name="connsiteY0" fmla="*/ 82518 h 505852"/>
              <a:gd name="connsiteX1" fmla="*/ 651934 w 1024467"/>
              <a:gd name="connsiteY1" fmla="*/ 31718 h 505852"/>
              <a:gd name="connsiteX2" fmla="*/ 1024467 w 1024467"/>
              <a:gd name="connsiteY2" fmla="*/ 505852 h 505852"/>
              <a:gd name="connsiteX0" fmla="*/ 0 w 1908387"/>
              <a:gd name="connsiteY0" fmla="*/ 8108 h 789582"/>
              <a:gd name="connsiteX1" fmla="*/ 1535854 w 1908387"/>
              <a:gd name="connsiteY1" fmla="*/ 315448 h 789582"/>
              <a:gd name="connsiteX2" fmla="*/ 1908387 w 1908387"/>
              <a:gd name="connsiteY2" fmla="*/ 789582 h 789582"/>
              <a:gd name="connsiteX0" fmla="*/ 0 w 1908387"/>
              <a:gd name="connsiteY0" fmla="*/ 0 h 781474"/>
              <a:gd name="connsiteX1" fmla="*/ 1535854 w 1908387"/>
              <a:gd name="connsiteY1" fmla="*/ 307340 h 781474"/>
              <a:gd name="connsiteX2" fmla="*/ 1908387 w 1908387"/>
              <a:gd name="connsiteY2" fmla="*/ 781474 h 781474"/>
              <a:gd name="connsiteX0" fmla="*/ 0 w 1566642"/>
              <a:gd name="connsiteY0" fmla="*/ 0 h 670638"/>
              <a:gd name="connsiteX1" fmla="*/ 1194109 w 1566642"/>
              <a:gd name="connsiteY1" fmla="*/ 196504 h 670638"/>
              <a:gd name="connsiteX2" fmla="*/ 1566642 w 1566642"/>
              <a:gd name="connsiteY2" fmla="*/ 670638 h 670638"/>
              <a:gd name="connsiteX0" fmla="*/ 0 w 1566642"/>
              <a:gd name="connsiteY0" fmla="*/ 0 h 670638"/>
              <a:gd name="connsiteX1" fmla="*/ 1046327 w 1566642"/>
              <a:gd name="connsiteY1" fmla="*/ 141085 h 670638"/>
              <a:gd name="connsiteX2" fmla="*/ 1566642 w 1566642"/>
              <a:gd name="connsiteY2" fmla="*/ 670638 h 670638"/>
              <a:gd name="connsiteX0" fmla="*/ 0 w 1585115"/>
              <a:gd name="connsiteY0" fmla="*/ 0 h 652165"/>
              <a:gd name="connsiteX1" fmla="*/ 1046327 w 1585115"/>
              <a:gd name="connsiteY1" fmla="*/ 141085 h 652165"/>
              <a:gd name="connsiteX2" fmla="*/ 1585115 w 1585115"/>
              <a:gd name="connsiteY2" fmla="*/ 652165 h 652165"/>
              <a:gd name="connsiteX0" fmla="*/ 0 w 1585115"/>
              <a:gd name="connsiteY0" fmla="*/ 0 h 652165"/>
              <a:gd name="connsiteX1" fmla="*/ 935491 w 1585115"/>
              <a:gd name="connsiteY1" fmla="*/ 141085 h 652165"/>
              <a:gd name="connsiteX2" fmla="*/ 1585115 w 1585115"/>
              <a:gd name="connsiteY2" fmla="*/ 652165 h 652165"/>
              <a:gd name="connsiteX0" fmla="*/ 0 w 1549193"/>
              <a:gd name="connsiteY0" fmla="*/ 0 h 660623"/>
              <a:gd name="connsiteX1" fmla="*/ 935491 w 1549193"/>
              <a:gd name="connsiteY1" fmla="*/ 141085 h 660623"/>
              <a:gd name="connsiteX2" fmla="*/ 1549194 w 1549193"/>
              <a:gd name="connsiteY2" fmla="*/ 660623 h 660623"/>
              <a:gd name="connsiteX0" fmla="*/ 0 w 1549195"/>
              <a:gd name="connsiteY0" fmla="*/ 0 h 660623"/>
              <a:gd name="connsiteX1" fmla="*/ 1549194 w 1549195"/>
              <a:gd name="connsiteY1" fmla="*/ 660623 h 660623"/>
              <a:gd name="connsiteX0" fmla="*/ 0 w 1549193"/>
              <a:gd name="connsiteY0" fmla="*/ 0 h 660623"/>
              <a:gd name="connsiteX1" fmla="*/ 1549194 w 1549193"/>
              <a:gd name="connsiteY1" fmla="*/ 660623 h 660623"/>
              <a:gd name="connsiteX0" fmla="*/ 0 w 1576390"/>
              <a:gd name="connsiteY0" fmla="*/ 0 h 678080"/>
              <a:gd name="connsiteX1" fmla="*/ 1576390 w 1576390"/>
              <a:gd name="connsiteY1" fmla="*/ 678080 h 678080"/>
              <a:gd name="connsiteX0" fmla="*/ 0 w 1576390"/>
              <a:gd name="connsiteY0" fmla="*/ 0 h 678080"/>
              <a:gd name="connsiteX1" fmla="*/ 1576390 w 1576390"/>
              <a:gd name="connsiteY1" fmla="*/ 678080 h 678080"/>
              <a:gd name="connsiteX0" fmla="*/ 0 w 1576390"/>
              <a:gd name="connsiteY0" fmla="*/ 0 h 678080"/>
              <a:gd name="connsiteX1" fmla="*/ 1576390 w 1576390"/>
              <a:gd name="connsiteY1" fmla="*/ 678080 h 678080"/>
              <a:gd name="connsiteX0" fmla="*/ 0 w 1576390"/>
              <a:gd name="connsiteY0" fmla="*/ 0 h 678080"/>
              <a:gd name="connsiteX1" fmla="*/ 1576390 w 1576390"/>
              <a:gd name="connsiteY1" fmla="*/ 678080 h 678080"/>
              <a:gd name="connsiteX0" fmla="*/ 0 w 1576390"/>
              <a:gd name="connsiteY0" fmla="*/ 0 h 678080"/>
              <a:gd name="connsiteX1" fmla="*/ 1576390 w 1576390"/>
              <a:gd name="connsiteY1" fmla="*/ 678080 h 678080"/>
              <a:gd name="connsiteX0" fmla="*/ 0 w 1576390"/>
              <a:gd name="connsiteY0" fmla="*/ 0 h 678080"/>
              <a:gd name="connsiteX1" fmla="*/ 1287957 w 1576390"/>
              <a:gd name="connsiteY1" fmla="*/ 504981 h 678080"/>
              <a:gd name="connsiteX2" fmla="*/ 1576390 w 1576390"/>
              <a:gd name="connsiteY2" fmla="*/ 678080 h 678080"/>
              <a:gd name="connsiteX0" fmla="*/ 0 w 1576390"/>
              <a:gd name="connsiteY0" fmla="*/ 0 h 678080"/>
              <a:gd name="connsiteX1" fmla="*/ 1576390 w 1576390"/>
              <a:gd name="connsiteY1" fmla="*/ 678080 h 678080"/>
              <a:gd name="connsiteX0" fmla="*/ 0 w 1769017"/>
              <a:gd name="connsiteY0" fmla="*/ 0 h 465710"/>
              <a:gd name="connsiteX1" fmla="*/ 1769017 w 1769017"/>
              <a:gd name="connsiteY1" fmla="*/ 465710 h 465710"/>
            </a:gdLst>
            <a:ahLst/>
            <a:cxnLst>
              <a:cxn ang="0">
                <a:pos x="connsiteX0" y="connsiteY0"/>
              </a:cxn>
              <a:cxn ang="0">
                <a:pos x="connsiteX1" y="connsiteY1"/>
              </a:cxn>
            </a:cxnLst>
            <a:rect l="l" t="t" r="r" b="b"/>
            <a:pathLst>
              <a:path w="1769017" h="465710">
                <a:moveTo>
                  <a:pt x="0" y="0"/>
                </a:moveTo>
                <a:lnTo>
                  <a:pt x="1769017" y="465710"/>
                </a:lnTo>
              </a:path>
            </a:pathLst>
          </a:custGeom>
          <a:noFill/>
          <a:ln w="19050">
            <a:solidFill>
              <a:srgbClr val="22777B"/>
            </a:solidFill>
            <a:prstDash val="dash"/>
            <a:headEnd type="triangle" w="med" len="med"/>
            <a:tailEnd type="none" w="med" len="med"/>
          </a:ln>
        </p:spPr>
        <p:txBody>
          <a:bodyPr rtlCol="0" anchor="ctr"/>
          <a:lstStyle/>
          <a:p>
            <a:pPr algn="ctr"/>
            <a:endParaRPr lang="nl-NL" dirty="0"/>
          </a:p>
        </p:txBody>
      </p:sp>
      <p:sp>
        <p:nvSpPr>
          <p:cNvPr id="1090" name="Rectangle 1089">
            <a:extLst>
              <a:ext uri="{FF2B5EF4-FFF2-40B4-BE49-F238E27FC236}">
                <a16:creationId xmlns:a16="http://schemas.microsoft.com/office/drawing/2014/main" id="{C5920D67-BF0D-4037-92F6-5F2FFCA638D8}"/>
              </a:ext>
            </a:extLst>
          </p:cNvPr>
          <p:cNvSpPr/>
          <p:nvPr/>
        </p:nvSpPr>
        <p:spPr>
          <a:xfrm>
            <a:off x="2719668" y="2140179"/>
            <a:ext cx="2268000" cy="432000"/>
          </a:xfrm>
          <a:prstGeom prst="rect">
            <a:avLst/>
          </a:prstGeom>
          <a:noFill/>
          <a:ln w="9525">
            <a:solidFill>
              <a:srgbClr val="22777B"/>
            </a:solidFill>
          </a:ln>
          <a:extLst>
            <a:ext uri="{909E8E84-426E-40DD-AFC4-6F175D3DCCD1}">
              <a14:hiddenFill xmlns:a14="http://schemas.microsoft.com/office/drawing/2010/main">
                <a:solidFill>
                  <a:srgbClr val="68ABB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200"/>
              </a:spcBef>
              <a:buClr>
                <a:schemeClr val="tx2"/>
              </a:buClr>
              <a:buNone/>
            </a:pPr>
            <a:r>
              <a:rPr lang="nl-NL" sz="1100" b="1" dirty="0">
                <a:solidFill>
                  <a:srgbClr val="BF211E"/>
                </a:solidFill>
              </a:rPr>
              <a:t>Terschelling</a:t>
            </a:r>
            <a:r>
              <a:rPr lang="nl-NL" sz="1100" dirty="0"/>
              <a:t> heeft het grootste procentuele tekort (-186%, -0,8mln)</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82" name="Rectangle 381">
            <a:extLst>
              <a:ext uri="{FF2B5EF4-FFF2-40B4-BE49-F238E27FC236}">
                <a16:creationId xmlns:a16="http://schemas.microsoft.com/office/drawing/2014/main" id="{2E77A5ED-B841-4279-B157-302092C05405}"/>
              </a:ext>
            </a:extLst>
          </p:cNvPr>
          <p:cNvSpPr/>
          <p:nvPr/>
        </p:nvSpPr>
        <p:spPr>
          <a:xfrm>
            <a:off x="9067858" y="2324616"/>
            <a:ext cx="404474" cy="175842"/>
          </a:xfrm>
          <a:prstGeom prst="rect">
            <a:avLst/>
          </a:prstGeom>
          <a:solidFill>
            <a:srgbClr val="59943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4" name="TextBox 383">
            <a:extLst>
              <a:ext uri="{FF2B5EF4-FFF2-40B4-BE49-F238E27FC236}">
                <a16:creationId xmlns:a16="http://schemas.microsoft.com/office/drawing/2014/main" id="{A30C5B70-431D-41A6-BBBB-D3A9A4A4D448}"/>
              </a:ext>
            </a:extLst>
          </p:cNvPr>
          <p:cNvSpPr txBox="1"/>
          <p:nvPr/>
        </p:nvSpPr>
        <p:spPr>
          <a:xfrm>
            <a:off x="9552495" y="2334492"/>
            <a:ext cx="972602" cy="156090"/>
          </a:xfrm>
          <a:prstGeom prst="rect">
            <a:avLst/>
          </a:prstGeom>
        </p:spPr>
        <p:txBody>
          <a:bodyPr vert="horz" wrap="square" lIns="0" tIns="0" rIns="0" bIns="0" rtlCol="0">
            <a:noAutofit/>
          </a:bodyPr>
          <a:lstStyle/>
          <a:p>
            <a:pPr marL="0" indent="0" algn="l">
              <a:buNone/>
            </a:pPr>
            <a:r>
              <a:rPr lang="nl-NL" sz="1100" noProof="0" dirty="0"/>
              <a:t>0-15% </a:t>
            </a:r>
            <a:r>
              <a:rPr lang="nl-NL" sz="1100" dirty="0"/>
              <a:t>o</a:t>
            </a:r>
            <a:r>
              <a:rPr lang="nl-NL" sz="1100" noProof="0" dirty="0"/>
              <a:t>verschot</a:t>
            </a:r>
            <a:endParaRPr lang="nl-NL" sz="1200" noProof="0" dirty="0"/>
          </a:p>
        </p:txBody>
      </p:sp>
      <p:sp>
        <p:nvSpPr>
          <p:cNvPr id="386" name="Freeform: Shape 385">
            <a:extLst>
              <a:ext uri="{FF2B5EF4-FFF2-40B4-BE49-F238E27FC236}">
                <a16:creationId xmlns:a16="http://schemas.microsoft.com/office/drawing/2014/main" id="{DCB8EBE0-A9C5-4289-8FEB-E4AAA31A2AB8}"/>
              </a:ext>
            </a:extLst>
          </p:cNvPr>
          <p:cNvSpPr/>
          <p:nvPr/>
        </p:nvSpPr>
        <p:spPr>
          <a:xfrm rot="1830244" flipH="1">
            <a:off x="4307519" y="3535405"/>
            <a:ext cx="1350939" cy="496202"/>
          </a:xfrm>
          <a:custGeom>
            <a:avLst/>
            <a:gdLst>
              <a:gd name="connsiteX0" fmla="*/ 0 w 1024467"/>
              <a:gd name="connsiteY0" fmla="*/ 82518 h 505852"/>
              <a:gd name="connsiteX1" fmla="*/ 651934 w 1024467"/>
              <a:gd name="connsiteY1" fmla="*/ 31718 h 505852"/>
              <a:gd name="connsiteX2" fmla="*/ 1024467 w 1024467"/>
              <a:gd name="connsiteY2" fmla="*/ 505852 h 505852"/>
              <a:gd name="connsiteX0" fmla="*/ 0 w 1908387"/>
              <a:gd name="connsiteY0" fmla="*/ 8108 h 789582"/>
              <a:gd name="connsiteX1" fmla="*/ 1535854 w 1908387"/>
              <a:gd name="connsiteY1" fmla="*/ 315448 h 789582"/>
              <a:gd name="connsiteX2" fmla="*/ 1908387 w 1908387"/>
              <a:gd name="connsiteY2" fmla="*/ 789582 h 789582"/>
              <a:gd name="connsiteX0" fmla="*/ 0 w 1908387"/>
              <a:gd name="connsiteY0" fmla="*/ 0 h 781474"/>
              <a:gd name="connsiteX1" fmla="*/ 1535854 w 1908387"/>
              <a:gd name="connsiteY1" fmla="*/ 307340 h 781474"/>
              <a:gd name="connsiteX2" fmla="*/ 1908387 w 1908387"/>
              <a:gd name="connsiteY2" fmla="*/ 781474 h 781474"/>
              <a:gd name="connsiteX0" fmla="*/ 0 w 1566642"/>
              <a:gd name="connsiteY0" fmla="*/ 0 h 670638"/>
              <a:gd name="connsiteX1" fmla="*/ 1194109 w 1566642"/>
              <a:gd name="connsiteY1" fmla="*/ 196504 h 670638"/>
              <a:gd name="connsiteX2" fmla="*/ 1566642 w 1566642"/>
              <a:gd name="connsiteY2" fmla="*/ 670638 h 670638"/>
              <a:gd name="connsiteX0" fmla="*/ 0 w 1566642"/>
              <a:gd name="connsiteY0" fmla="*/ 0 h 670638"/>
              <a:gd name="connsiteX1" fmla="*/ 1046327 w 1566642"/>
              <a:gd name="connsiteY1" fmla="*/ 141085 h 670638"/>
              <a:gd name="connsiteX2" fmla="*/ 1566642 w 1566642"/>
              <a:gd name="connsiteY2" fmla="*/ 670638 h 670638"/>
              <a:gd name="connsiteX0" fmla="*/ 0 w 1585115"/>
              <a:gd name="connsiteY0" fmla="*/ 0 h 652165"/>
              <a:gd name="connsiteX1" fmla="*/ 1046327 w 1585115"/>
              <a:gd name="connsiteY1" fmla="*/ 141085 h 652165"/>
              <a:gd name="connsiteX2" fmla="*/ 1585115 w 1585115"/>
              <a:gd name="connsiteY2" fmla="*/ 652165 h 652165"/>
              <a:gd name="connsiteX0" fmla="*/ 0 w 1585115"/>
              <a:gd name="connsiteY0" fmla="*/ 0 h 652165"/>
              <a:gd name="connsiteX1" fmla="*/ 935491 w 1585115"/>
              <a:gd name="connsiteY1" fmla="*/ 141085 h 652165"/>
              <a:gd name="connsiteX2" fmla="*/ 1585115 w 1585115"/>
              <a:gd name="connsiteY2" fmla="*/ 652165 h 652165"/>
              <a:gd name="connsiteX0" fmla="*/ 0 w 1585115"/>
              <a:gd name="connsiteY0" fmla="*/ 0 h 652165"/>
              <a:gd name="connsiteX1" fmla="*/ 1585115 w 1585115"/>
              <a:gd name="connsiteY1" fmla="*/ 652165 h 652165"/>
              <a:gd name="connsiteX0" fmla="*/ 0 w 1585115"/>
              <a:gd name="connsiteY0" fmla="*/ 0 h 652165"/>
              <a:gd name="connsiteX1" fmla="*/ 1585115 w 1585115"/>
              <a:gd name="connsiteY1" fmla="*/ 652165 h 652165"/>
              <a:gd name="connsiteX0" fmla="*/ 0 w 1640244"/>
              <a:gd name="connsiteY0" fmla="*/ 0 h 709566"/>
              <a:gd name="connsiteX1" fmla="*/ 1640244 w 1640244"/>
              <a:gd name="connsiteY1" fmla="*/ 709567 h 709566"/>
              <a:gd name="connsiteX0" fmla="*/ 0 w 1640244"/>
              <a:gd name="connsiteY0" fmla="*/ 0 h 709568"/>
              <a:gd name="connsiteX1" fmla="*/ 1640244 w 1640244"/>
              <a:gd name="connsiteY1" fmla="*/ 709567 h 709568"/>
              <a:gd name="connsiteX0" fmla="*/ 0 w 1879204"/>
              <a:gd name="connsiteY0" fmla="*/ 0 h 720302"/>
              <a:gd name="connsiteX1" fmla="*/ 1879204 w 1879204"/>
              <a:gd name="connsiteY1" fmla="*/ 720302 h 720302"/>
              <a:gd name="connsiteX0" fmla="*/ 0 w 1995443"/>
              <a:gd name="connsiteY0" fmla="*/ 0 h 775481"/>
              <a:gd name="connsiteX1" fmla="*/ 1995442 w 1995443"/>
              <a:gd name="connsiteY1" fmla="*/ 775481 h 775481"/>
            </a:gdLst>
            <a:ahLst/>
            <a:cxnLst>
              <a:cxn ang="0">
                <a:pos x="connsiteX0" y="connsiteY0"/>
              </a:cxn>
              <a:cxn ang="0">
                <a:pos x="connsiteX1" y="connsiteY1"/>
              </a:cxn>
            </a:cxnLst>
            <a:rect l="l" t="t" r="r" b="b"/>
            <a:pathLst>
              <a:path w="1995443" h="775481">
                <a:moveTo>
                  <a:pt x="0" y="0"/>
                </a:moveTo>
                <a:cubicBezTo>
                  <a:pt x="863274" y="46048"/>
                  <a:pt x="1495761" y="311060"/>
                  <a:pt x="1995442" y="775481"/>
                </a:cubicBezTo>
              </a:path>
            </a:pathLst>
          </a:custGeom>
          <a:noFill/>
          <a:ln w="19050">
            <a:solidFill>
              <a:srgbClr val="22777B"/>
            </a:solidFill>
            <a:prstDash val="dash"/>
            <a:headEnd type="triangle" w="med" len="med"/>
            <a:tailEnd type="none" w="med" len="med"/>
          </a:ln>
        </p:spPr>
        <p:txBody>
          <a:bodyPr rtlCol="0" anchor="ctr"/>
          <a:lstStyle/>
          <a:p>
            <a:pPr algn="ctr"/>
            <a:endParaRPr lang="nl-NL" dirty="0"/>
          </a:p>
        </p:txBody>
      </p:sp>
      <p:sp>
        <p:nvSpPr>
          <p:cNvPr id="383" name="Freeform: Shape 382">
            <a:extLst>
              <a:ext uri="{FF2B5EF4-FFF2-40B4-BE49-F238E27FC236}">
                <a16:creationId xmlns:a16="http://schemas.microsoft.com/office/drawing/2014/main" id="{E7CD60F3-EC9C-44DF-8359-3E4434253E70}"/>
              </a:ext>
            </a:extLst>
          </p:cNvPr>
          <p:cNvSpPr/>
          <p:nvPr/>
        </p:nvSpPr>
        <p:spPr>
          <a:xfrm rot="18239574">
            <a:off x="3287371" y="4278078"/>
            <a:ext cx="1376600" cy="1072520"/>
          </a:xfrm>
          <a:custGeom>
            <a:avLst/>
            <a:gdLst>
              <a:gd name="connsiteX0" fmla="*/ 0 w 1024467"/>
              <a:gd name="connsiteY0" fmla="*/ 82518 h 505852"/>
              <a:gd name="connsiteX1" fmla="*/ 651934 w 1024467"/>
              <a:gd name="connsiteY1" fmla="*/ 31718 h 505852"/>
              <a:gd name="connsiteX2" fmla="*/ 1024467 w 1024467"/>
              <a:gd name="connsiteY2" fmla="*/ 505852 h 505852"/>
              <a:gd name="connsiteX0" fmla="*/ 0 w 1908387"/>
              <a:gd name="connsiteY0" fmla="*/ 8108 h 789582"/>
              <a:gd name="connsiteX1" fmla="*/ 1535854 w 1908387"/>
              <a:gd name="connsiteY1" fmla="*/ 315448 h 789582"/>
              <a:gd name="connsiteX2" fmla="*/ 1908387 w 1908387"/>
              <a:gd name="connsiteY2" fmla="*/ 789582 h 789582"/>
              <a:gd name="connsiteX0" fmla="*/ 0 w 1908387"/>
              <a:gd name="connsiteY0" fmla="*/ 0 h 781474"/>
              <a:gd name="connsiteX1" fmla="*/ 1535854 w 1908387"/>
              <a:gd name="connsiteY1" fmla="*/ 307340 h 781474"/>
              <a:gd name="connsiteX2" fmla="*/ 1908387 w 1908387"/>
              <a:gd name="connsiteY2" fmla="*/ 781474 h 781474"/>
              <a:gd name="connsiteX0" fmla="*/ 0 w 1566642"/>
              <a:gd name="connsiteY0" fmla="*/ 0 h 670638"/>
              <a:gd name="connsiteX1" fmla="*/ 1194109 w 1566642"/>
              <a:gd name="connsiteY1" fmla="*/ 196504 h 670638"/>
              <a:gd name="connsiteX2" fmla="*/ 1566642 w 1566642"/>
              <a:gd name="connsiteY2" fmla="*/ 670638 h 670638"/>
              <a:gd name="connsiteX0" fmla="*/ 0 w 1566642"/>
              <a:gd name="connsiteY0" fmla="*/ 0 h 670638"/>
              <a:gd name="connsiteX1" fmla="*/ 1046327 w 1566642"/>
              <a:gd name="connsiteY1" fmla="*/ 141085 h 670638"/>
              <a:gd name="connsiteX2" fmla="*/ 1566642 w 1566642"/>
              <a:gd name="connsiteY2" fmla="*/ 670638 h 670638"/>
              <a:gd name="connsiteX0" fmla="*/ 0 w 1585115"/>
              <a:gd name="connsiteY0" fmla="*/ 0 h 652165"/>
              <a:gd name="connsiteX1" fmla="*/ 1046327 w 1585115"/>
              <a:gd name="connsiteY1" fmla="*/ 141085 h 652165"/>
              <a:gd name="connsiteX2" fmla="*/ 1585115 w 1585115"/>
              <a:gd name="connsiteY2" fmla="*/ 652165 h 652165"/>
              <a:gd name="connsiteX0" fmla="*/ 0 w 1585115"/>
              <a:gd name="connsiteY0" fmla="*/ 0 h 652165"/>
              <a:gd name="connsiteX1" fmla="*/ 935491 w 1585115"/>
              <a:gd name="connsiteY1" fmla="*/ 141085 h 652165"/>
              <a:gd name="connsiteX2" fmla="*/ 1585115 w 1585115"/>
              <a:gd name="connsiteY2" fmla="*/ 652165 h 652165"/>
            </a:gdLst>
            <a:ahLst/>
            <a:cxnLst>
              <a:cxn ang="0">
                <a:pos x="connsiteX0" y="connsiteY0"/>
              </a:cxn>
              <a:cxn ang="0">
                <a:pos x="connsiteX1" y="connsiteY1"/>
              </a:cxn>
              <a:cxn ang="0">
                <a:pos x="connsiteX2" y="connsiteY2"/>
              </a:cxn>
            </a:cxnLst>
            <a:rect l="l" t="t" r="r" b="b"/>
            <a:pathLst>
              <a:path w="1585115" h="652165">
                <a:moveTo>
                  <a:pt x="0" y="0"/>
                </a:moveTo>
                <a:cubicBezTo>
                  <a:pt x="278695" y="282"/>
                  <a:pt x="764747" y="70529"/>
                  <a:pt x="935491" y="141085"/>
                </a:cubicBezTo>
                <a:cubicBezTo>
                  <a:pt x="1106236" y="211641"/>
                  <a:pt x="1484221" y="450376"/>
                  <a:pt x="1585115" y="652165"/>
                </a:cubicBezTo>
              </a:path>
            </a:pathLst>
          </a:custGeom>
          <a:noFill/>
          <a:ln w="19050">
            <a:solidFill>
              <a:srgbClr val="22777B"/>
            </a:solidFill>
            <a:prstDash val="dash"/>
            <a:headEnd type="none" w="med" len="med"/>
            <a:tailEnd type="triangle" w="med" len="med"/>
          </a:ln>
        </p:spPr>
        <p:txBody>
          <a:bodyPr rtlCol="0" anchor="ctr"/>
          <a:lstStyle/>
          <a:p>
            <a:pPr algn="ctr"/>
            <a:endParaRPr lang="nl-NL" dirty="0"/>
          </a:p>
        </p:txBody>
      </p:sp>
      <p:sp>
        <p:nvSpPr>
          <p:cNvPr id="428" name="Rectangle 427">
            <a:extLst>
              <a:ext uri="{FF2B5EF4-FFF2-40B4-BE49-F238E27FC236}">
                <a16:creationId xmlns:a16="http://schemas.microsoft.com/office/drawing/2014/main" id="{4C928C76-BDE1-48E8-ABEE-6A43B5E17C35}"/>
              </a:ext>
            </a:extLst>
          </p:cNvPr>
          <p:cNvSpPr/>
          <p:nvPr/>
        </p:nvSpPr>
        <p:spPr>
          <a:xfrm>
            <a:off x="8181990" y="3981876"/>
            <a:ext cx="2268000" cy="432000"/>
          </a:xfrm>
          <a:prstGeom prst="rect">
            <a:avLst/>
          </a:prstGeom>
          <a:solidFill>
            <a:srgbClr val="FFFFFF"/>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200"/>
              </a:spcBef>
              <a:buClr>
                <a:schemeClr val="tx2"/>
              </a:buClr>
              <a:buNone/>
            </a:pPr>
            <a:r>
              <a:rPr lang="nl-NL" sz="1100" b="1" dirty="0">
                <a:solidFill>
                  <a:srgbClr val="17722B"/>
                </a:solidFill>
              </a:rPr>
              <a:t>Urk</a:t>
            </a:r>
            <a:r>
              <a:rPr lang="nl-NL" sz="1100" dirty="0"/>
              <a:t> heeft het grootste procentuele overschot (+16%, 1,1 </a:t>
            </a:r>
            <a:r>
              <a:rPr lang="nl-NL" sz="1100" dirty="0" err="1"/>
              <a:t>mln</a:t>
            </a:r>
            <a:r>
              <a:rPr lang="nl-NL" sz="1100" dirty="0"/>
              <a:t>) </a:t>
            </a:r>
            <a:endParaRPr kumimoji="0" lang="nl-NL" sz="1100" b="0" i="0" u="none" strike="noStrike" kern="1200" cap="none" spc="0" normalizeH="0" baseline="0" noProof="0" dirty="0">
              <a:ln>
                <a:noFill/>
              </a:ln>
              <a:effectLst/>
              <a:uLnTx/>
              <a:uFillTx/>
            </a:endParaRPr>
          </a:p>
        </p:txBody>
      </p:sp>
      <p:sp>
        <p:nvSpPr>
          <p:cNvPr id="429" name="Rectangle 428">
            <a:extLst>
              <a:ext uri="{FF2B5EF4-FFF2-40B4-BE49-F238E27FC236}">
                <a16:creationId xmlns:a16="http://schemas.microsoft.com/office/drawing/2014/main" id="{5DA5A86E-E7ED-4719-AB98-113D8E14F007}"/>
              </a:ext>
            </a:extLst>
          </p:cNvPr>
          <p:cNvSpPr/>
          <p:nvPr/>
        </p:nvSpPr>
        <p:spPr>
          <a:xfrm>
            <a:off x="1027794" y="4814609"/>
            <a:ext cx="2268000" cy="540000"/>
          </a:xfrm>
          <a:prstGeom prst="rect">
            <a:avLst/>
          </a:prstGeom>
          <a:solidFill>
            <a:schemeClr val="accent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spcBef>
                <a:spcPts val="1200"/>
              </a:spcBef>
              <a:buClr>
                <a:schemeClr val="tx2"/>
              </a:buClr>
              <a:buNone/>
            </a:pPr>
            <a:r>
              <a:rPr lang="nl-NL" sz="1100" b="1" dirty="0">
                <a:solidFill>
                  <a:srgbClr val="59943A"/>
                </a:solidFill>
              </a:rPr>
              <a:t>Rotterdam</a:t>
            </a:r>
            <a:r>
              <a:rPr lang="nl-NL" sz="1100" dirty="0"/>
              <a:t> is grootste gemeente zonder tekort (0%, 0,4 </a:t>
            </a:r>
            <a:r>
              <a:rPr lang="nl-NL" sz="1100" dirty="0" err="1"/>
              <a:t>mln</a:t>
            </a:r>
            <a:r>
              <a:rPr lang="nl-NL" sz="1100" dirty="0"/>
              <a:t>)</a:t>
            </a:r>
          </a:p>
        </p:txBody>
      </p:sp>
      <p:sp>
        <p:nvSpPr>
          <p:cNvPr id="430" name="Rectangle 429">
            <a:extLst>
              <a:ext uri="{FF2B5EF4-FFF2-40B4-BE49-F238E27FC236}">
                <a16:creationId xmlns:a16="http://schemas.microsoft.com/office/drawing/2014/main" id="{D6E7F723-6836-4F7A-8CAB-4F619C90BCCF}"/>
              </a:ext>
            </a:extLst>
          </p:cNvPr>
          <p:cNvSpPr/>
          <p:nvPr/>
        </p:nvSpPr>
        <p:spPr>
          <a:xfrm>
            <a:off x="2007009" y="3548984"/>
            <a:ext cx="2268000" cy="432000"/>
          </a:xfrm>
          <a:prstGeom prst="rect">
            <a:avLst/>
          </a:prstGeom>
          <a:solidFill>
            <a:schemeClr val="accent6"/>
          </a:solidFill>
          <a:ln w="9525">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spcBef>
                <a:spcPts val="1200"/>
              </a:spcBef>
              <a:buClr>
                <a:schemeClr val="tx2"/>
              </a:buClr>
              <a:buNone/>
            </a:pPr>
            <a:r>
              <a:rPr lang="nl-NL" sz="1100" b="1" dirty="0">
                <a:solidFill>
                  <a:srgbClr val="EC6224"/>
                </a:solidFill>
              </a:rPr>
              <a:t>Amsterdam</a:t>
            </a:r>
            <a:r>
              <a:rPr lang="nl-NL" sz="1100" dirty="0"/>
              <a:t> heeft het grootste absolute tekort (-33%, 70 </a:t>
            </a:r>
            <a:r>
              <a:rPr lang="nl-NL" sz="1100" dirty="0" err="1"/>
              <a:t>mln</a:t>
            </a:r>
            <a:r>
              <a:rPr lang="nl-NL" sz="1100" dirty="0"/>
              <a:t>)</a:t>
            </a:r>
          </a:p>
        </p:txBody>
      </p:sp>
      <p:sp>
        <p:nvSpPr>
          <p:cNvPr id="2" name="Rectangle 1">
            <a:extLst>
              <a:ext uri="{FF2B5EF4-FFF2-40B4-BE49-F238E27FC236}">
                <a16:creationId xmlns:a16="http://schemas.microsoft.com/office/drawing/2014/main" id="{0D5B586D-A6AE-4083-AB0D-6B8542959E34}"/>
              </a:ext>
            </a:extLst>
          </p:cNvPr>
          <p:cNvSpPr/>
          <p:nvPr/>
        </p:nvSpPr>
        <p:spPr>
          <a:xfrm>
            <a:off x="8963025" y="1994900"/>
            <a:ext cx="2381250" cy="1573624"/>
          </a:xfrm>
          <a:prstGeom prst="rect">
            <a:avLst/>
          </a:prstGeom>
          <a:noFill/>
          <a:ln>
            <a:solidFill>
              <a:srgbClr val="4F4F4F"/>
            </a:solidFill>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85" name="TextBox 384">
            <a:extLst>
              <a:ext uri="{FF2B5EF4-FFF2-40B4-BE49-F238E27FC236}">
                <a16:creationId xmlns:a16="http://schemas.microsoft.com/office/drawing/2014/main" id="{4AD53786-845D-49FA-9732-2AF58EF7E731}"/>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Tekorten per gemeente</a:t>
            </a:r>
            <a:endParaRPr lang="nl-NL" b="1" noProof="0" dirty="0">
              <a:solidFill>
                <a:schemeClr val="tx2"/>
              </a:solidFill>
            </a:endParaRPr>
          </a:p>
        </p:txBody>
      </p:sp>
      <p:sp>
        <p:nvSpPr>
          <p:cNvPr id="431" name="Rectangle 430">
            <a:extLst>
              <a:ext uri="{FF2B5EF4-FFF2-40B4-BE49-F238E27FC236}">
                <a16:creationId xmlns:a16="http://schemas.microsoft.com/office/drawing/2014/main" id="{E8DD90F7-1DA9-4E82-878E-3985FCA63940}"/>
              </a:ext>
            </a:extLst>
          </p:cNvPr>
          <p:cNvSpPr/>
          <p:nvPr/>
        </p:nvSpPr>
        <p:spPr>
          <a:xfrm>
            <a:off x="7137651" y="1441764"/>
            <a:ext cx="2304000" cy="432000"/>
          </a:xfrm>
          <a:prstGeom prst="rect">
            <a:avLst/>
          </a:prstGeom>
          <a:noFill/>
          <a:ln w="9525">
            <a:solidFill>
              <a:srgbClr val="22777B"/>
            </a:solidFill>
          </a:ln>
          <a:extLst>
            <a:ext uri="{909E8E84-426E-40DD-AFC4-6F175D3DCCD1}">
              <a14:hiddenFill xmlns:a14="http://schemas.microsoft.com/office/drawing/2010/main">
                <a:solidFill>
                  <a:srgbClr val="68ABB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1200"/>
              </a:spcBef>
              <a:buClr>
                <a:schemeClr val="tx2"/>
              </a:buClr>
              <a:buNone/>
            </a:pPr>
            <a:r>
              <a:rPr lang="nl-NL" sz="1100" b="1" dirty="0">
                <a:solidFill>
                  <a:srgbClr val="17722B"/>
                </a:solidFill>
              </a:rPr>
              <a:t>Ameland</a:t>
            </a:r>
            <a:r>
              <a:rPr lang="nl-NL" sz="1100" dirty="0"/>
              <a:t> heeft het grootste procentuele overschot (22%, 0,2mln)</a:t>
            </a:r>
            <a:endParaRPr kumimoji="0" lang="nl-NL" sz="11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32" name="Freeform: Shape 431">
            <a:extLst>
              <a:ext uri="{FF2B5EF4-FFF2-40B4-BE49-F238E27FC236}">
                <a16:creationId xmlns:a16="http://schemas.microsoft.com/office/drawing/2014/main" id="{3C39D1C9-409C-4549-B385-0879C157B332}"/>
              </a:ext>
            </a:extLst>
          </p:cNvPr>
          <p:cNvSpPr/>
          <p:nvPr/>
        </p:nvSpPr>
        <p:spPr>
          <a:xfrm rot="8100000" flipV="1">
            <a:off x="6512303" y="1840758"/>
            <a:ext cx="650388" cy="146850"/>
          </a:xfrm>
          <a:custGeom>
            <a:avLst/>
            <a:gdLst>
              <a:gd name="connsiteX0" fmla="*/ 0 w 1024467"/>
              <a:gd name="connsiteY0" fmla="*/ 82518 h 505852"/>
              <a:gd name="connsiteX1" fmla="*/ 651934 w 1024467"/>
              <a:gd name="connsiteY1" fmla="*/ 31718 h 505852"/>
              <a:gd name="connsiteX2" fmla="*/ 1024467 w 1024467"/>
              <a:gd name="connsiteY2" fmla="*/ 505852 h 505852"/>
              <a:gd name="connsiteX0" fmla="*/ 0 w 1908387"/>
              <a:gd name="connsiteY0" fmla="*/ 8108 h 789582"/>
              <a:gd name="connsiteX1" fmla="*/ 1535854 w 1908387"/>
              <a:gd name="connsiteY1" fmla="*/ 315448 h 789582"/>
              <a:gd name="connsiteX2" fmla="*/ 1908387 w 1908387"/>
              <a:gd name="connsiteY2" fmla="*/ 789582 h 789582"/>
              <a:gd name="connsiteX0" fmla="*/ 0 w 1908387"/>
              <a:gd name="connsiteY0" fmla="*/ 0 h 781474"/>
              <a:gd name="connsiteX1" fmla="*/ 1535854 w 1908387"/>
              <a:gd name="connsiteY1" fmla="*/ 307340 h 781474"/>
              <a:gd name="connsiteX2" fmla="*/ 1908387 w 1908387"/>
              <a:gd name="connsiteY2" fmla="*/ 781474 h 781474"/>
              <a:gd name="connsiteX0" fmla="*/ 0 w 1566642"/>
              <a:gd name="connsiteY0" fmla="*/ 0 h 670638"/>
              <a:gd name="connsiteX1" fmla="*/ 1194109 w 1566642"/>
              <a:gd name="connsiteY1" fmla="*/ 196504 h 670638"/>
              <a:gd name="connsiteX2" fmla="*/ 1566642 w 1566642"/>
              <a:gd name="connsiteY2" fmla="*/ 670638 h 670638"/>
              <a:gd name="connsiteX0" fmla="*/ 0 w 1566642"/>
              <a:gd name="connsiteY0" fmla="*/ 0 h 670638"/>
              <a:gd name="connsiteX1" fmla="*/ 1046327 w 1566642"/>
              <a:gd name="connsiteY1" fmla="*/ 141085 h 670638"/>
              <a:gd name="connsiteX2" fmla="*/ 1566642 w 1566642"/>
              <a:gd name="connsiteY2" fmla="*/ 670638 h 670638"/>
              <a:gd name="connsiteX0" fmla="*/ 0 w 1585115"/>
              <a:gd name="connsiteY0" fmla="*/ 0 h 652165"/>
              <a:gd name="connsiteX1" fmla="*/ 1046327 w 1585115"/>
              <a:gd name="connsiteY1" fmla="*/ 141085 h 652165"/>
              <a:gd name="connsiteX2" fmla="*/ 1585115 w 1585115"/>
              <a:gd name="connsiteY2" fmla="*/ 652165 h 652165"/>
              <a:gd name="connsiteX0" fmla="*/ 0 w 1585115"/>
              <a:gd name="connsiteY0" fmla="*/ 0 h 652165"/>
              <a:gd name="connsiteX1" fmla="*/ 935491 w 1585115"/>
              <a:gd name="connsiteY1" fmla="*/ 141085 h 652165"/>
              <a:gd name="connsiteX2" fmla="*/ 1585115 w 1585115"/>
              <a:gd name="connsiteY2" fmla="*/ 652165 h 652165"/>
              <a:gd name="connsiteX0" fmla="*/ 0 w 1525104"/>
              <a:gd name="connsiteY0" fmla="*/ 0 h 628078"/>
              <a:gd name="connsiteX1" fmla="*/ 875480 w 1525104"/>
              <a:gd name="connsiteY1" fmla="*/ 116998 h 628078"/>
              <a:gd name="connsiteX2" fmla="*/ 1525104 w 1525104"/>
              <a:gd name="connsiteY2" fmla="*/ 628078 h 628078"/>
              <a:gd name="connsiteX0" fmla="*/ 0 w 1525104"/>
              <a:gd name="connsiteY0" fmla="*/ 0 h 628078"/>
              <a:gd name="connsiteX1" fmla="*/ 797959 w 1525104"/>
              <a:gd name="connsiteY1" fmla="*/ 95899 h 628078"/>
              <a:gd name="connsiteX2" fmla="*/ 1525104 w 1525104"/>
              <a:gd name="connsiteY2" fmla="*/ 628078 h 628078"/>
              <a:gd name="connsiteX0" fmla="*/ 0 w 1525104"/>
              <a:gd name="connsiteY0" fmla="*/ 0 h 628078"/>
              <a:gd name="connsiteX1" fmla="*/ 835486 w 1525104"/>
              <a:gd name="connsiteY1" fmla="*/ 80918 h 628078"/>
              <a:gd name="connsiteX2" fmla="*/ 1525104 w 1525104"/>
              <a:gd name="connsiteY2" fmla="*/ 628078 h 628078"/>
              <a:gd name="connsiteX0" fmla="*/ 0 w 1525104"/>
              <a:gd name="connsiteY0" fmla="*/ 0 h 628078"/>
              <a:gd name="connsiteX1" fmla="*/ 1525104 w 1525104"/>
              <a:gd name="connsiteY1" fmla="*/ 628078 h 628078"/>
              <a:gd name="connsiteX0" fmla="*/ 0 w 1525104"/>
              <a:gd name="connsiteY0" fmla="*/ 14173 h 642251"/>
              <a:gd name="connsiteX1" fmla="*/ 1525104 w 1525104"/>
              <a:gd name="connsiteY1" fmla="*/ 642251 h 642251"/>
              <a:gd name="connsiteX0" fmla="*/ 0 w 1525104"/>
              <a:gd name="connsiteY0" fmla="*/ 25333 h 653411"/>
              <a:gd name="connsiteX1" fmla="*/ 1525104 w 1525104"/>
              <a:gd name="connsiteY1" fmla="*/ 653411 h 653411"/>
              <a:gd name="connsiteX0" fmla="*/ 0 w 1573400"/>
              <a:gd name="connsiteY0" fmla="*/ 20509 h 734734"/>
              <a:gd name="connsiteX1" fmla="*/ 1573400 w 1573400"/>
              <a:gd name="connsiteY1" fmla="*/ 734735 h 734734"/>
              <a:gd name="connsiteX0" fmla="*/ 0 w 1573400"/>
              <a:gd name="connsiteY0" fmla="*/ 16167 h 730393"/>
              <a:gd name="connsiteX1" fmla="*/ 1573400 w 1573400"/>
              <a:gd name="connsiteY1" fmla="*/ 730393 h 730393"/>
              <a:gd name="connsiteX0" fmla="*/ 0 w 1304394"/>
              <a:gd name="connsiteY0" fmla="*/ 529869 h 529869"/>
              <a:gd name="connsiteX1" fmla="*/ 1304394 w 1304394"/>
              <a:gd name="connsiteY1" fmla="*/ 111980 h 529869"/>
              <a:gd name="connsiteX0" fmla="*/ 0 w 1304394"/>
              <a:gd name="connsiteY0" fmla="*/ 540866 h 540866"/>
              <a:gd name="connsiteX1" fmla="*/ 1304394 w 1304394"/>
              <a:gd name="connsiteY1" fmla="*/ 122977 h 540866"/>
              <a:gd name="connsiteX0" fmla="*/ 0 w 1304394"/>
              <a:gd name="connsiteY0" fmla="*/ 456860 h 456860"/>
              <a:gd name="connsiteX1" fmla="*/ 1304394 w 1304394"/>
              <a:gd name="connsiteY1" fmla="*/ 38971 h 456860"/>
              <a:gd name="connsiteX0" fmla="*/ 0 w 1131397"/>
              <a:gd name="connsiteY0" fmla="*/ 469351 h 469351"/>
              <a:gd name="connsiteX1" fmla="*/ 1131397 w 1131397"/>
              <a:gd name="connsiteY1" fmla="*/ 37975 h 469351"/>
              <a:gd name="connsiteX0" fmla="*/ 0 w 1131397"/>
              <a:gd name="connsiteY0" fmla="*/ 453059 h 453059"/>
              <a:gd name="connsiteX1" fmla="*/ 1131397 w 1131397"/>
              <a:gd name="connsiteY1" fmla="*/ 21683 h 453059"/>
            </a:gdLst>
            <a:ahLst/>
            <a:cxnLst>
              <a:cxn ang="0">
                <a:pos x="connsiteX0" y="connsiteY0"/>
              </a:cxn>
              <a:cxn ang="0">
                <a:pos x="connsiteX1" y="connsiteY1"/>
              </a:cxn>
            </a:cxnLst>
            <a:rect l="l" t="t" r="r" b="b"/>
            <a:pathLst>
              <a:path w="1131397" h="453059">
                <a:moveTo>
                  <a:pt x="0" y="453059"/>
                </a:moveTo>
                <a:cubicBezTo>
                  <a:pt x="180131" y="250450"/>
                  <a:pt x="636109" y="-89076"/>
                  <a:pt x="1131397" y="21683"/>
                </a:cubicBezTo>
              </a:path>
            </a:pathLst>
          </a:custGeom>
          <a:noFill/>
          <a:ln w="19050">
            <a:solidFill>
              <a:srgbClr val="22777B"/>
            </a:solidFill>
            <a:prstDash val="dash"/>
            <a:headEnd type="none" w="med" len="med"/>
            <a:tailEnd type="triangle" w="med" len="med"/>
          </a:ln>
        </p:spPr>
        <p:txBody>
          <a:bodyPr rtlCol="0" anchor="ctr"/>
          <a:lstStyle/>
          <a:p>
            <a:pPr algn="ctr"/>
            <a:endParaRPr lang="nl-NL" dirty="0"/>
          </a:p>
        </p:txBody>
      </p:sp>
    </p:spTree>
    <p:extLst>
      <p:ext uri="{BB962C8B-B14F-4D97-AF65-F5344CB8AC3E}">
        <p14:creationId xmlns:p14="http://schemas.microsoft.com/office/powerpoint/2010/main" val="72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017224B-6E5E-4924-890D-0459BD827B04}"/>
              </a:ext>
            </a:extLst>
          </p:cNvPr>
          <p:cNvGraphicFramePr>
            <a:graphicFrameLocks noChangeAspect="1"/>
          </p:cNvGraphicFramePr>
          <p:nvPr>
            <p:custDataLst>
              <p:tags r:id="rId1"/>
            </p:custDataLst>
            <p:extLst>
              <p:ext uri="{D42A27DB-BD31-4B8C-83A1-F6EECF244321}">
                <p14:modId xmlns:p14="http://schemas.microsoft.com/office/powerpoint/2010/main" val="727257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12" name="Object 11" hidden="1">
                        <a:extLst>
                          <a:ext uri="{FF2B5EF4-FFF2-40B4-BE49-F238E27FC236}">
                            <a16:creationId xmlns:a16="http://schemas.microsoft.com/office/drawing/2014/main" id="{4017224B-6E5E-4924-890D-0459BD827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 Placeholder 24">
            <a:extLst>
              <a:ext uri="{FF2B5EF4-FFF2-40B4-BE49-F238E27FC236}">
                <a16:creationId xmlns:a16="http://schemas.microsoft.com/office/drawing/2014/main" id="{1EFA70D9-8589-43BB-B7F9-9CD03955C715}"/>
              </a:ext>
            </a:extLst>
          </p:cNvPr>
          <p:cNvSpPr>
            <a:spLocks noGrp="1"/>
          </p:cNvSpPr>
          <p:nvPr>
            <p:ph type="body" sz="quarter" idx="41"/>
          </p:nvPr>
        </p:nvSpPr>
        <p:spPr>
          <a:xfrm>
            <a:off x="3449727" y="1699963"/>
            <a:ext cx="2505600" cy="360000"/>
          </a:xfrm>
        </p:spPr>
        <p:txBody>
          <a:bodyPr/>
          <a:lstStyle/>
          <a:p>
            <a:r>
              <a:rPr lang="nl-NL" dirty="0">
                <a:solidFill>
                  <a:srgbClr val="000000"/>
                </a:solidFill>
              </a:rPr>
              <a:t>Absoluut grootste tekorten</a:t>
            </a:r>
          </a:p>
        </p:txBody>
      </p:sp>
      <p:sp>
        <p:nvSpPr>
          <p:cNvPr id="22" name="Text Placeholder 21">
            <a:extLst>
              <a:ext uri="{FF2B5EF4-FFF2-40B4-BE49-F238E27FC236}">
                <a16:creationId xmlns:a16="http://schemas.microsoft.com/office/drawing/2014/main" id="{570E93FF-412B-4D20-913F-D86DA04AC5EE}"/>
              </a:ext>
            </a:extLst>
          </p:cNvPr>
          <p:cNvSpPr>
            <a:spLocks noGrp="1"/>
          </p:cNvSpPr>
          <p:nvPr>
            <p:ph type="body" sz="quarter" idx="38"/>
          </p:nvPr>
        </p:nvSpPr>
        <p:spPr>
          <a:xfrm>
            <a:off x="662780" y="1699963"/>
            <a:ext cx="2505600" cy="360000"/>
          </a:xfrm>
        </p:spPr>
        <p:txBody>
          <a:bodyPr/>
          <a:lstStyle/>
          <a:p>
            <a:r>
              <a:rPr lang="nl-NL" dirty="0">
                <a:solidFill>
                  <a:srgbClr val="000000"/>
                </a:solidFill>
              </a:rPr>
              <a:t>Relatief grootste tekorten</a:t>
            </a:r>
          </a:p>
        </p:txBody>
      </p:sp>
      <p:sp>
        <p:nvSpPr>
          <p:cNvPr id="16" name="Text Placeholder 15">
            <a:extLst>
              <a:ext uri="{FF2B5EF4-FFF2-40B4-BE49-F238E27FC236}">
                <a16:creationId xmlns:a16="http://schemas.microsoft.com/office/drawing/2014/main" id="{2C3B86AD-2B1D-465A-9AD0-8F47B59B37C3}"/>
              </a:ext>
            </a:extLst>
          </p:cNvPr>
          <p:cNvSpPr>
            <a:spLocks noGrp="1"/>
          </p:cNvSpPr>
          <p:nvPr>
            <p:ph type="body" sz="quarter" idx="34"/>
          </p:nvPr>
        </p:nvSpPr>
        <p:spPr>
          <a:xfrm>
            <a:off x="9023621" y="1699963"/>
            <a:ext cx="2505600" cy="360000"/>
          </a:xfrm>
        </p:spPr>
        <p:txBody>
          <a:bodyPr/>
          <a:lstStyle/>
          <a:p>
            <a:r>
              <a:rPr lang="nl-NL" dirty="0">
                <a:solidFill>
                  <a:srgbClr val="000000"/>
                </a:solidFill>
              </a:rPr>
              <a:t>Absoluut kleinste </a:t>
            </a:r>
            <a:r>
              <a:rPr lang="nl-NL" dirty="0"/>
              <a:t>tekorten</a:t>
            </a:r>
          </a:p>
        </p:txBody>
      </p:sp>
      <p:sp>
        <p:nvSpPr>
          <p:cNvPr id="4" name="Text Placeholder 3">
            <a:extLst>
              <a:ext uri="{FF2B5EF4-FFF2-40B4-BE49-F238E27FC236}">
                <a16:creationId xmlns:a16="http://schemas.microsoft.com/office/drawing/2014/main" id="{6C5868C6-6246-4E7F-B638-6D36707093AE}"/>
              </a:ext>
            </a:extLst>
          </p:cNvPr>
          <p:cNvSpPr>
            <a:spLocks noGrp="1"/>
          </p:cNvSpPr>
          <p:nvPr>
            <p:ph type="body" sz="quarter" idx="30"/>
          </p:nvPr>
        </p:nvSpPr>
        <p:spPr>
          <a:xfrm>
            <a:off x="6236674" y="1699963"/>
            <a:ext cx="2505600" cy="360000"/>
          </a:xfrm>
        </p:spPr>
        <p:txBody>
          <a:bodyPr/>
          <a:lstStyle/>
          <a:p>
            <a:r>
              <a:rPr lang="nl-NL" dirty="0">
                <a:solidFill>
                  <a:srgbClr val="000000"/>
                </a:solidFill>
              </a:rPr>
              <a:t>Relatief kleinste tekorten</a:t>
            </a:r>
          </a:p>
        </p:txBody>
      </p:sp>
      <p:sp>
        <p:nvSpPr>
          <p:cNvPr id="8" name="Slide Number Placeholder 7">
            <a:extLst>
              <a:ext uri="{FF2B5EF4-FFF2-40B4-BE49-F238E27FC236}">
                <a16:creationId xmlns:a16="http://schemas.microsoft.com/office/drawing/2014/main" id="{3D7A54F0-A6A3-4210-A600-5ED5BEB6CB68}"/>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sp>
        <p:nvSpPr>
          <p:cNvPr id="11" name="Text Placeholder 10">
            <a:extLst>
              <a:ext uri="{FF2B5EF4-FFF2-40B4-BE49-F238E27FC236}">
                <a16:creationId xmlns:a16="http://schemas.microsoft.com/office/drawing/2014/main" id="{68C3CC95-8771-4BA9-A111-E113F8E3003F}"/>
              </a:ext>
            </a:extLst>
          </p:cNvPr>
          <p:cNvSpPr>
            <a:spLocks noGrp="1"/>
          </p:cNvSpPr>
          <p:nvPr>
            <p:ph type="body" sz="quarter" idx="14"/>
          </p:nvPr>
        </p:nvSpPr>
        <p:spPr/>
        <p:txBody>
          <a:bodyPr/>
          <a:lstStyle/>
          <a:p>
            <a:r>
              <a:rPr lang="nl-NL" dirty="0"/>
              <a:t>Tekorten jeugdzorg per gemeente</a:t>
            </a:r>
            <a:r>
              <a:rPr lang="nl-NL" baseline="30000" dirty="0"/>
              <a:t>1</a:t>
            </a:r>
            <a:r>
              <a:rPr lang="nl-NL" dirty="0"/>
              <a:t>, 2019</a:t>
            </a:r>
          </a:p>
        </p:txBody>
      </p:sp>
      <p:sp>
        <p:nvSpPr>
          <p:cNvPr id="10" name="Title 9">
            <a:extLst>
              <a:ext uri="{FF2B5EF4-FFF2-40B4-BE49-F238E27FC236}">
                <a16:creationId xmlns:a16="http://schemas.microsoft.com/office/drawing/2014/main" id="{3EBD2562-B6C7-44C0-AB14-435802169C9A}"/>
              </a:ext>
            </a:extLst>
          </p:cNvPr>
          <p:cNvSpPr>
            <a:spLocks noGrp="1"/>
          </p:cNvSpPr>
          <p:nvPr>
            <p:ph type="title"/>
          </p:nvPr>
        </p:nvSpPr>
        <p:spPr/>
        <p:txBody>
          <a:bodyPr vert="horz"/>
          <a:lstStyle/>
          <a:p>
            <a:r>
              <a:rPr lang="nl-NL" dirty="0">
                <a:latin typeface="+mj-lt"/>
              </a:rPr>
              <a:t>Dit zijn de top 20 gemeenten met de grootste en kleinste tekorten</a:t>
            </a:r>
          </a:p>
        </p:txBody>
      </p:sp>
      <p:graphicFrame>
        <p:nvGraphicFramePr>
          <p:cNvPr id="18" name="Table 15">
            <a:extLst>
              <a:ext uri="{FF2B5EF4-FFF2-40B4-BE49-F238E27FC236}">
                <a16:creationId xmlns:a16="http://schemas.microsoft.com/office/drawing/2014/main" id="{08066F6B-6E52-44D4-9378-366193A591BB}"/>
              </a:ext>
            </a:extLst>
          </p:cNvPr>
          <p:cNvGraphicFramePr>
            <a:graphicFrameLocks noGrp="1"/>
          </p:cNvGraphicFramePr>
          <p:nvPr>
            <p:extLst>
              <p:ext uri="{D42A27DB-BD31-4B8C-83A1-F6EECF244321}">
                <p14:modId xmlns:p14="http://schemas.microsoft.com/office/powerpoint/2010/main" val="2025530192"/>
              </p:ext>
            </p:extLst>
          </p:nvPr>
        </p:nvGraphicFramePr>
        <p:xfrm>
          <a:off x="6293824" y="2130124"/>
          <a:ext cx="2397600" cy="39564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972000">
                  <a:extLst>
                    <a:ext uri="{9D8B030D-6E8A-4147-A177-3AD203B41FA5}">
                      <a16:colId xmlns:a16="http://schemas.microsoft.com/office/drawing/2014/main" val="2639174703"/>
                    </a:ext>
                  </a:extLst>
                </a:gridCol>
                <a:gridCol w="576000">
                  <a:extLst>
                    <a:ext uri="{9D8B030D-6E8A-4147-A177-3AD203B41FA5}">
                      <a16:colId xmlns:a16="http://schemas.microsoft.com/office/drawing/2014/main" val="1189516012"/>
                    </a:ext>
                  </a:extLst>
                </a:gridCol>
                <a:gridCol w="576000">
                  <a:extLst>
                    <a:ext uri="{9D8B030D-6E8A-4147-A177-3AD203B41FA5}">
                      <a16:colId xmlns:a16="http://schemas.microsoft.com/office/drawing/2014/main" val="3619418630"/>
                    </a:ext>
                  </a:extLst>
                </a:gridCol>
              </a:tblGrid>
              <a:tr h="144000">
                <a:tc gridSpan="2">
                  <a:txBody>
                    <a:bodyPr/>
                    <a:lstStyle/>
                    <a:p>
                      <a:pPr algn="l" fontAlgn="b"/>
                      <a:r>
                        <a:rPr lang="nl-NL" sz="1000" b="1" i="0" u="none" strike="noStrike" dirty="0">
                          <a:solidFill>
                            <a:schemeClr val="bg1"/>
                          </a:solidFill>
                          <a:effectLst/>
                          <a:latin typeface="+mj-lt"/>
                        </a:rPr>
                        <a:t>Tekort top 20</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0" i="0" u="none" strike="noStrike" dirty="0">
                          <a:solidFill>
                            <a:srgbClr val="FFFFFF"/>
                          </a:solidFill>
                          <a:effectLst/>
                          <a:latin typeface="+mj-lt"/>
                        </a:rPr>
                        <a:t>% tekor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FFFFFF"/>
                          </a:solidFill>
                          <a:effectLst/>
                          <a:latin typeface="+mn-lt"/>
                          <a:ea typeface="+mn-ea"/>
                          <a:cs typeface="+mn-cs"/>
                        </a:rPr>
                        <a:t>€ </a:t>
                      </a:r>
                      <a:r>
                        <a:rPr lang="nl-NL" sz="1000" b="0" i="0" u="none" strike="noStrike" kern="1200" dirty="0" err="1">
                          <a:solidFill>
                            <a:srgbClr val="FFFFFF"/>
                          </a:solidFill>
                          <a:effectLst/>
                          <a:latin typeface="+mn-lt"/>
                          <a:ea typeface="+mn-ea"/>
                          <a:cs typeface="+mn-cs"/>
                        </a:rPr>
                        <a:t>mln</a:t>
                      </a:r>
                      <a:endParaRPr lang="nl-NL" sz="1000" b="0" i="0" u="none" strike="noStrike" kern="1200" dirty="0">
                        <a:solidFill>
                          <a:srgbClr val="FFFFFF"/>
                        </a:solidFill>
                        <a:effectLst/>
                        <a:latin typeface="+mn-lt"/>
                        <a:ea typeface="+mn-ea"/>
                        <a:cs typeface="+mn-cs"/>
                      </a:endParaRP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2313676965"/>
                  </a:ext>
                </a:extLst>
              </a:tr>
              <a:tr h="180000">
                <a:tc>
                  <a:txBody>
                    <a:bodyPr/>
                    <a:lstStyle/>
                    <a:p>
                      <a:pPr algn="ctr" fontAlgn="b"/>
                      <a:r>
                        <a:rPr lang="nl-NL" sz="1000" b="0" i="0" u="none" strike="noStrike" dirty="0">
                          <a:solidFill>
                            <a:schemeClr val="bg1"/>
                          </a:solidFill>
                          <a:effectLst/>
                          <a:latin typeface="Corbel" panose="020B0503020204020204" pitchFamily="34" charset="0"/>
                        </a:rPr>
                        <a:t>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Ame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2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180000">
                <a:tc>
                  <a:txBody>
                    <a:bodyPr/>
                    <a:lstStyle/>
                    <a:p>
                      <a:pPr algn="ctr" fontAlgn="b"/>
                      <a:r>
                        <a:rPr lang="nl-NL" sz="1000" b="0" i="0" u="none" strike="noStrike" dirty="0">
                          <a:solidFill>
                            <a:schemeClr val="bg1"/>
                          </a:solidFill>
                          <a:effectLst/>
                          <a:latin typeface="Corbel" panose="020B0503020204020204" pitchFamily="34" charset="0"/>
                        </a:rPr>
                        <a:t>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Zoeterwoud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180000">
                <a:tc>
                  <a:txBody>
                    <a:bodyPr/>
                    <a:lstStyle/>
                    <a:p>
                      <a:pPr algn="ctr" fontAlgn="b"/>
                      <a:r>
                        <a:rPr lang="nl-NL" sz="1000" b="0" i="0" u="none" strike="noStrike" dirty="0">
                          <a:solidFill>
                            <a:schemeClr val="bg1"/>
                          </a:solidFill>
                          <a:effectLst/>
                          <a:latin typeface="Corbel" panose="020B0503020204020204" pitchFamily="34" charset="0"/>
                        </a:rPr>
                        <a:t>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Urk</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180000">
                <a:tc>
                  <a:txBody>
                    <a:bodyPr/>
                    <a:lstStyle/>
                    <a:p>
                      <a:pPr algn="ctr" fontAlgn="b"/>
                      <a:r>
                        <a:rPr lang="nl-NL" sz="1000" b="0" i="0" u="none" strike="noStrike" dirty="0">
                          <a:solidFill>
                            <a:schemeClr val="bg1"/>
                          </a:solidFill>
                          <a:effectLst/>
                          <a:latin typeface="Corbel" panose="020B0503020204020204" pitchFamily="34" charset="0"/>
                        </a:rPr>
                        <a:t>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a:solidFill>
                            <a:srgbClr val="000000"/>
                          </a:solidFill>
                          <a:effectLst/>
                          <a:latin typeface="Corbel" panose="020B0503020204020204" pitchFamily="34" charset="0"/>
                        </a:rPr>
                        <a:t>Eers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180000">
                <a:tc>
                  <a:txBody>
                    <a:bodyPr/>
                    <a:lstStyle/>
                    <a:p>
                      <a:pPr algn="ctr" fontAlgn="b"/>
                      <a:r>
                        <a:rPr lang="nl-NL" sz="1000" b="0" i="0" u="none" strike="noStrike" dirty="0">
                          <a:solidFill>
                            <a:schemeClr val="bg1"/>
                          </a:solidFill>
                          <a:effectLst/>
                          <a:latin typeface="Corbel" panose="020B0503020204020204" pitchFamily="34" charset="0"/>
                        </a:rPr>
                        <a:t>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Goeree-</a:t>
                      </a:r>
                      <a:r>
                        <a:rPr lang="nl-NL" sz="1000" b="0" i="0" u="none" strike="noStrike" dirty="0" err="1">
                          <a:solidFill>
                            <a:srgbClr val="000000"/>
                          </a:solidFill>
                          <a:effectLst/>
                          <a:latin typeface="Corbel" panose="020B0503020204020204" pitchFamily="34" charset="0"/>
                        </a:rPr>
                        <a:t>Overflak</a:t>
                      </a:r>
                      <a:r>
                        <a:rPr lang="nl-NL" sz="1000" b="0" i="0" u="none" strike="noStrike" dirty="0">
                          <a:solidFill>
                            <a:srgbClr val="000000"/>
                          </a:solidFill>
                          <a:effectLst/>
                          <a:latin typeface="Corbel" panose="020B0503020204020204" pitchFamily="34" charset="0"/>
                        </a:rPr>
                        <a: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180000">
                <a:tc>
                  <a:txBody>
                    <a:bodyPr/>
                    <a:lstStyle/>
                    <a:p>
                      <a:pPr algn="ctr" fontAlgn="b"/>
                      <a:r>
                        <a:rPr lang="nl-NL" sz="1000" b="0" i="0" u="none" strike="noStrike" dirty="0">
                          <a:solidFill>
                            <a:schemeClr val="bg1"/>
                          </a:solidFill>
                          <a:effectLst/>
                          <a:latin typeface="Corbel" panose="020B0503020204020204" pitchFamily="34" charset="0"/>
                        </a:rPr>
                        <a:t>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Vlie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180000">
                <a:tc>
                  <a:txBody>
                    <a:bodyPr/>
                    <a:lstStyle/>
                    <a:p>
                      <a:pPr algn="ctr" fontAlgn="b"/>
                      <a:r>
                        <a:rPr lang="nl-NL" sz="1000" b="0" i="0" u="none" strike="noStrike" dirty="0">
                          <a:solidFill>
                            <a:schemeClr val="bg1"/>
                          </a:solidFill>
                          <a:effectLst/>
                          <a:latin typeface="Corbel" panose="020B0503020204020204" pitchFamily="34" charset="0"/>
                        </a:rPr>
                        <a:t>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Zuidpla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180000">
                <a:tc>
                  <a:txBody>
                    <a:bodyPr/>
                    <a:lstStyle/>
                    <a:p>
                      <a:pPr algn="ctr" fontAlgn="b"/>
                      <a:r>
                        <a:rPr lang="nl-NL" sz="1000" b="0" i="0" u="none" strike="noStrike" dirty="0">
                          <a:solidFill>
                            <a:schemeClr val="bg1"/>
                          </a:solidFill>
                          <a:effectLst/>
                          <a:latin typeface="Corbel" panose="020B0503020204020204" pitchFamily="34" charset="0"/>
                        </a:rPr>
                        <a:t>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Noordwijk</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180000">
                <a:tc>
                  <a:txBody>
                    <a:bodyPr/>
                    <a:lstStyle/>
                    <a:p>
                      <a:pPr algn="ctr" fontAlgn="b"/>
                      <a:r>
                        <a:rPr lang="nl-NL" sz="1000" b="0" i="0" u="none" strike="noStrike" dirty="0">
                          <a:solidFill>
                            <a:schemeClr val="bg1"/>
                          </a:solidFill>
                          <a:effectLst/>
                          <a:latin typeface="Corbel" panose="020B0503020204020204" pitchFamily="34" charset="0"/>
                        </a:rPr>
                        <a:t>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Hellevoetslui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180000">
                <a:tc>
                  <a:txBody>
                    <a:bodyPr/>
                    <a:lstStyle/>
                    <a:p>
                      <a:pPr algn="ctr" fontAlgn="b"/>
                      <a:r>
                        <a:rPr lang="nl-NL" sz="1000" b="0" i="0" u="none" strike="noStrike" dirty="0">
                          <a:solidFill>
                            <a:schemeClr val="bg1"/>
                          </a:solidFill>
                          <a:effectLst/>
                          <a:latin typeface="Corbel" panose="020B0503020204020204" pitchFamily="34" charset="0"/>
                        </a:rPr>
                        <a:t>1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a:solidFill>
                            <a:srgbClr val="000000"/>
                          </a:solidFill>
                          <a:effectLst/>
                          <a:latin typeface="Corbel" panose="020B0503020204020204" pitchFamily="34" charset="0"/>
                        </a:rPr>
                        <a:t>Rotterda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180000">
                <a:tc>
                  <a:txBody>
                    <a:bodyPr/>
                    <a:lstStyle/>
                    <a:p>
                      <a:pPr algn="ctr" fontAlgn="b"/>
                      <a:r>
                        <a:rPr lang="nl-NL" sz="1000" b="0" i="0" u="none" strike="noStrike" dirty="0">
                          <a:solidFill>
                            <a:schemeClr val="bg1"/>
                          </a:solidFill>
                          <a:effectLst/>
                          <a:latin typeface="Corbel" panose="020B0503020204020204" pitchFamily="34" charset="0"/>
                        </a:rPr>
                        <a:t>1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Lansinger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180000">
                <a:tc>
                  <a:txBody>
                    <a:bodyPr/>
                    <a:lstStyle/>
                    <a:p>
                      <a:pPr algn="ctr" fontAlgn="b"/>
                      <a:r>
                        <a:rPr lang="nl-NL" sz="1000" b="0" i="0" u="none" strike="noStrike" dirty="0">
                          <a:solidFill>
                            <a:srgbClr val="000000"/>
                          </a:solidFill>
                          <a:effectLst/>
                          <a:latin typeface="Corbel" panose="020B0503020204020204" pitchFamily="34" charset="0"/>
                        </a:rPr>
                        <a:t>1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a:solidFill>
                            <a:srgbClr val="000000"/>
                          </a:solidFill>
                          <a:effectLst/>
                          <a:latin typeface="Corbel" panose="020B0503020204020204" pitchFamily="34" charset="0"/>
                        </a:rPr>
                        <a:t>Weer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180000">
                <a:tc>
                  <a:txBody>
                    <a:bodyPr/>
                    <a:lstStyle/>
                    <a:p>
                      <a:pPr algn="ctr" fontAlgn="b"/>
                      <a:r>
                        <a:rPr lang="nl-NL" sz="1000" b="0" i="0" u="none" strike="noStrike" dirty="0">
                          <a:solidFill>
                            <a:srgbClr val="000000"/>
                          </a:solidFill>
                          <a:effectLst/>
                          <a:latin typeface="Corbel" panose="020B0503020204020204" pitchFamily="34" charset="0"/>
                        </a:rPr>
                        <a:t>1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Deventer</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180000">
                <a:tc>
                  <a:txBody>
                    <a:bodyPr/>
                    <a:lstStyle/>
                    <a:p>
                      <a:pPr algn="ctr" fontAlgn="b"/>
                      <a:r>
                        <a:rPr lang="nl-NL" sz="1000" b="0" i="0" u="none" strike="noStrike" dirty="0">
                          <a:solidFill>
                            <a:srgbClr val="000000"/>
                          </a:solidFill>
                          <a:effectLst/>
                          <a:latin typeface="Corbel" panose="020B0503020204020204" pitchFamily="34" charset="0"/>
                        </a:rPr>
                        <a:t>1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Boek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180000">
                <a:tc>
                  <a:txBody>
                    <a:bodyPr/>
                    <a:lstStyle/>
                    <a:p>
                      <a:pPr algn="ctr" fontAlgn="b"/>
                      <a:r>
                        <a:rPr lang="nl-NL" sz="1000" b="0" i="0" u="none" strike="noStrike" dirty="0">
                          <a:solidFill>
                            <a:srgbClr val="000000"/>
                          </a:solidFill>
                          <a:effectLst/>
                          <a:latin typeface="Corbel" panose="020B0503020204020204" pitchFamily="34" charset="0"/>
                        </a:rPr>
                        <a:t>1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Sliedrech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180000">
                <a:tc>
                  <a:txBody>
                    <a:bodyPr/>
                    <a:lstStyle/>
                    <a:p>
                      <a:pPr algn="ctr" fontAlgn="b"/>
                      <a:r>
                        <a:rPr lang="nl-NL" sz="1000" b="0" i="0" u="none" strike="noStrike" dirty="0">
                          <a:solidFill>
                            <a:srgbClr val="000000"/>
                          </a:solidFill>
                          <a:effectLst/>
                          <a:latin typeface="Corbel" panose="020B0503020204020204" pitchFamily="34" charset="0"/>
                        </a:rPr>
                        <a:t>1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a:solidFill>
                            <a:srgbClr val="000000"/>
                          </a:solidFill>
                          <a:effectLst/>
                          <a:latin typeface="Corbel" panose="020B0503020204020204" pitchFamily="34" charset="0"/>
                        </a:rPr>
                        <a:t>Nieuwegei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180000">
                <a:tc>
                  <a:txBody>
                    <a:bodyPr/>
                    <a:lstStyle/>
                    <a:p>
                      <a:pPr algn="ctr" fontAlgn="b"/>
                      <a:r>
                        <a:rPr lang="nl-NL" sz="1000" b="0" i="0" u="none" strike="noStrike" dirty="0">
                          <a:solidFill>
                            <a:srgbClr val="000000"/>
                          </a:solidFill>
                          <a:effectLst/>
                          <a:latin typeface="Corbel" panose="020B0503020204020204" pitchFamily="34" charset="0"/>
                        </a:rPr>
                        <a:t>1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a:solidFill>
                            <a:srgbClr val="000000"/>
                          </a:solidFill>
                          <a:effectLst/>
                          <a:latin typeface="Corbel" panose="020B0503020204020204" pitchFamily="34" charset="0"/>
                        </a:rPr>
                        <a:t>Hatte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180000">
                <a:tc>
                  <a:txBody>
                    <a:bodyPr/>
                    <a:lstStyle/>
                    <a:p>
                      <a:pPr algn="ctr" fontAlgn="b"/>
                      <a:r>
                        <a:rPr lang="nl-NL" sz="1000" b="0" i="0" u="none" strike="noStrike" dirty="0">
                          <a:solidFill>
                            <a:srgbClr val="000000"/>
                          </a:solidFill>
                          <a:effectLst/>
                          <a:latin typeface="Corbel" panose="020B0503020204020204" pitchFamily="34" charset="0"/>
                        </a:rPr>
                        <a:t>1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Baar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180000">
                <a:tc>
                  <a:txBody>
                    <a:bodyPr/>
                    <a:lstStyle/>
                    <a:p>
                      <a:pPr algn="ctr" fontAlgn="b"/>
                      <a:r>
                        <a:rPr lang="nl-NL" sz="1000" b="0" i="0" u="none" strike="noStrike" dirty="0">
                          <a:solidFill>
                            <a:srgbClr val="000000"/>
                          </a:solidFill>
                          <a:effectLst/>
                          <a:latin typeface="Corbel" panose="020B0503020204020204" pitchFamily="34" charset="0"/>
                        </a:rPr>
                        <a:t>1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Breda</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3,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180000">
                <a:tc>
                  <a:txBody>
                    <a:bodyPr/>
                    <a:lstStyle/>
                    <a:p>
                      <a:pPr algn="ctr" fontAlgn="b"/>
                      <a:r>
                        <a:rPr lang="nl-NL" sz="1000" b="0" i="0" u="none" strike="noStrike" dirty="0">
                          <a:solidFill>
                            <a:srgbClr val="000000"/>
                          </a:solidFill>
                          <a:effectLst/>
                          <a:latin typeface="Corbel" panose="020B0503020204020204" pitchFamily="34" charset="0"/>
                        </a:rPr>
                        <a:t>2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Coevord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6" name="Table 15">
            <a:extLst>
              <a:ext uri="{FF2B5EF4-FFF2-40B4-BE49-F238E27FC236}">
                <a16:creationId xmlns:a16="http://schemas.microsoft.com/office/drawing/2014/main" id="{C739AE40-8D3A-4617-BE08-B5C021F6484C}"/>
              </a:ext>
            </a:extLst>
          </p:cNvPr>
          <p:cNvGraphicFramePr>
            <a:graphicFrameLocks noGrp="1"/>
          </p:cNvGraphicFramePr>
          <p:nvPr>
            <p:extLst>
              <p:ext uri="{D42A27DB-BD31-4B8C-83A1-F6EECF244321}">
                <p14:modId xmlns:p14="http://schemas.microsoft.com/office/powerpoint/2010/main" val="700576974"/>
              </p:ext>
            </p:extLst>
          </p:nvPr>
        </p:nvGraphicFramePr>
        <p:xfrm>
          <a:off x="9080771" y="2130124"/>
          <a:ext cx="2397600" cy="39564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972000">
                  <a:extLst>
                    <a:ext uri="{9D8B030D-6E8A-4147-A177-3AD203B41FA5}">
                      <a16:colId xmlns:a16="http://schemas.microsoft.com/office/drawing/2014/main" val="2639174703"/>
                    </a:ext>
                  </a:extLst>
                </a:gridCol>
                <a:gridCol w="576000">
                  <a:extLst>
                    <a:ext uri="{9D8B030D-6E8A-4147-A177-3AD203B41FA5}">
                      <a16:colId xmlns:a16="http://schemas.microsoft.com/office/drawing/2014/main" val="1189516012"/>
                    </a:ext>
                  </a:extLst>
                </a:gridCol>
                <a:gridCol w="576000">
                  <a:extLst>
                    <a:ext uri="{9D8B030D-6E8A-4147-A177-3AD203B41FA5}">
                      <a16:colId xmlns:a16="http://schemas.microsoft.com/office/drawing/2014/main" val="3619418630"/>
                    </a:ext>
                  </a:extLst>
                </a:gridCol>
              </a:tblGrid>
              <a:tr h="144000">
                <a:tc gridSpan="2">
                  <a:txBody>
                    <a:bodyPr/>
                    <a:lstStyle/>
                    <a:p>
                      <a:pPr algn="l" fontAlgn="b"/>
                      <a:r>
                        <a:rPr lang="nl-NL" sz="1000" b="1" i="0" u="none" strike="noStrike" dirty="0">
                          <a:solidFill>
                            <a:schemeClr val="bg1"/>
                          </a:solidFill>
                          <a:effectLst/>
                          <a:latin typeface="+mj-lt"/>
                        </a:rPr>
                        <a:t>Tekort top 20</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0" i="0" u="none" strike="noStrike" dirty="0">
                          <a:solidFill>
                            <a:srgbClr val="FFFFFF"/>
                          </a:solidFill>
                          <a:effectLst/>
                          <a:latin typeface="+mj-lt"/>
                        </a:rPr>
                        <a:t>% tekor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FFFFFF"/>
                          </a:solidFill>
                          <a:effectLst/>
                          <a:latin typeface="+mn-lt"/>
                          <a:ea typeface="+mn-ea"/>
                          <a:cs typeface="+mn-cs"/>
                        </a:rPr>
                        <a:t>€ </a:t>
                      </a:r>
                      <a:r>
                        <a:rPr lang="nl-NL" sz="1000" b="0" i="0" u="none" strike="noStrike" kern="1200" dirty="0" err="1">
                          <a:solidFill>
                            <a:srgbClr val="FFFFFF"/>
                          </a:solidFill>
                          <a:effectLst/>
                          <a:latin typeface="+mn-lt"/>
                          <a:ea typeface="+mn-ea"/>
                          <a:cs typeface="+mn-cs"/>
                        </a:rPr>
                        <a:t>mln</a:t>
                      </a:r>
                      <a:endParaRPr lang="nl-NL" sz="1000" b="0" i="0" u="none" strike="noStrike" kern="1200" dirty="0">
                        <a:solidFill>
                          <a:srgbClr val="FFFFFF"/>
                        </a:solidFill>
                        <a:effectLst/>
                        <a:latin typeface="+mn-lt"/>
                        <a:ea typeface="+mn-ea"/>
                        <a:cs typeface="+mn-cs"/>
                      </a:endParaRP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2313676965"/>
                  </a:ext>
                </a:extLst>
              </a:tr>
              <a:tr h="180000">
                <a:tc>
                  <a:txBody>
                    <a:bodyPr/>
                    <a:lstStyle/>
                    <a:p>
                      <a:pPr algn="ctr" fontAlgn="b"/>
                      <a:r>
                        <a:rPr lang="nl-NL" sz="1000" b="0" i="0" u="none" strike="noStrike" dirty="0">
                          <a:solidFill>
                            <a:schemeClr val="bg1"/>
                          </a:solidFill>
                          <a:effectLst/>
                          <a:latin typeface="Corbel" panose="020B0503020204020204" pitchFamily="34" charset="0"/>
                        </a:rPr>
                        <a:t>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Urk</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180000">
                <a:tc>
                  <a:txBody>
                    <a:bodyPr/>
                    <a:lstStyle/>
                    <a:p>
                      <a:pPr algn="ctr" fontAlgn="b"/>
                      <a:r>
                        <a:rPr lang="nl-NL" sz="1000" b="0" i="0" u="none" strike="noStrike" dirty="0">
                          <a:solidFill>
                            <a:schemeClr val="bg1"/>
                          </a:solidFill>
                          <a:effectLst/>
                          <a:latin typeface="Corbel" panose="020B0503020204020204" pitchFamily="34" charset="0"/>
                        </a:rPr>
                        <a:t>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Goeree-</a:t>
                      </a:r>
                      <a:r>
                        <a:rPr lang="nl-NL" sz="1000" b="0" i="0" u="none" strike="noStrike" dirty="0" err="1">
                          <a:solidFill>
                            <a:srgbClr val="000000"/>
                          </a:solidFill>
                          <a:effectLst/>
                          <a:latin typeface="Corbel" panose="020B0503020204020204" pitchFamily="34" charset="0"/>
                        </a:rPr>
                        <a:t>Overflak</a:t>
                      </a:r>
                      <a:r>
                        <a:rPr lang="nl-NL" sz="1000" b="0" i="0" u="none" strike="noStrike" dirty="0">
                          <a:solidFill>
                            <a:srgbClr val="000000"/>
                          </a:solidFill>
                          <a:effectLst/>
                          <a:latin typeface="Corbel" panose="020B0503020204020204" pitchFamily="34" charset="0"/>
                        </a:rPr>
                        <a: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180000">
                <a:tc>
                  <a:txBody>
                    <a:bodyPr/>
                    <a:lstStyle/>
                    <a:p>
                      <a:pPr algn="ctr" fontAlgn="b"/>
                      <a:r>
                        <a:rPr lang="nl-NL" sz="1000" b="0" i="0" u="none" strike="noStrike" dirty="0">
                          <a:solidFill>
                            <a:schemeClr val="bg1"/>
                          </a:solidFill>
                          <a:effectLst/>
                          <a:latin typeface="Corbel" panose="020B0503020204020204" pitchFamily="34" charset="0"/>
                        </a:rPr>
                        <a:t>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Zuidpla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180000">
                <a:tc>
                  <a:txBody>
                    <a:bodyPr/>
                    <a:lstStyle/>
                    <a:p>
                      <a:pPr algn="ctr" fontAlgn="b"/>
                      <a:r>
                        <a:rPr lang="nl-NL" sz="1000" b="0" i="0" u="none" strike="noStrike" dirty="0">
                          <a:solidFill>
                            <a:schemeClr val="bg1"/>
                          </a:solidFill>
                          <a:effectLst/>
                          <a:latin typeface="Corbel" panose="020B0503020204020204" pitchFamily="34" charset="0"/>
                        </a:rPr>
                        <a:t>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Rotterda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180000">
                <a:tc>
                  <a:txBody>
                    <a:bodyPr/>
                    <a:lstStyle/>
                    <a:p>
                      <a:pPr algn="ctr" fontAlgn="b"/>
                      <a:r>
                        <a:rPr lang="nl-NL" sz="1000" b="0" i="0" u="none" strike="noStrike" dirty="0">
                          <a:solidFill>
                            <a:schemeClr val="bg1"/>
                          </a:solidFill>
                          <a:effectLst/>
                          <a:latin typeface="Corbel" panose="020B0503020204020204" pitchFamily="34" charset="0"/>
                        </a:rPr>
                        <a:t>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a:solidFill>
                            <a:srgbClr val="000000"/>
                          </a:solidFill>
                          <a:effectLst/>
                          <a:latin typeface="Corbel" panose="020B0503020204020204" pitchFamily="34" charset="0"/>
                        </a:rPr>
                        <a:t>Eers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180000">
                <a:tc>
                  <a:txBody>
                    <a:bodyPr/>
                    <a:lstStyle/>
                    <a:p>
                      <a:pPr algn="ctr" fontAlgn="b"/>
                      <a:r>
                        <a:rPr lang="nl-NL" sz="1000" b="0" i="0" u="none" strike="noStrike" dirty="0">
                          <a:solidFill>
                            <a:schemeClr val="bg1"/>
                          </a:solidFill>
                          <a:effectLst/>
                          <a:latin typeface="Corbel" panose="020B0503020204020204" pitchFamily="34" charset="0"/>
                        </a:rPr>
                        <a:t>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Zoeterwoud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180000">
                <a:tc>
                  <a:txBody>
                    <a:bodyPr/>
                    <a:lstStyle/>
                    <a:p>
                      <a:pPr algn="ctr" fontAlgn="b"/>
                      <a:r>
                        <a:rPr lang="nl-NL" sz="1000" b="0" i="0" u="none" strike="noStrike" dirty="0">
                          <a:solidFill>
                            <a:schemeClr val="bg1"/>
                          </a:solidFill>
                          <a:effectLst/>
                          <a:latin typeface="Corbel" panose="020B0503020204020204" pitchFamily="34" charset="0"/>
                        </a:rPr>
                        <a:t>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Noordwijk</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180000">
                <a:tc>
                  <a:txBody>
                    <a:bodyPr/>
                    <a:lstStyle/>
                    <a:p>
                      <a:pPr algn="ctr" fontAlgn="b"/>
                      <a:r>
                        <a:rPr lang="nl-NL" sz="1000" b="0" i="0" u="none" strike="noStrike" dirty="0">
                          <a:solidFill>
                            <a:schemeClr val="bg1"/>
                          </a:solidFill>
                          <a:effectLst/>
                          <a:latin typeface="Corbel" panose="020B0503020204020204" pitchFamily="34" charset="0"/>
                        </a:rPr>
                        <a:t>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17722B"/>
                    </a:solidFill>
                  </a:tcPr>
                </a:tc>
                <a:tc>
                  <a:txBody>
                    <a:bodyPr/>
                    <a:lstStyle/>
                    <a:p>
                      <a:pPr algn="l" fontAlgn="b"/>
                      <a:r>
                        <a:rPr lang="nl-NL" sz="1000" b="0" i="0" u="none" strike="noStrike" dirty="0">
                          <a:solidFill>
                            <a:srgbClr val="000000"/>
                          </a:solidFill>
                          <a:effectLst/>
                          <a:latin typeface="Corbel" panose="020B0503020204020204" pitchFamily="34" charset="0"/>
                        </a:rPr>
                        <a:t>Ame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180000">
                <a:tc>
                  <a:txBody>
                    <a:bodyPr/>
                    <a:lstStyle/>
                    <a:p>
                      <a:pPr algn="ctr" fontAlgn="b"/>
                      <a:r>
                        <a:rPr lang="nl-NL" sz="1000" b="0" i="0" u="none" strike="noStrike" dirty="0">
                          <a:solidFill>
                            <a:schemeClr val="bg1"/>
                          </a:solidFill>
                          <a:effectLst/>
                          <a:latin typeface="Corbel" panose="020B0503020204020204" pitchFamily="34" charset="0"/>
                        </a:rPr>
                        <a:t>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Hellevoetslui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180000">
                <a:tc>
                  <a:txBody>
                    <a:bodyPr/>
                    <a:lstStyle/>
                    <a:p>
                      <a:pPr algn="ctr" fontAlgn="b"/>
                      <a:r>
                        <a:rPr lang="nl-NL" sz="1000" b="0" i="0" u="none" strike="noStrike" dirty="0">
                          <a:solidFill>
                            <a:schemeClr val="bg1"/>
                          </a:solidFill>
                          <a:effectLst/>
                          <a:latin typeface="Corbel" panose="020B0503020204020204" pitchFamily="34" charset="0"/>
                        </a:rPr>
                        <a:t>1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a:solidFill>
                            <a:srgbClr val="000000"/>
                          </a:solidFill>
                          <a:effectLst/>
                          <a:latin typeface="Corbel" panose="020B0503020204020204" pitchFamily="34" charset="0"/>
                        </a:rPr>
                        <a:t>Vlie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180000">
                <a:tc>
                  <a:txBody>
                    <a:bodyPr/>
                    <a:lstStyle/>
                    <a:p>
                      <a:pPr algn="ctr" fontAlgn="b"/>
                      <a:r>
                        <a:rPr lang="nl-NL" sz="1000" b="0" i="0" u="none" strike="noStrike" dirty="0">
                          <a:solidFill>
                            <a:schemeClr val="bg1"/>
                          </a:solidFill>
                          <a:effectLst/>
                          <a:latin typeface="Corbel" panose="020B0503020204020204" pitchFamily="34" charset="0"/>
                        </a:rPr>
                        <a:t>1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9943A"/>
                    </a:solidFill>
                  </a:tcPr>
                </a:tc>
                <a:tc>
                  <a:txBody>
                    <a:bodyPr/>
                    <a:lstStyle/>
                    <a:p>
                      <a:pPr algn="l" fontAlgn="b"/>
                      <a:r>
                        <a:rPr lang="nl-NL" sz="1000" b="0" i="0" u="none" strike="noStrike" dirty="0">
                          <a:solidFill>
                            <a:srgbClr val="000000"/>
                          </a:solidFill>
                          <a:effectLst/>
                          <a:latin typeface="Corbel" panose="020B0503020204020204" pitchFamily="34" charset="0"/>
                        </a:rPr>
                        <a:t>Lansinger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180000">
                <a:tc>
                  <a:txBody>
                    <a:bodyPr/>
                    <a:lstStyle/>
                    <a:p>
                      <a:pPr algn="ctr" fontAlgn="b"/>
                      <a:r>
                        <a:rPr lang="nl-NL" sz="1000" b="0" i="0" u="none" strike="noStrike" dirty="0">
                          <a:solidFill>
                            <a:srgbClr val="000000"/>
                          </a:solidFill>
                          <a:effectLst/>
                          <a:latin typeface="Corbel" panose="020B0503020204020204" pitchFamily="34" charset="0"/>
                        </a:rPr>
                        <a:t>1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Baarle-Nassau</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180000">
                <a:tc>
                  <a:txBody>
                    <a:bodyPr/>
                    <a:lstStyle/>
                    <a:p>
                      <a:pPr algn="ctr" fontAlgn="b"/>
                      <a:r>
                        <a:rPr lang="nl-NL" sz="1000" b="0" i="0" u="none" strike="noStrike" dirty="0">
                          <a:solidFill>
                            <a:srgbClr val="000000"/>
                          </a:solidFill>
                          <a:effectLst/>
                          <a:latin typeface="Corbel" panose="020B0503020204020204" pitchFamily="34" charset="0"/>
                        </a:rPr>
                        <a:t>1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a:solidFill>
                            <a:srgbClr val="000000"/>
                          </a:solidFill>
                          <a:effectLst/>
                          <a:latin typeface="Corbel" panose="020B0503020204020204" pitchFamily="34" charset="0"/>
                        </a:rPr>
                        <a:t>Boek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180000">
                <a:tc>
                  <a:txBody>
                    <a:bodyPr/>
                    <a:lstStyle/>
                    <a:p>
                      <a:pPr algn="ctr" fontAlgn="b"/>
                      <a:r>
                        <a:rPr lang="nl-NL" sz="1000" b="0" i="0" u="none" strike="noStrike" dirty="0">
                          <a:solidFill>
                            <a:srgbClr val="000000"/>
                          </a:solidFill>
                          <a:effectLst/>
                          <a:latin typeface="Corbel" panose="020B0503020204020204" pitchFamily="34" charset="0"/>
                        </a:rPr>
                        <a:t>1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Hatte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180000">
                <a:tc>
                  <a:txBody>
                    <a:bodyPr/>
                    <a:lstStyle/>
                    <a:p>
                      <a:pPr algn="ctr" fontAlgn="b"/>
                      <a:r>
                        <a:rPr lang="nl-NL" sz="1000" b="0" i="0" u="none" strike="noStrike" dirty="0">
                          <a:solidFill>
                            <a:srgbClr val="000000"/>
                          </a:solidFill>
                          <a:effectLst/>
                          <a:latin typeface="Corbel" panose="020B0503020204020204" pitchFamily="34" charset="0"/>
                        </a:rPr>
                        <a:t>1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Weer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180000">
                <a:tc>
                  <a:txBody>
                    <a:bodyPr/>
                    <a:lstStyle/>
                    <a:p>
                      <a:pPr algn="ctr" fontAlgn="b"/>
                      <a:r>
                        <a:rPr lang="nl-NL" sz="1000" b="0" i="0" u="none" strike="noStrike" dirty="0">
                          <a:solidFill>
                            <a:schemeClr val="bg1"/>
                          </a:solidFill>
                          <a:effectLst/>
                          <a:latin typeface="Corbel" panose="020B0503020204020204" pitchFamily="34" charset="0"/>
                        </a:rPr>
                        <a:t>1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a:solidFill>
                            <a:srgbClr val="000000"/>
                          </a:solidFill>
                          <a:effectLst/>
                          <a:latin typeface="Corbel" panose="020B0503020204020204" pitchFamily="34" charset="0"/>
                        </a:rPr>
                        <a:t>Rozendaa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1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180000">
                <a:tc>
                  <a:txBody>
                    <a:bodyPr/>
                    <a:lstStyle/>
                    <a:p>
                      <a:pPr algn="ctr" fontAlgn="b"/>
                      <a:r>
                        <a:rPr lang="nl-NL" sz="1000" b="0" i="0" u="none" strike="noStrike" dirty="0">
                          <a:solidFill>
                            <a:srgbClr val="000000"/>
                          </a:solidFill>
                          <a:effectLst/>
                          <a:latin typeface="Corbel" panose="020B0503020204020204" pitchFamily="34" charset="0"/>
                        </a:rPr>
                        <a:t>1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dirty="0">
                          <a:solidFill>
                            <a:srgbClr val="000000"/>
                          </a:solidFill>
                          <a:effectLst/>
                          <a:latin typeface="Corbel" panose="020B0503020204020204" pitchFamily="34" charset="0"/>
                        </a:rPr>
                        <a:t>Oirscho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180000">
                <a:tc>
                  <a:txBody>
                    <a:bodyPr/>
                    <a:lstStyle/>
                    <a:p>
                      <a:pPr algn="ctr" fontAlgn="b"/>
                      <a:r>
                        <a:rPr lang="nl-NL" sz="1000" b="0" i="0" u="none" strike="noStrike" dirty="0">
                          <a:solidFill>
                            <a:srgbClr val="000000"/>
                          </a:solidFill>
                          <a:effectLst/>
                          <a:latin typeface="Corbel" panose="020B0503020204020204" pitchFamily="34" charset="0"/>
                        </a:rPr>
                        <a:t>1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8BA"/>
                    </a:solidFill>
                  </a:tcPr>
                </a:tc>
                <a:tc>
                  <a:txBody>
                    <a:bodyPr/>
                    <a:lstStyle/>
                    <a:p>
                      <a:pPr algn="l" fontAlgn="b"/>
                      <a:r>
                        <a:rPr lang="nl-NL" sz="1000" b="0" i="0" u="none" strike="noStrike">
                          <a:solidFill>
                            <a:srgbClr val="000000"/>
                          </a:solidFill>
                          <a:effectLst/>
                          <a:latin typeface="Corbel" panose="020B0503020204020204" pitchFamily="34" charset="0"/>
                        </a:rPr>
                        <a:t>Sliedrech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180000">
                <a:tc>
                  <a:txBody>
                    <a:bodyPr/>
                    <a:lstStyle/>
                    <a:p>
                      <a:pPr algn="ctr" fontAlgn="b"/>
                      <a:r>
                        <a:rPr lang="nl-NL" sz="1000" b="0" i="0" u="none" strike="noStrike" dirty="0">
                          <a:solidFill>
                            <a:schemeClr val="bg1"/>
                          </a:solidFill>
                          <a:effectLst/>
                          <a:latin typeface="Corbel" panose="020B0503020204020204" pitchFamily="34" charset="0"/>
                        </a:rPr>
                        <a:t>1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a:solidFill>
                            <a:srgbClr val="000000"/>
                          </a:solidFill>
                          <a:effectLst/>
                          <a:latin typeface="Corbel" panose="020B0503020204020204" pitchFamily="34" charset="0"/>
                        </a:rPr>
                        <a:t>Vaal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180000">
                <a:tc>
                  <a:txBody>
                    <a:bodyPr/>
                    <a:lstStyle/>
                    <a:p>
                      <a:pPr algn="ctr" fontAlgn="b"/>
                      <a:r>
                        <a:rPr lang="nl-NL" sz="1000" b="0" i="0" u="none" strike="noStrike" dirty="0">
                          <a:solidFill>
                            <a:schemeClr val="bg1"/>
                          </a:solidFill>
                          <a:effectLst/>
                          <a:latin typeface="Corbel" panose="020B0503020204020204" pitchFamily="34" charset="0"/>
                        </a:rPr>
                        <a:t>2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dirty="0">
                          <a:solidFill>
                            <a:srgbClr val="000000"/>
                          </a:solidFill>
                          <a:effectLst/>
                          <a:latin typeface="Corbel" panose="020B0503020204020204" pitchFamily="34" charset="0"/>
                        </a:rPr>
                        <a:t>Scherpenze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7" name="Table 15">
            <a:extLst>
              <a:ext uri="{FF2B5EF4-FFF2-40B4-BE49-F238E27FC236}">
                <a16:creationId xmlns:a16="http://schemas.microsoft.com/office/drawing/2014/main" id="{45836082-0E39-4F3C-A727-12B719B50EE5}"/>
              </a:ext>
            </a:extLst>
          </p:cNvPr>
          <p:cNvGraphicFramePr>
            <a:graphicFrameLocks noGrp="1"/>
          </p:cNvGraphicFramePr>
          <p:nvPr>
            <p:extLst>
              <p:ext uri="{D42A27DB-BD31-4B8C-83A1-F6EECF244321}">
                <p14:modId xmlns:p14="http://schemas.microsoft.com/office/powerpoint/2010/main" val="4198269682"/>
              </p:ext>
            </p:extLst>
          </p:nvPr>
        </p:nvGraphicFramePr>
        <p:xfrm>
          <a:off x="3506877" y="2130124"/>
          <a:ext cx="2397600" cy="39564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972000">
                  <a:extLst>
                    <a:ext uri="{9D8B030D-6E8A-4147-A177-3AD203B41FA5}">
                      <a16:colId xmlns:a16="http://schemas.microsoft.com/office/drawing/2014/main" val="2639174703"/>
                    </a:ext>
                  </a:extLst>
                </a:gridCol>
                <a:gridCol w="576000">
                  <a:extLst>
                    <a:ext uri="{9D8B030D-6E8A-4147-A177-3AD203B41FA5}">
                      <a16:colId xmlns:a16="http://schemas.microsoft.com/office/drawing/2014/main" val="1189516012"/>
                    </a:ext>
                  </a:extLst>
                </a:gridCol>
                <a:gridCol w="576000">
                  <a:extLst>
                    <a:ext uri="{9D8B030D-6E8A-4147-A177-3AD203B41FA5}">
                      <a16:colId xmlns:a16="http://schemas.microsoft.com/office/drawing/2014/main" val="3619418630"/>
                    </a:ext>
                  </a:extLst>
                </a:gridCol>
              </a:tblGrid>
              <a:tr h="144000">
                <a:tc gridSpan="2">
                  <a:txBody>
                    <a:bodyPr/>
                    <a:lstStyle/>
                    <a:p>
                      <a:pPr algn="l" fontAlgn="b"/>
                      <a:r>
                        <a:rPr lang="nl-NL" sz="1000" b="1" i="0" u="none" strike="noStrike" dirty="0">
                          <a:solidFill>
                            <a:schemeClr val="bg1"/>
                          </a:solidFill>
                          <a:effectLst/>
                          <a:latin typeface="+mj-lt"/>
                        </a:rPr>
                        <a:t>Tekort top 20</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0" i="0" u="none" strike="noStrike" dirty="0">
                          <a:solidFill>
                            <a:srgbClr val="FFFFFF"/>
                          </a:solidFill>
                          <a:effectLst/>
                          <a:latin typeface="+mj-lt"/>
                        </a:rPr>
                        <a:t>% tekor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FFFFFF"/>
                          </a:solidFill>
                          <a:effectLst/>
                          <a:latin typeface="+mn-lt"/>
                          <a:ea typeface="+mn-ea"/>
                          <a:cs typeface="+mn-cs"/>
                        </a:rPr>
                        <a:t>€ </a:t>
                      </a:r>
                      <a:r>
                        <a:rPr lang="nl-NL" sz="1000" b="0" i="0" u="none" strike="noStrike" kern="1200" dirty="0" err="1">
                          <a:solidFill>
                            <a:srgbClr val="FFFFFF"/>
                          </a:solidFill>
                          <a:effectLst/>
                          <a:latin typeface="+mn-lt"/>
                          <a:ea typeface="+mn-ea"/>
                          <a:cs typeface="+mn-cs"/>
                        </a:rPr>
                        <a:t>mln</a:t>
                      </a:r>
                      <a:endParaRPr lang="nl-NL" sz="1000" b="0" i="0" u="none" strike="noStrike" kern="1200" dirty="0">
                        <a:solidFill>
                          <a:srgbClr val="FFFFFF"/>
                        </a:solidFill>
                        <a:effectLst/>
                        <a:latin typeface="+mn-lt"/>
                        <a:ea typeface="+mn-ea"/>
                        <a:cs typeface="+mn-cs"/>
                      </a:endParaRP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2313676965"/>
                  </a:ext>
                </a:extLst>
              </a:tr>
              <a:tr h="180000">
                <a:tc>
                  <a:txBody>
                    <a:bodyPr/>
                    <a:lstStyle/>
                    <a:p>
                      <a:pPr algn="ctr" fontAlgn="b"/>
                      <a:r>
                        <a:rPr lang="nl-NL" sz="1000" b="0" i="0" u="none" strike="noStrike" dirty="0">
                          <a:solidFill>
                            <a:schemeClr val="bg1"/>
                          </a:solidFill>
                          <a:effectLst/>
                          <a:latin typeface="Corbel" panose="020B0503020204020204" pitchFamily="34" charset="0"/>
                        </a:rPr>
                        <a:t>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dirty="0">
                          <a:solidFill>
                            <a:srgbClr val="000000"/>
                          </a:solidFill>
                          <a:effectLst/>
                          <a:latin typeface="Corbel" panose="020B0503020204020204" pitchFamily="34" charset="0"/>
                        </a:rPr>
                        <a:t>Amsterda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3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70,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180000">
                <a:tc>
                  <a:txBody>
                    <a:bodyPr/>
                    <a:lstStyle/>
                    <a:p>
                      <a:pPr algn="ctr" fontAlgn="b"/>
                      <a:r>
                        <a:rPr lang="nl-NL" sz="1000" b="0" i="0" u="none" strike="noStrike" dirty="0">
                          <a:solidFill>
                            <a:srgbClr val="000000"/>
                          </a:solidFill>
                          <a:effectLst/>
                          <a:latin typeface="Corbel" panose="020B0503020204020204" pitchFamily="34" charset="0"/>
                        </a:rPr>
                        <a:t>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dirty="0">
                          <a:solidFill>
                            <a:srgbClr val="000000"/>
                          </a:solidFill>
                          <a:effectLst/>
                          <a:latin typeface="Corbel" panose="020B0503020204020204" pitchFamily="34" charset="0"/>
                        </a:rPr>
                        <a:t>'s-Gravenhag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6,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180000">
                <a:tc>
                  <a:txBody>
                    <a:bodyPr/>
                    <a:lstStyle/>
                    <a:p>
                      <a:pPr algn="ctr" fontAlgn="b"/>
                      <a:r>
                        <a:rPr lang="nl-NL" sz="1000" b="0" i="0" u="none" strike="noStrike" dirty="0">
                          <a:solidFill>
                            <a:schemeClr val="bg1"/>
                          </a:solidFill>
                          <a:effectLst/>
                          <a:latin typeface="Corbel" panose="020B0503020204020204" pitchFamily="34" charset="0"/>
                        </a:rPr>
                        <a:t>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a:solidFill>
                            <a:srgbClr val="000000"/>
                          </a:solidFill>
                          <a:effectLst/>
                          <a:latin typeface="Corbel" panose="020B0503020204020204" pitchFamily="34" charset="0"/>
                        </a:rPr>
                        <a:t>Tilburg</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3,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180000">
                <a:tc>
                  <a:txBody>
                    <a:bodyPr/>
                    <a:lstStyle/>
                    <a:p>
                      <a:pPr algn="ctr" fontAlgn="b"/>
                      <a:r>
                        <a:rPr lang="nl-NL" sz="1000" b="0" i="0" u="none" strike="noStrike" dirty="0">
                          <a:solidFill>
                            <a:schemeClr val="bg1"/>
                          </a:solidFill>
                          <a:effectLst/>
                          <a:latin typeface="Corbel" panose="020B0503020204020204" pitchFamily="34" charset="0"/>
                        </a:rPr>
                        <a:t>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a:solidFill>
                            <a:srgbClr val="000000"/>
                          </a:solidFill>
                          <a:effectLst/>
                          <a:latin typeface="Corbel" panose="020B0503020204020204" pitchFamily="34" charset="0"/>
                        </a:rPr>
                        <a:t>Apeldoor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1,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180000">
                <a:tc>
                  <a:txBody>
                    <a:bodyPr/>
                    <a:lstStyle/>
                    <a:p>
                      <a:pPr algn="ctr" fontAlgn="b"/>
                      <a:r>
                        <a:rPr lang="nl-NL" sz="1000" b="0" i="0" u="none" strike="noStrike" dirty="0">
                          <a:solidFill>
                            <a:schemeClr val="bg1"/>
                          </a:solidFill>
                          <a:effectLst/>
                          <a:latin typeface="Corbel" panose="020B0503020204020204" pitchFamily="34" charset="0"/>
                        </a:rPr>
                        <a:t>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dirty="0">
                          <a:solidFill>
                            <a:srgbClr val="000000"/>
                          </a:solidFill>
                          <a:effectLst/>
                          <a:latin typeface="Corbel" panose="020B0503020204020204" pitchFamily="34" charset="0"/>
                        </a:rPr>
                        <a:t>Groning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9,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180000">
                <a:tc>
                  <a:txBody>
                    <a:bodyPr/>
                    <a:lstStyle/>
                    <a:p>
                      <a:pPr algn="ctr" fontAlgn="b"/>
                      <a:r>
                        <a:rPr lang="nl-NL" sz="1000" b="0" i="0" u="none" strike="noStrike" dirty="0">
                          <a:solidFill>
                            <a:schemeClr val="bg1"/>
                          </a:solidFill>
                          <a:effectLst/>
                          <a:latin typeface="Corbel" panose="020B0503020204020204" pitchFamily="34" charset="0"/>
                        </a:rPr>
                        <a:t>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a:solidFill>
                            <a:srgbClr val="000000"/>
                          </a:solidFill>
                          <a:effectLst/>
                          <a:latin typeface="Corbel" panose="020B0503020204020204" pitchFamily="34" charset="0"/>
                        </a:rPr>
                        <a:t>Zoetermeer</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8,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180000">
                <a:tc>
                  <a:txBody>
                    <a:bodyPr/>
                    <a:lstStyle/>
                    <a:p>
                      <a:pPr algn="ctr" fontAlgn="b"/>
                      <a:r>
                        <a:rPr lang="nl-NL" sz="1000" b="0" i="0" u="none" strike="noStrike" dirty="0">
                          <a:solidFill>
                            <a:schemeClr val="bg1"/>
                          </a:solidFill>
                          <a:effectLst/>
                          <a:latin typeface="Corbel" panose="020B0503020204020204" pitchFamily="34" charset="0"/>
                        </a:rPr>
                        <a:t>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Heerl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7,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180000">
                <a:tc>
                  <a:txBody>
                    <a:bodyPr/>
                    <a:lstStyle/>
                    <a:p>
                      <a:pPr algn="ctr" fontAlgn="b"/>
                      <a:r>
                        <a:rPr lang="nl-NL" sz="1000" b="0" i="0" u="none" strike="noStrike" dirty="0">
                          <a:solidFill>
                            <a:schemeClr val="bg1"/>
                          </a:solidFill>
                          <a:effectLst/>
                          <a:latin typeface="Corbel" panose="020B0503020204020204" pitchFamily="34" charset="0"/>
                        </a:rPr>
                        <a:t>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a:solidFill>
                            <a:srgbClr val="000000"/>
                          </a:solidFill>
                          <a:effectLst/>
                          <a:latin typeface="Corbel" panose="020B0503020204020204" pitchFamily="34" charset="0"/>
                        </a:rPr>
                        <a:t>Utrech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1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5,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180000">
                <a:tc>
                  <a:txBody>
                    <a:bodyPr/>
                    <a:lstStyle/>
                    <a:p>
                      <a:pPr algn="ctr" fontAlgn="b"/>
                      <a:r>
                        <a:rPr lang="nl-NL" sz="1000" b="0" i="0" u="none" strike="noStrike" dirty="0">
                          <a:solidFill>
                            <a:schemeClr val="bg1"/>
                          </a:solidFill>
                          <a:effectLst/>
                          <a:latin typeface="Corbel" panose="020B0503020204020204" pitchFamily="34" charset="0"/>
                        </a:rPr>
                        <a:t>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a:solidFill>
                            <a:srgbClr val="000000"/>
                          </a:solidFill>
                          <a:effectLst/>
                          <a:latin typeface="Corbel" panose="020B0503020204020204" pitchFamily="34" charset="0"/>
                        </a:rPr>
                        <a:t>Maastrich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4,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180000">
                <a:tc>
                  <a:txBody>
                    <a:bodyPr/>
                    <a:lstStyle/>
                    <a:p>
                      <a:pPr algn="ctr" fontAlgn="b"/>
                      <a:r>
                        <a:rPr lang="nl-NL" sz="1000" b="0" i="0" u="none" strike="noStrike" dirty="0">
                          <a:solidFill>
                            <a:schemeClr val="bg1"/>
                          </a:solidFill>
                          <a:effectLst/>
                          <a:latin typeface="Corbel" panose="020B0503020204020204" pitchFamily="34" charset="0"/>
                        </a:rPr>
                        <a:t>1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a:solidFill>
                            <a:srgbClr val="000000"/>
                          </a:solidFill>
                          <a:effectLst/>
                          <a:latin typeface="Corbel" panose="020B0503020204020204" pitchFamily="34" charset="0"/>
                        </a:rPr>
                        <a:t>Nijmeg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4,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180000">
                <a:tc>
                  <a:txBody>
                    <a:bodyPr/>
                    <a:lstStyle/>
                    <a:p>
                      <a:pPr algn="ctr" fontAlgn="b"/>
                      <a:r>
                        <a:rPr lang="nl-NL" sz="1000" b="0" i="0" u="none" strike="noStrike" dirty="0">
                          <a:solidFill>
                            <a:schemeClr val="bg1"/>
                          </a:solidFill>
                          <a:effectLst/>
                          <a:latin typeface="Corbel" panose="020B0503020204020204" pitchFamily="34" charset="0"/>
                        </a:rPr>
                        <a:t>1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Haarlemmermeer</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4,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180000">
                <a:tc>
                  <a:txBody>
                    <a:bodyPr/>
                    <a:lstStyle/>
                    <a:p>
                      <a:pPr algn="ctr" fontAlgn="b"/>
                      <a:r>
                        <a:rPr lang="nl-NL" sz="1000" b="0" i="0" u="none" strike="noStrike" dirty="0">
                          <a:solidFill>
                            <a:schemeClr val="bg1"/>
                          </a:solidFill>
                          <a:effectLst/>
                          <a:latin typeface="Corbel" panose="020B0503020204020204" pitchFamily="34" charset="0"/>
                        </a:rPr>
                        <a:t>1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Lelysta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3,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180000">
                <a:tc>
                  <a:txBody>
                    <a:bodyPr/>
                    <a:lstStyle/>
                    <a:p>
                      <a:pPr algn="ctr" fontAlgn="b"/>
                      <a:r>
                        <a:rPr lang="nl-NL" sz="1000" b="0" i="0" u="none" strike="noStrike" dirty="0">
                          <a:solidFill>
                            <a:schemeClr val="bg1"/>
                          </a:solidFill>
                          <a:effectLst/>
                          <a:latin typeface="Corbel" panose="020B0503020204020204" pitchFamily="34" charset="0"/>
                        </a:rPr>
                        <a:t>1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a:solidFill>
                            <a:srgbClr val="000000"/>
                          </a:solidFill>
                          <a:effectLst/>
                          <a:latin typeface="Corbel" panose="020B0503020204020204" pitchFamily="34" charset="0"/>
                        </a:rPr>
                        <a:t>Zwoll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3,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180000">
                <a:tc>
                  <a:txBody>
                    <a:bodyPr/>
                    <a:lstStyle/>
                    <a:p>
                      <a:pPr algn="ctr" fontAlgn="b"/>
                      <a:r>
                        <a:rPr lang="nl-NL" sz="1000" b="0" i="0" u="none" strike="noStrike" dirty="0">
                          <a:solidFill>
                            <a:schemeClr val="bg1"/>
                          </a:solidFill>
                          <a:effectLst/>
                          <a:latin typeface="Corbel" panose="020B0503020204020204" pitchFamily="34" charset="0"/>
                        </a:rPr>
                        <a:t>1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Leidschenda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7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1,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180000">
                <a:tc>
                  <a:txBody>
                    <a:bodyPr/>
                    <a:lstStyle/>
                    <a:p>
                      <a:pPr algn="ctr" fontAlgn="b"/>
                      <a:r>
                        <a:rPr lang="nl-NL" sz="1000" b="0" i="0" u="none" strike="noStrike" dirty="0">
                          <a:solidFill>
                            <a:schemeClr val="bg1"/>
                          </a:solidFill>
                          <a:effectLst/>
                          <a:latin typeface="Corbel" panose="020B0503020204020204" pitchFamily="34" charset="0"/>
                        </a:rPr>
                        <a:t>1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West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1,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180000">
                <a:tc>
                  <a:txBody>
                    <a:bodyPr/>
                    <a:lstStyle/>
                    <a:p>
                      <a:pPr algn="ctr" fontAlgn="b"/>
                      <a:r>
                        <a:rPr lang="nl-NL" sz="1000" b="0" i="0" u="none" strike="noStrike" dirty="0">
                          <a:solidFill>
                            <a:schemeClr val="bg1"/>
                          </a:solidFill>
                          <a:effectLst/>
                          <a:latin typeface="Corbel" panose="020B0503020204020204" pitchFamily="34" charset="0"/>
                        </a:rPr>
                        <a:t>1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dirty="0">
                          <a:solidFill>
                            <a:srgbClr val="000000"/>
                          </a:solidFill>
                          <a:effectLst/>
                          <a:latin typeface="Corbel" panose="020B0503020204020204" pitchFamily="34" charset="0"/>
                        </a:rPr>
                        <a:t>Arnhe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1,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180000">
                <a:tc>
                  <a:txBody>
                    <a:bodyPr/>
                    <a:lstStyle/>
                    <a:p>
                      <a:pPr algn="ctr" fontAlgn="b"/>
                      <a:r>
                        <a:rPr lang="nl-NL" sz="1000" b="0" i="0" u="none" strike="noStrike" dirty="0">
                          <a:solidFill>
                            <a:schemeClr val="bg1"/>
                          </a:solidFill>
                          <a:effectLst/>
                          <a:latin typeface="Corbel" panose="020B0503020204020204" pitchFamily="34" charset="0"/>
                        </a:rPr>
                        <a:t>1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Gouda</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5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0,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180000">
                <a:tc>
                  <a:txBody>
                    <a:bodyPr/>
                    <a:lstStyle/>
                    <a:p>
                      <a:pPr algn="ctr" fontAlgn="b"/>
                      <a:r>
                        <a:rPr lang="nl-NL" sz="1000" b="0" i="0" u="none" strike="noStrike" dirty="0">
                          <a:solidFill>
                            <a:schemeClr val="bg1"/>
                          </a:solidFill>
                          <a:effectLst/>
                          <a:latin typeface="Corbel" panose="020B0503020204020204" pitchFamily="34" charset="0"/>
                        </a:rPr>
                        <a:t>1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dirty="0">
                          <a:solidFill>
                            <a:srgbClr val="000000"/>
                          </a:solidFill>
                          <a:effectLst/>
                          <a:latin typeface="Corbel" panose="020B0503020204020204" pitchFamily="34" charset="0"/>
                        </a:rPr>
                        <a:t>Ass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4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9,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180000">
                <a:tc>
                  <a:txBody>
                    <a:bodyPr/>
                    <a:lstStyle/>
                    <a:p>
                      <a:pPr algn="ctr" fontAlgn="b"/>
                      <a:r>
                        <a:rPr lang="nl-NL" sz="1000" b="0" i="0" u="none" strike="noStrike" dirty="0">
                          <a:solidFill>
                            <a:schemeClr val="bg1"/>
                          </a:solidFill>
                          <a:effectLst/>
                          <a:latin typeface="Corbel" panose="020B0503020204020204" pitchFamily="34" charset="0"/>
                        </a:rPr>
                        <a:t>1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BD42"/>
                    </a:solidFill>
                  </a:tcPr>
                </a:tc>
                <a:tc>
                  <a:txBody>
                    <a:bodyPr/>
                    <a:lstStyle/>
                    <a:p>
                      <a:pPr algn="l" fontAlgn="b"/>
                      <a:r>
                        <a:rPr lang="nl-NL" sz="1000" b="0" i="0" u="none" strike="noStrike">
                          <a:solidFill>
                            <a:srgbClr val="000000"/>
                          </a:solidFill>
                          <a:effectLst/>
                          <a:latin typeface="Corbel" panose="020B0503020204020204" pitchFamily="34" charset="0"/>
                        </a:rPr>
                        <a:t>Leeuward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2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8,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180000">
                <a:tc>
                  <a:txBody>
                    <a:bodyPr/>
                    <a:lstStyle/>
                    <a:p>
                      <a:pPr algn="ctr" fontAlgn="b"/>
                      <a:r>
                        <a:rPr lang="nl-NL" sz="1000" b="0" i="0" u="none" strike="noStrike" dirty="0">
                          <a:solidFill>
                            <a:schemeClr val="bg1"/>
                          </a:solidFill>
                          <a:effectLst/>
                          <a:latin typeface="Corbel" panose="020B0503020204020204" pitchFamily="34" charset="0"/>
                        </a:rPr>
                        <a:t>2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C6224"/>
                    </a:solidFill>
                  </a:tcPr>
                </a:tc>
                <a:tc>
                  <a:txBody>
                    <a:bodyPr/>
                    <a:lstStyle/>
                    <a:p>
                      <a:pPr algn="l" fontAlgn="b"/>
                      <a:r>
                        <a:rPr lang="nl-NL" sz="1000" b="0" i="0" u="none" strike="noStrike" dirty="0">
                          <a:solidFill>
                            <a:srgbClr val="000000"/>
                          </a:solidFill>
                          <a:effectLst/>
                          <a:latin typeface="Corbel" panose="020B0503020204020204" pitchFamily="34" charset="0"/>
                        </a:rPr>
                        <a:t>Delf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a:solidFill>
                            <a:srgbClr val="000000"/>
                          </a:solidFill>
                          <a:effectLst/>
                          <a:latin typeface="Corbel" panose="020B0503020204020204" pitchFamily="34" charset="0"/>
                        </a:rPr>
                        <a:t>3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8,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graphicFrame>
        <p:nvGraphicFramePr>
          <p:cNvPr id="28" name="Table 15">
            <a:extLst>
              <a:ext uri="{FF2B5EF4-FFF2-40B4-BE49-F238E27FC236}">
                <a16:creationId xmlns:a16="http://schemas.microsoft.com/office/drawing/2014/main" id="{378F35D6-3232-40A0-8C2C-EF2F35F24E1B}"/>
              </a:ext>
            </a:extLst>
          </p:cNvPr>
          <p:cNvGraphicFramePr>
            <a:graphicFrameLocks noGrp="1"/>
          </p:cNvGraphicFramePr>
          <p:nvPr>
            <p:extLst>
              <p:ext uri="{D42A27DB-BD31-4B8C-83A1-F6EECF244321}">
                <p14:modId xmlns:p14="http://schemas.microsoft.com/office/powerpoint/2010/main" val="1339256166"/>
              </p:ext>
            </p:extLst>
          </p:nvPr>
        </p:nvGraphicFramePr>
        <p:xfrm>
          <a:off x="719930" y="2130124"/>
          <a:ext cx="2397600" cy="3956400"/>
        </p:xfrm>
        <a:graphic>
          <a:graphicData uri="http://schemas.openxmlformats.org/drawingml/2006/table">
            <a:tbl>
              <a:tblPr firstRow="1" bandRow="1">
                <a:tableStyleId>{5C22544A-7EE6-4342-B048-85BDC9FD1C3A}</a:tableStyleId>
              </a:tblPr>
              <a:tblGrid>
                <a:gridCol w="273600">
                  <a:extLst>
                    <a:ext uri="{9D8B030D-6E8A-4147-A177-3AD203B41FA5}">
                      <a16:colId xmlns:a16="http://schemas.microsoft.com/office/drawing/2014/main" val="3712511342"/>
                    </a:ext>
                  </a:extLst>
                </a:gridCol>
                <a:gridCol w="972000">
                  <a:extLst>
                    <a:ext uri="{9D8B030D-6E8A-4147-A177-3AD203B41FA5}">
                      <a16:colId xmlns:a16="http://schemas.microsoft.com/office/drawing/2014/main" val="2639174703"/>
                    </a:ext>
                  </a:extLst>
                </a:gridCol>
                <a:gridCol w="576000">
                  <a:extLst>
                    <a:ext uri="{9D8B030D-6E8A-4147-A177-3AD203B41FA5}">
                      <a16:colId xmlns:a16="http://schemas.microsoft.com/office/drawing/2014/main" val="1189516012"/>
                    </a:ext>
                  </a:extLst>
                </a:gridCol>
                <a:gridCol w="576000">
                  <a:extLst>
                    <a:ext uri="{9D8B030D-6E8A-4147-A177-3AD203B41FA5}">
                      <a16:colId xmlns:a16="http://schemas.microsoft.com/office/drawing/2014/main" val="3619418630"/>
                    </a:ext>
                  </a:extLst>
                </a:gridCol>
              </a:tblGrid>
              <a:tr h="144000">
                <a:tc gridSpan="2">
                  <a:txBody>
                    <a:bodyPr/>
                    <a:lstStyle/>
                    <a:p>
                      <a:pPr algn="l" fontAlgn="b"/>
                      <a:r>
                        <a:rPr lang="nl-NL" sz="1000" b="1" i="0" u="none" strike="noStrike" dirty="0">
                          <a:solidFill>
                            <a:schemeClr val="bg1"/>
                          </a:solidFill>
                          <a:effectLst/>
                          <a:latin typeface="+mj-lt"/>
                        </a:rPr>
                        <a:t>Tekort top 20</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l" fontAlgn="b"/>
                      <a:endParaRPr lang="nl-NL" sz="1100" b="1" i="0" u="none" strike="noStrike" dirty="0">
                        <a:solidFill>
                          <a:schemeClr val="bg1"/>
                        </a:solidFill>
                        <a:effectLst/>
                        <a:latin typeface="+mj-lt"/>
                      </a:endParaRPr>
                    </a:p>
                  </a:txBody>
                  <a:tcPr marL="0" marR="0" marT="0" marB="0" anchor="b"/>
                </a:tc>
                <a:tc>
                  <a:txBody>
                    <a:bodyPr/>
                    <a:lstStyle/>
                    <a:p>
                      <a:pPr algn="r" fontAlgn="b"/>
                      <a:r>
                        <a:rPr lang="nl-NL" sz="1000" b="0" i="0" u="none" strike="noStrike" dirty="0">
                          <a:solidFill>
                            <a:srgbClr val="FFFFFF"/>
                          </a:solidFill>
                          <a:effectLst/>
                          <a:latin typeface="+mj-lt"/>
                        </a:rPr>
                        <a:t>% tekort</a:t>
                      </a: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lang="nl-NL" sz="1000" b="0" i="0" u="none" strike="noStrike" kern="1200" dirty="0">
                          <a:solidFill>
                            <a:srgbClr val="FFFFFF"/>
                          </a:solidFill>
                          <a:effectLst/>
                          <a:latin typeface="+mn-lt"/>
                          <a:ea typeface="+mn-ea"/>
                          <a:cs typeface="+mn-cs"/>
                        </a:rPr>
                        <a:t>€ </a:t>
                      </a:r>
                      <a:r>
                        <a:rPr lang="nl-NL" sz="1000" b="0" i="0" u="none" strike="noStrike" kern="1200" dirty="0" err="1">
                          <a:solidFill>
                            <a:srgbClr val="FFFFFF"/>
                          </a:solidFill>
                          <a:effectLst/>
                          <a:latin typeface="+mn-lt"/>
                          <a:ea typeface="+mn-ea"/>
                          <a:cs typeface="+mn-cs"/>
                        </a:rPr>
                        <a:t>mln</a:t>
                      </a:r>
                      <a:endParaRPr lang="nl-NL" sz="1000" b="0" i="0" u="none" strike="noStrike" kern="1200" dirty="0">
                        <a:solidFill>
                          <a:srgbClr val="FFFFFF"/>
                        </a:solidFill>
                        <a:effectLst/>
                        <a:latin typeface="+mn-lt"/>
                        <a:ea typeface="+mn-ea"/>
                        <a:cs typeface="+mn-cs"/>
                      </a:endParaRPr>
                    </a:p>
                  </a:txBody>
                  <a:tcPr marL="36000" marR="36000" marT="18000" marB="180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2313676965"/>
                  </a:ext>
                </a:extLst>
              </a:tr>
              <a:tr h="180000">
                <a:tc>
                  <a:txBody>
                    <a:bodyPr/>
                    <a:lstStyle/>
                    <a:p>
                      <a:pPr algn="ctr" fontAlgn="b"/>
                      <a:r>
                        <a:rPr lang="nl-NL" sz="1000" b="0" i="0" u="none" strike="noStrike" dirty="0">
                          <a:solidFill>
                            <a:schemeClr val="bg1"/>
                          </a:solidFill>
                          <a:effectLst/>
                          <a:latin typeface="Corbel" panose="020B0503020204020204" pitchFamily="34" charset="0"/>
                        </a:rPr>
                        <a:t>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Terschelling</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8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69197466"/>
                  </a:ext>
                </a:extLst>
              </a:tr>
              <a:tr h="180000">
                <a:tc>
                  <a:txBody>
                    <a:bodyPr/>
                    <a:lstStyle/>
                    <a:p>
                      <a:pPr algn="ctr" fontAlgn="b"/>
                      <a:r>
                        <a:rPr lang="nl-NL" sz="1000" b="0" i="0" u="none" strike="noStrike" dirty="0">
                          <a:solidFill>
                            <a:schemeClr val="bg1"/>
                          </a:solidFill>
                          <a:effectLst/>
                          <a:latin typeface="Corbel" panose="020B0503020204020204" pitchFamily="34" charset="0"/>
                        </a:rPr>
                        <a:t>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Rozendaa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1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34704443"/>
                  </a:ext>
                </a:extLst>
              </a:tr>
              <a:tr h="180000">
                <a:tc>
                  <a:txBody>
                    <a:bodyPr/>
                    <a:lstStyle/>
                    <a:p>
                      <a:pPr algn="ctr" fontAlgn="b"/>
                      <a:r>
                        <a:rPr lang="nl-NL" sz="1000" b="0" i="0" u="none" strike="noStrike" dirty="0">
                          <a:solidFill>
                            <a:schemeClr val="bg1"/>
                          </a:solidFill>
                          <a:effectLst/>
                          <a:latin typeface="Corbel" panose="020B0503020204020204" pitchFamily="34" charset="0"/>
                        </a:rPr>
                        <a:t>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Noord-Beve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1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1,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269265"/>
                  </a:ext>
                </a:extLst>
              </a:tr>
              <a:tr h="180000">
                <a:tc>
                  <a:txBody>
                    <a:bodyPr/>
                    <a:lstStyle/>
                    <a:p>
                      <a:pPr algn="ctr" fontAlgn="b"/>
                      <a:r>
                        <a:rPr lang="nl-NL" sz="1000" b="0" i="0" u="none" strike="noStrike" dirty="0">
                          <a:solidFill>
                            <a:schemeClr val="bg1"/>
                          </a:solidFill>
                          <a:effectLst/>
                          <a:latin typeface="Corbel" panose="020B0503020204020204" pitchFamily="34" charset="0"/>
                        </a:rPr>
                        <a:t>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Bodegraven-Re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10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5,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9710093"/>
                  </a:ext>
                </a:extLst>
              </a:tr>
              <a:tr h="180000">
                <a:tc>
                  <a:txBody>
                    <a:bodyPr/>
                    <a:lstStyle/>
                    <a:p>
                      <a:pPr algn="ctr" fontAlgn="b"/>
                      <a:r>
                        <a:rPr lang="nl-NL" sz="1000" b="0" i="0" u="none" strike="noStrike" dirty="0">
                          <a:solidFill>
                            <a:schemeClr val="bg1"/>
                          </a:solidFill>
                          <a:effectLst/>
                          <a:latin typeface="Corbel" panose="020B0503020204020204" pitchFamily="34" charset="0"/>
                        </a:rPr>
                        <a:t>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Stei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4,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7906"/>
                  </a:ext>
                </a:extLst>
              </a:tr>
              <a:tr h="180000">
                <a:tc>
                  <a:txBody>
                    <a:bodyPr/>
                    <a:lstStyle/>
                    <a:p>
                      <a:pPr algn="ctr" fontAlgn="b"/>
                      <a:r>
                        <a:rPr lang="nl-NL" sz="1000" b="0" i="0" u="none" strike="noStrike" dirty="0">
                          <a:solidFill>
                            <a:schemeClr val="bg1"/>
                          </a:solidFill>
                          <a:effectLst/>
                          <a:latin typeface="Corbel" panose="020B0503020204020204" pitchFamily="34" charset="0"/>
                        </a:rPr>
                        <a:t>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Midden-Delf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6%</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15844122"/>
                  </a:ext>
                </a:extLst>
              </a:tr>
              <a:tr h="180000">
                <a:tc>
                  <a:txBody>
                    <a:bodyPr/>
                    <a:lstStyle/>
                    <a:p>
                      <a:pPr algn="ctr" fontAlgn="b"/>
                      <a:r>
                        <a:rPr lang="nl-NL" sz="1000" b="0" i="0" u="none" strike="noStrike" dirty="0">
                          <a:solidFill>
                            <a:schemeClr val="bg1"/>
                          </a:solidFill>
                          <a:effectLst/>
                          <a:latin typeface="Corbel" panose="020B0503020204020204" pitchFamily="34" charset="0"/>
                        </a:rPr>
                        <a:t>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a:solidFill>
                            <a:srgbClr val="000000"/>
                          </a:solidFill>
                          <a:effectLst/>
                          <a:latin typeface="Corbel" panose="020B0503020204020204" pitchFamily="34" charset="0"/>
                        </a:rPr>
                        <a:t>Born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4,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42132967"/>
                  </a:ext>
                </a:extLst>
              </a:tr>
              <a:tr h="180000">
                <a:tc>
                  <a:txBody>
                    <a:bodyPr/>
                    <a:lstStyle/>
                    <a:p>
                      <a:pPr algn="ctr" fontAlgn="b"/>
                      <a:r>
                        <a:rPr lang="nl-NL" sz="1000" b="0" i="0" u="none" strike="noStrike" dirty="0">
                          <a:solidFill>
                            <a:schemeClr val="bg1"/>
                          </a:solidFill>
                          <a:effectLst/>
                          <a:latin typeface="Corbel" panose="020B0503020204020204" pitchFamily="34" charset="0"/>
                        </a:rPr>
                        <a:t>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Mook en Middel.</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89723292"/>
                  </a:ext>
                </a:extLst>
              </a:tr>
              <a:tr h="180000">
                <a:tc>
                  <a:txBody>
                    <a:bodyPr/>
                    <a:lstStyle/>
                    <a:p>
                      <a:pPr algn="ctr" fontAlgn="b"/>
                      <a:r>
                        <a:rPr lang="nl-NL" sz="1000" b="0" i="0" u="none" strike="noStrike" dirty="0">
                          <a:solidFill>
                            <a:schemeClr val="bg1"/>
                          </a:solidFill>
                          <a:effectLst/>
                          <a:latin typeface="Corbel" panose="020B0503020204020204" pitchFamily="34" charset="0"/>
                        </a:rPr>
                        <a:t>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Koggen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3,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7999899"/>
                  </a:ext>
                </a:extLst>
              </a:tr>
              <a:tr h="180000">
                <a:tc>
                  <a:txBody>
                    <a:bodyPr/>
                    <a:lstStyle/>
                    <a:p>
                      <a:pPr algn="ctr" fontAlgn="b"/>
                      <a:r>
                        <a:rPr lang="nl-NL" sz="1000" b="0" i="0" u="none" strike="noStrike" dirty="0">
                          <a:solidFill>
                            <a:schemeClr val="bg1"/>
                          </a:solidFill>
                          <a:effectLst/>
                          <a:latin typeface="Corbel" panose="020B0503020204020204" pitchFamily="34" charset="0"/>
                        </a:rPr>
                        <a:t>1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Westvoorn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11851011"/>
                  </a:ext>
                </a:extLst>
              </a:tr>
              <a:tr h="180000">
                <a:tc>
                  <a:txBody>
                    <a:bodyPr/>
                    <a:lstStyle/>
                    <a:p>
                      <a:pPr algn="ctr" fontAlgn="b"/>
                      <a:r>
                        <a:rPr lang="nl-NL" sz="1000" b="0" i="0" u="none" strike="noStrike" dirty="0">
                          <a:solidFill>
                            <a:schemeClr val="bg1"/>
                          </a:solidFill>
                          <a:effectLst/>
                          <a:latin typeface="Corbel" panose="020B0503020204020204" pitchFamily="34" charset="0"/>
                        </a:rPr>
                        <a:t>11</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Renswoud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8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0,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4578572"/>
                  </a:ext>
                </a:extLst>
              </a:tr>
              <a:tr h="180000">
                <a:tc>
                  <a:txBody>
                    <a:bodyPr/>
                    <a:lstStyle/>
                    <a:p>
                      <a:pPr algn="ctr" fontAlgn="b"/>
                      <a:r>
                        <a:rPr lang="nl-NL" sz="1000" b="0" i="0" u="none" strike="noStrike" dirty="0">
                          <a:solidFill>
                            <a:schemeClr val="bg1"/>
                          </a:solidFill>
                          <a:effectLst/>
                          <a:latin typeface="Corbel" panose="020B0503020204020204" pitchFamily="34" charset="0"/>
                        </a:rPr>
                        <a:t>12</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Leidschendam</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7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11,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814103"/>
                  </a:ext>
                </a:extLst>
              </a:tr>
              <a:tr h="180000">
                <a:tc>
                  <a:txBody>
                    <a:bodyPr/>
                    <a:lstStyle/>
                    <a:p>
                      <a:pPr algn="ctr" fontAlgn="b"/>
                      <a:r>
                        <a:rPr lang="nl-NL" sz="1000" b="0" i="0" u="none" strike="noStrike" dirty="0">
                          <a:solidFill>
                            <a:schemeClr val="bg1"/>
                          </a:solidFill>
                          <a:effectLst/>
                          <a:latin typeface="Corbel" panose="020B0503020204020204" pitchFamily="34" charset="0"/>
                        </a:rPr>
                        <a:t>13</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Sluis</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72%</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1977421"/>
                  </a:ext>
                </a:extLst>
              </a:tr>
              <a:tr h="180000">
                <a:tc>
                  <a:txBody>
                    <a:bodyPr/>
                    <a:lstStyle/>
                    <a:p>
                      <a:pPr algn="ctr" fontAlgn="b"/>
                      <a:r>
                        <a:rPr lang="nl-NL" sz="1000" b="0" i="0" u="none" strike="noStrike" dirty="0">
                          <a:solidFill>
                            <a:schemeClr val="bg1"/>
                          </a:solidFill>
                          <a:effectLst/>
                          <a:latin typeface="Corbel" panose="020B0503020204020204" pitchFamily="34" charset="0"/>
                        </a:rPr>
                        <a:t>14</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Opsterlan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7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5,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0367425"/>
                  </a:ext>
                </a:extLst>
              </a:tr>
              <a:tr h="180000">
                <a:tc>
                  <a:txBody>
                    <a:bodyPr/>
                    <a:lstStyle/>
                    <a:p>
                      <a:pPr algn="ctr" fontAlgn="b"/>
                      <a:r>
                        <a:rPr lang="nl-NL" sz="1000" b="0" i="0" u="none" strike="noStrike" dirty="0">
                          <a:solidFill>
                            <a:schemeClr val="bg1"/>
                          </a:solidFill>
                          <a:effectLst/>
                          <a:latin typeface="Corbel" panose="020B0503020204020204" pitchFamily="34" charset="0"/>
                        </a:rPr>
                        <a:t>15</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Hof van Twente</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71%</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4,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1890705"/>
                  </a:ext>
                </a:extLst>
              </a:tr>
              <a:tr h="180000">
                <a:tc>
                  <a:txBody>
                    <a:bodyPr/>
                    <a:lstStyle/>
                    <a:p>
                      <a:pPr algn="ctr" fontAlgn="b"/>
                      <a:r>
                        <a:rPr lang="nl-NL" sz="1000" b="0" i="0" u="none" strike="noStrike" dirty="0">
                          <a:solidFill>
                            <a:schemeClr val="bg1"/>
                          </a:solidFill>
                          <a:effectLst/>
                          <a:latin typeface="Corbel" panose="020B0503020204020204" pitchFamily="34" charset="0"/>
                        </a:rPr>
                        <a:t>16</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Meerss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6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2,4</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9217991"/>
                  </a:ext>
                </a:extLst>
              </a:tr>
              <a:tr h="180000">
                <a:tc>
                  <a:txBody>
                    <a:bodyPr/>
                    <a:lstStyle/>
                    <a:p>
                      <a:pPr algn="ctr" fontAlgn="b"/>
                      <a:r>
                        <a:rPr lang="nl-NL" sz="1000" b="0" i="0" u="none" strike="noStrike" dirty="0">
                          <a:solidFill>
                            <a:schemeClr val="bg1"/>
                          </a:solidFill>
                          <a:effectLst/>
                          <a:latin typeface="Corbel" panose="020B0503020204020204" pitchFamily="34" charset="0"/>
                        </a:rPr>
                        <a:t>17</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Lar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6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0,9</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88603085"/>
                  </a:ext>
                </a:extLst>
              </a:tr>
              <a:tr h="180000">
                <a:tc>
                  <a:txBody>
                    <a:bodyPr/>
                    <a:lstStyle/>
                    <a:p>
                      <a:pPr algn="ctr" fontAlgn="b"/>
                      <a:r>
                        <a:rPr lang="nl-NL" sz="1000" b="0" i="0" u="none" strike="noStrike" dirty="0">
                          <a:solidFill>
                            <a:schemeClr val="bg1"/>
                          </a:solidFill>
                          <a:effectLst/>
                          <a:latin typeface="Corbel" panose="020B0503020204020204" pitchFamily="34" charset="0"/>
                        </a:rPr>
                        <a:t>18</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Krimpenerwaard</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68%</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7,0</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1951010"/>
                  </a:ext>
                </a:extLst>
              </a:tr>
              <a:tr h="180000">
                <a:tc>
                  <a:txBody>
                    <a:bodyPr/>
                    <a:lstStyle/>
                    <a:p>
                      <a:pPr algn="ctr" fontAlgn="b"/>
                      <a:r>
                        <a:rPr lang="nl-NL" sz="1000" b="0" i="0" u="none" strike="noStrike" dirty="0">
                          <a:solidFill>
                            <a:schemeClr val="bg1"/>
                          </a:solidFill>
                          <a:effectLst/>
                          <a:latin typeface="Corbel" panose="020B0503020204020204" pitchFamily="34" charset="0"/>
                        </a:rPr>
                        <a:t>19</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Huizen</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6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a:solidFill>
                            <a:srgbClr val="000000"/>
                          </a:solidFill>
                          <a:effectLst/>
                          <a:latin typeface="Corbel" panose="020B0503020204020204" pitchFamily="34" charset="0"/>
                        </a:rPr>
                        <a:t>5,5</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525746"/>
                  </a:ext>
                </a:extLst>
              </a:tr>
              <a:tr h="180000">
                <a:tc>
                  <a:txBody>
                    <a:bodyPr/>
                    <a:lstStyle/>
                    <a:p>
                      <a:pPr algn="ctr" fontAlgn="b"/>
                      <a:r>
                        <a:rPr lang="nl-NL" sz="1000" b="0" i="0" u="none" strike="noStrike" dirty="0">
                          <a:solidFill>
                            <a:schemeClr val="bg1"/>
                          </a:solidFill>
                          <a:effectLst/>
                          <a:latin typeface="Corbel" panose="020B0503020204020204" pitchFamily="34" charset="0"/>
                        </a:rPr>
                        <a:t>20</a:t>
                      </a:r>
                    </a:p>
                  </a:txBody>
                  <a:tcPr marL="36000" marR="36000" marT="18000" marB="18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F211E"/>
                    </a:solidFill>
                  </a:tcPr>
                </a:tc>
                <a:tc>
                  <a:txBody>
                    <a:bodyPr/>
                    <a:lstStyle/>
                    <a:p>
                      <a:pPr algn="l" fontAlgn="b"/>
                      <a:r>
                        <a:rPr lang="nl-NL" sz="1000" b="0" i="0" u="none" strike="noStrike" dirty="0">
                          <a:solidFill>
                            <a:srgbClr val="000000"/>
                          </a:solidFill>
                          <a:effectLst/>
                          <a:latin typeface="Corbel" panose="020B0503020204020204" pitchFamily="34" charset="0"/>
                        </a:rPr>
                        <a:t>Hulst</a:t>
                      </a:r>
                    </a:p>
                  </a:txBody>
                  <a:tcPr marL="3600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DBDB"/>
                    </a:solidFill>
                  </a:tcPr>
                </a:tc>
                <a:tc>
                  <a:txBody>
                    <a:bodyPr/>
                    <a:lstStyle/>
                    <a:p>
                      <a:pPr algn="r" fontAlgn="b"/>
                      <a:r>
                        <a:rPr lang="nl-NL" sz="1000" b="0" i="0" u="none" strike="noStrike" dirty="0">
                          <a:solidFill>
                            <a:srgbClr val="000000"/>
                          </a:solidFill>
                          <a:effectLst/>
                          <a:latin typeface="Corbel" panose="020B0503020204020204" pitchFamily="34" charset="0"/>
                        </a:rPr>
                        <a:t>67%</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nl-NL" sz="1000" b="0" i="0" u="none" strike="noStrike" dirty="0">
                          <a:solidFill>
                            <a:srgbClr val="000000"/>
                          </a:solidFill>
                          <a:effectLst/>
                          <a:latin typeface="Corbel" panose="020B0503020204020204" pitchFamily="34" charset="0"/>
                        </a:rPr>
                        <a:t>3,3</a:t>
                      </a:r>
                    </a:p>
                  </a:txBody>
                  <a:tcPr marL="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7711490"/>
                  </a:ext>
                </a:extLst>
              </a:tr>
            </a:tbl>
          </a:graphicData>
        </a:graphic>
      </p:graphicFrame>
      <p:sp>
        <p:nvSpPr>
          <p:cNvPr id="29" name="Text Placeholder 13">
            <a:extLst>
              <a:ext uri="{FF2B5EF4-FFF2-40B4-BE49-F238E27FC236}">
                <a16:creationId xmlns:a16="http://schemas.microsoft.com/office/drawing/2014/main" id="{2E0A00EB-87E8-4A01-A1C6-AEAD5BD6B5C3}"/>
              </a:ext>
            </a:extLst>
          </p:cNvPr>
          <p:cNvSpPr>
            <a:spLocks noGrp="1"/>
          </p:cNvSpPr>
          <p:nvPr>
            <p:ph type="body" sz="quarter" idx="20"/>
          </p:nvPr>
        </p:nvSpPr>
        <p:spPr>
          <a:xfrm>
            <a:off x="662780" y="6487298"/>
            <a:ext cx="10868400" cy="122400"/>
          </a:xfrm>
        </p:spPr>
        <p:txBody>
          <a:bodyPr/>
          <a:lstStyle/>
          <a:p>
            <a:r>
              <a:rPr lang="nl-NL" dirty="0"/>
              <a:t>Om totaal tekort in jeugdzorg te bepalen heeft AEF een schatting gemaakt voor extra kosten aan </a:t>
            </a:r>
            <a:r>
              <a:rPr lang="nl-NL" dirty="0" err="1"/>
              <a:t>voorveld</a:t>
            </a:r>
            <a:r>
              <a:rPr lang="nl-NL" dirty="0"/>
              <a:t>. In deze analyse is het middelpunt van deze schatting gebruikt; hierdoor zou het tekort +-3%pt kunnen variëren (zie ook voetnoot 2 op bladzijde 33).</a:t>
            </a:r>
          </a:p>
        </p:txBody>
      </p:sp>
      <p:sp>
        <p:nvSpPr>
          <p:cNvPr id="30" name="Footer Placeholder 6">
            <a:extLst>
              <a:ext uri="{FF2B5EF4-FFF2-40B4-BE49-F238E27FC236}">
                <a16:creationId xmlns:a16="http://schemas.microsoft.com/office/drawing/2014/main" id="{FF167494-7C07-472D-9835-11E06CAA4C52}"/>
              </a:ext>
            </a:extLst>
          </p:cNvPr>
          <p:cNvSpPr>
            <a:spLocks noGrp="1"/>
          </p:cNvSpPr>
          <p:nvPr>
            <p:ph type="ftr" sz="quarter" idx="3"/>
          </p:nvPr>
        </p:nvSpPr>
        <p:spPr>
          <a:xfrm>
            <a:off x="661800" y="6624637"/>
            <a:ext cx="10868400" cy="122400"/>
          </a:xfrm>
        </p:spPr>
        <p:txBody>
          <a:bodyPr/>
          <a:lstStyle/>
          <a:p>
            <a:r>
              <a:rPr lang="nl-NL" dirty="0"/>
              <a:t>Bron: Iv3-data; AEF; it’s public analyse</a:t>
            </a:r>
          </a:p>
        </p:txBody>
      </p:sp>
      <p:sp>
        <p:nvSpPr>
          <p:cNvPr id="19" name="Text Placeholder 9">
            <a:hlinkClick r:id="rId6" action="ppaction://hlinksldjump"/>
            <a:extLst>
              <a:ext uri="{FF2B5EF4-FFF2-40B4-BE49-F238E27FC236}">
                <a16:creationId xmlns:a16="http://schemas.microsoft.com/office/drawing/2014/main" id="{5A5BC5A2-56F3-4D4D-8ED5-DF504AAA766A}"/>
              </a:ext>
            </a:extLst>
          </p:cNvPr>
          <p:cNvSpPr txBox="1">
            <a:spLocks/>
          </p:cNvSpPr>
          <p:nvPr/>
        </p:nvSpPr>
        <p:spPr>
          <a:xfrm>
            <a:off x="11004345" y="60665"/>
            <a:ext cx="1111250" cy="609600"/>
          </a:xfrm>
          <a:prstGeom prst="roundRect">
            <a:avLst>
              <a:gd name="adj" fmla="val 7423"/>
            </a:avLst>
          </a:prstGeom>
          <a:solidFill>
            <a:schemeClr val="accent5">
              <a:alpha val="90000"/>
            </a:schemeClr>
          </a:solidFill>
          <a:ln>
            <a:solidFill>
              <a:srgbClr val="22777B"/>
            </a:solidFill>
          </a:ln>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solidFill>
                  <a:srgbClr val="000000"/>
                </a:solidFill>
              </a:rPr>
              <a:t>Klik hier voor overzicht tekorten van alle gemeenten</a:t>
            </a:r>
          </a:p>
        </p:txBody>
      </p:sp>
      <p:pic>
        <p:nvPicPr>
          <p:cNvPr id="20" name="Graphic 19" descr="Right pointing backhand index">
            <a:hlinkClick r:id="rId6" action="ppaction://hlinksldjump"/>
            <a:extLst>
              <a:ext uri="{FF2B5EF4-FFF2-40B4-BE49-F238E27FC236}">
                <a16:creationId xmlns:a16="http://schemas.microsoft.com/office/drawing/2014/main" id="{016D6227-DC89-47D1-BFB3-2CF783035C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536175" y="128659"/>
            <a:ext cx="482600" cy="482600"/>
          </a:xfrm>
          <a:prstGeom prst="rect">
            <a:avLst/>
          </a:prstGeom>
        </p:spPr>
      </p:pic>
      <p:sp>
        <p:nvSpPr>
          <p:cNvPr id="21" name="TextBox 20">
            <a:extLst>
              <a:ext uri="{FF2B5EF4-FFF2-40B4-BE49-F238E27FC236}">
                <a16:creationId xmlns:a16="http://schemas.microsoft.com/office/drawing/2014/main" id="{DA7BCD4A-6AE7-4E5F-AB9E-5D227C50728C}"/>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Tekorten per gemeente</a:t>
            </a:r>
            <a:endParaRPr lang="nl-NL" b="1" noProof="0" dirty="0">
              <a:solidFill>
                <a:schemeClr val="tx2"/>
              </a:solidFill>
            </a:endParaRPr>
          </a:p>
        </p:txBody>
      </p:sp>
      <p:sp>
        <p:nvSpPr>
          <p:cNvPr id="23" name="Speech Bubble: Rectangle 22">
            <a:extLst>
              <a:ext uri="{FF2B5EF4-FFF2-40B4-BE49-F238E27FC236}">
                <a16:creationId xmlns:a16="http://schemas.microsoft.com/office/drawing/2014/main" id="{A537FA74-6847-44A4-A550-5574952498AF}"/>
              </a:ext>
            </a:extLst>
          </p:cNvPr>
          <p:cNvSpPr/>
          <p:nvPr/>
        </p:nvSpPr>
        <p:spPr>
          <a:xfrm>
            <a:off x="3791471" y="6123181"/>
            <a:ext cx="1332000" cy="290319"/>
          </a:xfrm>
          <a:prstGeom prst="wedgeRectCallout">
            <a:avLst>
              <a:gd name="adj1" fmla="val -57902"/>
              <a:gd name="adj2" fmla="val -49669"/>
            </a:avLst>
          </a:prstGeom>
          <a:solidFill>
            <a:srgbClr val="FFFFFF"/>
          </a:solidFill>
          <a:ln w="9525">
            <a:solidFill>
              <a:srgbClr val="8C8C8C"/>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800" dirty="0"/>
              <a:t>Kleur gebaseerd op relatief tekort (zie legenda pagina 7)</a:t>
            </a:r>
            <a:endParaRPr kumimoji="0" lang="nl-NL" sz="8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Speech Bubble: Rectangle 30">
            <a:extLst>
              <a:ext uri="{FF2B5EF4-FFF2-40B4-BE49-F238E27FC236}">
                <a16:creationId xmlns:a16="http://schemas.microsoft.com/office/drawing/2014/main" id="{F9C2D53F-2463-4745-BBBF-439EB56C7939}"/>
              </a:ext>
            </a:extLst>
          </p:cNvPr>
          <p:cNvSpPr/>
          <p:nvPr/>
        </p:nvSpPr>
        <p:spPr>
          <a:xfrm>
            <a:off x="9354071" y="6123181"/>
            <a:ext cx="1332000" cy="290319"/>
          </a:xfrm>
          <a:prstGeom prst="wedgeRectCallout">
            <a:avLst>
              <a:gd name="adj1" fmla="val -57902"/>
              <a:gd name="adj2" fmla="val -49669"/>
            </a:avLst>
          </a:prstGeom>
          <a:solidFill>
            <a:srgbClr val="FFFFFF"/>
          </a:solidFill>
          <a:ln w="9525">
            <a:solidFill>
              <a:srgbClr val="8C8C8C"/>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800" dirty="0"/>
              <a:t>Kleur gebaseerd op relatief tekort (zie legenda pagina 7)</a:t>
            </a:r>
            <a:endParaRPr kumimoji="0" lang="nl-NL" sz="800" b="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00061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A3CC171-D0EF-4B72-84D9-6B235B62E083}"/>
              </a:ext>
            </a:extLst>
          </p:cNvPr>
          <p:cNvGraphicFramePr>
            <a:graphicFrameLocks noChangeAspect="1"/>
          </p:cNvGraphicFramePr>
          <p:nvPr>
            <p:custDataLst>
              <p:tags r:id="rId1"/>
            </p:custDataLst>
            <p:extLst>
              <p:ext uri="{D42A27DB-BD31-4B8C-83A1-F6EECF244321}">
                <p14:modId xmlns:p14="http://schemas.microsoft.com/office/powerpoint/2010/main" val="59581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25" imgH="426" progId="TCLayout.ActiveDocument.1">
                  <p:embed/>
                </p:oleObj>
              </mc:Choice>
              <mc:Fallback>
                <p:oleObj name="think-cell Slide" r:id="rId28" imgW="425" imgH="426" progId="TCLayout.ActiveDocument.1">
                  <p:embed/>
                  <p:pic>
                    <p:nvPicPr>
                      <p:cNvPr id="9" name="Object 8" hidden="1">
                        <a:extLst>
                          <a:ext uri="{FF2B5EF4-FFF2-40B4-BE49-F238E27FC236}">
                            <a16:creationId xmlns:a16="http://schemas.microsoft.com/office/drawing/2014/main" id="{CA3CC171-D0EF-4B72-84D9-6B235B62E083}"/>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5" name="Content Placeholder 30">
            <a:extLst>
              <a:ext uri="{FF2B5EF4-FFF2-40B4-BE49-F238E27FC236}">
                <a16:creationId xmlns:a16="http://schemas.microsoft.com/office/drawing/2014/main" id="{604553EE-8FD2-4CED-9C9E-66BFE98B23C1}"/>
              </a:ext>
            </a:extLst>
          </p:cNvPr>
          <p:cNvSpPr txBox="1">
            <a:spLocks/>
          </p:cNvSpPr>
          <p:nvPr/>
        </p:nvSpPr>
        <p:spPr>
          <a:xfrm>
            <a:off x="3622675" y="4029075"/>
            <a:ext cx="7905750" cy="2320884"/>
          </a:xfrm>
          <a:prstGeom prst="rect">
            <a:avLst/>
          </a:prstGeom>
          <a:noFill/>
          <a:ln w="38100">
            <a:solidFill>
              <a:srgbClr val="22777B"/>
            </a:solidFill>
            <a:prstDash val="soli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defRPr lang="nl-NL"/>
            </a:defPPr>
            <a:lvl1pPr marL="0" indent="0">
              <a:buClr>
                <a:schemeClr val="tx2"/>
              </a:buClr>
              <a:buNone/>
              <a:defRPr kumimoji="0" sz="1600" b="1" i="0" u="none" strike="noStrike" cap="none" spc="0" normalizeH="0" baseline="0">
                <a:ln>
                  <a:noFill/>
                </a:ln>
                <a:solidFill>
                  <a:srgbClr val="EC6224"/>
                </a:solidFill>
                <a:effectLst/>
                <a:uLnTx/>
                <a:uFillTx/>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endParaRPr lang="nl-NL" sz="1000" dirty="0">
              <a:solidFill>
                <a:srgbClr val="000000"/>
              </a:solidFill>
            </a:endParaRPr>
          </a:p>
        </p:txBody>
      </p:sp>
      <p:sp>
        <p:nvSpPr>
          <p:cNvPr id="4" name="Footer Placeholder 3">
            <a:extLst>
              <a:ext uri="{FF2B5EF4-FFF2-40B4-BE49-F238E27FC236}">
                <a16:creationId xmlns:a16="http://schemas.microsoft.com/office/drawing/2014/main" id="{B4AD326C-5B5B-4905-BC65-5A67553CE599}"/>
              </a:ext>
            </a:extLst>
          </p:cNvPr>
          <p:cNvSpPr>
            <a:spLocks noGrp="1"/>
          </p:cNvSpPr>
          <p:nvPr>
            <p:ph type="ftr" sz="quarter" idx="3"/>
          </p:nvPr>
        </p:nvSpPr>
        <p:spPr/>
        <p:txBody>
          <a:bodyPr/>
          <a:lstStyle/>
          <a:p>
            <a:r>
              <a:rPr lang="nl-NL" dirty="0"/>
              <a:t>Bron: Iv3-data; AEF; it’s public analyse</a:t>
            </a:r>
          </a:p>
        </p:txBody>
      </p:sp>
      <p:sp>
        <p:nvSpPr>
          <p:cNvPr id="5" name="Slide Number Placeholder 4">
            <a:extLst>
              <a:ext uri="{FF2B5EF4-FFF2-40B4-BE49-F238E27FC236}">
                <a16:creationId xmlns:a16="http://schemas.microsoft.com/office/drawing/2014/main" id="{6CE01ED2-D623-4FC4-87E5-82257F29BA4F}"/>
              </a:ext>
            </a:extLst>
          </p:cNvPr>
          <p:cNvSpPr>
            <a:spLocks noGrp="1"/>
          </p:cNvSpPr>
          <p:nvPr>
            <p:ph type="sldNum" sz="quarter" idx="12"/>
          </p:nvPr>
        </p:nvSpPr>
        <p:spPr>
          <a:xfrm>
            <a:off x="10507663" y="6583524"/>
            <a:ext cx="1022350" cy="163513"/>
          </a:xfrm>
        </p:spPr>
        <p:txBody>
          <a:bodyPr/>
          <a:lstStyle/>
          <a:p>
            <a:fld id="{992CD0B2-8AB2-4C6C-8876-E15753662C9B}" type="slidenum">
              <a:rPr lang="nl-NL" noProof="0" smtClean="0"/>
              <a:pPr/>
              <a:t>9</a:t>
            </a:fld>
            <a:endParaRPr lang="nl-NL" noProof="0"/>
          </a:p>
        </p:txBody>
      </p:sp>
      <p:sp>
        <p:nvSpPr>
          <p:cNvPr id="52" name="Content Placeholder 38">
            <a:extLst>
              <a:ext uri="{FF2B5EF4-FFF2-40B4-BE49-F238E27FC236}">
                <a16:creationId xmlns:a16="http://schemas.microsoft.com/office/drawing/2014/main" id="{822248DE-8721-4CF2-9A93-70BE3E5075BF}"/>
              </a:ext>
            </a:extLst>
          </p:cNvPr>
          <p:cNvSpPr>
            <a:spLocks noGrp="1"/>
          </p:cNvSpPr>
          <p:nvPr>
            <p:ph sz="quarter" idx="31"/>
          </p:nvPr>
        </p:nvSpPr>
        <p:spPr>
          <a:xfrm>
            <a:off x="662780" y="1800874"/>
            <a:ext cx="2673595" cy="4284000"/>
          </a:xfrm>
        </p:spPr>
        <p:txBody>
          <a:bodyPr>
            <a:noAutofit/>
          </a:bodyPr>
          <a:lstStyle/>
          <a:p>
            <a:pPr>
              <a:lnSpc>
                <a:spcPct val="100000"/>
              </a:lnSpc>
              <a:spcBef>
                <a:spcPts val="1200"/>
              </a:spcBef>
            </a:pPr>
            <a:r>
              <a:rPr lang="nl-NL" sz="1200" dirty="0"/>
              <a:t>Hoewel Rotterdam in de afgelopen jaren een groeiend tekort heeft op begroting voor Jeugd, heeft zij géén werkelijk tekort t.o.v. inkomsten</a:t>
            </a:r>
          </a:p>
          <a:p>
            <a:pPr>
              <a:lnSpc>
                <a:spcPct val="100000"/>
              </a:lnSpc>
              <a:spcBef>
                <a:spcPts val="1200"/>
              </a:spcBef>
            </a:pPr>
            <a:r>
              <a:rPr lang="nl-NL" sz="1200" dirty="0"/>
              <a:t>Blijkbaar heeft Rotterdam als beleidskeuze niet alle middelen die voor Jeugd beschikbaar zijn, ook daadwerkelijk voor Jeugd ingezet</a:t>
            </a:r>
          </a:p>
          <a:p>
            <a:pPr>
              <a:lnSpc>
                <a:spcPct val="100000"/>
              </a:lnSpc>
              <a:spcBef>
                <a:spcPts val="1200"/>
              </a:spcBef>
            </a:pPr>
            <a:r>
              <a:rPr lang="nl-NL" sz="1200" dirty="0"/>
              <a:t>Voor andere gemeenten is deze data beschikbaar in apart Excel bestand (zie link rechtsboven)</a:t>
            </a:r>
          </a:p>
          <a:p>
            <a:pPr>
              <a:lnSpc>
                <a:spcPct val="100000"/>
              </a:lnSpc>
              <a:spcBef>
                <a:spcPts val="1200"/>
              </a:spcBef>
            </a:pPr>
            <a:endParaRPr lang="nl-NL" sz="1200" dirty="0"/>
          </a:p>
          <a:p>
            <a:pPr>
              <a:lnSpc>
                <a:spcPct val="100000"/>
              </a:lnSpc>
              <a:spcBef>
                <a:spcPts val="1200"/>
              </a:spcBef>
            </a:pPr>
            <a:r>
              <a:rPr lang="nl-NL" sz="1200" dirty="0"/>
              <a:t>N.B.: i.v.m. databeschikbaarheid zijn bij tekort op begroting alleen uitgaven maatwerkvoorzieningen meegenomen, bij werkelijk tekort ook extra kosten </a:t>
            </a:r>
            <a:r>
              <a:rPr lang="nl-NL" sz="1200" dirty="0" err="1"/>
              <a:t>voorveld</a:t>
            </a:r>
            <a:endParaRPr lang="nl-NL" sz="1200" dirty="0"/>
          </a:p>
          <a:p>
            <a:pPr>
              <a:lnSpc>
                <a:spcPct val="100000"/>
              </a:lnSpc>
              <a:spcBef>
                <a:spcPts val="1200"/>
              </a:spcBef>
            </a:pPr>
            <a:r>
              <a:rPr lang="nl-NL" sz="1200" dirty="0"/>
              <a:t>Het tekort is wel vergelijkbaar, maar scope is net iets anders</a:t>
            </a:r>
          </a:p>
        </p:txBody>
      </p:sp>
      <p:sp>
        <p:nvSpPr>
          <p:cNvPr id="6" name="Text Placeholder 5">
            <a:extLst>
              <a:ext uri="{FF2B5EF4-FFF2-40B4-BE49-F238E27FC236}">
                <a16:creationId xmlns:a16="http://schemas.microsoft.com/office/drawing/2014/main" id="{3B43F305-3565-434A-BD52-08E57B52C726}"/>
              </a:ext>
            </a:extLst>
          </p:cNvPr>
          <p:cNvSpPr>
            <a:spLocks noGrp="1"/>
          </p:cNvSpPr>
          <p:nvPr>
            <p:ph type="body" sz="quarter" idx="14"/>
          </p:nvPr>
        </p:nvSpPr>
        <p:spPr/>
        <p:txBody>
          <a:bodyPr/>
          <a:lstStyle/>
          <a:p>
            <a:r>
              <a:rPr lang="nl-NL" dirty="0"/>
              <a:t>Vergelijking tekort op begroting en werkelijk tekort, Jeugd, Rotterdam, 2017 – 2019</a:t>
            </a:r>
          </a:p>
        </p:txBody>
      </p:sp>
      <p:sp>
        <p:nvSpPr>
          <p:cNvPr id="7" name="Title 6">
            <a:extLst>
              <a:ext uri="{FF2B5EF4-FFF2-40B4-BE49-F238E27FC236}">
                <a16:creationId xmlns:a16="http://schemas.microsoft.com/office/drawing/2014/main" id="{974AC93D-84AB-4C9B-B16A-4B102EDF0682}"/>
              </a:ext>
            </a:extLst>
          </p:cNvPr>
          <p:cNvSpPr>
            <a:spLocks noGrp="1"/>
          </p:cNvSpPr>
          <p:nvPr>
            <p:ph type="title"/>
          </p:nvPr>
        </p:nvSpPr>
        <p:spPr/>
        <p:txBody>
          <a:bodyPr vert="horz"/>
          <a:lstStyle/>
          <a:p>
            <a:br>
              <a:rPr lang="nl-NL" sz="1800" dirty="0"/>
            </a:br>
            <a:r>
              <a:rPr lang="nl-NL" dirty="0"/>
              <a:t>Rotterdam heeft tekort op begroting, maar geen tekort ten </a:t>
            </a:r>
            <a:br>
              <a:rPr lang="nl-NL" dirty="0"/>
            </a:br>
            <a:r>
              <a:rPr lang="nl-NL" dirty="0"/>
              <a:t>opzichte van inkomsten gemeentefonds</a:t>
            </a:r>
          </a:p>
        </p:txBody>
      </p:sp>
      <p:sp>
        <p:nvSpPr>
          <p:cNvPr id="34" name="Content Placeholder 30">
            <a:extLst>
              <a:ext uri="{FF2B5EF4-FFF2-40B4-BE49-F238E27FC236}">
                <a16:creationId xmlns:a16="http://schemas.microsoft.com/office/drawing/2014/main" id="{34150473-1481-408B-8CA2-3D716766CF35}"/>
              </a:ext>
            </a:extLst>
          </p:cNvPr>
          <p:cNvSpPr txBox="1">
            <a:spLocks/>
          </p:cNvSpPr>
          <p:nvPr/>
        </p:nvSpPr>
        <p:spPr>
          <a:xfrm>
            <a:off x="3623017" y="1708149"/>
            <a:ext cx="7906203" cy="2085976"/>
          </a:xfrm>
          <a:prstGeom prst="rect">
            <a:avLst/>
          </a:prstGeom>
          <a:ln>
            <a:solidFill>
              <a:srgbClr val="8C8C8C"/>
            </a:solidFill>
          </a:ln>
        </p:spPr>
        <p:txBody>
          <a:bodyPr anchor="t">
            <a:norm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Font typeface="Wingdings" panose="05000000000000000000" pitchFamily="2" charset="2"/>
              <a:buNone/>
            </a:pPr>
            <a:r>
              <a:rPr lang="nl-NL" sz="1000" b="1"/>
              <a:t> </a:t>
            </a:r>
            <a:endParaRPr lang="nl-NL" sz="1000" b="1" dirty="0"/>
          </a:p>
        </p:txBody>
      </p:sp>
      <p:grpSp>
        <p:nvGrpSpPr>
          <p:cNvPr id="42" name="Group 41">
            <a:extLst>
              <a:ext uri="{FF2B5EF4-FFF2-40B4-BE49-F238E27FC236}">
                <a16:creationId xmlns:a16="http://schemas.microsoft.com/office/drawing/2014/main" id="{476B45AB-C959-4781-B708-78105AAF7AB3}"/>
              </a:ext>
            </a:extLst>
          </p:cNvPr>
          <p:cNvGrpSpPr/>
          <p:nvPr/>
        </p:nvGrpSpPr>
        <p:grpSpPr>
          <a:xfrm>
            <a:off x="3778756" y="2010976"/>
            <a:ext cx="1618200" cy="1431925"/>
            <a:chOff x="3778756" y="1887538"/>
            <a:chExt cx="1618200" cy="1431925"/>
          </a:xfrm>
        </p:grpSpPr>
        <p:sp>
          <p:nvSpPr>
            <p:cNvPr id="35" name="Rectangle 34">
              <a:extLst>
                <a:ext uri="{FF2B5EF4-FFF2-40B4-BE49-F238E27FC236}">
                  <a16:creationId xmlns:a16="http://schemas.microsoft.com/office/drawing/2014/main" id="{9AD09B0C-812F-4413-A4BC-5594451D164E}"/>
                </a:ext>
              </a:extLst>
            </p:cNvPr>
            <p:cNvSpPr/>
            <p:nvPr/>
          </p:nvSpPr>
          <p:spPr>
            <a:xfrm>
              <a:off x="3778756" y="2995613"/>
              <a:ext cx="1618200" cy="323850"/>
            </a:xfrm>
            <a:prstGeom prst="rect">
              <a:avLst/>
            </a:prstGeom>
            <a:solidFill>
              <a:srgbClr val="DBDBDB"/>
            </a:solidFill>
            <a:ln>
              <a:noFill/>
            </a:ln>
          </p:spPr>
          <p:txBody>
            <a:bodyPr vert="horz" lIns="72000" tIns="72000" rIns="72000" bIns="72000" rtlCol="0" anchor="ctr">
              <a:noAutofit/>
            </a:bodyPr>
            <a:lstStyle/>
            <a:p>
              <a:pPr marL="0" indent="0" algn="ctr">
                <a:buClr>
                  <a:schemeClr val="tx2"/>
                </a:buClr>
                <a:buNone/>
              </a:pPr>
              <a:r>
                <a:rPr lang="nl-NL" sz="1000" b="1" dirty="0"/>
                <a:t>Uitgaven</a:t>
              </a:r>
            </a:p>
          </p:txBody>
        </p:sp>
        <p:sp>
          <p:nvSpPr>
            <p:cNvPr id="36" name="Rectangle 35">
              <a:extLst>
                <a:ext uri="{FF2B5EF4-FFF2-40B4-BE49-F238E27FC236}">
                  <a16:creationId xmlns:a16="http://schemas.microsoft.com/office/drawing/2014/main" id="{5B49B566-F0EB-46A0-B50C-23B9D0055818}"/>
                </a:ext>
              </a:extLst>
            </p:cNvPr>
            <p:cNvSpPr/>
            <p:nvPr/>
          </p:nvSpPr>
          <p:spPr>
            <a:xfrm>
              <a:off x="3778756" y="2441575"/>
              <a:ext cx="1618200" cy="323850"/>
            </a:xfrm>
            <a:prstGeom prst="rect">
              <a:avLst/>
            </a:prstGeom>
            <a:solidFill>
              <a:srgbClr val="DBDBDB"/>
            </a:solidFill>
            <a:ln>
              <a:noFill/>
            </a:ln>
          </p:spPr>
          <p:txBody>
            <a:bodyPr vert="horz" lIns="72000" tIns="72000" rIns="72000" bIns="72000" rtlCol="0" anchor="ctr">
              <a:noAutofit/>
            </a:bodyPr>
            <a:lstStyle/>
            <a:p>
              <a:pPr marL="0" indent="0" algn="ctr">
                <a:buClr>
                  <a:schemeClr val="tx2"/>
                </a:buClr>
                <a:buNone/>
              </a:pPr>
              <a:r>
                <a:rPr lang="nl-NL" sz="1000" b="1" dirty="0"/>
                <a:t>Begroting</a:t>
              </a:r>
            </a:p>
          </p:txBody>
        </p:sp>
        <p:sp>
          <p:nvSpPr>
            <p:cNvPr id="37" name="Rectangle 36">
              <a:extLst>
                <a:ext uri="{FF2B5EF4-FFF2-40B4-BE49-F238E27FC236}">
                  <a16:creationId xmlns:a16="http://schemas.microsoft.com/office/drawing/2014/main" id="{12E56C92-CB59-4905-8B79-38C30719DD25}"/>
                </a:ext>
              </a:extLst>
            </p:cNvPr>
            <p:cNvSpPr/>
            <p:nvPr/>
          </p:nvSpPr>
          <p:spPr>
            <a:xfrm>
              <a:off x="3778756" y="1887538"/>
              <a:ext cx="1618200" cy="323850"/>
            </a:xfrm>
            <a:prstGeom prst="rect">
              <a:avLst/>
            </a:prstGeom>
            <a:solidFill>
              <a:srgbClr val="8C8C8C"/>
            </a:solidFill>
            <a:ln>
              <a:noFill/>
            </a:ln>
          </p:spPr>
          <p:txBody>
            <a:bodyPr vert="horz" lIns="72000" tIns="72000" rIns="72000" bIns="72000" rtlCol="0" anchor="ctr">
              <a:noAutofit/>
            </a:bodyPr>
            <a:lstStyle/>
            <a:p>
              <a:pPr marL="0" indent="0" algn="ctr">
                <a:buClr>
                  <a:schemeClr val="tx2"/>
                </a:buClr>
                <a:buNone/>
              </a:pPr>
              <a:r>
                <a:rPr lang="nl-NL" sz="1000" b="1" dirty="0">
                  <a:solidFill>
                    <a:srgbClr val="FFFFFF"/>
                  </a:solidFill>
                </a:rPr>
                <a:t>Tekort op begroting</a:t>
              </a:r>
            </a:p>
          </p:txBody>
        </p:sp>
        <p:sp>
          <p:nvSpPr>
            <p:cNvPr id="38" name="Minus Sign 37">
              <a:extLst>
                <a:ext uri="{FF2B5EF4-FFF2-40B4-BE49-F238E27FC236}">
                  <a16:creationId xmlns:a16="http://schemas.microsoft.com/office/drawing/2014/main" id="{A4DB6DD6-6C80-4D79-8B8F-F81C25D4441F}"/>
                </a:ext>
              </a:extLst>
            </p:cNvPr>
            <p:cNvSpPr/>
            <p:nvPr/>
          </p:nvSpPr>
          <p:spPr>
            <a:xfrm>
              <a:off x="4474536" y="2767013"/>
              <a:ext cx="226639" cy="227013"/>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Equals 43">
              <a:extLst>
                <a:ext uri="{FF2B5EF4-FFF2-40B4-BE49-F238E27FC236}">
                  <a16:creationId xmlns:a16="http://schemas.microsoft.com/office/drawing/2014/main" id="{920E7EB5-2DA5-4550-80CA-44139992DF09}"/>
                </a:ext>
              </a:extLst>
            </p:cNvPr>
            <p:cNvSpPr/>
            <p:nvPr/>
          </p:nvSpPr>
          <p:spPr>
            <a:xfrm>
              <a:off x="4474536" y="2235200"/>
              <a:ext cx="226639" cy="182563"/>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p:txBody>
        </p:sp>
      </p:grpSp>
      <p:graphicFrame>
        <p:nvGraphicFramePr>
          <p:cNvPr id="203" name="Chart 202">
            <a:extLst>
              <a:ext uri="{FF2B5EF4-FFF2-40B4-BE49-F238E27FC236}">
                <a16:creationId xmlns:a16="http://schemas.microsoft.com/office/drawing/2014/main" id="{9CFB61D5-CC2A-40C9-9843-4687C771797B}"/>
              </a:ext>
            </a:extLst>
          </p:cNvPr>
          <p:cNvGraphicFramePr/>
          <p:nvPr>
            <p:custDataLst>
              <p:tags r:id="rId2"/>
            </p:custDataLst>
            <p:extLst>
              <p:ext uri="{D42A27DB-BD31-4B8C-83A1-F6EECF244321}">
                <p14:modId xmlns:p14="http://schemas.microsoft.com/office/powerpoint/2010/main" val="503822964"/>
              </p:ext>
            </p:extLst>
          </p:nvPr>
        </p:nvGraphicFramePr>
        <p:xfrm>
          <a:off x="5649913" y="4546600"/>
          <a:ext cx="1722437" cy="1079500"/>
        </p:xfrm>
        <a:graphic>
          <a:graphicData uri="http://schemas.openxmlformats.org/drawingml/2006/chart">
            <c:chart xmlns:c="http://schemas.openxmlformats.org/drawingml/2006/chart" xmlns:r="http://schemas.openxmlformats.org/officeDocument/2006/relationships" r:id="rId30"/>
          </a:graphicData>
        </a:graphic>
      </p:graphicFrame>
      <p:sp>
        <p:nvSpPr>
          <p:cNvPr id="62"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auto">
          <a:xfrm>
            <a:off x="6353175" y="578485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AECB835-5774-4AA5-856F-C9FFF7415F21}"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5919788" y="578485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1F70C85-9496-4752-85C6-76B51B41D73B}"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63"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6794500" y="578485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B2C1128-AC36-4E71-8F17-3B4097715D50}" type="datetime'''''''''''''''''''''''''''''''''''2''''0''''1''''9'''''''''''">
              <a:rPr lang="nl-NL" altLang="en-US" sz="1200" smtClean="0">
                <a:solidFill>
                  <a:schemeClr val="tx1"/>
                </a:solidFill>
                <a:latin typeface="+mn-lt"/>
              </a:rPr>
              <a:pPr/>
              <a:t>2019</a:t>
            </a:fld>
            <a:endParaRPr lang="nl-NL" sz="1200" noProof="0" dirty="0">
              <a:solidFill>
                <a:schemeClr val="tx1"/>
              </a:solidFill>
              <a:latin typeface="+mn-lt"/>
            </a:endParaRPr>
          </a:p>
        </p:txBody>
      </p:sp>
      <p:sp>
        <p:nvSpPr>
          <p:cNvPr id="157"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6804025" y="5568950"/>
            <a:ext cx="2921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77AE70-4EA8-4561-8656-9A5554211B5C}" type="datetime'''''''''''''''''-''0'''',''4'''''''''''''''''">
              <a:rPr lang="nl-NL" altLang="en-US" sz="1200" smtClean="0">
                <a:solidFill>
                  <a:schemeClr val="tx1"/>
                </a:solidFill>
                <a:effectLst/>
                <a:latin typeface="+mn-lt"/>
              </a:rPr>
              <a:pPr marL="0" indent="0" algn="ctr">
                <a:spcBef>
                  <a:spcPct val="0"/>
                </a:spcBef>
                <a:spcAft>
                  <a:spcPct val="0"/>
                </a:spcAft>
                <a:buNone/>
              </a:pPr>
              <a:t>-0,4</a:t>
            </a:fld>
            <a:endParaRPr lang="nl-NL" sz="1200" noProof="0" dirty="0">
              <a:solidFill>
                <a:schemeClr val="tx1"/>
              </a:solidFill>
              <a:latin typeface="+mn-lt"/>
            </a:endParaRPr>
          </a:p>
        </p:txBody>
      </p:sp>
      <p:grpSp>
        <p:nvGrpSpPr>
          <p:cNvPr id="41" name="Group 40">
            <a:extLst>
              <a:ext uri="{FF2B5EF4-FFF2-40B4-BE49-F238E27FC236}">
                <a16:creationId xmlns:a16="http://schemas.microsoft.com/office/drawing/2014/main" id="{5E685C84-AFDB-4D17-9A50-A9DC5AFD1DDA}"/>
              </a:ext>
            </a:extLst>
          </p:cNvPr>
          <p:cNvGrpSpPr/>
          <p:nvPr/>
        </p:nvGrpSpPr>
        <p:grpSpPr>
          <a:xfrm>
            <a:off x="3775532" y="4439639"/>
            <a:ext cx="1618334" cy="1431925"/>
            <a:chOff x="3775532" y="4241800"/>
            <a:chExt cx="1618334" cy="1431925"/>
          </a:xfrm>
        </p:grpSpPr>
        <p:sp>
          <p:nvSpPr>
            <p:cNvPr id="46" name="Rectangle 45">
              <a:extLst>
                <a:ext uri="{FF2B5EF4-FFF2-40B4-BE49-F238E27FC236}">
                  <a16:creationId xmlns:a16="http://schemas.microsoft.com/office/drawing/2014/main" id="{2D7C465C-DF2D-4519-93C1-79660E208849}"/>
                </a:ext>
              </a:extLst>
            </p:cNvPr>
            <p:cNvSpPr/>
            <p:nvPr/>
          </p:nvSpPr>
          <p:spPr>
            <a:xfrm>
              <a:off x="3775532" y="5349875"/>
              <a:ext cx="1618334" cy="323850"/>
            </a:xfrm>
            <a:prstGeom prst="rect">
              <a:avLst/>
            </a:prstGeom>
            <a:solidFill>
              <a:srgbClr val="95C5C9"/>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000" b="1" dirty="0"/>
                <a:t>Uitgaven</a:t>
              </a:r>
            </a:p>
          </p:txBody>
        </p:sp>
        <p:sp>
          <p:nvSpPr>
            <p:cNvPr id="47" name="Rectangle 46">
              <a:extLst>
                <a:ext uri="{FF2B5EF4-FFF2-40B4-BE49-F238E27FC236}">
                  <a16:creationId xmlns:a16="http://schemas.microsoft.com/office/drawing/2014/main" id="{9EE35245-B442-4EAE-B079-F8837F2E6A9C}"/>
                </a:ext>
              </a:extLst>
            </p:cNvPr>
            <p:cNvSpPr/>
            <p:nvPr/>
          </p:nvSpPr>
          <p:spPr>
            <a:xfrm>
              <a:off x="3775532" y="4795838"/>
              <a:ext cx="1618334" cy="323850"/>
            </a:xfrm>
            <a:prstGeom prst="rect">
              <a:avLst/>
            </a:prstGeom>
            <a:solidFill>
              <a:srgbClr val="95C5C9"/>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000" b="1" dirty="0"/>
                <a:t>Inkomsten uit gemeentefonds</a:t>
              </a:r>
            </a:p>
          </p:txBody>
        </p:sp>
        <p:sp>
          <p:nvSpPr>
            <p:cNvPr id="48" name="Rectangle 47">
              <a:extLst>
                <a:ext uri="{FF2B5EF4-FFF2-40B4-BE49-F238E27FC236}">
                  <a16:creationId xmlns:a16="http://schemas.microsoft.com/office/drawing/2014/main" id="{E827104D-DDBA-446D-A59A-999B4F04985F}"/>
                </a:ext>
              </a:extLst>
            </p:cNvPr>
            <p:cNvSpPr/>
            <p:nvPr/>
          </p:nvSpPr>
          <p:spPr>
            <a:xfrm>
              <a:off x="3775532" y="4241800"/>
              <a:ext cx="1618334" cy="323850"/>
            </a:xfrm>
            <a:prstGeom prst="rect">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vert="horz" lIns="72000" tIns="72000" rIns="72000" bIns="72000" rtlCol="0" anchor="ctr">
              <a:noAutofit/>
            </a:bodyPr>
            <a:lstStyle/>
            <a:p>
              <a:pPr marL="0" indent="0" algn="ctr">
                <a:buClr>
                  <a:schemeClr val="tx2"/>
                </a:buClr>
                <a:buNone/>
              </a:pPr>
              <a:r>
                <a:rPr lang="nl-NL" sz="1000" b="1" dirty="0">
                  <a:solidFill>
                    <a:srgbClr val="FFFFFF"/>
                  </a:solidFill>
                </a:rPr>
                <a:t>Werkelijk tekort</a:t>
              </a:r>
            </a:p>
          </p:txBody>
        </p:sp>
        <p:sp>
          <p:nvSpPr>
            <p:cNvPr id="49" name="Minus Sign 48">
              <a:extLst>
                <a:ext uri="{FF2B5EF4-FFF2-40B4-BE49-F238E27FC236}">
                  <a16:creationId xmlns:a16="http://schemas.microsoft.com/office/drawing/2014/main" id="{EBA7C639-6338-4198-9891-54952827A61E}"/>
                </a:ext>
              </a:extLst>
            </p:cNvPr>
            <p:cNvSpPr/>
            <p:nvPr/>
          </p:nvSpPr>
          <p:spPr>
            <a:xfrm>
              <a:off x="4471370" y="5121275"/>
              <a:ext cx="226658" cy="227013"/>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Equals 49">
              <a:extLst>
                <a:ext uri="{FF2B5EF4-FFF2-40B4-BE49-F238E27FC236}">
                  <a16:creationId xmlns:a16="http://schemas.microsoft.com/office/drawing/2014/main" id="{F0F25CFA-E658-4087-B53A-A0BFA66FEA7F}"/>
                </a:ext>
              </a:extLst>
            </p:cNvPr>
            <p:cNvSpPr/>
            <p:nvPr/>
          </p:nvSpPr>
          <p:spPr>
            <a:xfrm>
              <a:off x="4471370" y="4589463"/>
              <a:ext cx="226658" cy="182563"/>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p:txBody>
        </p:sp>
      </p:grpSp>
      <p:graphicFrame>
        <p:nvGraphicFramePr>
          <p:cNvPr id="204" name="Chart 203">
            <a:extLst>
              <a:ext uri="{FF2B5EF4-FFF2-40B4-BE49-F238E27FC236}">
                <a16:creationId xmlns:a16="http://schemas.microsoft.com/office/drawing/2014/main" id="{E14C06CB-789F-4111-AC38-867E117557D0}"/>
              </a:ext>
            </a:extLst>
          </p:cNvPr>
          <p:cNvGraphicFramePr/>
          <p:nvPr>
            <p:custDataLst>
              <p:tags r:id="rId7"/>
            </p:custDataLst>
            <p:extLst>
              <p:ext uri="{D42A27DB-BD31-4B8C-83A1-F6EECF244321}">
                <p14:modId xmlns:p14="http://schemas.microsoft.com/office/powerpoint/2010/main" val="2471628150"/>
              </p:ext>
            </p:extLst>
          </p:nvPr>
        </p:nvGraphicFramePr>
        <p:xfrm>
          <a:off x="7219950" y="4403725"/>
          <a:ext cx="2436813" cy="1222375"/>
        </p:xfrm>
        <a:graphic>
          <a:graphicData uri="http://schemas.openxmlformats.org/drawingml/2006/chart">
            <c:chart xmlns:c="http://schemas.openxmlformats.org/drawingml/2006/chart" xmlns:r="http://schemas.openxmlformats.org/officeDocument/2006/relationships" r:id="rId31"/>
          </a:graphicData>
        </a:graphic>
      </p:graphicFrame>
      <p:sp>
        <p:nvSpPr>
          <p:cNvPr id="89" name="Content 1">
            <a:extLst>
              <a:ext uri="{FF2B5EF4-FFF2-40B4-BE49-F238E27FC236}">
                <a16:creationId xmlns:a16="http://schemas.microsoft.com/office/drawing/2014/main" id="{693CCF02-0342-4A14-BFF5-C3A78EDB7FCE}"/>
              </a:ext>
            </a:extLst>
          </p:cNvPr>
          <p:cNvSpPr>
            <a:spLocks noGrp="1"/>
          </p:cNvSpPr>
          <p:nvPr>
            <p:custDataLst>
              <p:tags r:id="rId8"/>
            </p:custDataLst>
          </p:nvPr>
        </p:nvSpPr>
        <p:spPr bwMode="auto">
          <a:xfrm>
            <a:off x="7904163" y="559435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470E003-B3AB-41AF-A747-EC193353B0B9}"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90" name="Content 1">
            <a:extLst>
              <a:ext uri="{FF2B5EF4-FFF2-40B4-BE49-F238E27FC236}">
                <a16:creationId xmlns:a16="http://schemas.microsoft.com/office/drawing/2014/main" id="{1C2518CF-37A4-47D0-8EC5-C4CD264B86D9}"/>
              </a:ext>
            </a:extLst>
          </p:cNvPr>
          <p:cNvSpPr>
            <a:spLocks noGrp="1"/>
          </p:cNvSpPr>
          <p:nvPr>
            <p:custDataLst>
              <p:tags r:id="rId9"/>
            </p:custDataLst>
          </p:nvPr>
        </p:nvSpPr>
        <p:spPr bwMode="auto">
          <a:xfrm>
            <a:off x="8281988" y="559435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35F470-0DF2-4E0F-9CF6-D4A2C209D0F1}"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91" name="Content 1">
            <a:extLst>
              <a:ext uri="{FF2B5EF4-FFF2-40B4-BE49-F238E27FC236}">
                <a16:creationId xmlns:a16="http://schemas.microsoft.com/office/drawing/2014/main" id="{199706C5-1655-4A4E-940E-9FFB5662F747}"/>
              </a:ext>
            </a:extLst>
          </p:cNvPr>
          <p:cNvSpPr>
            <a:spLocks noGrp="1"/>
          </p:cNvSpPr>
          <p:nvPr>
            <p:custDataLst>
              <p:tags r:id="rId10"/>
            </p:custDataLst>
          </p:nvPr>
        </p:nvSpPr>
        <p:spPr bwMode="auto">
          <a:xfrm>
            <a:off x="8667750" y="559435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20DE483-B22C-4F7C-BD1B-65D0DE35ACB9}" type="datetime'''''''''''''''''''''''''''2''''''''''''''0''''''19'''''">
              <a:rPr lang="nl-NL" altLang="en-US" sz="1200" smtClean="0">
                <a:solidFill>
                  <a:schemeClr val="tx1"/>
                </a:solidFill>
                <a:latin typeface="+mn-lt"/>
              </a:rPr>
              <a:pPr/>
              <a:t>2019</a:t>
            </a:fld>
            <a:endParaRPr lang="nl-NL" sz="1200" noProof="0" dirty="0">
              <a:solidFill>
                <a:schemeClr val="tx1"/>
              </a:solidFill>
              <a:latin typeface="+mn-lt"/>
            </a:endParaRPr>
          </a:p>
        </p:txBody>
      </p:sp>
      <p:graphicFrame>
        <p:nvGraphicFramePr>
          <p:cNvPr id="205" name="Chart 204">
            <a:extLst>
              <a:ext uri="{FF2B5EF4-FFF2-40B4-BE49-F238E27FC236}">
                <a16:creationId xmlns:a16="http://schemas.microsoft.com/office/drawing/2014/main" id="{3E2E4AD5-12FE-4382-9345-A798CAB776AE}"/>
              </a:ext>
            </a:extLst>
          </p:cNvPr>
          <p:cNvGraphicFramePr/>
          <p:nvPr>
            <p:custDataLst>
              <p:tags r:id="rId11"/>
            </p:custDataLst>
            <p:extLst>
              <p:ext uri="{D42A27DB-BD31-4B8C-83A1-F6EECF244321}">
                <p14:modId xmlns:p14="http://schemas.microsoft.com/office/powerpoint/2010/main" val="3075288407"/>
              </p:ext>
            </p:extLst>
          </p:nvPr>
        </p:nvGraphicFramePr>
        <p:xfrm>
          <a:off x="9294813" y="4424363"/>
          <a:ext cx="2484437" cy="1220787"/>
        </p:xfrm>
        <a:graphic>
          <a:graphicData uri="http://schemas.openxmlformats.org/drawingml/2006/chart">
            <c:chart xmlns:c="http://schemas.openxmlformats.org/drawingml/2006/chart" xmlns:r="http://schemas.openxmlformats.org/officeDocument/2006/relationships" r:id="rId32"/>
          </a:graphicData>
        </a:graphic>
      </p:graphicFrame>
      <p:sp>
        <p:nvSpPr>
          <p:cNvPr id="95" name="Content 1">
            <a:extLst>
              <a:ext uri="{FF2B5EF4-FFF2-40B4-BE49-F238E27FC236}">
                <a16:creationId xmlns:a16="http://schemas.microsoft.com/office/drawing/2014/main" id="{6BCD622D-8F11-46FB-98D6-92FEE1211F5D}"/>
              </a:ext>
            </a:extLst>
          </p:cNvPr>
          <p:cNvSpPr>
            <a:spLocks noGrp="1"/>
          </p:cNvSpPr>
          <p:nvPr>
            <p:custDataLst>
              <p:tags r:id="rId12"/>
            </p:custDataLst>
          </p:nvPr>
        </p:nvSpPr>
        <p:spPr bwMode="auto">
          <a:xfrm>
            <a:off x="9945688" y="561340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FEBAA23-6564-4408-A426-9063672C9198}"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96" name="Content 1">
            <a:extLst>
              <a:ext uri="{FF2B5EF4-FFF2-40B4-BE49-F238E27FC236}">
                <a16:creationId xmlns:a16="http://schemas.microsoft.com/office/drawing/2014/main" id="{6BFDB95A-87E2-455F-8790-F08602ABCDC6}"/>
              </a:ext>
            </a:extLst>
          </p:cNvPr>
          <p:cNvSpPr>
            <a:spLocks noGrp="1"/>
          </p:cNvSpPr>
          <p:nvPr>
            <p:custDataLst>
              <p:tags r:id="rId13"/>
            </p:custDataLst>
          </p:nvPr>
        </p:nvSpPr>
        <p:spPr bwMode="auto">
          <a:xfrm>
            <a:off x="10379075" y="561340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A1F7AA0-839A-48A7-A67A-F1D2F2FAE154}"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97" name="Content 1">
            <a:extLst>
              <a:ext uri="{FF2B5EF4-FFF2-40B4-BE49-F238E27FC236}">
                <a16:creationId xmlns:a16="http://schemas.microsoft.com/office/drawing/2014/main" id="{AD4C44E5-0C66-48E4-B924-1CE604326C80}"/>
              </a:ext>
            </a:extLst>
          </p:cNvPr>
          <p:cNvSpPr>
            <a:spLocks noGrp="1"/>
          </p:cNvSpPr>
          <p:nvPr>
            <p:custDataLst>
              <p:tags r:id="rId14"/>
            </p:custDataLst>
          </p:nvPr>
        </p:nvSpPr>
        <p:spPr bwMode="auto">
          <a:xfrm>
            <a:off x="10820400" y="561340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45EF031-ABA5-4511-852D-1ED114A54ED3}" type="datetime'''''''''20''''''19'''">
              <a:rPr lang="nl-NL" altLang="en-US" sz="1200" smtClean="0">
                <a:solidFill>
                  <a:schemeClr val="tx1"/>
                </a:solidFill>
                <a:latin typeface="+mn-lt"/>
              </a:rPr>
              <a:pPr/>
              <a:t>2019</a:t>
            </a:fld>
            <a:endParaRPr lang="nl-NL" sz="1200" noProof="0" dirty="0">
              <a:solidFill>
                <a:schemeClr val="tx1"/>
              </a:solidFill>
              <a:latin typeface="+mn-lt"/>
            </a:endParaRPr>
          </a:p>
        </p:txBody>
      </p:sp>
      <p:graphicFrame>
        <p:nvGraphicFramePr>
          <p:cNvPr id="209" name="Chart 208">
            <a:extLst>
              <a:ext uri="{FF2B5EF4-FFF2-40B4-BE49-F238E27FC236}">
                <a16:creationId xmlns:a16="http://schemas.microsoft.com/office/drawing/2014/main" id="{33223134-CDF1-408C-A341-9E2AAACF6B6D}"/>
              </a:ext>
            </a:extLst>
          </p:cNvPr>
          <p:cNvGraphicFramePr/>
          <p:nvPr>
            <p:custDataLst>
              <p:tags r:id="rId15"/>
            </p:custDataLst>
            <p:extLst>
              <p:ext uri="{D42A27DB-BD31-4B8C-83A1-F6EECF244321}">
                <p14:modId xmlns:p14="http://schemas.microsoft.com/office/powerpoint/2010/main" val="2654323018"/>
              </p:ext>
            </p:extLst>
          </p:nvPr>
        </p:nvGraphicFramePr>
        <p:xfrm>
          <a:off x="5497513" y="2241550"/>
          <a:ext cx="2032000" cy="1079500"/>
        </p:xfrm>
        <a:graphic>
          <a:graphicData uri="http://schemas.openxmlformats.org/drawingml/2006/chart">
            <c:chart xmlns:c="http://schemas.openxmlformats.org/drawingml/2006/chart" xmlns:r="http://schemas.openxmlformats.org/officeDocument/2006/relationships" r:id="rId33"/>
          </a:graphicData>
        </a:graphic>
      </p:graphicFrame>
      <p:sp>
        <p:nvSpPr>
          <p:cNvPr id="106" name="Content 1">
            <a:extLst>
              <a:ext uri="{FF2B5EF4-FFF2-40B4-BE49-F238E27FC236}">
                <a16:creationId xmlns:a16="http://schemas.microsoft.com/office/drawing/2014/main" id="{D52C3780-E407-47F8-B820-B3ACCD46FD3D}"/>
              </a:ext>
            </a:extLst>
          </p:cNvPr>
          <p:cNvSpPr>
            <a:spLocks noGrp="1"/>
          </p:cNvSpPr>
          <p:nvPr>
            <p:custDataLst>
              <p:tags r:id="rId16"/>
            </p:custDataLst>
          </p:nvPr>
        </p:nvSpPr>
        <p:spPr bwMode="auto">
          <a:xfrm>
            <a:off x="5922964" y="328930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7BF0153-A569-499F-AA6B-B524F2F44AC0}"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107" name="Content 1">
            <a:extLst>
              <a:ext uri="{FF2B5EF4-FFF2-40B4-BE49-F238E27FC236}">
                <a16:creationId xmlns:a16="http://schemas.microsoft.com/office/drawing/2014/main" id="{08A27525-6B02-4EB1-96C3-06A3FC6CB53D}"/>
              </a:ext>
            </a:extLst>
          </p:cNvPr>
          <p:cNvSpPr>
            <a:spLocks noGrp="1"/>
          </p:cNvSpPr>
          <p:nvPr>
            <p:custDataLst>
              <p:tags r:id="rId17"/>
            </p:custDataLst>
          </p:nvPr>
        </p:nvSpPr>
        <p:spPr bwMode="auto">
          <a:xfrm>
            <a:off x="6356350" y="328930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6B9E5A-06C6-4231-8009-CE88AF70195E}"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108" name="Content 1">
            <a:extLst>
              <a:ext uri="{FF2B5EF4-FFF2-40B4-BE49-F238E27FC236}">
                <a16:creationId xmlns:a16="http://schemas.microsoft.com/office/drawing/2014/main" id="{06C4360B-F02C-49A1-AD62-275F7B8D3F8E}"/>
              </a:ext>
            </a:extLst>
          </p:cNvPr>
          <p:cNvSpPr>
            <a:spLocks noGrp="1"/>
          </p:cNvSpPr>
          <p:nvPr>
            <p:custDataLst>
              <p:tags r:id="rId18"/>
            </p:custDataLst>
          </p:nvPr>
        </p:nvSpPr>
        <p:spPr bwMode="auto">
          <a:xfrm>
            <a:off x="6797675" y="328930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C301392-606C-470A-9160-1375B62ED041}" type="datetime'2''''''0''''''1''''''9'''''''''''''''''''''''''''''''''''''">
              <a:rPr lang="nl-NL" altLang="en-US" sz="1200" smtClean="0">
                <a:solidFill>
                  <a:schemeClr val="tx1"/>
                </a:solidFill>
                <a:latin typeface="+mn-lt"/>
              </a:rPr>
              <a:pPr/>
              <a:t>2019</a:t>
            </a:fld>
            <a:endParaRPr lang="nl-NL" sz="1200" noProof="0" dirty="0">
              <a:solidFill>
                <a:schemeClr val="tx1"/>
              </a:solidFill>
              <a:latin typeface="+mn-lt"/>
            </a:endParaRPr>
          </a:p>
        </p:txBody>
      </p:sp>
      <p:graphicFrame>
        <p:nvGraphicFramePr>
          <p:cNvPr id="210" name="Chart 209">
            <a:extLst>
              <a:ext uri="{FF2B5EF4-FFF2-40B4-BE49-F238E27FC236}">
                <a16:creationId xmlns:a16="http://schemas.microsoft.com/office/drawing/2014/main" id="{F3BA47BA-AAAA-46B5-A0F9-E80A847205A1}"/>
              </a:ext>
            </a:extLst>
          </p:cNvPr>
          <p:cNvGraphicFramePr/>
          <p:nvPr>
            <p:custDataLst>
              <p:tags r:id="rId19"/>
            </p:custDataLst>
            <p:extLst>
              <p:ext uri="{D42A27DB-BD31-4B8C-83A1-F6EECF244321}">
                <p14:modId xmlns:p14="http://schemas.microsoft.com/office/powerpoint/2010/main" val="1070071563"/>
              </p:ext>
            </p:extLst>
          </p:nvPr>
        </p:nvGraphicFramePr>
        <p:xfrm>
          <a:off x="7234238" y="2241550"/>
          <a:ext cx="2413000" cy="1079500"/>
        </p:xfrm>
        <a:graphic>
          <a:graphicData uri="http://schemas.openxmlformats.org/drawingml/2006/chart">
            <c:chart xmlns:c="http://schemas.openxmlformats.org/drawingml/2006/chart" xmlns:r="http://schemas.openxmlformats.org/officeDocument/2006/relationships" r:id="rId34"/>
          </a:graphicData>
        </a:graphic>
      </p:graphicFrame>
      <p:sp>
        <p:nvSpPr>
          <p:cNvPr id="110" name="Content 1">
            <a:extLst>
              <a:ext uri="{FF2B5EF4-FFF2-40B4-BE49-F238E27FC236}">
                <a16:creationId xmlns:a16="http://schemas.microsoft.com/office/drawing/2014/main" id="{56606B09-7598-40F0-9957-3C0B96BA96C6}"/>
              </a:ext>
            </a:extLst>
          </p:cNvPr>
          <p:cNvSpPr>
            <a:spLocks noGrp="1"/>
          </p:cNvSpPr>
          <p:nvPr>
            <p:custDataLst>
              <p:tags r:id="rId20"/>
            </p:custDataLst>
          </p:nvPr>
        </p:nvSpPr>
        <p:spPr bwMode="auto">
          <a:xfrm>
            <a:off x="7907339" y="328930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9FD39F-969B-41AB-8572-460B83C7CF60}"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111" name="Content 1">
            <a:extLst>
              <a:ext uri="{FF2B5EF4-FFF2-40B4-BE49-F238E27FC236}">
                <a16:creationId xmlns:a16="http://schemas.microsoft.com/office/drawing/2014/main" id="{3FEEB504-99E9-4064-9F21-DBE92747A9F5}"/>
              </a:ext>
            </a:extLst>
          </p:cNvPr>
          <p:cNvSpPr>
            <a:spLocks noGrp="1"/>
          </p:cNvSpPr>
          <p:nvPr>
            <p:custDataLst>
              <p:tags r:id="rId21"/>
            </p:custDataLst>
          </p:nvPr>
        </p:nvSpPr>
        <p:spPr bwMode="auto">
          <a:xfrm>
            <a:off x="8285163" y="328930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777AEA6-F515-4475-8AAF-6A0291E24C76}"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112" name="Content 1">
            <a:extLst>
              <a:ext uri="{FF2B5EF4-FFF2-40B4-BE49-F238E27FC236}">
                <a16:creationId xmlns:a16="http://schemas.microsoft.com/office/drawing/2014/main" id="{2FC5CAC3-3471-4106-A490-C8B8EA6EFE1F}"/>
              </a:ext>
            </a:extLst>
          </p:cNvPr>
          <p:cNvSpPr>
            <a:spLocks noGrp="1"/>
          </p:cNvSpPr>
          <p:nvPr>
            <p:custDataLst>
              <p:tags r:id="rId22"/>
            </p:custDataLst>
          </p:nvPr>
        </p:nvSpPr>
        <p:spPr bwMode="auto">
          <a:xfrm>
            <a:off x="8670925" y="328930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C237959-34C1-4DB9-895F-EFA0E80B0439}" type="datetime'''''''''2''01''''''''''''''''''9'''''''">
              <a:rPr lang="nl-NL" altLang="en-US" sz="1200" smtClean="0">
                <a:solidFill>
                  <a:schemeClr val="tx1"/>
                </a:solidFill>
                <a:latin typeface="+mn-lt"/>
              </a:rPr>
              <a:pPr/>
              <a:t>2019</a:t>
            </a:fld>
            <a:endParaRPr lang="nl-NL" sz="1200" noProof="0" dirty="0">
              <a:solidFill>
                <a:schemeClr val="tx1"/>
              </a:solidFill>
              <a:latin typeface="+mn-lt"/>
            </a:endParaRPr>
          </a:p>
        </p:txBody>
      </p:sp>
      <p:graphicFrame>
        <p:nvGraphicFramePr>
          <p:cNvPr id="211" name="Chart 210">
            <a:extLst>
              <a:ext uri="{FF2B5EF4-FFF2-40B4-BE49-F238E27FC236}">
                <a16:creationId xmlns:a16="http://schemas.microsoft.com/office/drawing/2014/main" id="{639C73F3-94A4-4ABC-9C23-BC4CA38453ED}"/>
              </a:ext>
            </a:extLst>
          </p:cNvPr>
          <p:cNvGraphicFramePr/>
          <p:nvPr>
            <p:custDataLst>
              <p:tags r:id="rId23"/>
            </p:custDataLst>
            <p:extLst>
              <p:ext uri="{D42A27DB-BD31-4B8C-83A1-F6EECF244321}">
                <p14:modId xmlns:p14="http://schemas.microsoft.com/office/powerpoint/2010/main" val="1612613996"/>
              </p:ext>
            </p:extLst>
          </p:nvPr>
        </p:nvGraphicFramePr>
        <p:xfrm>
          <a:off x="9342438" y="2241550"/>
          <a:ext cx="2389187" cy="1079500"/>
        </p:xfrm>
        <a:graphic>
          <a:graphicData uri="http://schemas.openxmlformats.org/drawingml/2006/chart">
            <c:chart xmlns:c="http://schemas.openxmlformats.org/drawingml/2006/chart" xmlns:r="http://schemas.openxmlformats.org/officeDocument/2006/relationships" r:id="rId35"/>
          </a:graphicData>
        </a:graphic>
      </p:graphicFrame>
      <p:sp>
        <p:nvSpPr>
          <p:cNvPr id="115" name="Content 1">
            <a:extLst>
              <a:ext uri="{FF2B5EF4-FFF2-40B4-BE49-F238E27FC236}">
                <a16:creationId xmlns:a16="http://schemas.microsoft.com/office/drawing/2014/main" id="{BBF3989F-C609-43E3-8290-67E996D74202}"/>
              </a:ext>
            </a:extLst>
          </p:cNvPr>
          <p:cNvSpPr>
            <a:spLocks noGrp="1"/>
          </p:cNvSpPr>
          <p:nvPr>
            <p:custDataLst>
              <p:tags r:id="rId24"/>
            </p:custDataLst>
          </p:nvPr>
        </p:nvSpPr>
        <p:spPr bwMode="auto">
          <a:xfrm>
            <a:off x="9945689" y="3289300"/>
            <a:ext cx="2952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F59F2A1-A504-4D28-866D-4B55C139EA23}" type="datetime'2''''''''''''''''''0''''''1''''''7'''''''''">
              <a:rPr lang="nl-NL" altLang="en-US" sz="1200" smtClean="0">
                <a:solidFill>
                  <a:schemeClr val="tx1"/>
                </a:solidFill>
                <a:latin typeface="+mn-lt"/>
              </a:rPr>
              <a:pPr/>
              <a:t>2017</a:t>
            </a:fld>
            <a:endParaRPr lang="nl-NL" sz="1200" noProof="0" dirty="0">
              <a:solidFill>
                <a:schemeClr val="tx1"/>
              </a:solidFill>
              <a:latin typeface="+mn-lt"/>
            </a:endParaRPr>
          </a:p>
        </p:txBody>
      </p:sp>
      <p:sp>
        <p:nvSpPr>
          <p:cNvPr id="116" name="Content 1">
            <a:extLst>
              <a:ext uri="{FF2B5EF4-FFF2-40B4-BE49-F238E27FC236}">
                <a16:creationId xmlns:a16="http://schemas.microsoft.com/office/drawing/2014/main" id="{CB5CAF2A-0301-4BAC-8A6A-0A9B2611698F}"/>
              </a:ext>
            </a:extLst>
          </p:cNvPr>
          <p:cNvSpPr>
            <a:spLocks noGrp="1"/>
          </p:cNvSpPr>
          <p:nvPr>
            <p:custDataLst>
              <p:tags r:id="rId25"/>
            </p:custDataLst>
          </p:nvPr>
        </p:nvSpPr>
        <p:spPr bwMode="auto">
          <a:xfrm>
            <a:off x="10379075" y="3289300"/>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A4AF72-F67F-4A35-8DAA-49B1FD901CAA}" type="datetime'''''''''''''''''20''''''''1''''8'''''''''''''''''">
              <a:rPr lang="nl-NL" altLang="en-US" sz="1200" smtClean="0">
                <a:solidFill>
                  <a:schemeClr val="tx1"/>
                </a:solidFill>
                <a:latin typeface="+mn-lt"/>
              </a:rPr>
              <a:pPr/>
              <a:t>2018</a:t>
            </a:fld>
            <a:endParaRPr lang="nl-NL" sz="1200" noProof="0" dirty="0">
              <a:solidFill>
                <a:schemeClr val="tx1"/>
              </a:solidFill>
              <a:latin typeface="+mn-lt"/>
            </a:endParaRPr>
          </a:p>
        </p:txBody>
      </p:sp>
      <p:sp>
        <p:nvSpPr>
          <p:cNvPr id="114" name="Content 1">
            <a:extLst>
              <a:ext uri="{FF2B5EF4-FFF2-40B4-BE49-F238E27FC236}">
                <a16:creationId xmlns:a16="http://schemas.microsoft.com/office/drawing/2014/main" id="{F8F94188-F62A-45BB-A7E8-4E74563C5EAC}"/>
              </a:ext>
            </a:extLst>
          </p:cNvPr>
          <p:cNvSpPr>
            <a:spLocks noGrp="1"/>
          </p:cNvSpPr>
          <p:nvPr>
            <p:custDataLst>
              <p:tags r:id="rId26"/>
            </p:custDataLst>
          </p:nvPr>
        </p:nvSpPr>
        <p:spPr bwMode="auto">
          <a:xfrm>
            <a:off x="10820400" y="328930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19D397D-D9BC-4A90-B69A-FEB077ABDF77}" type="datetime'20''''''''''''''''''''''''''''1''''''9'''''''''''''">
              <a:rPr lang="nl-NL" altLang="en-US" sz="1200" smtClean="0">
                <a:solidFill>
                  <a:schemeClr val="tx1"/>
                </a:solidFill>
                <a:latin typeface="+mn-lt"/>
              </a:rPr>
              <a:pPr/>
              <a:t>2019</a:t>
            </a:fld>
            <a:endParaRPr lang="nl-NL" sz="1200" noProof="0" dirty="0">
              <a:solidFill>
                <a:schemeClr val="tx1"/>
              </a:solidFill>
              <a:latin typeface="+mn-lt"/>
            </a:endParaRPr>
          </a:p>
        </p:txBody>
      </p:sp>
      <p:sp>
        <p:nvSpPr>
          <p:cNvPr id="133" name="Equals 132">
            <a:extLst>
              <a:ext uri="{FF2B5EF4-FFF2-40B4-BE49-F238E27FC236}">
                <a16:creationId xmlns:a16="http://schemas.microsoft.com/office/drawing/2014/main" id="{8B41F603-8F4B-47E8-9E76-16821A074C4A}"/>
              </a:ext>
            </a:extLst>
          </p:cNvPr>
          <p:cNvSpPr/>
          <p:nvPr/>
        </p:nvSpPr>
        <p:spPr>
          <a:xfrm>
            <a:off x="7335838" y="4891088"/>
            <a:ext cx="360363" cy="292100"/>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5" name="Minus Sign 134">
            <a:extLst>
              <a:ext uri="{FF2B5EF4-FFF2-40B4-BE49-F238E27FC236}">
                <a16:creationId xmlns:a16="http://schemas.microsoft.com/office/drawing/2014/main" id="{680820B4-54EF-4F14-8A14-7FCC024D8EA6}"/>
              </a:ext>
            </a:extLst>
          </p:cNvPr>
          <p:cNvSpPr/>
          <p:nvPr/>
        </p:nvSpPr>
        <p:spPr>
          <a:xfrm>
            <a:off x="9347199" y="4835525"/>
            <a:ext cx="325438" cy="325438"/>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6" name="Equals 135">
            <a:extLst>
              <a:ext uri="{FF2B5EF4-FFF2-40B4-BE49-F238E27FC236}">
                <a16:creationId xmlns:a16="http://schemas.microsoft.com/office/drawing/2014/main" id="{1E5C5C38-F80B-4462-97D0-0FD3A739EF8B}"/>
              </a:ext>
            </a:extLst>
          </p:cNvPr>
          <p:cNvSpPr/>
          <p:nvPr/>
        </p:nvSpPr>
        <p:spPr>
          <a:xfrm>
            <a:off x="7339432" y="2662238"/>
            <a:ext cx="359523" cy="290513"/>
          </a:xfrm>
          <a:prstGeom prst="mathEqual">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7" name="Minus Sign 136">
            <a:extLst>
              <a:ext uri="{FF2B5EF4-FFF2-40B4-BE49-F238E27FC236}">
                <a16:creationId xmlns:a16="http://schemas.microsoft.com/office/drawing/2014/main" id="{1964683C-B893-4767-9D66-1EF3C31B5A0A}"/>
              </a:ext>
            </a:extLst>
          </p:cNvPr>
          <p:cNvSpPr/>
          <p:nvPr/>
        </p:nvSpPr>
        <p:spPr>
          <a:xfrm>
            <a:off x="9350796" y="2606675"/>
            <a:ext cx="324427" cy="323850"/>
          </a:xfrm>
          <a:prstGeom prst="mathMinus">
            <a:avLst/>
          </a:prstGeom>
          <a:solidFill>
            <a:srgbClr val="8C8C8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TextBox 11">
            <a:extLst>
              <a:ext uri="{FF2B5EF4-FFF2-40B4-BE49-F238E27FC236}">
                <a16:creationId xmlns:a16="http://schemas.microsoft.com/office/drawing/2014/main" id="{5261C413-805F-4181-B2E3-F6114FDC7D85}"/>
              </a:ext>
            </a:extLst>
          </p:cNvPr>
          <p:cNvSpPr txBox="1"/>
          <p:nvPr/>
        </p:nvSpPr>
        <p:spPr>
          <a:xfrm>
            <a:off x="5689600" y="4176713"/>
            <a:ext cx="914400" cy="914400"/>
          </a:xfrm>
          <a:prstGeom prst="rect">
            <a:avLst/>
          </a:prstGeom>
        </p:spPr>
        <p:txBody>
          <a:bodyPr vert="horz" wrap="none" lIns="91440" tIns="45720" rIns="91440" bIns="45720" rtlCol="0">
            <a:noAutofit/>
          </a:bodyPr>
          <a:lstStyle/>
          <a:p>
            <a:pPr marL="0" indent="0" algn="l">
              <a:buNone/>
            </a:pPr>
            <a:r>
              <a:rPr lang="nl-NL" b="1" noProof="0" dirty="0"/>
              <a:t>Werkelijk tekort</a:t>
            </a:r>
          </a:p>
        </p:txBody>
      </p:sp>
      <p:sp>
        <p:nvSpPr>
          <p:cNvPr id="130" name="TextBox 129">
            <a:extLst>
              <a:ext uri="{FF2B5EF4-FFF2-40B4-BE49-F238E27FC236}">
                <a16:creationId xmlns:a16="http://schemas.microsoft.com/office/drawing/2014/main" id="{167C2477-75AE-48F7-87BD-D6DD8F235E0C}"/>
              </a:ext>
            </a:extLst>
          </p:cNvPr>
          <p:cNvSpPr txBox="1"/>
          <p:nvPr/>
        </p:nvSpPr>
        <p:spPr>
          <a:xfrm>
            <a:off x="7685087" y="4176713"/>
            <a:ext cx="914400" cy="914400"/>
          </a:xfrm>
          <a:prstGeom prst="rect">
            <a:avLst/>
          </a:prstGeom>
        </p:spPr>
        <p:txBody>
          <a:bodyPr vert="horz" wrap="none" lIns="91440" tIns="45720" rIns="91440" bIns="45720" rtlCol="0">
            <a:noAutofit/>
          </a:bodyPr>
          <a:lstStyle/>
          <a:p>
            <a:pPr marL="0" indent="0" algn="l">
              <a:buNone/>
            </a:pPr>
            <a:r>
              <a:rPr lang="nl-NL" b="1" noProof="0" dirty="0"/>
              <a:t>Inkomsten</a:t>
            </a:r>
          </a:p>
        </p:txBody>
      </p:sp>
      <p:sp>
        <p:nvSpPr>
          <p:cNvPr id="131" name="TextBox 130">
            <a:extLst>
              <a:ext uri="{FF2B5EF4-FFF2-40B4-BE49-F238E27FC236}">
                <a16:creationId xmlns:a16="http://schemas.microsoft.com/office/drawing/2014/main" id="{6C56C28C-83FC-4E1F-BEE5-308180B8805A}"/>
              </a:ext>
            </a:extLst>
          </p:cNvPr>
          <p:cNvSpPr txBox="1"/>
          <p:nvPr/>
        </p:nvSpPr>
        <p:spPr>
          <a:xfrm>
            <a:off x="9680574" y="4176713"/>
            <a:ext cx="914400" cy="914400"/>
          </a:xfrm>
          <a:prstGeom prst="rect">
            <a:avLst/>
          </a:prstGeom>
        </p:spPr>
        <p:txBody>
          <a:bodyPr vert="horz" wrap="none" lIns="91440" tIns="45720" rIns="91440" bIns="45720" rtlCol="0">
            <a:noAutofit/>
          </a:bodyPr>
          <a:lstStyle/>
          <a:p>
            <a:pPr marL="0" indent="0" algn="l">
              <a:buNone/>
            </a:pPr>
            <a:r>
              <a:rPr lang="nl-NL" b="1" noProof="0" dirty="0"/>
              <a:t>Uitgaven</a:t>
            </a:r>
          </a:p>
        </p:txBody>
      </p:sp>
      <p:sp>
        <p:nvSpPr>
          <p:cNvPr id="132" name="TextBox 131">
            <a:extLst>
              <a:ext uri="{FF2B5EF4-FFF2-40B4-BE49-F238E27FC236}">
                <a16:creationId xmlns:a16="http://schemas.microsoft.com/office/drawing/2014/main" id="{F6E00D4E-D67A-4AB4-99F7-5364DBCA7AE1}"/>
              </a:ext>
            </a:extLst>
          </p:cNvPr>
          <p:cNvSpPr txBox="1"/>
          <p:nvPr/>
        </p:nvSpPr>
        <p:spPr>
          <a:xfrm>
            <a:off x="5689600" y="1916113"/>
            <a:ext cx="914400" cy="914400"/>
          </a:xfrm>
          <a:prstGeom prst="rect">
            <a:avLst/>
          </a:prstGeom>
        </p:spPr>
        <p:txBody>
          <a:bodyPr vert="horz" wrap="none" lIns="91440" tIns="45720" rIns="91440" bIns="45720" rtlCol="0">
            <a:noAutofit/>
          </a:bodyPr>
          <a:lstStyle/>
          <a:p>
            <a:pPr marL="0" indent="0" algn="l">
              <a:buNone/>
            </a:pPr>
            <a:r>
              <a:rPr lang="nl-NL" b="1" noProof="0" dirty="0"/>
              <a:t>Tekort op begroting</a:t>
            </a:r>
          </a:p>
        </p:txBody>
      </p:sp>
      <p:sp>
        <p:nvSpPr>
          <p:cNvPr id="138" name="TextBox 137">
            <a:extLst>
              <a:ext uri="{FF2B5EF4-FFF2-40B4-BE49-F238E27FC236}">
                <a16:creationId xmlns:a16="http://schemas.microsoft.com/office/drawing/2014/main" id="{B681379B-02D5-4B7F-8F1F-A6D969393485}"/>
              </a:ext>
            </a:extLst>
          </p:cNvPr>
          <p:cNvSpPr txBox="1"/>
          <p:nvPr/>
        </p:nvSpPr>
        <p:spPr>
          <a:xfrm>
            <a:off x="7685087" y="1916113"/>
            <a:ext cx="914400" cy="914400"/>
          </a:xfrm>
          <a:prstGeom prst="rect">
            <a:avLst/>
          </a:prstGeom>
        </p:spPr>
        <p:txBody>
          <a:bodyPr vert="horz" wrap="none" lIns="91440" tIns="45720" rIns="91440" bIns="45720" rtlCol="0">
            <a:noAutofit/>
          </a:bodyPr>
          <a:lstStyle/>
          <a:p>
            <a:pPr marL="0" indent="0" algn="l">
              <a:buNone/>
            </a:pPr>
            <a:r>
              <a:rPr lang="nl-NL" b="1" noProof="0" dirty="0"/>
              <a:t>Begroting</a:t>
            </a:r>
          </a:p>
        </p:txBody>
      </p:sp>
      <p:sp>
        <p:nvSpPr>
          <p:cNvPr id="139" name="TextBox 138">
            <a:extLst>
              <a:ext uri="{FF2B5EF4-FFF2-40B4-BE49-F238E27FC236}">
                <a16:creationId xmlns:a16="http://schemas.microsoft.com/office/drawing/2014/main" id="{349E83C1-6F27-4B78-89D7-5010454528CC}"/>
              </a:ext>
            </a:extLst>
          </p:cNvPr>
          <p:cNvSpPr txBox="1"/>
          <p:nvPr/>
        </p:nvSpPr>
        <p:spPr>
          <a:xfrm>
            <a:off x="9680574" y="1916113"/>
            <a:ext cx="914400" cy="914400"/>
          </a:xfrm>
          <a:prstGeom prst="rect">
            <a:avLst/>
          </a:prstGeom>
        </p:spPr>
        <p:txBody>
          <a:bodyPr vert="horz" wrap="none" lIns="91440" tIns="45720" rIns="91440" bIns="45720" rtlCol="0">
            <a:noAutofit/>
          </a:bodyPr>
          <a:lstStyle/>
          <a:p>
            <a:pPr marL="0" indent="0" algn="l">
              <a:buNone/>
            </a:pPr>
            <a:r>
              <a:rPr lang="nl-NL" b="1" noProof="0" dirty="0"/>
              <a:t>Uitgaven</a:t>
            </a:r>
          </a:p>
        </p:txBody>
      </p:sp>
      <p:sp>
        <p:nvSpPr>
          <p:cNvPr id="40" name="TextBox 39">
            <a:extLst>
              <a:ext uri="{FF2B5EF4-FFF2-40B4-BE49-F238E27FC236}">
                <a16:creationId xmlns:a16="http://schemas.microsoft.com/office/drawing/2014/main" id="{A36EBA3F-3FCF-47E1-A6EC-2DD9D5C2BC7B}"/>
              </a:ext>
            </a:extLst>
          </p:cNvPr>
          <p:cNvSpPr txBox="1"/>
          <p:nvPr/>
        </p:nvSpPr>
        <p:spPr>
          <a:xfrm>
            <a:off x="5801519" y="3494088"/>
            <a:ext cx="4059238" cy="277038"/>
          </a:xfrm>
          <a:prstGeom prst="rect">
            <a:avLst/>
          </a:prstGeom>
        </p:spPr>
        <p:txBody>
          <a:bodyPr vert="horz" wrap="none" lIns="91440" tIns="45720" rIns="91440" bIns="45720" rtlCol="0" anchor="t">
            <a:noAutofit/>
          </a:bodyPr>
          <a:lstStyle/>
          <a:p>
            <a:pPr marL="0" indent="0" algn="l">
              <a:buNone/>
            </a:pPr>
            <a:r>
              <a:rPr lang="nl-NL" sz="1200" i="1" noProof="0" dirty="0"/>
              <a:t>Alleen maatwerkvoorzieningen in deze cijfers meegenomen!</a:t>
            </a:r>
          </a:p>
        </p:txBody>
      </p:sp>
      <p:sp>
        <p:nvSpPr>
          <p:cNvPr id="212" name="TextBox 211">
            <a:extLst>
              <a:ext uri="{FF2B5EF4-FFF2-40B4-BE49-F238E27FC236}">
                <a16:creationId xmlns:a16="http://schemas.microsoft.com/office/drawing/2014/main" id="{A3798648-9CA5-4643-A3C4-1AA3D75AA15C}"/>
              </a:ext>
            </a:extLst>
          </p:cNvPr>
          <p:cNvSpPr txBox="1"/>
          <p:nvPr/>
        </p:nvSpPr>
        <p:spPr>
          <a:xfrm>
            <a:off x="5801519" y="6008306"/>
            <a:ext cx="5272088" cy="277038"/>
          </a:xfrm>
          <a:prstGeom prst="rect">
            <a:avLst/>
          </a:prstGeom>
        </p:spPr>
        <p:txBody>
          <a:bodyPr vert="horz" wrap="none" lIns="91440" tIns="45720" rIns="91440" bIns="45720" rtlCol="0" anchor="t">
            <a:noAutofit/>
          </a:bodyPr>
          <a:lstStyle/>
          <a:p>
            <a:pPr marL="0" indent="0" algn="l">
              <a:buNone/>
            </a:pPr>
            <a:r>
              <a:rPr lang="nl-NL" sz="1200" i="1" noProof="0" dirty="0"/>
              <a:t>Zowel maatwerkvoorzieningen als extra kosten </a:t>
            </a:r>
            <a:r>
              <a:rPr lang="nl-NL" sz="1200" i="1" noProof="0" dirty="0" err="1"/>
              <a:t>voorveld</a:t>
            </a:r>
            <a:r>
              <a:rPr lang="nl-NL" sz="1200" i="1" noProof="0" dirty="0"/>
              <a:t> in deze cijfers meegenomen!</a:t>
            </a:r>
          </a:p>
        </p:txBody>
      </p:sp>
      <p:sp>
        <p:nvSpPr>
          <p:cNvPr id="67" name="TextBox 66">
            <a:extLst>
              <a:ext uri="{FF2B5EF4-FFF2-40B4-BE49-F238E27FC236}">
                <a16:creationId xmlns:a16="http://schemas.microsoft.com/office/drawing/2014/main" id="{FD5AB188-23BD-4EC9-BCDA-8DDE9F9710BB}"/>
              </a:ext>
            </a:extLst>
          </p:cNvPr>
          <p:cNvSpPr txBox="1"/>
          <p:nvPr/>
        </p:nvSpPr>
        <p:spPr>
          <a:xfrm>
            <a:off x="662780" y="180859"/>
            <a:ext cx="4706174" cy="204017"/>
          </a:xfrm>
          <a:prstGeom prst="rect">
            <a:avLst/>
          </a:prstGeom>
        </p:spPr>
        <p:txBody>
          <a:bodyPr vert="horz" wrap="none" lIns="0" tIns="0" rIns="0" bIns="0" rtlCol="0">
            <a:noAutofit/>
          </a:bodyPr>
          <a:lstStyle/>
          <a:p>
            <a:pPr marL="0" indent="0" algn="l">
              <a:buNone/>
            </a:pPr>
            <a:r>
              <a:rPr lang="nl-NL" sz="1400" b="1" dirty="0">
                <a:solidFill>
                  <a:schemeClr val="tx2"/>
                </a:solidFill>
              </a:rPr>
              <a:t>Tekorten per gemeente: detail één gemeente</a:t>
            </a:r>
            <a:endParaRPr lang="nl-NL" b="1" noProof="0" dirty="0">
              <a:solidFill>
                <a:schemeClr val="tx2"/>
              </a:solidFill>
            </a:endParaRPr>
          </a:p>
        </p:txBody>
      </p:sp>
    </p:spTree>
    <p:extLst>
      <p:ext uri="{BB962C8B-B14F-4D97-AF65-F5344CB8AC3E}">
        <p14:creationId xmlns:p14="http://schemas.microsoft.com/office/powerpoint/2010/main" val="2203467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0&quot;&gt;&lt;elem m_fUsage=&quot;2.07740895698396510483E+00&quot;&gt;&lt;m_msothmcolidx val=&quot;0&quot;/&gt;&lt;m_rgb r=&quot;BF&quot; g=&quot;21&quot; b=&quot;1E&quot;/&gt;&lt;/elem&gt;&lt;elem m_fUsage=&quot;1.92468185800293589693E+00&quot;&gt;&lt;m_msothmcolidx val=&quot;0&quot;/&gt;&lt;m_rgb r=&quot;EC&quot; g=&quot;62&quot; b=&quot;24&quot;/&gt;&lt;/elem&gt;&lt;elem m_fUsage=&quot;1.23090082098623732065E+00&quot;&gt;&lt;m_msothmcolidx val=&quot;0&quot;/&gt;&lt;m_rgb r=&quot;FF&quot; g=&quot;BD&quot; b=&quot;42&quot;/&gt;&lt;/elem&gt;&lt;elem m_fUsage=&quot;1.22985972610729388244E+00&quot;&gt;&lt;m_msothmcolidx val=&quot;0&quot;/&gt;&lt;m_rgb r=&quot;17&quot; g=&quot;72&quot; b=&quot;2B&quot;/&gt;&lt;/elem&gt;&lt;elem m_fUsage=&quot;1.12381059609000022448E+00&quot;&gt;&lt;m_msothmcolidx val=&quot;0&quot;/&gt;&lt;m_rgb r=&quot;FF&quot; g=&quot;E8&quot; b=&quot;BA&quot;/&gt;&lt;/elem&gt;&lt;elem m_fUsage=&quot;1.03815204244769465625E+00&quot;&gt;&lt;m_msothmcolidx val=&quot;0&quot;/&gt;&lt;m_rgb r=&quot;59&quot; g=&quot;94&quot; b=&quot;3A&quot;/&gt;&lt;/elem&gt;&lt;elem m_fUsage=&quot;3.87420489000000145552E-01&quot;&gt;&lt;m_msothmcolidx val=&quot;0&quot;/&gt;&lt;m_rgb r=&quot;AC&quot; g=&quot;87&quot; b=&quot;FA&quot;/&gt;&lt;/elem&gt;&lt;elem m_fUsage=&quot;3.83350389213221787177E-01&quot;&gt;&lt;m_msothmcolidx val=&quot;0&quot;/&gt;&lt;m_rgb r=&quot;FF&quot; g=&quot;E0&quot; b=&quot;A6&quot;/&gt;&lt;/elem&gt;&lt;elem m_fUsage=&quot;2.52992419067111562470E-01&quot;&gt;&lt;m_msothmcolidx val=&quot;0&quot;/&gt;&lt;m_rgb r=&quot;FF&quot; g=&quot;D3&quot; b=&quot;6E&quot;/&gt;&lt;/elem&gt;&lt;elem m_fUsage=&quot;4.23911582752162438559E-02&quot;&gt;&lt;m_msothmcolidx val=&quot;0&quot;/&gt;&lt;m_rgb r=&quot;DB&quot; g=&quot;DB&quot; b=&quot;D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kIeaKi1EzzxA3HKDeVZ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QdSQdexqzcjZyo6np5.R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3.0m6K7Orjiv8DkCrG_q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DPWPjYauJuRlgav_Oj3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pFvNYCJA0q1mSaQEGYU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zG_5vp_yLym3XczD4SY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xR4EC7ygOjLpzjMv3kJ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7Sq6VEZtVRdz_otLmK38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q1M1BCQb6CwupulZ72a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PzPzTTNaHnpyaOHpZE75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TSJsVyKmPUtxLunKycu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_lVXlfyYkS65tlx8QyYd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0dHNpTBvKXcDmTs6H6lj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IIrf1R.K0_w14_JlJee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xinOa52LR0rtVYtcKMJ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qPPc9VghElmNRSC3TNa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SXP50AbavZOiA2C1vgC3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Ffoa14I1uSfFMsu0D7Q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O9hqSiVYY31Xg1C14Fts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GkPd5UaJ_HPjqXPziY3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pMVjRumeAVcYlSN9b2hy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A5KIwmW0Mh0f4K5XkAQM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Wj_R2.rH0e.gT29M5HLs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0UJU_98Xhl0_1lNhLDG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nUM5thO8cxf1sv2Rcbzv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tZq9ghOTXem2fAMuUWK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2koz3ejRm0_1XxoYcN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E8U2pRj9h03_U92OQEOv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LnaXZzn8PDEzGSqdfm7R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Gi1Z4TOiiyApg9HRgYr3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0x2uLfCTZfHMTULQ8aYo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el_kdzZIwcEO86WBY0j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m49dpe7HiwCFb52DBbl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8RE4iJJuG2cqJbAGj8M5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bNS18eKdrugZi1zwTFc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RYYAgLxsMc4mV9yMHm19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SNrx8GGc7XPAFWxAtO8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KuzvrotXPfVgoFyGwrSn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8uuPBfzjmI1fdhP47_L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N2HbM51ap26YLNBe6dvr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dx7u_LZFDC3O_B3yoV5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4XcP6.gJbffG4yn07KEI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JNQ0StwjDgykZ6AMgIxY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BkW_jN773fTcHWpxRaoI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jschuqDfEENzaSUu4IQB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7OCE77NURdqjzX8xXg7I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cIWGoFXLDGD1xQ_i7WU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g1nCzibhhapPeX3NrMK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9k3zuvszdNi0OX2CgChd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8t5xVo02zi1NPFZa5dpX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IG927Tdc_MCLRnz_xfR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Fyvy9iomjklLueeqaSOe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VCeL_Myg8Ylkj2sBxiWQ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tLLo8v9ogkhEVEYk.CQ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eK2zGjBONUhTrmspiFa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wsneiTNiMhL7on6_Mydq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B4GdkJweq9d3JVpOvCh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cLnuFmQfeBxbtxGtJHh_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dMJ9UdXlP64jgGnvaeM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ob1xHyFrQ02AlW_5Up9C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540RSsl_ShAwrKO26Ea9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VksPDsB6qUW79WDlM3MW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lJYv4BLbkxfmqBBcbNqo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8E0aiDio3clOe3mtoML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AQ_c_YCBUF50Pf3ajfZU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Repe5rhxKXjtK5Fy.LAc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VfJG_7_.ZWkEjcwD5I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tjBriKbcZ_fJkSE60OD8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zOCSTFJoA_7NGhIfPNX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bkhShojlsVKUFsMAc7m2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Sr_9KsSCqdW4IzjXiz4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r30_WZs4ATBzm1aaWSst7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KHI6M5dldAWNT.J20lQ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uyTcoZtsN7J5D5hTct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crzwKXripAuOSIPuw2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W5_8eIKS1mq8I1rf6z93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1i.iz8ajAMofxSoCSO.p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CaOhEEG0Ftinfv2avR4z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cyTpjPbkDrgW6peqYBJ.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LG521BQO8aI4NrPs.WBd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k7EfSLuHu_GY.sko8G.H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UuCMGr7mrjNnPU67IQ5P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fvizTLFNlqRB7ZtFRA1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aOD.IEVK9Mo3WOEsbtnP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atDi8pXq2pzSL80vtbV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ami8j6cEEGB41EIZildW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Kk6TeCizVb11Enh3OxEk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8UrOMaSYOqOSkZfs3kH1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T9rvguJ5ea8ZPbXxp35L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aedOxP2pTpgT9l97Eg1r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Oj3VIasTHEb38D.fAaqj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aEj2uN4U6ok1jSbVnC_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4a4y3Uh.T9PCEmYb7cv1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9B4EjCKnafSiC1M8tWp9Q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zZeZuvTwyU_SJQBifQR6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ajpyc_jYo0mKh3CnNoDs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VCeL_Myg8Ylkj2sBxiWQ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cLnuFmQfeBxbtxGtJHh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B4GdkJweq9d3JVpOvChY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dMJ9UdXlP64jgGnvaeME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540RSsl_ShAwrKO26Ea9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ob1xHyFrQ02AlW_5Up9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tLLo8v9ogkhEVEYk.CQ6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eK2zGjBONUhTrmspiFa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VksPDsB6qUW79WDlM3MW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qlJYv4BLbkxfmqBBcbNqo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wsneiTNiMhL7on6_Myd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8E0aiDio3clOe3mtoMLm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AQ_c_YCBUF50Pf3ajfZU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Repe5rhxKXjtK5Fy.LA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VfJG_7_.ZWkEjcwD5I7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aTPJ0ZKmlBuqRcPRswY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1Pn3RvFGJGSuNqmUqYBr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3aEFImP1asU8hE00CpTY1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86anwng2n.vKTJmQPOmT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iMl5HM1qSCxsS6e0SIGm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a.y2_rzQI3gnmE6h.WBP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EIsT36ph6mfaIBZABw0s9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XfcAEMZ6iDEFmcm2BwM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d7VR0_EtKva3YQ8q8cO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xhtO1ITVx3BxgOGf8CrU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3yI2GBYEn5kVqKKKfxK5m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2zHcjAuKIC6P9htTeVB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O5x6gUPfX2oCP65LKWK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aauAPO8yp2eGMXzE7w8J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4scB.rj.dSQ5IrEzi9ENk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nqwbSJ5owrEYbbDrHdGQ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D2tpHNv6h9FEj5uVfgFJ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6GksPsggbp8O9BvYlX70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qeHFM5gFc77PpiFNvMU6X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O1ngsSeqvVDXYU5fhJI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5HX92WcEQNFKSXgO.aUlo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xu3.p04CEjAYZKN3VlmE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ux_U9zMuqU7O_KMEalWM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6t_OTGZsAjybtoGCTHowp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c_kVIQ1qEAc2BdyM_RUli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RiYsc7KbiJy8TNt_WFz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cub9Wfp5vMSlDdJNPnUt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cKpJQYBnPzD0PwzZ9peb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YVIGfMGpw3yK9GMEZVek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if1LTQ0J0SEMMjqXyTW4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AhxijEwqdLxaNvjv1CDK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yLSSsPSah85Dx2oWXsMT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d.hfe06mxOgaXZFGbDsxz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zm_bfTof4PxbalGk1Y5V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2wUqYBkijiHkqxHChDSlc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yYrSfHlDw6ufLvoIX85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ZHs0vEpU5eqO7cyh0WqU2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0QrxP4UilkcqvrOoZvlC1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wCIkKr.pX2fHKepQe3Sc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G7Nle.iOVGl5GStiIgm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WmAciOltDNDp9cVaMTtXj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JS3wuQV5znpY9yCrMwkI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GRq7j9sx_jWaoR86pfPg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zyKxbtwewyVvp0HpXlBO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Ddd80PKXGG1e9zPJoNlv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Gh1Pm_wupnV.4Ckv6Fr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9jwph62.fT10MqTSG9pVO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aNlUqCrSIXAcFuu6MWJO2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DU2SrN_1WzMabuSEKKlm_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xBP_GcVcP4fDDuB4e7g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79aEJGMOKREcjiZR.CtU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ntNyAtwPAghh9UCzwoIk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3sI.Jsww7DUnG6VPnzaM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tHAGLVRk_EUBX1YwToKuQ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H98QPSf2zV.QtQVXlza6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QWPPqgYukLxfgozxcdF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AGFy4MHAKbTjgGFScsl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DL2qBFe7h1XMEIbPUJYk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Twox_fEa7kCakoLT0fzQ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_u2RNTMCG2NJE28038S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lDzEGt0izWOuRRHiW_5R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FkIdj6vMujrxnoxkYiGS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0L0bSGclMe6jqTzjiok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NN_5o9WL7OkcVWjo8myi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GWbRJuV2ec8N1ETQVAbS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iI_E1Adk.EVbLBbXjil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5DM0hkA_B.cufiGyikRC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T7WS_NRQsgMQdTLB9P2v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_53Looi.o8G2zS1ebGGIN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bEbn2MpWsnq3dWQ73FE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PJRyC0VzBfIGyOsmeQxw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sTxVck1ieVfNt1P79y58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nSWphW1fkPrRCo1CPvb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rodRDh4.R13lFoHMT8xq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zxckVgjqa3C2RxYnyP8i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2W3gbfEcFAlMRx7mu0aG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JAV2FLPAyaEC4Om75hu1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88wSK8LBxm0QfxHlxumSt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0_BdHnD6WbeiBI0oZ_Wd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JHozHUdH7O1.JO2JH76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iKy7MzOZyadFLsL3cAT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Kt8TlF99lh88e60j0JO2_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2NuED_w0f_G_4JtDF1a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dJegMrvcI2gKOj40iF4n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RKpIbQFHY4__adV8yr89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1qrkYU5LhoPP.QldHCm0D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Xe20r5Jt.M54MJmYSJ_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p_OfCAVIupmi48Vd8EL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tpMjWkH3WHXD6CAKcMY0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Xzc.crtOliVgq7jLSjR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2KHj6nNCa9yVf.EYmYqyH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6cAgfOQQHMsbxcOeorel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cC76FjCsLJbPsX5oZEXF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_dC_byuZHvTmXfVPkioyh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_c8DIlSqX3n7XuqMcgMdR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OQxityCGWeFy5p.7tso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ds9cgYXzauICyYlkRNDD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32aToCXh9e9_eBPO4_25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W5r.jeddX07RDxTo93qA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zTCcousMDav0VrqkN.e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fYtbQGv7AYH4nN1etGhz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CCrPA_LwP6Aius8ZvbSg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ZBTZMrRsKKQx4yjs3HX0y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6vE.ktWNdKcaSUmHo5wo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vkwsFj6xF27dInA7sOvP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I2O_WBiFielkbeSug7JN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KgpD53bC1OFRV_Y3mHW8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mD8OpBZW2nRZMQRaVZb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OEBbXnzOSsuR1KBwFd0Rm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bFVW2KUfMTMEvJL6Pibw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Jivm5Wn8PosLin_pDTL5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owCOsc2A3VYxqXFsFzkK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5qSm9bavyBoe31bNPKG24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Oqy7.XMdk379gvk1PzBA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ANlX54flb2dxouHIBxSk5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tpyga97esez9ftFNicem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3XDxywzflF_kVEK3qLzB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7PbWpEfNdn4.WsgJkeig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PFlPOIljQtfbLHYtW6FA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4zA22j6FTaEqudhAXF.n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dyRSweYPf1shUK7wAjKZ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m2WTe2EKEJqz4_RrbJHn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7qeI3aWI2DxxoTxCsCsU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2HSJE9PlUMMu5lpxfkyV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FY89zMBvG150PwpDaPbH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q5h5LDAQFMoFzwAnbTtb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rI9auqeUpz2PFp3F8Qa2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myo.WxyvEwgZOn4I.gK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HyypMjbKvYNnk1himwam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uetcJXKSmGHEa1C.j_F1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02QL9Pt9K1PZeOT07V4t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UFV2cgTMgLX5aqy46TQ9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dvLoHJ5oSa1Xt2irVHjM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lZo4VHfEhWfvICxn5DqK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dVZcemRt2GxYGZpQJrdd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ldHRIQ1Llj5xHPLR5n.8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0hvbIfTgZI5Ihp4BxgEM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SiTbG7GEhISSapu4uX1T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0r2K3AyWN5QE29MU5PJUv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lZclbxKq0QAnlCc0xfHc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7NWHDnYnuK7r7zte_b_n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UJ2C6SVWLTJrzoBxL6R0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QutnAJdmtTIp.Gx1ov3E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lcJR9zPDhg30j.H5Y7g9c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uihJSIvalyXVVwqyCez_w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9pXqgoWf43q2AdN.OKp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4rR9TATRWg.BiTnfzKVq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VTNZlRgOY1oogrZzM56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ue2_FKCCdarMhKRiWKBoy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fMl4Y.VO1.G.IBYkY2t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0tgZS1nmaAHbU7UJBrLq8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XhwxdhFf8weD4MKvo9EV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rr5P8ziPktghJB6lqO.o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3En7Xcpyyq__SvLZvcv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1EUMn7WHemJ9rzMExfD1V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_tYfTsiBJWkXoWxuwTjG4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Gv48wHck16nR6TW8zgUO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Qy2p3ib78gJHF16rooW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tgGqo1wc24tlPP57jAE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IYbQDJwOBLvxxyJ0ciD8o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UO5zPEcr_64wsHxxJqJt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WwLbcVRXiRRj1cU3bp2b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8OcvDtTVtaN0q3DpKj0I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UmLh3qBSMou5L92K5yhZH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y8IUBusJSnh4bQ4l5lGJ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JLseYa7_nVM9.SS.EsNx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TSf1FoelR7QcqOOd8Cp2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RWbN66cc_CPT2jUUrIUr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0AltEkRRAHvt9zoj8OpW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1NV3jSZszt4VTv12BQV3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Hmbzvosa.R1cmI.CC5QK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cdlqHJcVW3WHWIC6To4e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_2AoGgX3dygXmwAC_0aF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k2MkDDC9n8p57wcuuz2x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UxseZnmrE.Rwvjir..0C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QZ_byDRLJtqwfsCr7iLo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__2PbYNBGX30pERK3Zu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Yh8LJTWS61U5dxcESTUT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hsmxiUINwm5f2PicvaYs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UxV7MaHo3wlltBtqsycsK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nu9u3kDmWrKXdKV0kJvC.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HLefpEcS2khhYUWT5r3o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gWnTn9N1PaCDRCYZs2oK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t35crJqbOjPMOR7vGJBI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5xsaCMEzi5EzACGVwy.RD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VzxMQjQNmSUv55YXud0i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v_Wz4G73kv7ANjXPqDW2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RsU89NYWnxVCPwczhcrn9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X3jNYcl73kZDA54QsSKJ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w1wPyo19c1WnInl.tZ.D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Z2.lW3izs_P_LaauCrFh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4Md.a55Id02CamjHZz5K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kwuAfNqhxbsWB5hIXaaP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ETu2tUWF8R.AnLv0Boe7R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LxjVld_dGF3dSNy4xyIws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V.aQuXy4tvFY6vQmib1K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KNEXGueyEqd9xNC6thv5D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41UBtiBLMyjFganZc02kR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MCPYbDat7vXgj4n6hmU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X939pg4QaxfNp85uAhQR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6ECBS.VJfeSGFkEsPEa7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Dwu5mRUfNrgD_q5GGlhG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dY8EIPLMUBl5ZvcrXjyB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7tNCo44zEXmE8hYEsW9cD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dI7R8r5h6Tu_Hn1gHPb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Jan6HveDQXJN8JBAKH046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ftEfTVGsECtRPo0y3dK9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12dhQnZyaWYjMAlAdnXn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FtQHZ_PQfkAznTW.Xp4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DNWdCiYvivUtfy8ifeH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YyI14ZWo.gZPUoPXCTXe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NTptTbsNeLNLIXrcr83Q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7vvY0hhEnbeW8FVZCT2Rx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12eJPlqhJImlTScDXEse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sls8jCUA.5U2W5K6HZ_J_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GHU8F6KhtjG6Toan9aPe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Ww6Tqvp97lZk46qPD_vL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R4XvS5v2YzSyo1EY5Wr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u_8cpCCzZejBbN4W5ao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UQebd4CsvYtCQ4k5JI1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GzNZj3XfqKxT0Tut5ZZ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lnoy2SxNOWlldV2Mvwe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1xf9pIY5RaLn3gyJxgy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xSM_zTCz55tRDD3Gjx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pVKCjMrj24MbdA1CWUn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r886wPXeSPzDAzsW0IY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_b4CIZ3nx9o_aePNxHU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qKyqPuLfaVOBFlh.Ls5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Eat4bjJ1zZtOoTK87j8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7ujEeeEI5gdVAHEyQ.P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jZn_EG.cIvSUTTLG18G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_AWPiABEU_ooU8JwCuR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bVNmI.qfs7X8ApxWIIo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MTI3PvIPxCdAxBU2UZd6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FKepdb3A088XY9OpPW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sYHyhnGgIWt85.f8Jky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fqanJh7N32SIqPVoP2z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gHO3GGwKhFXgHe.mixp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PvsqURzFU4LiE34Amnj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OHaoxRO7VSQQwW90tVO5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5cJ009hjF6MURJ1Q6fn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dB40V11wpzf1CqZsxyl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Ygbh8S60tpIKe.gnT_Gz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klidjkiVzg6ROnR1m2kf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NlX9ASeUFiGdY52V.2P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Wxoix2S9e.4pQUE462kl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dCBPkC6EfIUeypiEKMCUg"/>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1701</TotalTime>
  <Words>8884</Words>
  <Application>Microsoft Office PowerPoint</Application>
  <PresentationFormat>Widescreen</PresentationFormat>
  <Paragraphs>4045</Paragraphs>
  <Slides>37</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3" baseType="lpstr">
      <vt:lpstr>Wingdings</vt:lpstr>
      <vt:lpstr>Calibri</vt:lpstr>
      <vt:lpstr>Corbel</vt:lpstr>
      <vt:lpstr>Arial</vt:lpstr>
      <vt:lpstr>itspublic 20200925</vt:lpstr>
      <vt:lpstr>think-cell Slide</vt:lpstr>
      <vt:lpstr>Benchmark tekorten jeugdzorg</vt:lpstr>
      <vt:lpstr>Hoe zijn tekorten jeugdzorg verdeeld over Nederland?</vt:lpstr>
      <vt:lpstr>Gemeenten gaven in 2019 ca. € 1,2-1,4 mld meer uit aan jeugdzorg dan dat ze van het Rijk ontvingen</vt:lpstr>
      <vt:lpstr>In deze publicatie worden tekorten vergeleken op basis van  verschil uitgaven en inkomsten (niet begroting!)</vt:lpstr>
      <vt:lpstr>PowerPoint Presentation</vt:lpstr>
      <vt:lpstr>Circa 97% van de gemeenten heeft een tekort op jeugdzorg, waarbij de grootte van het tekort sterk verschilt</vt:lpstr>
      <vt:lpstr>Het tekort is verspreid door heel het land</vt:lpstr>
      <vt:lpstr>Dit zijn de top 20 gemeenten met de grootste en kleinste tekorten</vt:lpstr>
      <vt:lpstr> Rotterdam heeft tekort op begroting, maar geen tekort ten  opzichte van inkomsten gemeentefonds</vt:lpstr>
      <vt:lpstr>Het voorbeeld van vorige bladzijde voor andere gemeenten bekijken? Alle gegevens zijn in Excel-bestand beschikbaar</vt:lpstr>
      <vt:lpstr>Verschillen in de tekorten kunnen mogelijk door drie factoren veroorzaakt worden</vt:lpstr>
      <vt:lpstr> Kleinere gemeenten hebben gemiddeld een groter tekort…</vt:lpstr>
      <vt:lpstr>… maar er is wel veel onderlinge variatie</vt:lpstr>
      <vt:lpstr>Er is geen duidelijk verband tussen inkomsten per jeugdige in het gemeentefonds en het tekort op jeugd</vt:lpstr>
      <vt:lpstr>Bij gemeenten die gezamenlijk aanbesteden zijn er ook aanzienlijk onderling verschillen</vt:lpstr>
      <vt:lpstr>PowerPoint Presentation</vt:lpstr>
      <vt:lpstr>Zelfs als het rijk het totale landelijke tekort ‘oplost’, behoudt meer dan de helft van de gemeenten nog steeds een tekort (!)</vt:lpstr>
      <vt:lpstr>De herijking van het gemeentefonds zal de grote verschillen tussen gemeenten ook niet verminderen</vt:lpstr>
      <vt:lpstr>Voor discussie: is de mate van spreiding in tekorten acceptabel of is meer verevening wenselijk?</vt:lpstr>
      <vt:lpstr>Er zijn meerdere oplossingsrichtingen om verschillen te verevenen</vt:lpstr>
      <vt:lpstr>Over deze benchmark tekorten jeugdzorg</vt:lpstr>
      <vt:lpstr>PowerPoint Presentation</vt:lpstr>
      <vt:lpstr>Procentueel tekort per gemeente van groot naar klein [1/5]</vt:lpstr>
      <vt:lpstr>Procentueel tekort per gemeente van groot naar klein [2/5]</vt:lpstr>
      <vt:lpstr>Procentueel tekort per gemeente van groot naar klein [3/5]</vt:lpstr>
      <vt:lpstr>Procentueel tekort per gemeente van groot naar klein [4/5]</vt:lpstr>
      <vt:lpstr>Procentueel tekort per gemeente van groot naar klein [5/5]</vt:lpstr>
      <vt:lpstr>Procentueel tekort per gemeente op alfabet [1/5]</vt:lpstr>
      <vt:lpstr>Procentueel tekort per gemeente op alfabet [2/5]</vt:lpstr>
      <vt:lpstr>Procentueel tekort per gemeente op alfabet [3/5]</vt:lpstr>
      <vt:lpstr>Procentueel tekort per gemeente op alfabet [4/5]</vt:lpstr>
      <vt:lpstr>Procentueel tekort per gemeente van groot naar klein [5/5]</vt:lpstr>
      <vt:lpstr>PowerPoint Presentation</vt:lpstr>
      <vt:lpstr>Deze publicatie toont alleen verschillen in uitgaven aan maatwerkvoorzieningen (niet voorveld / preventie)</vt:lpstr>
      <vt:lpstr>De jeugdpopulatie verschilt per gemeente en daarmee verschilt ook de verwachte behoefte aan jeugdzorg</vt:lpstr>
      <vt:lpstr>Deze achtergrondkenmerken resulteren in verschillende uitkeringen per jeugdige uit het gemeentefonds</vt:lpstr>
      <vt:lpstr>PowerPoint Presentation</vt:lpstr>
    </vt:vector>
  </TitlesOfParts>
  <Company>Gemeente Amsterda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 tekorten jeugdzorg</dc:title>
  <dc:creator>Hugo den Breejen</dc:creator>
  <dc:description>Sjabloonversie 1.1b - 9 juli 2014_x000d_
Sjablonen: www.joulesunlimited.nl</dc:description>
  <cp:lastModifiedBy>Hugo den Breejen</cp:lastModifiedBy>
  <cp:revision>432</cp:revision>
  <cp:lastPrinted>2021-03-24T16:48:45Z</cp:lastPrinted>
  <dcterms:created xsi:type="dcterms:W3CDTF">2021-03-08T09:38:52Z</dcterms:created>
  <dcterms:modified xsi:type="dcterms:W3CDTF">2021-03-30T07:11:33Z</dcterms:modified>
</cp:coreProperties>
</file>